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2.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86" r:id="rId11"/>
    <p:sldMasterId id="2147483871" r:id="rId12"/>
  </p:sldMasterIdLst>
  <p:notesMasterIdLst>
    <p:notesMasterId r:id="rId23"/>
  </p:notesMasterIdLst>
  <p:handoutMasterIdLst>
    <p:handoutMasterId r:id="rId24"/>
  </p:handoutMasterIdLst>
  <p:sldIdLst>
    <p:sldId id="302" r:id="rId13"/>
    <p:sldId id="321" r:id="rId14"/>
    <p:sldId id="305" r:id="rId15"/>
    <p:sldId id="484" r:id="rId16"/>
    <p:sldId id="460" r:id="rId17"/>
    <p:sldId id="498" r:id="rId18"/>
    <p:sldId id="345" r:id="rId19"/>
    <p:sldId id="483" r:id="rId20"/>
    <p:sldId id="368" r:id="rId21"/>
    <p:sldId id="489" r:id="rId22"/>
  </p:sldIdLst>
  <p:sldSz cx="12192000" cy="6858000"/>
  <p:notesSz cx="7010400" cy="9296400"/>
  <p:custDataLst>
    <p:custData r:id="rId1"/>
    <p:custData r:id="rId3"/>
    <p:custData r:id="rId6"/>
    <p:custData r:id="rId2"/>
    <p:custData r:id="rId5"/>
    <p:custData r:id="rId4"/>
    <p:custData r:id="rId7"/>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B6231AC6-32AD-441F-8EC7-EED1D13126A4}">
          <p14:sldIdLst>
            <p14:sldId id="302"/>
            <p14:sldId id="321"/>
          </p14:sldIdLst>
        </p14:section>
        <p14:section name="Agenda" id="{BC61D8D7-B0F0-4AC2-9594-4AC12B6D542C}">
          <p14:sldIdLst>
            <p14:sldId id="305"/>
            <p14:sldId id="484"/>
          </p14:sldIdLst>
        </p14:section>
        <p14:section name="Panelists" id="{C6341613-0B0F-4315-BBA3-7436E5F76473}">
          <p14:sldIdLst>
            <p14:sldId id="460"/>
          </p14:sldIdLst>
        </p14:section>
        <p14:section name="Model" id="{187E90CE-4E21-41C5-AF49-6C04C491A364}">
          <p14:sldIdLst>
            <p14:sldId id="498"/>
          </p14:sldIdLst>
        </p14:section>
        <p14:section name="Scenario" id="{EE31355C-665E-4C68-B279-2AC31591935C}">
          <p14:sldIdLst>
            <p14:sldId id="345"/>
            <p14:sldId id="483"/>
          </p14:sldIdLst>
        </p14:section>
        <p14:section name="Questions" id="{A0BCBA37-691D-4A8E-8567-5EAAE0261B8C}">
          <p14:sldIdLst>
            <p14:sldId id="368"/>
          </p14:sldIdLst>
        </p14:section>
        <p14:section name="Appendix" id="{253FE3F9-0B71-4389-8E8D-327DBECAEC88}">
          <p14:sldIdLst>
            <p14:sldId id="489"/>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A40412-B2A6-C7E2-C09B-5677B244E342}" name="Lauren Roquemore" initials="LR" userId="S::lroquemore@guidehouse.com::1c8c71e3-44df-4d54-9861-01e75c5c481a" providerId="AD"/>
  <p188:author id="{7D0B6722-C024-DE5D-DC68-809B90AC2501}" name="Jay Ibarra" initials="JI" userId="S::jibarra@guidehouse.com::bfda1ac3-a26f-49ca-bd0b-c769c49aa0e4" providerId="AD"/>
  <p188:author id="{7EAF3E2B-1995-93D3-D4A9-767A5668E56D}" name="Christy Morris" initials="CM" userId="S::cmorris@guidehouse.com::cf714ade-d8e1-4443-b69b-f2c9a6e3cdce" providerId="AD"/>
  <p188:author id="{A2513858-515F-DAA2-4F27-A0B216AF9275}" name="Kathy Foltin" initials="KF" userId="S::kfoltin@guidehouse.com::e4e68a57-b30d-4037-a64f-8070b736549f" providerId="AD"/>
  <p188:author id="{DB929A98-F77F-6823-E5D6-F2C84CAD8745}" name="Ann Davison" initials="AD" userId="S::adavison@guidehouse.com::18f6f55e-0b5d-46b0-860d-72a85b1ed412" providerId="AD"/>
  <p188:author id="{31022AB4-076C-2950-324D-9127CE88F8A4}" name="Joy Bruno" initials="" userId="S::jbruno@guidehouse.com::02c63c0d-7f96-410c-8a38-e41e847ce136" providerId="AD"/>
  <p188:author id="{FD7941E9-71DB-AA2C-7991-AAEE75B10B66}" name="Crystal Nickel" initials="CN" userId="S::cnickel@guidehouse.com::5f775c56-e983-4bd0-92ab-dc5f3c2d9ee9" providerId="AD"/>
  <p188:author id="{727502EB-E2B5-BC13-26BA-3BE1A3747151}" name="Davita Vance-Cooks" initials="DV" userId="S::dvancecooks@guidehouse.com::98b87134-08af-41fd-903d-8e084338ecab" providerId="AD"/>
  <p188:author id="{2AFCC4F8-417A-1D23-8A86-6A77D9D8FD13}" name="Shannon Willing" initials="SW" userId="S::swilling@guidehouse.com::962758e9-ff1a-47a6-abfd-793330ce2515" providerId="AD"/>
  <p188:author id="{5681A5FD-87D9-D9AB-5E30-8EB87972ED89}" name="Daniela Pereira" initials="DP" userId="S::dpereira@guidehouse.com::cf6a0dcd-48cc-4b01-a2ab-4f9c05a710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5317"/>
    <a:srgbClr val="71AAE0"/>
    <a:srgbClr val="C1FD3B"/>
    <a:srgbClr val="F3F3F3"/>
    <a:srgbClr val="616161"/>
    <a:srgbClr val="019587"/>
    <a:srgbClr val="00320B"/>
    <a:srgbClr val="40840B"/>
    <a:srgbClr val="002632"/>
    <a:srgbClr val="9DFE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19C54F-C463-9243-FD14-17FA1C0D5268}" v="6" dt="2025-04-21T15:10:29.821"/>
    <p1510:client id="{8901F25E-8D9C-B739-277E-D8CA28E50F53}" v="2" dt="2025-04-21T14:45:38.942"/>
    <p1510:client id="{D28EEA48-F2F0-42D8-A8AC-A78BCC56368F}" v="63" dt="2025-04-21T16:59:36.339"/>
  </p1510:revLst>
</p1510:revInfo>
</file>

<file path=ppt/tableStyles.xml><?xml version="1.0" encoding="utf-8"?>
<a:tblStyleLst xmlns:a="http://schemas.openxmlformats.org/drawingml/2006/main" def="{F5AB1C69-6EDB-4FF4-983F-18BD219EF32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8"/>
  </p:normalViewPr>
  <p:slideViewPr>
    <p:cSldViewPr snapToGrid="0">
      <p:cViewPr varScale="1">
        <p:scale>
          <a:sx n="106" d="100"/>
          <a:sy n="106" d="100"/>
        </p:scale>
        <p:origin x="1336" y="480"/>
      </p:cViewPr>
      <p:guideLst>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5.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customXml" Target="../customXml/item10.xml"/><Relationship Id="rId19" Type="http://schemas.openxmlformats.org/officeDocument/2006/relationships/slide" Target="slides/slide7.xml"/><Relationship Id="rId31"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viewProps" Target="viewProps.xml"/><Relationship Id="rId3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309F82-CCA3-449F-A2F4-8F9D65768A13}" type="doc">
      <dgm:prSet loTypeId="urn:microsoft.com/office/officeart/2005/8/layout/hProcess7" loCatId="list" qsTypeId="urn:microsoft.com/office/officeart/2005/8/quickstyle/simple1" qsCatId="simple" csTypeId="urn:microsoft.com/office/officeart/2005/8/colors/colorful3" csCatId="colorful" phldr="1"/>
      <dgm:spPr/>
      <dgm:t>
        <a:bodyPr/>
        <a:lstStyle/>
        <a:p>
          <a:endParaRPr lang="en-US"/>
        </a:p>
      </dgm:t>
    </dgm:pt>
    <dgm:pt modelId="{C79C79E1-DF22-46C6-AA66-CE023450380E}">
      <dgm:prSet phldrT="[Text]" custT="1"/>
      <dgm:spPr/>
      <dgm:t>
        <a:bodyPr/>
        <a:lstStyle/>
        <a:p>
          <a:endParaRPr lang="en-US" sz="1600" b="1" dirty="0">
            <a:latin typeface="+mj-lt"/>
          </a:endParaRPr>
        </a:p>
      </dgm:t>
    </dgm:pt>
    <dgm:pt modelId="{DEC2DE69-9DA4-4413-B71B-8DD481A796B7}" type="parTrans" cxnId="{747A8F00-A676-46B4-94FB-0C2896B64E3E}">
      <dgm:prSet/>
      <dgm:spPr/>
      <dgm:t>
        <a:bodyPr/>
        <a:lstStyle/>
        <a:p>
          <a:endParaRPr lang="en-US"/>
        </a:p>
      </dgm:t>
    </dgm:pt>
    <dgm:pt modelId="{4E3E4D98-BF21-4752-87CC-F6166E80DFDE}" type="sibTrans" cxnId="{747A8F00-A676-46B4-94FB-0C2896B64E3E}">
      <dgm:prSet/>
      <dgm:spPr/>
      <dgm:t>
        <a:bodyPr/>
        <a:lstStyle/>
        <a:p>
          <a:endParaRPr lang="en-US"/>
        </a:p>
      </dgm:t>
    </dgm:pt>
    <dgm:pt modelId="{B0FFC00B-32BC-4897-B611-E7A54F1002CB}">
      <dgm:prSet phldrT="[Text]" custT="1"/>
      <dgm:spPr/>
      <dgm:t>
        <a:bodyPr/>
        <a:lstStyle/>
        <a:p>
          <a:endParaRPr lang="en-US" sz="1600" dirty="0"/>
        </a:p>
      </dgm:t>
    </dgm:pt>
    <dgm:pt modelId="{D41CF206-20AB-4F8F-8CB0-069060F9E9DE}" type="parTrans" cxnId="{CF08A770-022E-48B6-AC40-5497D8F7510D}">
      <dgm:prSet/>
      <dgm:spPr/>
      <dgm:t>
        <a:bodyPr/>
        <a:lstStyle/>
        <a:p>
          <a:endParaRPr lang="en-US"/>
        </a:p>
      </dgm:t>
    </dgm:pt>
    <dgm:pt modelId="{92F9A080-8E24-4276-AFC9-33786A911FCA}" type="sibTrans" cxnId="{CF08A770-022E-48B6-AC40-5497D8F7510D}">
      <dgm:prSet/>
      <dgm:spPr/>
      <dgm:t>
        <a:bodyPr/>
        <a:lstStyle/>
        <a:p>
          <a:endParaRPr lang="en-US"/>
        </a:p>
      </dgm:t>
    </dgm:pt>
    <dgm:pt modelId="{7F354E16-C509-4EC1-9709-B21B936D3968}">
      <dgm:prSet phldrT="[Text]" custT="1"/>
      <dgm:spPr/>
      <dgm:t>
        <a:bodyPr/>
        <a:lstStyle/>
        <a:p>
          <a:r>
            <a:rPr lang="en-US" sz="1400" b="1" i="0" u="none" strike="noStrike" spc="0" baseline="0" dirty="0">
              <a:ln/>
              <a:effectLst/>
              <a:latin typeface="Aptos" panose="020B0004020202020204" pitchFamily="34" charset="0"/>
            </a:rPr>
            <a:t> Prioritize Transparent Communication</a:t>
          </a:r>
          <a:endParaRPr lang="en-US" sz="1400" dirty="0"/>
        </a:p>
      </dgm:t>
    </dgm:pt>
    <dgm:pt modelId="{A9D1B55B-084D-4E4A-944F-6E9A3DBB39A1}" type="parTrans" cxnId="{C6DD32C0-3BBC-4F97-B225-CDC10CAAE7F9}">
      <dgm:prSet/>
      <dgm:spPr/>
      <dgm:t>
        <a:bodyPr/>
        <a:lstStyle/>
        <a:p>
          <a:endParaRPr lang="en-US"/>
        </a:p>
      </dgm:t>
    </dgm:pt>
    <dgm:pt modelId="{752762FE-A63E-4121-A1F5-56FC26AD12A7}" type="sibTrans" cxnId="{C6DD32C0-3BBC-4F97-B225-CDC10CAAE7F9}">
      <dgm:prSet/>
      <dgm:spPr/>
      <dgm:t>
        <a:bodyPr/>
        <a:lstStyle/>
        <a:p>
          <a:endParaRPr lang="en-US"/>
        </a:p>
      </dgm:t>
    </dgm:pt>
    <dgm:pt modelId="{B8E0BE3A-12E6-493B-9CBB-9EE4E837D7E3}">
      <dgm:prSet phldrT="[Text]" custT="1"/>
      <dgm:spPr/>
      <dgm:t>
        <a:bodyPr/>
        <a:lstStyle/>
        <a:p>
          <a:endParaRPr lang="en-US" sz="1600" dirty="0"/>
        </a:p>
      </dgm:t>
    </dgm:pt>
    <dgm:pt modelId="{8B524920-012C-4DB7-B10E-E2777023198C}" type="parTrans" cxnId="{C530B6C7-46A2-4367-98F7-5EA6AD92CE9D}">
      <dgm:prSet/>
      <dgm:spPr/>
      <dgm:t>
        <a:bodyPr/>
        <a:lstStyle/>
        <a:p>
          <a:endParaRPr lang="en-US"/>
        </a:p>
      </dgm:t>
    </dgm:pt>
    <dgm:pt modelId="{D92847DF-21BC-426B-A87A-8143E1B2BB6E}" type="sibTrans" cxnId="{C530B6C7-46A2-4367-98F7-5EA6AD92CE9D}">
      <dgm:prSet/>
      <dgm:spPr/>
      <dgm:t>
        <a:bodyPr/>
        <a:lstStyle/>
        <a:p>
          <a:endParaRPr lang="en-US"/>
        </a:p>
      </dgm:t>
    </dgm:pt>
    <dgm:pt modelId="{AA789BD4-4190-4EC4-B5EB-9D16954F9E78}">
      <dgm:prSet phldrT="[Text]" custT="1"/>
      <dgm:spPr/>
      <dgm:t>
        <a:bodyPr/>
        <a:lstStyle/>
        <a:p>
          <a:r>
            <a:rPr lang="en-US" sz="1400" b="1" i="0" u="none" strike="noStrike" spc="0" baseline="0" dirty="0">
              <a:ln/>
              <a:effectLst/>
              <a:latin typeface="Aptos" panose="020B0004020202020204" pitchFamily="34" charset="0"/>
            </a:rPr>
            <a:t>Emphasize a Data-Informed Decision-Making Process</a:t>
          </a:r>
          <a:endParaRPr lang="en-US" sz="1400" dirty="0"/>
        </a:p>
      </dgm:t>
    </dgm:pt>
    <dgm:pt modelId="{77173D9D-4AB5-427C-8C2F-70F7B09DCC5A}" type="parTrans" cxnId="{6C6D1C58-6AE3-4A43-B45C-2889B323B320}">
      <dgm:prSet/>
      <dgm:spPr/>
      <dgm:t>
        <a:bodyPr/>
        <a:lstStyle/>
        <a:p>
          <a:endParaRPr lang="en-US"/>
        </a:p>
      </dgm:t>
    </dgm:pt>
    <dgm:pt modelId="{00A22445-6F22-46C2-B9D8-9B10E55B831E}" type="sibTrans" cxnId="{6C6D1C58-6AE3-4A43-B45C-2889B323B320}">
      <dgm:prSet/>
      <dgm:spPr/>
      <dgm:t>
        <a:bodyPr/>
        <a:lstStyle/>
        <a:p>
          <a:endParaRPr lang="en-US"/>
        </a:p>
      </dgm:t>
    </dgm:pt>
    <dgm:pt modelId="{F63B3126-8A70-4C2D-9154-7DC705850F22}">
      <dgm:prSet custT="1"/>
      <dgm:spPr/>
      <dgm:t>
        <a:bodyPr/>
        <a:lstStyle/>
        <a:p>
          <a:endParaRPr lang="en-US" sz="1200" dirty="0"/>
        </a:p>
      </dgm:t>
    </dgm:pt>
    <dgm:pt modelId="{DDD32EC2-5962-42AE-A20C-4650C961896A}" type="parTrans" cxnId="{E1CA37FA-5600-478A-AA63-5D1FEF32FFB8}">
      <dgm:prSet/>
      <dgm:spPr/>
      <dgm:t>
        <a:bodyPr/>
        <a:lstStyle/>
        <a:p>
          <a:endParaRPr lang="en-US"/>
        </a:p>
      </dgm:t>
    </dgm:pt>
    <dgm:pt modelId="{7E8AF7B8-7BC8-4793-B4C6-E5AD3E3036B1}" type="sibTrans" cxnId="{E1CA37FA-5600-478A-AA63-5D1FEF32FFB8}">
      <dgm:prSet/>
      <dgm:spPr/>
      <dgm:t>
        <a:bodyPr/>
        <a:lstStyle/>
        <a:p>
          <a:endParaRPr lang="en-US"/>
        </a:p>
      </dgm:t>
    </dgm:pt>
    <dgm:pt modelId="{F0A53A19-65C3-44FD-B533-B2FF86964718}">
      <dgm:prSet custT="1"/>
      <dgm:spPr/>
      <dgm:t>
        <a:bodyPr/>
        <a:lstStyle/>
        <a:p>
          <a:r>
            <a:rPr lang="en-US" sz="1400" b="1" i="0" u="none" strike="noStrike" spc="0" baseline="0" dirty="0">
              <a:ln/>
              <a:effectLst/>
              <a:latin typeface="Aptos" panose="020B0004020202020204" pitchFamily="34" charset="0"/>
            </a:rPr>
            <a:t>Develop a Coaching Mindset</a:t>
          </a:r>
          <a:endParaRPr lang="en-US" sz="1400" dirty="0"/>
        </a:p>
      </dgm:t>
    </dgm:pt>
    <dgm:pt modelId="{5010D350-82F8-46FE-9570-0E4779A9B79F}" type="parTrans" cxnId="{967FA97D-E1B5-4E27-9B4D-BF61390B74A4}">
      <dgm:prSet/>
      <dgm:spPr/>
      <dgm:t>
        <a:bodyPr/>
        <a:lstStyle/>
        <a:p>
          <a:endParaRPr lang="en-US"/>
        </a:p>
      </dgm:t>
    </dgm:pt>
    <dgm:pt modelId="{11679C2D-D24B-441F-8195-9411BD73259F}" type="sibTrans" cxnId="{967FA97D-E1B5-4E27-9B4D-BF61390B74A4}">
      <dgm:prSet/>
      <dgm:spPr/>
      <dgm:t>
        <a:bodyPr/>
        <a:lstStyle/>
        <a:p>
          <a:endParaRPr lang="en-US"/>
        </a:p>
      </dgm:t>
    </dgm:pt>
    <dgm:pt modelId="{E5255D1C-B970-48D4-92B0-B9913AE104CD}">
      <dgm:prSet custT="1"/>
      <dgm:spPr/>
      <dgm:t>
        <a:bodyPr/>
        <a:lstStyle/>
        <a:p>
          <a:r>
            <a:rPr lang="en-US" sz="1400" b="1" dirty="0">
              <a:latin typeface="+mj-lt"/>
            </a:rPr>
            <a:t>Focus on a Task-Oriented Delegation Process</a:t>
          </a:r>
        </a:p>
      </dgm:t>
    </dgm:pt>
    <dgm:pt modelId="{38C73E5C-671E-4BF9-AC4B-174DC91E739A}" type="parTrans" cxnId="{A56FE4E6-317C-41E0-9CDC-98E6CB274DCF}">
      <dgm:prSet/>
      <dgm:spPr/>
      <dgm:t>
        <a:bodyPr/>
        <a:lstStyle/>
        <a:p>
          <a:endParaRPr lang="en-US"/>
        </a:p>
      </dgm:t>
    </dgm:pt>
    <dgm:pt modelId="{FBA5C7D8-FEAC-4537-9B4C-4E07FA1786C9}" type="sibTrans" cxnId="{A56FE4E6-317C-41E0-9CDC-98E6CB274DCF}">
      <dgm:prSet/>
      <dgm:spPr/>
      <dgm:t>
        <a:bodyPr/>
        <a:lstStyle/>
        <a:p>
          <a:endParaRPr lang="en-US"/>
        </a:p>
      </dgm:t>
    </dgm:pt>
    <dgm:pt modelId="{C5ECC80D-036B-4B42-80F9-8C9D86EB5A85}">
      <dgm:prSet custT="1"/>
      <dgm:spPr/>
      <dgm:t>
        <a:bodyPr/>
        <a:lstStyle/>
        <a:p>
          <a:endParaRPr lang="en-US" sz="1600" dirty="0"/>
        </a:p>
      </dgm:t>
    </dgm:pt>
    <dgm:pt modelId="{5AF90843-8865-49C8-A3CE-E6601CD87CF1}" type="sibTrans" cxnId="{A6C589C5-F375-4CE8-8E9B-A7E947FDC72D}">
      <dgm:prSet/>
      <dgm:spPr/>
      <dgm:t>
        <a:bodyPr/>
        <a:lstStyle/>
        <a:p>
          <a:endParaRPr lang="en-US"/>
        </a:p>
      </dgm:t>
    </dgm:pt>
    <dgm:pt modelId="{562DD951-002E-464B-9B35-F323151A5E78}" type="parTrans" cxnId="{A6C589C5-F375-4CE8-8E9B-A7E947FDC72D}">
      <dgm:prSet/>
      <dgm:spPr/>
      <dgm:t>
        <a:bodyPr/>
        <a:lstStyle/>
        <a:p>
          <a:endParaRPr lang="en-US"/>
        </a:p>
      </dgm:t>
    </dgm:pt>
    <dgm:pt modelId="{C56C447B-47F9-4B0F-B564-376F30CF2E58}">
      <dgm:prSet phldrT="[Text]" custT="1"/>
      <dgm:spPr/>
      <dgm:t>
        <a:bodyPr/>
        <a:lstStyle/>
        <a:p>
          <a:r>
            <a:rPr lang="en-US" sz="1400" b="1" i="0" u="none" strike="noStrike" dirty="0">
              <a:effectLst/>
              <a:latin typeface="Aptos" panose="020B0004020202020204" pitchFamily="34" charset="0"/>
            </a:rPr>
            <a:t>Shift To Adaptive Leadership </a:t>
          </a:r>
          <a:endParaRPr lang="en-US" sz="1400" dirty="0"/>
        </a:p>
      </dgm:t>
    </dgm:pt>
    <dgm:pt modelId="{D59D92E0-ED44-41CA-836A-806A458E20A6}" type="parTrans" cxnId="{592987B2-12D4-4565-B9C0-71B45DDDE1DF}">
      <dgm:prSet/>
      <dgm:spPr/>
      <dgm:t>
        <a:bodyPr/>
        <a:lstStyle/>
        <a:p>
          <a:endParaRPr lang="en-US"/>
        </a:p>
      </dgm:t>
    </dgm:pt>
    <dgm:pt modelId="{ED959590-B9B5-4FE2-AEA6-BFDCAD97FF2A}" type="sibTrans" cxnId="{592987B2-12D4-4565-B9C0-71B45DDDE1DF}">
      <dgm:prSet/>
      <dgm:spPr/>
      <dgm:t>
        <a:bodyPr/>
        <a:lstStyle/>
        <a:p>
          <a:endParaRPr lang="en-US"/>
        </a:p>
      </dgm:t>
    </dgm:pt>
    <dgm:pt modelId="{645DD1C3-F0F0-46DE-B3D4-77E995931FC7}" type="pres">
      <dgm:prSet presAssocID="{30309F82-CCA3-449F-A2F4-8F9D65768A13}" presName="Name0" presStyleCnt="0">
        <dgm:presLayoutVars>
          <dgm:dir/>
          <dgm:animLvl val="lvl"/>
          <dgm:resizeHandles val="exact"/>
        </dgm:presLayoutVars>
      </dgm:prSet>
      <dgm:spPr/>
    </dgm:pt>
    <dgm:pt modelId="{170CFF85-91BD-474A-8E86-D99F3F3C7B21}" type="pres">
      <dgm:prSet presAssocID="{C79C79E1-DF22-46C6-AA66-CE023450380E}" presName="compositeNode" presStyleCnt="0">
        <dgm:presLayoutVars>
          <dgm:bulletEnabled val="1"/>
        </dgm:presLayoutVars>
      </dgm:prSet>
      <dgm:spPr/>
    </dgm:pt>
    <dgm:pt modelId="{0984C7E9-C290-4103-96EF-8B487F6AE2F4}" type="pres">
      <dgm:prSet presAssocID="{C79C79E1-DF22-46C6-AA66-CE023450380E}" presName="bgRect" presStyleLbl="node1" presStyleIdx="0" presStyleCnt="5"/>
      <dgm:spPr/>
    </dgm:pt>
    <dgm:pt modelId="{FDB9ECC2-B8F7-4C4D-B020-89AFC593C635}" type="pres">
      <dgm:prSet presAssocID="{C79C79E1-DF22-46C6-AA66-CE023450380E}" presName="parentNode" presStyleLbl="node1" presStyleIdx="0" presStyleCnt="5">
        <dgm:presLayoutVars>
          <dgm:chMax val="0"/>
          <dgm:bulletEnabled val="1"/>
        </dgm:presLayoutVars>
      </dgm:prSet>
      <dgm:spPr/>
    </dgm:pt>
    <dgm:pt modelId="{F8FF1547-5255-4A99-8DBA-2C5AC21260AB}" type="pres">
      <dgm:prSet presAssocID="{C79C79E1-DF22-46C6-AA66-CE023450380E}" presName="childNode" presStyleLbl="node1" presStyleIdx="0" presStyleCnt="5">
        <dgm:presLayoutVars>
          <dgm:bulletEnabled val="1"/>
        </dgm:presLayoutVars>
      </dgm:prSet>
      <dgm:spPr/>
    </dgm:pt>
    <dgm:pt modelId="{F3B4663D-814B-4778-A860-AA969CBE34FA}" type="pres">
      <dgm:prSet presAssocID="{4E3E4D98-BF21-4752-87CC-F6166E80DFDE}" presName="hSp" presStyleCnt="0"/>
      <dgm:spPr/>
    </dgm:pt>
    <dgm:pt modelId="{275BF2D1-F70F-4680-A7A0-38640096B68D}" type="pres">
      <dgm:prSet presAssocID="{4E3E4D98-BF21-4752-87CC-F6166E80DFDE}" presName="vProcSp" presStyleCnt="0"/>
      <dgm:spPr/>
    </dgm:pt>
    <dgm:pt modelId="{82EA25A4-2160-4A4B-811D-A34254A2E593}" type="pres">
      <dgm:prSet presAssocID="{4E3E4D98-BF21-4752-87CC-F6166E80DFDE}" presName="vSp1" presStyleCnt="0"/>
      <dgm:spPr/>
    </dgm:pt>
    <dgm:pt modelId="{9E9ABEB9-666B-46CA-8EA0-8B1E243477CD}" type="pres">
      <dgm:prSet presAssocID="{4E3E4D98-BF21-4752-87CC-F6166E80DFDE}" presName="simulatedConn" presStyleLbl="solidFgAcc1" presStyleIdx="0" presStyleCnt="4"/>
      <dgm:spPr/>
    </dgm:pt>
    <dgm:pt modelId="{7D2D74E7-8897-4D6F-B8BE-8351BDDCF905}" type="pres">
      <dgm:prSet presAssocID="{4E3E4D98-BF21-4752-87CC-F6166E80DFDE}" presName="vSp2" presStyleCnt="0"/>
      <dgm:spPr/>
    </dgm:pt>
    <dgm:pt modelId="{E1DE7AAB-9DE1-46D0-9582-9D711BFD9FFB}" type="pres">
      <dgm:prSet presAssocID="{4E3E4D98-BF21-4752-87CC-F6166E80DFDE}" presName="sibTrans" presStyleCnt="0"/>
      <dgm:spPr/>
    </dgm:pt>
    <dgm:pt modelId="{9CE5BDED-B58D-4222-A34E-E6997C37A75E}" type="pres">
      <dgm:prSet presAssocID="{C5ECC80D-036B-4B42-80F9-8C9D86EB5A85}" presName="compositeNode" presStyleCnt="0">
        <dgm:presLayoutVars>
          <dgm:bulletEnabled val="1"/>
        </dgm:presLayoutVars>
      </dgm:prSet>
      <dgm:spPr/>
    </dgm:pt>
    <dgm:pt modelId="{0432C7AE-7A5C-40DD-A5F7-1D24AAE507DC}" type="pres">
      <dgm:prSet presAssocID="{C5ECC80D-036B-4B42-80F9-8C9D86EB5A85}" presName="bgRect" presStyleLbl="node1" presStyleIdx="1" presStyleCnt="5"/>
      <dgm:spPr/>
    </dgm:pt>
    <dgm:pt modelId="{9D649A5E-0B53-4F44-A9DE-FD4811EA7B48}" type="pres">
      <dgm:prSet presAssocID="{C5ECC80D-036B-4B42-80F9-8C9D86EB5A85}" presName="parentNode" presStyleLbl="node1" presStyleIdx="1" presStyleCnt="5">
        <dgm:presLayoutVars>
          <dgm:chMax val="0"/>
          <dgm:bulletEnabled val="1"/>
        </dgm:presLayoutVars>
      </dgm:prSet>
      <dgm:spPr/>
    </dgm:pt>
    <dgm:pt modelId="{5B5D6255-FFFD-4E85-86DD-C773E9F14088}" type="pres">
      <dgm:prSet presAssocID="{C5ECC80D-036B-4B42-80F9-8C9D86EB5A85}" presName="childNode" presStyleLbl="node1" presStyleIdx="1" presStyleCnt="5">
        <dgm:presLayoutVars>
          <dgm:bulletEnabled val="1"/>
        </dgm:presLayoutVars>
      </dgm:prSet>
      <dgm:spPr/>
    </dgm:pt>
    <dgm:pt modelId="{9092CCB9-4CEE-40F5-A4E5-3FB24F264C14}" type="pres">
      <dgm:prSet presAssocID="{5AF90843-8865-49C8-A3CE-E6601CD87CF1}" presName="hSp" presStyleCnt="0"/>
      <dgm:spPr/>
    </dgm:pt>
    <dgm:pt modelId="{F427A49B-6039-4312-9D46-5CBC95882634}" type="pres">
      <dgm:prSet presAssocID="{5AF90843-8865-49C8-A3CE-E6601CD87CF1}" presName="vProcSp" presStyleCnt="0"/>
      <dgm:spPr/>
    </dgm:pt>
    <dgm:pt modelId="{C74B24F9-DB6F-4ABF-8CC1-FD87D5D0CF4A}" type="pres">
      <dgm:prSet presAssocID="{5AF90843-8865-49C8-A3CE-E6601CD87CF1}" presName="vSp1" presStyleCnt="0"/>
      <dgm:spPr/>
    </dgm:pt>
    <dgm:pt modelId="{DF0BD80F-CA1F-4942-9C04-CD57172A018C}" type="pres">
      <dgm:prSet presAssocID="{5AF90843-8865-49C8-A3CE-E6601CD87CF1}" presName="simulatedConn" presStyleLbl="solidFgAcc1" presStyleIdx="1" presStyleCnt="4"/>
      <dgm:spPr/>
    </dgm:pt>
    <dgm:pt modelId="{8C8A3F43-2777-436E-B648-FABAB755A421}" type="pres">
      <dgm:prSet presAssocID="{5AF90843-8865-49C8-A3CE-E6601CD87CF1}" presName="vSp2" presStyleCnt="0"/>
      <dgm:spPr/>
    </dgm:pt>
    <dgm:pt modelId="{705FD1E6-209C-442B-A72A-2EB92E4ABCDD}" type="pres">
      <dgm:prSet presAssocID="{5AF90843-8865-49C8-A3CE-E6601CD87CF1}" presName="sibTrans" presStyleCnt="0"/>
      <dgm:spPr/>
    </dgm:pt>
    <dgm:pt modelId="{EF66C1F6-D5EA-49C9-9003-E8FB0530E50B}" type="pres">
      <dgm:prSet presAssocID="{B0FFC00B-32BC-4897-B611-E7A54F1002CB}" presName="compositeNode" presStyleCnt="0">
        <dgm:presLayoutVars>
          <dgm:bulletEnabled val="1"/>
        </dgm:presLayoutVars>
      </dgm:prSet>
      <dgm:spPr/>
    </dgm:pt>
    <dgm:pt modelId="{DDB8546E-141E-45DA-806B-AE36DB99685D}" type="pres">
      <dgm:prSet presAssocID="{B0FFC00B-32BC-4897-B611-E7A54F1002CB}" presName="bgRect" presStyleLbl="node1" presStyleIdx="2" presStyleCnt="5"/>
      <dgm:spPr/>
    </dgm:pt>
    <dgm:pt modelId="{5C7553DF-0001-4E48-BA06-646828F35DA3}" type="pres">
      <dgm:prSet presAssocID="{B0FFC00B-32BC-4897-B611-E7A54F1002CB}" presName="parentNode" presStyleLbl="node1" presStyleIdx="2" presStyleCnt="5">
        <dgm:presLayoutVars>
          <dgm:chMax val="0"/>
          <dgm:bulletEnabled val="1"/>
        </dgm:presLayoutVars>
      </dgm:prSet>
      <dgm:spPr/>
    </dgm:pt>
    <dgm:pt modelId="{7B1C3C5F-51A4-44AB-B78B-A42712F498F8}" type="pres">
      <dgm:prSet presAssocID="{B0FFC00B-32BC-4897-B611-E7A54F1002CB}" presName="childNode" presStyleLbl="node1" presStyleIdx="2" presStyleCnt="5">
        <dgm:presLayoutVars>
          <dgm:bulletEnabled val="1"/>
        </dgm:presLayoutVars>
      </dgm:prSet>
      <dgm:spPr/>
    </dgm:pt>
    <dgm:pt modelId="{9C5A7EA4-68D2-4F4E-A341-32D2060277C0}" type="pres">
      <dgm:prSet presAssocID="{92F9A080-8E24-4276-AFC9-33786A911FCA}" presName="hSp" presStyleCnt="0"/>
      <dgm:spPr/>
    </dgm:pt>
    <dgm:pt modelId="{533F5CB5-11CD-4113-94DB-6332B0E42A68}" type="pres">
      <dgm:prSet presAssocID="{92F9A080-8E24-4276-AFC9-33786A911FCA}" presName="vProcSp" presStyleCnt="0"/>
      <dgm:spPr/>
    </dgm:pt>
    <dgm:pt modelId="{A0AADE5D-2DD5-468C-9FB4-A9CCBF7E542B}" type="pres">
      <dgm:prSet presAssocID="{92F9A080-8E24-4276-AFC9-33786A911FCA}" presName="vSp1" presStyleCnt="0"/>
      <dgm:spPr/>
    </dgm:pt>
    <dgm:pt modelId="{6F7A2C98-2BDF-4AF2-8E7D-F161EA5914DC}" type="pres">
      <dgm:prSet presAssocID="{92F9A080-8E24-4276-AFC9-33786A911FCA}" presName="simulatedConn" presStyleLbl="solidFgAcc1" presStyleIdx="2" presStyleCnt="4"/>
      <dgm:spPr/>
    </dgm:pt>
    <dgm:pt modelId="{7C8EE941-D3B3-43BF-ACDB-D1C18AFAA2ED}" type="pres">
      <dgm:prSet presAssocID="{92F9A080-8E24-4276-AFC9-33786A911FCA}" presName="vSp2" presStyleCnt="0"/>
      <dgm:spPr/>
    </dgm:pt>
    <dgm:pt modelId="{B56FE6A2-BE7A-480D-9F62-18FEB0B8771D}" type="pres">
      <dgm:prSet presAssocID="{92F9A080-8E24-4276-AFC9-33786A911FCA}" presName="sibTrans" presStyleCnt="0"/>
      <dgm:spPr/>
    </dgm:pt>
    <dgm:pt modelId="{C14F29C5-A46A-4384-BBC8-5F0582B8F8F8}" type="pres">
      <dgm:prSet presAssocID="{B8E0BE3A-12E6-493B-9CBB-9EE4E837D7E3}" presName="compositeNode" presStyleCnt="0">
        <dgm:presLayoutVars>
          <dgm:bulletEnabled val="1"/>
        </dgm:presLayoutVars>
      </dgm:prSet>
      <dgm:spPr/>
    </dgm:pt>
    <dgm:pt modelId="{8312984E-8818-4AE4-9964-CD99F5303B47}" type="pres">
      <dgm:prSet presAssocID="{B8E0BE3A-12E6-493B-9CBB-9EE4E837D7E3}" presName="bgRect" presStyleLbl="node1" presStyleIdx="3" presStyleCnt="5"/>
      <dgm:spPr/>
    </dgm:pt>
    <dgm:pt modelId="{21B51C3B-F3AB-4A14-836A-988299E049E4}" type="pres">
      <dgm:prSet presAssocID="{B8E0BE3A-12E6-493B-9CBB-9EE4E837D7E3}" presName="parentNode" presStyleLbl="node1" presStyleIdx="3" presStyleCnt="5">
        <dgm:presLayoutVars>
          <dgm:chMax val="0"/>
          <dgm:bulletEnabled val="1"/>
        </dgm:presLayoutVars>
      </dgm:prSet>
      <dgm:spPr/>
    </dgm:pt>
    <dgm:pt modelId="{57B8AB37-1240-4408-9FBD-885687A2EC8D}" type="pres">
      <dgm:prSet presAssocID="{B8E0BE3A-12E6-493B-9CBB-9EE4E837D7E3}" presName="childNode" presStyleLbl="node1" presStyleIdx="3" presStyleCnt="5">
        <dgm:presLayoutVars>
          <dgm:bulletEnabled val="1"/>
        </dgm:presLayoutVars>
      </dgm:prSet>
      <dgm:spPr/>
    </dgm:pt>
    <dgm:pt modelId="{1E370F3A-4C76-42A1-9A0A-BE6EFE92446A}" type="pres">
      <dgm:prSet presAssocID="{D92847DF-21BC-426B-A87A-8143E1B2BB6E}" presName="hSp" presStyleCnt="0"/>
      <dgm:spPr/>
    </dgm:pt>
    <dgm:pt modelId="{B2A68460-335F-4478-AF8C-F589A03E5819}" type="pres">
      <dgm:prSet presAssocID="{D92847DF-21BC-426B-A87A-8143E1B2BB6E}" presName="vProcSp" presStyleCnt="0"/>
      <dgm:spPr/>
    </dgm:pt>
    <dgm:pt modelId="{44554180-0C3B-41F0-8FA5-B86109009F12}" type="pres">
      <dgm:prSet presAssocID="{D92847DF-21BC-426B-A87A-8143E1B2BB6E}" presName="vSp1" presStyleCnt="0"/>
      <dgm:spPr/>
    </dgm:pt>
    <dgm:pt modelId="{D1DD816F-6758-485F-8A48-2A36082DC2F6}" type="pres">
      <dgm:prSet presAssocID="{D92847DF-21BC-426B-A87A-8143E1B2BB6E}" presName="simulatedConn" presStyleLbl="solidFgAcc1" presStyleIdx="3" presStyleCnt="4"/>
      <dgm:spPr/>
    </dgm:pt>
    <dgm:pt modelId="{55D52958-D943-4565-8A57-93E68D9842D3}" type="pres">
      <dgm:prSet presAssocID="{D92847DF-21BC-426B-A87A-8143E1B2BB6E}" presName="vSp2" presStyleCnt="0"/>
      <dgm:spPr/>
    </dgm:pt>
    <dgm:pt modelId="{A13D61BA-26E1-46C6-BAE7-90D4535519F6}" type="pres">
      <dgm:prSet presAssocID="{D92847DF-21BC-426B-A87A-8143E1B2BB6E}" presName="sibTrans" presStyleCnt="0"/>
      <dgm:spPr/>
    </dgm:pt>
    <dgm:pt modelId="{D40EA468-97F9-44A6-AB5C-9AE5FA3FCCB5}" type="pres">
      <dgm:prSet presAssocID="{F63B3126-8A70-4C2D-9154-7DC705850F22}" presName="compositeNode" presStyleCnt="0">
        <dgm:presLayoutVars>
          <dgm:bulletEnabled val="1"/>
        </dgm:presLayoutVars>
      </dgm:prSet>
      <dgm:spPr/>
    </dgm:pt>
    <dgm:pt modelId="{9351DF02-9739-4E20-BD28-675B3FB67A5D}" type="pres">
      <dgm:prSet presAssocID="{F63B3126-8A70-4C2D-9154-7DC705850F22}" presName="bgRect" presStyleLbl="node1" presStyleIdx="4" presStyleCnt="5"/>
      <dgm:spPr/>
    </dgm:pt>
    <dgm:pt modelId="{945AC6EE-7277-4D44-BD8E-6A1BFE586CDB}" type="pres">
      <dgm:prSet presAssocID="{F63B3126-8A70-4C2D-9154-7DC705850F22}" presName="parentNode" presStyleLbl="node1" presStyleIdx="4" presStyleCnt="5">
        <dgm:presLayoutVars>
          <dgm:chMax val="0"/>
          <dgm:bulletEnabled val="1"/>
        </dgm:presLayoutVars>
      </dgm:prSet>
      <dgm:spPr/>
    </dgm:pt>
    <dgm:pt modelId="{8C5AE68A-6797-4ACF-A627-BB57CC35A427}" type="pres">
      <dgm:prSet presAssocID="{F63B3126-8A70-4C2D-9154-7DC705850F22}" presName="childNode" presStyleLbl="node1" presStyleIdx="4" presStyleCnt="5">
        <dgm:presLayoutVars>
          <dgm:bulletEnabled val="1"/>
        </dgm:presLayoutVars>
      </dgm:prSet>
      <dgm:spPr/>
    </dgm:pt>
  </dgm:ptLst>
  <dgm:cxnLst>
    <dgm:cxn modelId="{747A8F00-A676-46B4-94FB-0C2896B64E3E}" srcId="{30309F82-CCA3-449F-A2F4-8F9D65768A13}" destId="{C79C79E1-DF22-46C6-AA66-CE023450380E}" srcOrd="0" destOrd="0" parTransId="{DEC2DE69-9DA4-4413-B71B-8DD481A796B7}" sibTransId="{4E3E4D98-BF21-4752-87CC-F6166E80DFDE}"/>
    <dgm:cxn modelId="{5E09800B-6D23-491E-98C5-F059A1827198}" type="presOf" srcId="{B0FFC00B-32BC-4897-B611-E7A54F1002CB}" destId="{5C7553DF-0001-4E48-BA06-646828F35DA3}" srcOrd="1" destOrd="0" presId="urn:microsoft.com/office/officeart/2005/8/layout/hProcess7"/>
    <dgm:cxn modelId="{DA687B14-4074-4F82-9EAB-82AD52A218A8}" type="presOf" srcId="{C56C447B-47F9-4B0F-B564-376F30CF2E58}" destId="{F8FF1547-5255-4A99-8DBA-2C5AC21260AB}" srcOrd="0" destOrd="0" presId="urn:microsoft.com/office/officeart/2005/8/layout/hProcess7"/>
    <dgm:cxn modelId="{700B8314-D781-4C51-AF14-4782425E371F}" type="presOf" srcId="{30309F82-CCA3-449F-A2F4-8F9D65768A13}" destId="{645DD1C3-F0F0-46DE-B3D4-77E995931FC7}" srcOrd="0" destOrd="0" presId="urn:microsoft.com/office/officeart/2005/8/layout/hProcess7"/>
    <dgm:cxn modelId="{5AB9C831-CCC6-44D7-A0FB-A6EC7745243A}" type="presOf" srcId="{C79C79E1-DF22-46C6-AA66-CE023450380E}" destId="{FDB9ECC2-B8F7-4C4D-B020-89AFC593C635}" srcOrd="1" destOrd="0" presId="urn:microsoft.com/office/officeart/2005/8/layout/hProcess7"/>
    <dgm:cxn modelId="{6C6D1C58-6AE3-4A43-B45C-2889B323B320}" srcId="{B8E0BE3A-12E6-493B-9CBB-9EE4E837D7E3}" destId="{AA789BD4-4190-4EC4-B5EB-9D16954F9E78}" srcOrd="0" destOrd="0" parTransId="{77173D9D-4AB5-427C-8C2F-70F7B09DCC5A}" sibTransId="{00A22445-6F22-46C2-B9D8-9B10E55B831E}"/>
    <dgm:cxn modelId="{F4DAEA63-92B2-4593-BD56-88E552987FD3}" type="presOf" srcId="{E5255D1C-B970-48D4-92B0-B9913AE104CD}" destId="{8C5AE68A-6797-4ACF-A627-BB57CC35A427}" srcOrd="0" destOrd="0" presId="urn:microsoft.com/office/officeart/2005/8/layout/hProcess7"/>
    <dgm:cxn modelId="{85D37469-DCF2-46C0-9A36-E808667C2D3D}" type="presOf" srcId="{B8E0BE3A-12E6-493B-9CBB-9EE4E837D7E3}" destId="{8312984E-8818-4AE4-9964-CD99F5303B47}" srcOrd="0" destOrd="0" presId="urn:microsoft.com/office/officeart/2005/8/layout/hProcess7"/>
    <dgm:cxn modelId="{71A32D6E-8B50-4D10-93A1-A0290E62E9AF}" type="presOf" srcId="{F63B3126-8A70-4C2D-9154-7DC705850F22}" destId="{945AC6EE-7277-4D44-BD8E-6A1BFE586CDB}" srcOrd="1" destOrd="0" presId="urn:microsoft.com/office/officeart/2005/8/layout/hProcess7"/>
    <dgm:cxn modelId="{CF08A770-022E-48B6-AC40-5497D8F7510D}" srcId="{30309F82-CCA3-449F-A2F4-8F9D65768A13}" destId="{B0FFC00B-32BC-4897-B611-E7A54F1002CB}" srcOrd="2" destOrd="0" parTransId="{D41CF206-20AB-4F8F-8CB0-069060F9E9DE}" sibTransId="{92F9A080-8E24-4276-AFC9-33786A911FCA}"/>
    <dgm:cxn modelId="{AA4E687D-FD8F-4606-9B30-CC6944B1288A}" type="presOf" srcId="{B0FFC00B-32BC-4897-B611-E7A54F1002CB}" destId="{DDB8546E-141E-45DA-806B-AE36DB99685D}" srcOrd="0" destOrd="0" presId="urn:microsoft.com/office/officeart/2005/8/layout/hProcess7"/>
    <dgm:cxn modelId="{967FA97D-E1B5-4E27-9B4D-BF61390B74A4}" srcId="{C5ECC80D-036B-4B42-80F9-8C9D86EB5A85}" destId="{F0A53A19-65C3-44FD-B533-B2FF86964718}" srcOrd="0" destOrd="0" parTransId="{5010D350-82F8-46FE-9570-0E4779A9B79F}" sibTransId="{11679C2D-D24B-441F-8195-9411BD73259F}"/>
    <dgm:cxn modelId="{700E038B-B2A5-42C3-A565-5DF99594CE08}" type="presOf" srcId="{F63B3126-8A70-4C2D-9154-7DC705850F22}" destId="{9351DF02-9739-4E20-BD28-675B3FB67A5D}" srcOrd="0" destOrd="0" presId="urn:microsoft.com/office/officeart/2005/8/layout/hProcess7"/>
    <dgm:cxn modelId="{D93BF59C-DD65-4A77-B0FC-B131F1B49C11}" type="presOf" srcId="{C5ECC80D-036B-4B42-80F9-8C9D86EB5A85}" destId="{9D649A5E-0B53-4F44-A9DE-FD4811EA7B48}" srcOrd="1" destOrd="0" presId="urn:microsoft.com/office/officeart/2005/8/layout/hProcess7"/>
    <dgm:cxn modelId="{ADBFEDAD-881A-4143-8C52-6316EA1C6EEB}" type="presOf" srcId="{B8E0BE3A-12E6-493B-9CBB-9EE4E837D7E3}" destId="{21B51C3B-F3AB-4A14-836A-988299E049E4}" srcOrd="1" destOrd="0" presId="urn:microsoft.com/office/officeart/2005/8/layout/hProcess7"/>
    <dgm:cxn modelId="{592987B2-12D4-4565-B9C0-71B45DDDE1DF}" srcId="{C79C79E1-DF22-46C6-AA66-CE023450380E}" destId="{C56C447B-47F9-4B0F-B564-376F30CF2E58}" srcOrd="0" destOrd="0" parTransId="{D59D92E0-ED44-41CA-836A-806A458E20A6}" sibTransId="{ED959590-B9B5-4FE2-AEA6-BFDCAD97FF2A}"/>
    <dgm:cxn modelId="{0F5F49B7-76DD-41CD-8981-ADFA841C5CBF}" type="presOf" srcId="{AA789BD4-4190-4EC4-B5EB-9D16954F9E78}" destId="{57B8AB37-1240-4408-9FBD-885687A2EC8D}" srcOrd="0" destOrd="0" presId="urn:microsoft.com/office/officeart/2005/8/layout/hProcess7"/>
    <dgm:cxn modelId="{C6DD32C0-3BBC-4F97-B225-CDC10CAAE7F9}" srcId="{B0FFC00B-32BC-4897-B611-E7A54F1002CB}" destId="{7F354E16-C509-4EC1-9709-B21B936D3968}" srcOrd="0" destOrd="0" parTransId="{A9D1B55B-084D-4E4A-944F-6E9A3DBB39A1}" sibTransId="{752762FE-A63E-4121-A1F5-56FC26AD12A7}"/>
    <dgm:cxn modelId="{A6C589C5-F375-4CE8-8E9B-A7E947FDC72D}" srcId="{30309F82-CCA3-449F-A2F4-8F9D65768A13}" destId="{C5ECC80D-036B-4B42-80F9-8C9D86EB5A85}" srcOrd="1" destOrd="0" parTransId="{562DD951-002E-464B-9B35-F323151A5E78}" sibTransId="{5AF90843-8865-49C8-A3CE-E6601CD87CF1}"/>
    <dgm:cxn modelId="{C530B6C7-46A2-4367-98F7-5EA6AD92CE9D}" srcId="{30309F82-CCA3-449F-A2F4-8F9D65768A13}" destId="{B8E0BE3A-12E6-493B-9CBB-9EE4E837D7E3}" srcOrd="3" destOrd="0" parTransId="{8B524920-012C-4DB7-B10E-E2777023198C}" sibTransId="{D92847DF-21BC-426B-A87A-8143E1B2BB6E}"/>
    <dgm:cxn modelId="{349F0BDD-479E-400C-B54E-291F2D790787}" type="presOf" srcId="{F0A53A19-65C3-44FD-B533-B2FF86964718}" destId="{5B5D6255-FFFD-4E85-86DD-C773E9F14088}" srcOrd="0" destOrd="0" presId="urn:microsoft.com/office/officeart/2005/8/layout/hProcess7"/>
    <dgm:cxn modelId="{13441DDD-417F-4671-A25F-16EF03D2DA2F}" type="presOf" srcId="{7F354E16-C509-4EC1-9709-B21B936D3968}" destId="{7B1C3C5F-51A4-44AB-B78B-A42712F498F8}" srcOrd="0" destOrd="0" presId="urn:microsoft.com/office/officeart/2005/8/layout/hProcess7"/>
    <dgm:cxn modelId="{25C1F5E0-4BBD-43C6-96D5-B1C95EE9FCCE}" type="presOf" srcId="{C5ECC80D-036B-4B42-80F9-8C9D86EB5A85}" destId="{0432C7AE-7A5C-40DD-A5F7-1D24AAE507DC}" srcOrd="0" destOrd="0" presId="urn:microsoft.com/office/officeart/2005/8/layout/hProcess7"/>
    <dgm:cxn modelId="{A56FE4E6-317C-41E0-9CDC-98E6CB274DCF}" srcId="{F63B3126-8A70-4C2D-9154-7DC705850F22}" destId="{E5255D1C-B970-48D4-92B0-B9913AE104CD}" srcOrd="0" destOrd="0" parTransId="{38C73E5C-671E-4BF9-AC4B-174DC91E739A}" sibTransId="{FBA5C7D8-FEAC-4537-9B4C-4E07FA1786C9}"/>
    <dgm:cxn modelId="{E1CA37FA-5600-478A-AA63-5D1FEF32FFB8}" srcId="{30309F82-CCA3-449F-A2F4-8F9D65768A13}" destId="{F63B3126-8A70-4C2D-9154-7DC705850F22}" srcOrd="4" destOrd="0" parTransId="{DDD32EC2-5962-42AE-A20C-4650C961896A}" sibTransId="{7E8AF7B8-7BC8-4793-B4C6-E5AD3E3036B1}"/>
    <dgm:cxn modelId="{00A183FC-FF00-4DBD-A52C-91E9A065E139}" type="presOf" srcId="{C79C79E1-DF22-46C6-AA66-CE023450380E}" destId="{0984C7E9-C290-4103-96EF-8B487F6AE2F4}" srcOrd="0" destOrd="0" presId="urn:microsoft.com/office/officeart/2005/8/layout/hProcess7"/>
    <dgm:cxn modelId="{1488F8EE-AA3D-4797-A820-1D7D0781F55E}" type="presParOf" srcId="{645DD1C3-F0F0-46DE-B3D4-77E995931FC7}" destId="{170CFF85-91BD-474A-8E86-D99F3F3C7B21}" srcOrd="0" destOrd="0" presId="urn:microsoft.com/office/officeart/2005/8/layout/hProcess7"/>
    <dgm:cxn modelId="{83BCF834-3046-4389-A99E-E5D68C2097E0}" type="presParOf" srcId="{170CFF85-91BD-474A-8E86-D99F3F3C7B21}" destId="{0984C7E9-C290-4103-96EF-8B487F6AE2F4}" srcOrd="0" destOrd="0" presId="urn:microsoft.com/office/officeart/2005/8/layout/hProcess7"/>
    <dgm:cxn modelId="{1DB66F24-1F7E-4051-BB49-07CA7354AD37}" type="presParOf" srcId="{170CFF85-91BD-474A-8E86-D99F3F3C7B21}" destId="{FDB9ECC2-B8F7-4C4D-B020-89AFC593C635}" srcOrd="1" destOrd="0" presId="urn:microsoft.com/office/officeart/2005/8/layout/hProcess7"/>
    <dgm:cxn modelId="{43C08DD8-6A64-4643-A938-634FAD88BDE8}" type="presParOf" srcId="{170CFF85-91BD-474A-8E86-D99F3F3C7B21}" destId="{F8FF1547-5255-4A99-8DBA-2C5AC21260AB}" srcOrd="2" destOrd="0" presId="urn:microsoft.com/office/officeart/2005/8/layout/hProcess7"/>
    <dgm:cxn modelId="{0CAC875F-C602-4217-B2B2-FC0F6D682F23}" type="presParOf" srcId="{645DD1C3-F0F0-46DE-B3D4-77E995931FC7}" destId="{F3B4663D-814B-4778-A860-AA969CBE34FA}" srcOrd="1" destOrd="0" presId="urn:microsoft.com/office/officeart/2005/8/layout/hProcess7"/>
    <dgm:cxn modelId="{AD06D543-581B-487F-81B5-8F2F3B6A4B65}" type="presParOf" srcId="{645DD1C3-F0F0-46DE-B3D4-77E995931FC7}" destId="{275BF2D1-F70F-4680-A7A0-38640096B68D}" srcOrd="2" destOrd="0" presId="urn:microsoft.com/office/officeart/2005/8/layout/hProcess7"/>
    <dgm:cxn modelId="{B5DF66A1-31C9-441B-955B-8C434CFF4C99}" type="presParOf" srcId="{275BF2D1-F70F-4680-A7A0-38640096B68D}" destId="{82EA25A4-2160-4A4B-811D-A34254A2E593}" srcOrd="0" destOrd="0" presId="urn:microsoft.com/office/officeart/2005/8/layout/hProcess7"/>
    <dgm:cxn modelId="{00DB0030-AFBD-4AE8-B89C-54A82EAF368A}" type="presParOf" srcId="{275BF2D1-F70F-4680-A7A0-38640096B68D}" destId="{9E9ABEB9-666B-46CA-8EA0-8B1E243477CD}" srcOrd="1" destOrd="0" presId="urn:microsoft.com/office/officeart/2005/8/layout/hProcess7"/>
    <dgm:cxn modelId="{28EB7784-F6A7-4F6E-AD2D-F4AE9361D29F}" type="presParOf" srcId="{275BF2D1-F70F-4680-A7A0-38640096B68D}" destId="{7D2D74E7-8897-4D6F-B8BE-8351BDDCF905}" srcOrd="2" destOrd="0" presId="urn:microsoft.com/office/officeart/2005/8/layout/hProcess7"/>
    <dgm:cxn modelId="{CDF24ECC-8360-4BBC-996F-2FAC3736607B}" type="presParOf" srcId="{645DD1C3-F0F0-46DE-B3D4-77E995931FC7}" destId="{E1DE7AAB-9DE1-46D0-9582-9D711BFD9FFB}" srcOrd="3" destOrd="0" presId="urn:microsoft.com/office/officeart/2005/8/layout/hProcess7"/>
    <dgm:cxn modelId="{99B276EF-DCEA-4336-A59E-2B8437E568F5}" type="presParOf" srcId="{645DD1C3-F0F0-46DE-B3D4-77E995931FC7}" destId="{9CE5BDED-B58D-4222-A34E-E6997C37A75E}" srcOrd="4" destOrd="0" presId="urn:microsoft.com/office/officeart/2005/8/layout/hProcess7"/>
    <dgm:cxn modelId="{F88CD46F-2133-417A-90DF-9093A16048A6}" type="presParOf" srcId="{9CE5BDED-B58D-4222-A34E-E6997C37A75E}" destId="{0432C7AE-7A5C-40DD-A5F7-1D24AAE507DC}" srcOrd="0" destOrd="0" presId="urn:microsoft.com/office/officeart/2005/8/layout/hProcess7"/>
    <dgm:cxn modelId="{7D1916BC-AF5F-4895-BC31-4CB8DD9C6500}" type="presParOf" srcId="{9CE5BDED-B58D-4222-A34E-E6997C37A75E}" destId="{9D649A5E-0B53-4F44-A9DE-FD4811EA7B48}" srcOrd="1" destOrd="0" presId="urn:microsoft.com/office/officeart/2005/8/layout/hProcess7"/>
    <dgm:cxn modelId="{BE61128C-BBF7-4A6B-BABD-CC39EF5E175D}" type="presParOf" srcId="{9CE5BDED-B58D-4222-A34E-E6997C37A75E}" destId="{5B5D6255-FFFD-4E85-86DD-C773E9F14088}" srcOrd="2" destOrd="0" presId="urn:microsoft.com/office/officeart/2005/8/layout/hProcess7"/>
    <dgm:cxn modelId="{7E66AC2D-CED5-46ED-8893-67604F5EB65A}" type="presParOf" srcId="{645DD1C3-F0F0-46DE-B3D4-77E995931FC7}" destId="{9092CCB9-4CEE-40F5-A4E5-3FB24F264C14}" srcOrd="5" destOrd="0" presId="urn:microsoft.com/office/officeart/2005/8/layout/hProcess7"/>
    <dgm:cxn modelId="{A39DCDA5-824B-426F-9809-C0DB6E29AD0D}" type="presParOf" srcId="{645DD1C3-F0F0-46DE-B3D4-77E995931FC7}" destId="{F427A49B-6039-4312-9D46-5CBC95882634}" srcOrd="6" destOrd="0" presId="urn:microsoft.com/office/officeart/2005/8/layout/hProcess7"/>
    <dgm:cxn modelId="{B5731EDC-FA2C-44D4-AAFB-EED12682A5B3}" type="presParOf" srcId="{F427A49B-6039-4312-9D46-5CBC95882634}" destId="{C74B24F9-DB6F-4ABF-8CC1-FD87D5D0CF4A}" srcOrd="0" destOrd="0" presId="urn:microsoft.com/office/officeart/2005/8/layout/hProcess7"/>
    <dgm:cxn modelId="{5435CCCC-8C99-4FEC-AFA5-17174C3D206D}" type="presParOf" srcId="{F427A49B-6039-4312-9D46-5CBC95882634}" destId="{DF0BD80F-CA1F-4942-9C04-CD57172A018C}" srcOrd="1" destOrd="0" presId="urn:microsoft.com/office/officeart/2005/8/layout/hProcess7"/>
    <dgm:cxn modelId="{AAAAD4C7-A932-4808-9938-CBEC2816473B}" type="presParOf" srcId="{F427A49B-6039-4312-9D46-5CBC95882634}" destId="{8C8A3F43-2777-436E-B648-FABAB755A421}" srcOrd="2" destOrd="0" presId="urn:microsoft.com/office/officeart/2005/8/layout/hProcess7"/>
    <dgm:cxn modelId="{F82F2BF7-4D11-4AE3-BD46-6B86F0051F10}" type="presParOf" srcId="{645DD1C3-F0F0-46DE-B3D4-77E995931FC7}" destId="{705FD1E6-209C-442B-A72A-2EB92E4ABCDD}" srcOrd="7" destOrd="0" presId="urn:microsoft.com/office/officeart/2005/8/layout/hProcess7"/>
    <dgm:cxn modelId="{6B3B28CF-6F20-464C-8666-9B9AF92A89B7}" type="presParOf" srcId="{645DD1C3-F0F0-46DE-B3D4-77E995931FC7}" destId="{EF66C1F6-D5EA-49C9-9003-E8FB0530E50B}" srcOrd="8" destOrd="0" presId="urn:microsoft.com/office/officeart/2005/8/layout/hProcess7"/>
    <dgm:cxn modelId="{3773DCDA-49FF-4CFA-8ACC-DB014B268BBA}" type="presParOf" srcId="{EF66C1F6-D5EA-49C9-9003-E8FB0530E50B}" destId="{DDB8546E-141E-45DA-806B-AE36DB99685D}" srcOrd="0" destOrd="0" presId="urn:microsoft.com/office/officeart/2005/8/layout/hProcess7"/>
    <dgm:cxn modelId="{8D81E911-AC47-422E-AEB2-05E68BD743A1}" type="presParOf" srcId="{EF66C1F6-D5EA-49C9-9003-E8FB0530E50B}" destId="{5C7553DF-0001-4E48-BA06-646828F35DA3}" srcOrd="1" destOrd="0" presId="urn:microsoft.com/office/officeart/2005/8/layout/hProcess7"/>
    <dgm:cxn modelId="{B46C14E0-0A65-42B3-A258-A249E74B85FC}" type="presParOf" srcId="{EF66C1F6-D5EA-49C9-9003-E8FB0530E50B}" destId="{7B1C3C5F-51A4-44AB-B78B-A42712F498F8}" srcOrd="2" destOrd="0" presId="urn:microsoft.com/office/officeart/2005/8/layout/hProcess7"/>
    <dgm:cxn modelId="{EDE2853C-FAD7-4B0A-A3BE-4FC8CA9A3296}" type="presParOf" srcId="{645DD1C3-F0F0-46DE-B3D4-77E995931FC7}" destId="{9C5A7EA4-68D2-4F4E-A341-32D2060277C0}" srcOrd="9" destOrd="0" presId="urn:microsoft.com/office/officeart/2005/8/layout/hProcess7"/>
    <dgm:cxn modelId="{00D2743B-87BD-4228-BBAC-D46DD29DD2DB}" type="presParOf" srcId="{645DD1C3-F0F0-46DE-B3D4-77E995931FC7}" destId="{533F5CB5-11CD-4113-94DB-6332B0E42A68}" srcOrd="10" destOrd="0" presId="urn:microsoft.com/office/officeart/2005/8/layout/hProcess7"/>
    <dgm:cxn modelId="{4F543380-12C1-4DBD-87A1-3CCD365736B9}" type="presParOf" srcId="{533F5CB5-11CD-4113-94DB-6332B0E42A68}" destId="{A0AADE5D-2DD5-468C-9FB4-A9CCBF7E542B}" srcOrd="0" destOrd="0" presId="urn:microsoft.com/office/officeart/2005/8/layout/hProcess7"/>
    <dgm:cxn modelId="{E9C5333B-7B9B-4F79-A371-A9129709C74E}" type="presParOf" srcId="{533F5CB5-11CD-4113-94DB-6332B0E42A68}" destId="{6F7A2C98-2BDF-4AF2-8E7D-F161EA5914DC}" srcOrd="1" destOrd="0" presId="urn:microsoft.com/office/officeart/2005/8/layout/hProcess7"/>
    <dgm:cxn modelId="{7E5ACE80-0779-482D-A04E-998583F82423}" type="presParOf" srcId="{533F5CB5-11CD-4113-94DB-6332B0E42A68}" destId="{7C8EE941-D3B3-43BF-ACDB-D1C18AFAA2ED}" srcOrd="2" destOrd="0" presId="urn:microsoft.com/office/officeart/2005/8/layout/hProcess7"/>
    <dgm:cxn modelId="{F71BFE2F-DEA4-4617-B6FC-473BF817C794}" type="presParOf" srcId="{645DD1C3-F0F0-46DE-B3D4-77E995931FC7}" destId="{B56FE6A2-BE7A-480D-9F62-18FEB0B8771D}" srcOrd="11" destOrd="0" presId="urn:microsoft.com/office/officeart/2005/8/layout/hProcess7"/>
    <dgm:cxn modelId="{C048588E-C638-4216-8D8D-5EEC75CAED74}" type="presParOf" srcId="{645DD1C3-F0F0-46DE-B3D4-77E995931FC7}" destId="{C14F29C5-A46A-4384-BBC8-5F0582B8F8F8}" srcOrd="12" destOrd="0" presId="urn:microsoft.com/office/officeart/2005/8/layout/hProcess7"/>
    <dgm:cxn modelId="{57107411-8364-43DD-A9B7-EE82C4C981B4}" type="presParOf" srcId="{C14F29C5-A46A-4384-BBC8-5F0582B8F8F8}" destId="{8312984E-8818-4AE4-9964-CD99F5303B47}" srcOrd="0" destOrd="0" presId="urn:microsoft.com/office/officeart/2005/8/layout/hProcess7"/>
    <dgm:cxn modelId="{CC138C94-45CD-42C1-8057-4C036278BF97}" type="presParOf" srcId="{C14F29C5-A46A-4384-BBC8-5F0582B8F8F8}" destId="{21B51C3B-F3AB-4A14-836A-988299E049E4}" srcOrd="1" destOrd="0" presId="urn:microsoft.com/office/officeart/2005/8/layout/hProcess7"/>
    <dgm:cxn modelId="{DE95E5F0-74B7-4BC4-9ECD-BAB6C63D4D71}" type="presParOf" srcId="{C14F29C5-A46A-4384-BBC8-5F0582B8F8F8}" destId="{57B8AB37-1240-4408-9FBD-885687A2EC8D}" srcOrd="2" destOrd="0" presId="urn:microsoft.com/office/officeart/2005/8/layout/hProcess7"/>
    <dgm:cxn modelId="{513D8E1C-1EFC-43DE-B962-6C41B54DFDC0}" type="presParOf" srcId="{645DD1C3-F0F0-46DE-B3D4-77E995931FC7}" destId="{1E370F3A-4C76-42A1-9A0A-BE6EFE92446A}" srcOrd="13" destOrd="0" presId="urn:microsoft.com/office/officeart/2005/8/layout/hProcess7"/>
    <dgm:cxn modelId="{AA1DEC57-5DB3-4417-B44B-8F2A85A4781E}" type="presParOf" srcId="{645DD1C3-F0F0-46DE-B3D4-77E995931FC7}" destId="{B2A68460-335F-4478-AF8C-F589A03E5819}" srcOrd="14" destOrd="0" presId="urn:microsoft.com/office/officeart/2005/8/layout/hProcess7"/>
    <dgm:cxn modelId="{141DCDC3-83AC-40F5-A44A-37F2D58959D6}" type="presParOf" srcId="{B2A68460-335F-4478-AF8C-F589A03E5819}" destId="{44554180-0C3B-41F0-8FA5-B86109009F12}" srcOrd="0" destOrd="0" presId="urn:microsoft.com/office/officeart/2005/8/layout/hProcess7"/>
    <dgm:cxn modelId="{DB465C2E-4F1E-478B-B1AF-D1F2B281A7BD}" type="presParOf" srcId="{B2A68460-335F-4478-AF8C-F589A03E5819}" destId="{D1DD816F-6758-485F-8A48-2A36082DC2F6}" srcOrd="1" destOrd="0" presId="urn:microsoft.com/office/officeart/2005/8/layout/hProcess7"/>
    <dgm:cxn modelId="{89BD1192-9458-4127-B438-D3054ED77B6C}" type="presParOf" srcId="{B2A68460-335F-4478-AF8C-F589A03E5819}" destId="{55D52958-D943-4565-8A57-93E68D9842D3}" srcOrd="2" destOrd="0" presId="urn:microsoft.com/office/officeart/2005/8/layout/hProcess7"/>
    <dgm:cxn modelId="{7C5242AD-2918-4391-9629-303CA96AAED6}" type="presParOf" srcId="{645DD1C3-F0F0-46DE-B3D4-77E995931FC7}" destId="{A13D61BA-26E1-46C6-BAE7-90D4535519F6}" srcOrd="15" destOrd="0" presId="urn:microsoft.com/office/officeart/2005/8/layout/hProcess7"/>
    <dgm:cxn modelId="{85980328-99DC-44C8-91A1-BB436F986062}" type="presParOf" srcId="{645DD1C3-F0F0-46DE-B3D4-77E995931FC7}" destId="{D40EA468-97F9-44A6-AB5C-9AE5FA3FCCB5}" srcOrd="16" destOrd="0" presId="urn:microsoft.com/office/officeart/2005/8/layout/hProcess7"/>
    <dgm:cxn modelId="{AC8C1930-6E28-40E6-B81C-2691117CD925}" type="presParOf" srcId="{D40EA468-97F9-44A6-AB5C-9AE5FA3FCCB5}" destId="{9351DF02-9739-4E20-BD28-675B3FB67A5D}" srcOrd="0" destOrd="0" presId="urn:microsoft.com/office/officeart/2005/8/layout/hProcess7"/>
    <dgm:cxn modelId="{8217D769-F1FA-4E97-8063-504932935D96}" type="presParOf" srcId="{D40EA468-97F9-44A6-AB5C-9AE5FA3FCCB5}" destId="{945AC6EE-7277-4D44-BD8E-6A1BFE586CDB}" srcOrd="1" destOrd="0" presId="urn:microsoft.com/office/officeart/2005/8/layout/hProcess7"/>
    <dgm:cxn modelId="{12D1CC84-F4AB-4C4C-A89E-1609FDB19621}" type="presParOf" srcId="{D40EA468-97F9-44A6-AB5C-9AE5FA3FCCB5}" destId="{8C5AE68A-6797-4ACF-A627-BB57CC35A427}"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0309F82-CCA3-449F-A2F4-8F9D65768A13}" type="doc">
      <dgm:prSet loTypeId="urn:microsoft.com/office/officeart/2005/8/layout/hProcess7" loCatId="list" qsTypeId="urn:microsoft.com/office/officeart/2005/8/quickstyle/simple1" qsCatId="simple" csTypeId="urn:microsoft.com/office/officeart/2005/8/colors/colorful3" csCatId="colorful" phldr="1"/>
      <dgm:spPr/>
      <dgm:t>
        <a:bodyPr/>
        <a:lstStyle/>
        <a:p>
          <a:endParaRPr lang="en-US"/>
        </a:p>
      </dgm:t>
    </dgm:pt>
    <dgm:pt modelId="{B0FFC00B-32BC-4897-B611-E7A54F1002CB}">
      <dgm:prSet phldrT="[Text]" custT="1"/>
      <dgm:spPr/>
      <dgm:t>
        <a:bodyPr/>
        <a:lstStyle/>
        <a:p>
          <a:endParaRPr lang="en-US" sz="1600" dirty="0"/>
        </a:p>
      </dgm:t>
    </dgm:pt>
    <dgm:pt modelId="{D41CF206-20AB-4F8F-8CB0-069060F9E9DE}" type="parTrans" cxnId="{CF08A770-022E-48B6-AC40-5497D8F7510D}">
      <dgm:prSet/>
      <dgm:spPr/>
      <dgm:t>
        <a:bodyPr/>
        <a:lstStyle/>
        <a:p>
          <a:endParaRPr lang="en-US"/>
        </a:p>
      </dgm:t>
    </dgm:pt>
    <dgm:pt modelId="{92F9A080-8E24-4276-AFC9-33786A911FCA}" type="sibTrans" cxnId="{CF08A770-022E-48B6-AC40-5497D8F7510D}">
      <dgm:prSet/>
      <dgm:spPr/>
      <dgm:t>
        <a:bodyPr/>
        <a:lstStyle/>
        <a:p>
          <a:endParaRPr lang="en-US"/>
        </a:p>
      </dgm:t>
    </dgm:pt>
    <dgm:pt modelId="{7F354E16-C509-4EC1-9709-B21B936D3968}">
      <dgm:prSet phldrT="[Text]" custT="1"/>
      <dgm:spPr/>
      <dgm:t>
        <a:bodyPr/>
        <a:lstStyle/>
        <a:p>
          <a:r>
            <a:rPr lang="en-US" sz="1400" b="1" i="0" u="none" strike="noStrike" spc="0" baseline="0" dirty="0">
              <a:ln/>
              <a:effectLst/>
              <a:latin typeface="Aptos" panose="020B0004020202020204" pitchFamily="34" charset="0"/>
            </a:rPr>
            <a:t> Prioritize Transparent Communication</a:t>
          </a:r>
          <a:endParaRPr lang="en-US" sz="1400" dirty="0"/>
        </a:p>
      </dgm:t>
    </dgm:pt>
    <dgm:pt modelId="{A9D1B55B-084D-4E4A-944F-6E9A3DBB39A1}" type="parTrans" cxnId="{C6DD32C0-3BBC-4F97-B225-CDC10CAAE7F9}">
      <dgm:prSet/>
      <dgm:spPr/>
      <dgm:t>
        <a:bodyPr/>
        <a:lstStyle/>
        <a:p>
          <a:endParaRPr lang="en-US"/>
        </a:p>
      </dgm:t>
    </dgm:pt>
    <dgm:pt modelId="{752762FE-A63E-4121-A1F5-56FC26AD12A7}" type="sibTrans" cxnId="{C6DD32C0-3BBC-4F97-B225-CDC10CAAE7F9}">
      <dgm:prSet/>
      <dgm:spPr/>
      <dgm:t>
        <a:bodyPr/>
        <a:lstStyle/>
        <a:p>
          <a:endParaRPr lang="en-US"/>
        </a:p>
      </dgm:t>
    </dgm:pt>
    <dgm:pt modelId="{B8E0BE3A-12E6-493B-9CBB-9EE4E837D7E3}">
      <dgm:prSet phldrT="[Text]" custT="1"/>
      <dgm:spPr/>
      <dgm:t>
        <a:bodyPr/>
        <a:lstStyle/>
        <a:p>
          <a:endParaRPr lang="en-US" sz="1600" dirty="0"/>
        </a:p>
      </dgm:t>
    </dgm:pt>
    <dgm:pt modelId="{8B524920-012C-4DB7-B10E-E2777023198C}" type="parTrans" cxnId="{C530B6C7-46A2-4367-98F7-5EA6AD92CE9D}">
      <dgm:prSet/>
      <dgm:spPr/>
      <dgm:t>
        <a:bodyPr/>
        <a:lstStyle/>
        <a:p>
          <a:endParaRPr lang="en-US"/>
        </a:p>
      </dgm:t>
    </dgm:pt>
    <dgm:pt modelId="{D92847DF-21BC-426B-A87A-8143E1B2BB6E}" type="sibTrans" cxnId="{C530B6C7-46A2-4367-98F7-5EA6AD92CE9D}">
      <dgm:prSet/>
      <dgm:spPr/>
      <dgm:t>
        <a:bodyPr/>
        <a:lstStyle/>
        <a:p>
          <a:endParaRPr lang="en-US"/>
        </a:p>
      </dgm:t>
    </dgm:pt>
    <dgm:pt modelId="{AA789BD4-4190-4EC4-B5EB-9D16954F9E78}">
      <dgm:prSet phldrT="[Text]" custT="1"/>
      <dgm:spPr/>
      <dgm:t>
        <a:bodyPr/>
        <a:lstStyle/>
        <a:p>
          <a:r>
            <a:rPr lang="en-US" sz="1400" b="1" i="0" u="none" strike="noStrike" spc="0" baseline="0" dirty="0">
              <a:ln/>
              <a:effectLst/>
              <a:latin typeface="Aptos" panose="020B0004020202020204" pitchFamily="34" charset="0"/>
            </a:rPr>
            <a:t>Emphasize a Data-Informed Decision-Making Process</a:t>
          </a:r>
          <a:endParaRPr lang="en-US" sz="1400" dirty="0"/>
        </a:p>
      </dgm:t>
    </dgm:pt>
    <dgm:pt modelId="{77173D9D-4AB5-427C-8C2F-70F7B09DCC5A}" type="parTrans" cxnId="{6C6D1C58-6AE3-4A43-B45C-2889B323B320}">
      <dgm:prSet/>
      <dgm:spPr/>
      <dgm:t>
        <a:bodyPr/>
        <a:lstStyle/>
        <a:p>
          <a:endParaRPr lang="en-US"/>
        </a:p>
      </dgm:t>
    </dgm:pt>
    <dgm:pt modelId="{00A22445-6F22-46C2-B9D8-9B10E55B831E}" type="sibTrans" cxnId="{6C6D1C58-6AE3-4A43-B45C-2889B323B320}">
      <dgm:prSet/>
      <dgm:spPr/>
      <dgm:t>
        <a:bodyPr/>
        <a:lstStyle/>
        <a:p>
          <a:endParaRPr lang="en-US"/>
        </a:p>
      </dgm:t>
    </dgm:pt>
    <dgm:pt modelId="{F63B3126-8A70-4C2D-9154-7DC705850F22}">
      <dgm:prSet custT="1"/>
      <dgm:spPr/>
      <dgm:t>
        <a:bodyPr/>
        <a:lstStyle/>
        <a:p>
          <a:endParaRPr lang="en-US" sz="1200" dirty="0"/>
        </a:p>
      </dgm:t>
    </dgm:pt>
    <dgm:pt modelId="{DDD32EC2-5962-42AE-A20C-4650C961896A}" type="parTrans" cxnId="{E1CA37FA-5600-478A-AA63-5D1FEF32FFB8}">
      <dgm:prSet/>
      <dgm:spPr/>
      <dgm:t>
        <a:bodyPr/>
        <a:lstStyle/>
        <a:p>
          <a:endParaRPr lang="en-US"/>
        </a:p>
      </dgm:t>
    </dgm:pt>
    <dgm:pt modelId="{7E8AF7B8-7BC8-4793-B4C6-E5AD3E3036B1}" type="sibTrans" cxnId="{E1CA37FA-5600-478A-AA63-5D1FEF32FFB8}">
      <dgm:prSet/>
      <dgm:spPr/>
      <dgm:t>
        <a:bodyPr/>
        <a:lstStyle/>
        <a:p>
          <a:endParaRPr lang="en-US"/>
        </a:p>
      </dgm:t>
    </dgm:pt>
    <dgm:pt modelId="{F0A53A19-65C3-44FD-B533-B2FF86964718}">
      <dgm:prSet custT="1"/>
      <dgm:spPr/>
      <dgm:t>
        <a:bodyPr/>
        <a:lstStyle/>
        <a:p>
          <a:r>
            <a:rPr lang="en-US" sz="1400" b="1" i="0" u="none" strike="noStrike" spc="0" baseline="0" dirty="0">
              <a:ln/>
              <a:effectLst/>
              <a:latin typeface="Aptos" panose="020B0004020202020204" pitchFamily="34" charset="0"/>
            </a:rPr>
            <a:t>Develop a Coaching Mindset</a:t>
          </a:r>
          <a:endParaRPr lang="en-US" sz="1400" dirty="0"/>
        </a:p>
      </dgm:t>
    </dgm:pt>
    <dgm:pt modelId="{5010D350-82F8-46FE-9570-0E4779A9B79F}" type="parTrans" cxnId="{967FA97D-E1B5-4E27-9B4D-BF61390B74A4}">
      <dgm:prSet/>
      <dgm:spPr/>
      <dgm:t>
        <a:bodyPr/>
        <a:lstStyle/>
        <a:p>
          <a:endParaRPr lang="en-US"/>
        </a:p>
      </dgm:t>
    </dgm:pt>
    <dgm:pt modelId="{11679C2D-D24B-441F-8195-9411BD73259F}" type="sibTrans" cxnId="{967FA97D-E1B5-4E27-9B4D-BF61390B74A4}">
      <dgm:prSet/>
      <dgm:spPr/>
      <dgm:t>
        <a:bodyPr/>
        <a:lstStyle/>
        <a:p>
          <a:endParaRPr lang="en-US"/>
        </a:p>
      </dgm:t>
    </dgm:pt>
    <dgm:pt modelId="{E5255D1C-B970-48D4-92B0-B9913AE104CD}">
      <dgm:prSet custT="1"/>
      <dgm:spPr/>
      <dgm:t>
        <a:bodyPr/>
        <a:lstStyle/>
        <a:p>
          <a:r>
            <a:rPr lang="en-US" sz="1400" b="1" dirty="0">
              <a:latin typeface="+mj-lt"/>
            </a:rPr>
            <a:t>Focus on a Task-Oriented Delegation Process</a:t>
          </a:r>
        </a:p>
      </dgm:t>
    </dgm:pt>
    <dgm:pt modelId="{38C73E5C-671E-4BF9-AC4B-174DC91E739A}" type="parTrans" cxnId="{A56FE4E6-317C-41E0-9CDC-98E6CB274DCF}">
      <dgm:prSet/>
      <dgm:spPr/>
      <dgm:t>
        <a:bodyPr/>
        <a:lstStyle/>
        <a:p>
          <a:endParaRPr lang="en-US"/>
        </a:p>
      </dgm:t>
    </dgm:pt>
    <dgm:pt modelId="{FBA5C7D8-FEAC-4537-9B4C-4E07FA1786C9}" type="sibTrans" cxnId="{A56FE4E6-317C-41E0-9CDC-98E6CB274DCF}">
      <dgm:prSet/>
      <dgm:spPr/>
      <dgm:t>
        <a:bodyPr/>
        <a:lstStyle/>
        <a:p>
          <a:endParaRPr lang="en-US"/>
        </a:p>
      </dgm:t>
    </dgm:pt>
    <dgm:pt modelId="{C5ECC80D-036B-4B42-80F9-8C9D86EB5A85}">
      <dgm:prSet custT="1"/>
      <dgm:spPr/>
      <dgm:t>
        <a:bodyPr/>
        <a:lstStyle/>
        <a:p>
          <a:endParaRPr lang="en-US" sz="1600" dirty="0"/>
        </a:p>
      </dgm:t>
    </dgm:pt>
    <dgm:pt modelId="{5AF90843-8865-49C8-A3CE-E6601CD87CF1}" type="sibTrans" cxnId="{A6C589C5-F375-4CE8-8E9B-A7E947FDC72D}">
      <dgm:prSet/>
      <dgm:spPr/>
      <dgm:t>
        <a:bodyPr/>
        <a:lstStyle/>
        <a:p>
          <a:endParaRPr lang="en-US"/>
        </a:p>
      </dgm:t>
    </dgm:pt>
    <dgm:pt modelId="{562DD951-002E-464B-9B35-F323151A5E78}" type="parTrans" cxnId="{A6C589C5-F375-4CE8-8E9B-A7E947FDC72D}">
      <dgm:prSet/>
      <dgm:spPr/>
      <dgm:t>
        <a:bodyPr/>
        <a:lstStyle/>
        <a:p>
          <a:endParaRPr lang="en-US"/>
        </a:p>
      </dgm:t>
    </dgm:pt>
    <dgm:pt modelId="{C79C79E1-DF22-46C6-AA66-CE023450380E}">
      <dgm:prSet phldrT="[Text]" custT="1"/>
      <dgm:spPr/>
      <dgm:t>
        <a:bodyPr/>
        <a:lstStyle/>
        <a:p>
          <a:endParaRPr lang="en-US" sz="1600" b="1" dirty="0">
            <a:latin typeface="+mj-lt"/>
          </a:endParaRPr>
        </a:p>
      </dgm:t>
    </dgm:pt>
    <dgm:pt modelId="{4E3E4D98-BF21-4752-87CC-F6166E80DFDE}" type="sibTrans" cxnId="{747A8F00-A676-46B4-94FB-0C2896B64E3E}">
      <dgm:prSet/>
      <dgm:spPr/>
      <dgm:t>
        <a:bodyPr/>
        <a:lstStyle/>
        <a:p>
          <a:endParaRPr lang="en-US"/>
        </a:p>
      </dgm:t>
    </dgm:pt>
    <dgm:pt modelId="{DEC2DE69-9DA4-4413-B71B-8DD481A796B7}" type="parTrans" cxnId="{747A8F00-A676-46B4-94FB-0C2896B64E3E}">
      <dgm:prSet/>
      <dgm:spPr/>
      <dgm:t>
        <a:bodyPr/>
        <a:lstStyle/>
        <a:p>
          <a:endParaRPr lang="en-US"/>
        </a:p>
      </dgm:t>
    </dgm:pt>
    <dgm:pt modelId="{C56C447B-47F9-4B0F-B564-376F30CF2E58}">
      <dgm:prSet phldrT="[Text]" custT="1"/>
      <dgm:spPr/>
      <dgm:t>
        <a:bodyPr/>
        <a:lstStyle/>
        <a:p>
          <a:r>
            <a:rPr lang="en-US" sz="1400" b="1" i="0" u="none" strike="noStrike" dirty="0">
              <a:effectLst/>
              <a:latin typeface="Aptos" panose="020B0004020202020204" pitchFamily="34" charset="0"/>
            </a:rPr>
            <a:t>Shift To Adaptive Leadership </a:t>
          </a:r>
          <a:endParaRPr lang="en-US" sz="1400" dirty="0"/>
        </a:p>
      </dgm:t>
    </dgm:pt>
    <dgm:pt modelId="{ED959590-B9B5-4FE2-AEA6-BFDCAD97FF2A}" type="sibTrans" cxnId="{19927FFE-FD55-4A63-AD6B-44506193D12C}">
      <dgm:prSet/>
      <dgm:spPr/>
      <dgm:t>
        <a:bodyPr/>
        <a:lstStyle/>
        <a:p>
          <a:endParaRPr lang="en-US"/>
        </a:p>
      </dgm:t>
    </dgm:pt>
    <dgm:pt modelId="{D59D92E0-ED44-41CA-836A-806A458E20A6}" type="parTrans" cxnId="{19927FFE-FD55-4A63-AD6B-44506193D12C}">
      <dgm:prSet/>
      <dgm:spPr/>
      <dgm:t>
        <a:bodyPr/>
        <a:lstStyle/>
        <a:p>
          <a:endParaRPr lang="en-US"/>
        </a:p>
      </dgm:t>
    </dgm:pt>
    <dgm:pt modelId="{645DD1C3-F0F0-46DE-B3D4-77E995931FC7}" type="pres">
      <dgm:prSet presAssocID="{30309F82-CCA3-449F-A2F4-8F9D65768A13}" presName="Name0" presStyleCnt="0">
        <dgm:presLayoutVars>
          <dgm:dir/>
          <dgm:animLvl val="lvl"/>
          <dgm:resizeHandles val="exact"/>
        </dgm:presLayoutVars>
      </dgm:prSet>
      <dgm:spPr/>
    </dgm:pt>
    <dgm:pt modelId="{170CFF85-91BD-474A-8E86-D99F3F3C7B21}" type="pres">
      <dgm:prSet presAssocID="{C79C79E1-DF22-46C6-AA66-CE023450380E}" presName="compositeNode" presStyleCnt="0">
        <dgm:presLayoutVars>
          <dgm:bulletEnabled val="1"/>
        </dgm:presLayoutVars>
      </dgm:prSet>
      <dgm:spPr/>
    </dgm:pt>
    <dgm:pt modelId="{0984C7E9-C290-4103-96EF-8B487F6AE2F4}" type="pres">
      <dgm:prSet presAssocID="{C79C79E1-DF22-46C6-AA66-CE023450380E}" presName="bgRect" presStyleLbl="node1" presStyleIdx="0" presStyleCnt="5"/>
      <dgm:spPr/>
    </dgm:pt>
    <dgm:pt modelId="{FDB9ECC2-B8F7-4C4D-B020-89AFC593C635}" type="pres">
      <dgm:prSet presAssocID="{C79C79E1-DF22-46C6-AA66-CE023450380E}" presName="parentNode" presStyleLbl="node1" presStyleIdx="0" presStyleCnt="5">
        <dgm:presLayoutVars>
          <dgm:chMax val="0"/>
          <dgm:bulletEnabled val="1"/>
        </dgm:presLayoutVars>
      </dgm:prSet>
      <dgm:spPr/>
    </dgm:pt>
    <dgm:pt modelId="{F8FF1547-5255-4A99-8DBA-2C5AC21260AB}" type="pres">
      <dgm:prSet presAssocID="{C79C79E1-DF22-46C6-AA66-CE023450380E}" presName="childNode" presStyleLbl="node1" presStyleIdx="0" presStyleCnt="5">
        <dgm:presLayoutVars>
          <dgm:bulletEnabled val="1"/>
        </dgm:presLayoutVars>
      </dgm:prSet>
      <dgm:spPr/>
    </dgm:pt>
    <dgm:pt modelId="{F3B4663D-814B-4778-A860-AA969CBE34FA}" type="pres">
      <dgm:prSet presAssocID="{4E3E4D98-BF21-4752-87CC-F6166E80DFDE}" presName="hSp" presStyleCnt="0"/>
      <dgm:spPr/>
    </dgm:pt>
    <dgm:pt modelId="{275BF2D1-F70F-4680-A7A0-38640096B68D}" type="pres">
      <dgm:prSet presAssocID="{4E3E4D98-BF21-4752-87CC-F6166E80DFDE}" presName="vProcSp" presStyleCnt="0"/>
      <dgm:spPr/>
    </dgm:pt>
    <dgm:pt modelId="{82EA25A4-2160-4A4B-811D-A34254A2E593}" type="pres">
      <dgm:prSet presAssocID="{4E3E4D98-BF21-4752-87CC-F6166E80DFDE}" presName="vSp1" presStyleCnt="0"/>
      <dgm:spPr/>
    </dgm:pt>
    <dgm:pt modelId="{9E9ABEB9-666B-46CA-8EA0-8B1E243477CD}" type="pres">
      <dgm:prSet presAssocID="{4E3E4D98-BF21-4752-87CC-F6166E80DFDE}" presName="simulatedConn" presStyleLbl="solidFgAcc1" presStyleIdx="0" presStyleCnt="4"/>
      <dgm:spPr/>
    </dgm:pt>
    <dgm:pt modelId="{7D2D74E7-8897-4D6F-B8BE-8351BDDCF905}" type="pres">
      <dgm:prSet presAssocID="{4E3E4D98-BF21-4752-87CC-F6166E80DFDE}" presName="vSp2" presStyleCnt="0"/>
      <dgm:spPr/>
    </dgm:pt>
    <dgm:pt modelId="{E1DE7AAB-9DE1-46D0-9582-9D711BFD9FFB}" type="pres">
      <dgm:prSet presAssocID="{4E3E4D98-BF21-4752-87CC-F6166E80DFDE}" presName="sibTrans" presStyleCnt="0"/>
      <dgm:spPr/>
    </dgm:pt>
    <dgm:pt modelId="{9CE5BDED-B58D-4222-A34E-E6997C37A75E}" type="pres">
      <dgm:prSet presAssocID="{C5ECC80D-036B-4B42-80F9-8C9D86EB5A85}" presName="compositeNode" presStyleCnt="0">
        <dgm:presLayoutVars>
          <dgm:bulletEnabled val="1"/>
        </dgm:presLayoutVars>
      </dgm:prSet>
      <dgm:spPr/>
    </dgm:pt>
    <dgm:pt modelId="{0432C7AE-7A5C-40DD-A5F7-1D24AAE507DC}" type="pres">
      <dgm:prSet presAssocID="{C5ECC80D-036B-4B42-80F9-8C9D86EB5A85}" presName="bgRect" presStyleLbl="node1" presStyleIdx="1" presStyleCnt="5"/>
      <dgm:spPr/>
    </dgm:pt>
    <dgm:pt modelId="{9D649A5E-0B53-4F44-A9DE-FD4811EA7B48}" type="pres">
      <dgm:prSet presAssocID="{C5ECC80D-036B-4B42-80F9-8C9D86EB5A85}" presName="parentNode" presStyleLbl="node1" presStyleIdx="1" presStyleCnt="5">
        <dgm:presLayoutVars>
          <dgm:chMax val="0"/>
          <dgm:bulletEnabled val="1"/>
        </dgm:presLayoutVars>
      </dgm:prSet>
      <dgm:spPr/>
    </dgm:pt>
    <dgm:pt modelId="{5B5D6255-FFFD-4E85-86DD-C773E9F14088}" type="pres">
      <dgm:prSet presAssocID="{C5ECC80D-036B-4B42-80F9-8C9D86EB5A85}" presName="childNode" presStyleLbl="node1" presStyleIdx="1" presStyleCnt="5">
        <dgm:presLayoutVars>
          <dgm:bulletEnabled val="1"/>
        </dgm:presLayoutVars>
      </dgm:prSet>
      <dgm:spPr/>
    </dgm:pt>
    <dgm:pt modelId="{9092CCB9-4CEE-40F5-A4E5-3FB24F264C14}" type="pres">
      <dgm:prSet presAssocID="{5AF90843-8865-49C8-A3CE-E6601CD87CF1}" presName="hSp" presStyleCnt="0"/>
      <dgm:spPr/>
    </dgm:pt>
    <dgm:pt modelId="{F427A49B-6039-4312-9D46-5CBC95882634}" type="pres">
      <dgm:prSet presAssocID="{5AF90843-8865-49C8-A3CE-E6601CD87CF1}" presName="vProcSp" presStyleCnt="0"/>
      <dgm:spPr/>
    </dgm:pt>
    <dgm:pt modelId="{C74B24F9-DB6F-4ABF-8CC1-FD87D5D0CF4A}" type="pres">
      <dgm:prSet presAssocID="{5AF90843-8865-49C8-A3CE-E6601CD87CF1}" presName="vSp1" presStyleCnt="0"/>
      <dgm:spPr/>
    </dgm:pt>
    <dgm:pt modelId="{DF0BD80F-CA1F-4942-9C04-CD57172A018C}" type="pres">
      <dgm:prSet presAssocID="{5AF90843-8865-49C8-A3CE-E6601CD87CF1}" presName="simulatedConn" presStyleLbl="solidFgAcc1" presStyleIdx="1" presStyleCnt="4"/>
      <dgm:spPr/>
    </dgm:pt>
    <dgm:pt modelId="{8C8A3F43-2777-436E-B648-FABAB755A421}" type="pres">
      <dgm:prSet presAssocID="{5AF90843-8865-49C8-A3CE-E6601CD87CF1}" presName="vSp2" presStyleCnt="0"/>
      <dgm:spPr/>
    </dgm:pt>
    <dgm:pt modelId="{705FD1E6-209C-442B-A72A-2EB92E4ABCDD}" type="pres">
      <dgm:prSet presAssocID="{5AF90843-8865-49C8-A3CE-E6601CD87CF1}" presName="sibTrans" presStyleCnt="0"/>
      <dgm:spPr/>
    </dgm:pt>
    <dgm:pt modelId="{EF66C1F6-D5EA-49C9-9003-E8FB0530E50B}" type="pres">
      <dgm:prSet presAssocID="{B0FFC00B-32BC-4897-B611-E7A54F1002CB}" presName="compositeNode" presStyleCnt="0">
        <dgm:presLayoutVars>
          <dgm:bulletEnabled val="1"/>
        </dgm:presLayoutVars>
      </dgm:prSet>
      <dgm:spPr/>
    </dgm:pt>
    <dgm:pt modelId="{DDB8546E-141E-45DA-806B-AE36DB99685D}" type="pres">
      <dgm:prSet presAssocID="{B0FFC00B-32BC-4897-B611-E7A54F1002CB}" presName="bgRect" presStyleLbl="node1" presStyleIdx="2" presStyleCnt="5"/>
      <dgm:spPr/>
    </dgm:pt>
    <dgm:pt modelId="{5C7553DF-0001-4E48-BA06-646828F35DA3}" type="pres">
      <dgm:prSet presAssocID="{B0FFC00B-32BC-4897-B611-E7A54F1002CB}" presName="parentNode" presStyleLbl="node1" presStyleIdx="2" presStyleCnt="5">
        <dgm:presLayoutVars>
          <dgm:chMax val="0"/>
          <dgm:bulletEnabled val="1"/>
        </dgm:presLayoutVars>
      </dgm:prSet>
      <dgm:spPr/>
    </dgm:pt>
    <dgm:pt modelId="{7B1C3C5F-51A4-44AB-B78B-A42712F498F8}" type="pres">
      <dgm:prSet presAssocID="{B0FFC00B-32BC-4897-B611-E7A54F1002CB}" presName="childNode" presStyleLbl="node1" presStyleIdx="2" presStyleCnt="5">
        <dgm:presLayoutVars>
          <dgm:bulletEnabled val="1"/>
        </dgm:presLayoutVars>
      </dgm:prSet>
      <dgm:spPr/>
    </dgm:pt>
    <dgm:pt modelId="{9C5A7EA4-68D2-4F4E-A341-32D2060277C0}" type="pres">
      <dgm:prSet presAssocID="{92F9A080-8E24-4276-AFC9-33786A911FCA}" presName="hSp" presStyleCnt="0"/>
      <dgm:spPr/>
    </dgm:pt>
    <dgm:pt modelId="{533F5CB5-11CD-4113-94DB-6332B0E42A68}" type="pres">
      <dgm:prSet presAssocID="{92F9A080-8E24-4276-AFC9-33786A911FCA}" presName="vProcSp" presStyleCnt="0"/>
      <dgm:spPr/>
    </dgm:pt>
    <dgm:pt modelId="{A0AADE5D-2DD5-468C-9FB4-A9CCBF7E542B}" type="pres">
      <dgm:prSet presAssocID="{92F9A080-8E24-4276-AFC9-33786A911FCA}" presName="vSp1" presStyleCnt="0"/>
      <dgm:spPr/>
    </dgm:pt>
    <dgm:pt modelId="{6F7A2C98-2BDF-4AF2-8E7D-F161EA5914DC}" type="pres">
      <dgm:prSet presAssocID="{92F9A080-8E24-4276-AFC9-33786A911FCA}" presName="simulatedConn" presStyleLbl="solidFgAcc1" presStyleIdx="2" presStyleCnt="4"/>
      <dgm:spPr/>
    </dgm:pt>
    <dgm:pt modelId="{7C8EE941-D3B3-43BF-ACDB-D1C18AFAA2ED}" type="pres">
      <dgm:prSet presAssocID="{92F9A080-8E24-4276-AFC9-33786A911FCA}" presName="vSp2" presStyleCnt="0"/>
      <dgm:spPr/>
    </dgm:pt>
    <dgm:pt modelId="{B56FE6A2-BE7A-480D-9F62-18FEB0B8771D}" type="pres">
      <dgm:prSet presAssocID="{92F9A080-8E24-4276-AFC9-33786A911FCA}" presName="sibTrans" presStyleCnt="0"/>
      <dgm:spPr/>
    </dgm:pt>
    <dgm:pt modelId="{C14F29C5-A46A-4384-BBC8-5F0582B8F8F8}" type="pres">
      <dgm:prSet presAssocID="{B8E0BE3A-12E6-493B-9CBB-9EE4E837D7E3}" presName="compositeNode" presStyleCnt="0">
        <dgm:presLayoutVars>
          <dgm:bulletEnabled val="1"/>
        </dgm:presLayoutVars>
      </dgm:prSet>
      <dgm:spPr/>
    </dgm:pt>
    <dgm:pt modelId="{8312984E-8818-4AE4-9964-CD99F5303B47}" type="pres">
      <dgm:prSet presAssocID="{B8E0BE3A-12E6-493B-9CBB-9EE4E837D7E3}" presName="bgRect" presStyleLbl="node1" presStyleIdx="3" presStyleCnt="5"/>
      <dgm:spPr/>
    </dgm:pt>
    <dgm:pt modelId="{21B51C3B-F3AB-4A14-836A-988299E049E4}" type="pres">
      <dgm:prSet presAssocID="{B8E0BE3A-12E6-493B-9CBB-9EE4E837D7E3}" presName="parentNode" presStyleLbl="node1" presStyleIdx="3" presStyleCnt="5">
        <dgm:presLayoutVars>
          <dgm:chMax val="0"/>
          <dgm:bulletEnabled val="1"/>
        </dgm:presLayoutVars>
      </dgm:prSet>
      <dgm:spPr/>
    </dgm:pt>
    <dgm:pt modelId="{57B8AB37-1240-4408-9FBD-885687A2EC8D}" type="pres">
      <dgm:prSet presAssocID="{B8E0BE3A-12E6-493B-9CBB-9EE4E837D7E3}" presName="childNode" presStyleLbl="node1" presStyleIdx="3" presStyleCnt="5">
        <dgm:presLayoutVars>
          <dgm:bulletEnabled val="1"/>
        </dgm:presLayoutVars>
      </dgm:prSet>
      <dgm:spPr/>
    </dgm:pt>
    <dgm:pt modelId="{1E370F3A-4C76-42A1-9A0A-BE6EFE92446A}" type="pres">
      <dgm:prSet presAssocID="{D92847DF-21BC-426B-A87A-8143E1B2BB6E}" presName="hSp" presStyleCnt="0"/>
      <dgm:spPr/>
    </dgm:pt>
    <dgm:pt modelId="{B2A68460-335F-4478-AF8C-F589A03E5819}" type="pres">
      <dgm:prSet presAssocID="{D92847DF-21BC-426B-A87A-8143E1B2BB6E}" presName="vProcSp" presStyleCnt="0"/>
      <dgm:spPr/>
    </dgm:pt>
    <dgm:pt modelId="{44554180-0C3B-41F0-8FA5-B86109009F12}" type="pres">
      <dgm:prSet presAssocID="{D92847DF-21BC-426B-A87A-8143E1B2BB6E}" presName="vSp1" presStyleCnt="0"/>
      <dgm:spPr/>
    </dgm:pt>
    <dgm:pt modelId="{D1DD816F-6758-485F-8A48-2A36082DC2F6}" type="pres">
      <dgm:prSet presAssocID="{D92847DF-21BC-426B-A87A-8143E1B2BB6E}" presName="simulatedConn" presStyleLbl="solidFgAcc1" presStyleIdx="3" presStyleCnt="4"/>
      <dgm:spPr/>
    </dgm:pt>
    <dgm:pt modelId="{55D52958-D943-4565-8A57-93E68D9842D3}" type="pres">
      <dgm:prSet presAssocID="{D92847DF-21BC-426B-A87A-8143E1B2BB6E}" presName="vSp2" presStyleCnt="0"/>
      <dgm:spPr/>
    </dgm:pt>
    <dgm:pt modelId="{A13D61BA-26E1-46C6-BAE7-90D4535519F6}" type="pres">
      <dgm:prSet presAssocID="{D92847DF-21BC-426B-A87A-8143E1B2BB6E}" presName="sibTrans" presStyleCnt="0"/>
      <dgm:spPr/>
    </dgm:pt>
    <dgm:pt modelId="{D40EA468-97F9-44A6-AB5C-9AE5FA3FCCB5}" type="pres">
      <dgm:prSet presAssocID="{F63B3126-8A70-4C2D-9154-7DC705850F22}" presName="compositeNode" presStyleCnt="0">
        <dgm:presLayoutVars>
          <dgm:bulletEnabled val="1"/>
        </dgm:presLayoutVars>
      </dgm:prSet>
      <dgm:spPr/>
    </dgm:pt>
    <dgm:pt modelId="{9351DF02-9739-4E20-BD28-675B3FB67A5D}" type="pres">
      <dgm:prSet presAssocID="{F63B3126-8A70-4C2D-9154-7DC705850F22}" presName="bgRect" presStyleLbl="node1" presStyleIdx="4" presStyleCnt="5"/>
      <dgm:spPr/>
    </dgm:pt>
    <dgm:pt modelId="{945AC6EE-7277-4D44-BD8E-6A1BFE586CDB}" type="pres">
      <dgm:prSet presAssocID="{F63B3126-8A70-4C2D-9154-7DC705850F22}" presName="parentNode" presStyleLbl="node1" presStyleIdx="4" presStyleCnt="5">
        <dgm:presLayoutVars>
          <dgm:chMax val="0"/>
          <dgm:bulletEnabled val="1"/>
        </dgm:presLayoutVars>
      </dgm:prSet>
      <dgm:spPr/>
    </dgm:pt>
    <dgm:pt modelId="{8C5AE68A-6797-4ACF-A627-BB57CC35A427}" type="pres">
      <dgm:prSet presAssocID="{F63B3126-8A70-4C2D-9154-7DC705850F22}" presName="childNode" presStyleLbl="node1" presStyleIdx="4" presStyleCnt="5">
        <dgm:presLayoutVars>
          <dgm:bulletEnabled val="1"/>
        </dgm:presLayoutVars>
      </dgm:prSet>
      <dgm:spPr/>
    </dgm:pt>
  </dgm:ptLst>
  <dgm:cxnLst>
    <dgm:cxn modelId="{747A8F00-A676-46B4-94FB-0C2896B64E3E}" srcId="{30309F82-CCA3-449F-A2F4-8F9D65768A13}" destId="{C79C79E1-DF22-46C6-AA66-CE023450380E}" srcOrd="0" destOrd="0" parTransId="{DEC2DE69-9DA4-4413-B71B-8DD481A796B7}" sibTransId="{4E3E4D98-BF21-4752-87CC-F6166E80DFDE}"/>
    <dgm:cxn modelId="{5E09800B-6D23-491E-98C5-F059A1827198}" type="presOf" srcId="{B0FFC00B-32BC-4897-B611-E7A54F1002CB}" destId="{5C7553DF-0001-4E48-BA06-646828F35DA3}" srcOrd="1" destOrd="0" presId="urn:microsoft.com/office/officeart/2005/8/layout/hProcess7"/>
    <dgm:cxn modelId="{700B8314-D781-4C51-AF14-4782425E371F}" type="presOf" srcId="{30309F82-CCA3-449F-A2F4-8F9D65768A13}" destId="{645DD1C3-F0F0-46DE-B3D4-77E995931FC7}" srcOrd="0" destOrd="0" presId="urn:microsoft.com/office/officeart/2005/8/layout/hProcess7"/>
    <dgm:cxn modelId="{5AB9C831-CCC6-44D7-A0FB-A6EC7745243A}" type="presOf" srcId="{C79C79E1-DF22-46C6-AA66-CE023450380E}" destId="{FDB9ECC2-B8F7-4C4D-B020-89AFC593C635}" srcOrd="1" destOrd="0" presId="urn:microsoft.com/office/officeart/2005/8/layout/hProcess7"/>
    <dgm:cxn modelId="{6C6D1C58-6AE3-4A43-B45C-2889B323B320}" srcId="{B8E0BE3A-12E6-493B-9CBB-9EE4E837D7E3}" destId="{AA789BD4-4190-4EC4-B5EB-9D16954F9E78}" srcOrd="0" destOrd="0" parTransId="{77173D9D-4AB5-427C-8C2F-70F7B09DCC5A}" sibTransId="{00A22445-6F22-46C2-B9D8-9B10E55B831E}"/>
    <dgm:cxn modelId="{F4DAEA63-92B2-4593-BD56-88E552987FD3}" type="presOf" srcId="{E5255D1C-B970-48D4-92B0-B9913AE104CD}" destId="{8C5AE68A-6797-4ACF-A627-BB57CC35A427}" srcOrd="0" destOrd="0" presId="urn:microsoft.com/office/officeart/2005/8/layout/hProcess7"/>
    <dgm:cxn modelId="{85D37469-DCF2-46C0-9A36-E808667C2D3D}" type="presOf" srcId="{B8E0BE3A-12E6-493B-9CBB-9EE4E837D7E3}" destId="{8312984E-8818-4AE4-9964-CD99F5303B47}" srcOrd="0" destOrd="0" presId="urn:microsoft.com/office/officeart/2005/8/layout/hProcess7"/>
    <dgm:cxn modelId="{71A32D6E-8B50-4D10-93A1-A0290E62E9AF}" type="presOf" srcId="{F63B3126-8A70-4C2D-9154-7DC705850F22}" destId="{945AC6EE-7277-4D44-BD8E-6A1BFE586CDB}" srcOrd="1" destOrd="0" presId="urn:microsoft.com/office/officeart/2005/8/layout/hProcess7"/>
    <dgm:cxn modelId="{CF08A770-022E-48B6-AC40-5497D8F7510D}" srcId="{30309F82-CCA3-449F-A2F4-8F9D65768A13}" destId="{B0FFC00B-32BC-4897-B611-E7A54F1002CB}" srcOrd="2" destOrd="0" parTransId="{D41CF206-20AB-4F8F-8CB0-069060F9E9DE}" sibTransId="{92F9A080-8E24-4276-AFC9-33786A911FCA}"/>
    <dgm:cxn modelId="{AA4E687D-FD8F-4606-9B30-CC6944B1288A}" type="presOf" srcId="{B0FFC00B-32BC-4897-B611-E7A54F1002CB}" destId="{DDB8546E-141E-45DA-806B-AE36DB99685D}" srcOrd="0" destOrd="0" presId="urn:microsoft.com/office/officeart/2005/8/layout/hProcess7"/>
    <dgm:cxn modelId="{967FA97D-E1B5-4E27-9B4D-BF61390B74A4}" srcId="{C5ECC80D-036B-4B42-80F9-8C9D86EB5A85}" destId="{F0A53A19-65C3-44FD-B533-B2FF86964718}" srcOrd="0" destOrd="0" parTransId="{5010D350-82F8-46FE-9570-0E4779A9B79F}" sibTransId="{11679C2D-D24B-441F-8195-9411BD73259F}"/>
    <dgm:cxn modelId="{700E038B-B2A5-42C3-A565-5DF99594CE08}" type="presOf" srcId="{F63B3126-8A70-4C2D-9154-7DC705850F22}" destId="{9351DF02-9739-4E20-BD28-675B3FB67A5D}" srcOrd="0" destOrd="0" presId="urn:microsoft.com/office/officeart/2005/8/layout/hProcess7"/>
    <dgm:cxn modelId="{D93BF59C-DD65-4A77-B0FC-B131F1B49C11}" type="presOf" srcId="{C5ECC80D-036B-4B42-80F9-8C9D86EB5A85}" destId="{9D649A5E-0B53-4F44-A9DE-FD4811EA7B48}" srcOrd="1" destOrd="0" presId="urn:microsoft.com/office/officeart/2005/8/layout/hProcess7"/>
    <dgm:cxn modelId="{ADBFEDAD-881A-4143-8C52-6316EA1C6EEB}" type="presOf" srcId="{B8E0BE3A-12E6-493B-9CBB-9EE4E837D7E3}" destId="{21B51C3B-F3AB-4A14-836A-988299E049E4}" srcOrd="1" destOrd="0" presId="urn:microsoft.com/office/officeart/2005/8/layout/hProcess7"/>
    <dgm:cxn modelId="{0F5F49B7-76DD-41CD-8981-ADFA841C5CBF}" type="presOf" srcId="{AA789BD4-4190-4EC4-B5EB-9D16954F9E78}" destId="{57B8AB37-1240-4408-9FBD-885687A2EC8D}" srcOrd="0" destOrd="0" presId="urn:microsoft.com/office/officeart/2005/8/layout/hProcess7"/>
    <dgm:cxn modelId="{C6DD32C0-3BBC-4F97-B225-CDC10CAAE7F9}" srcId="{B0FFC00B-32BC-4897-B611-E7A54F1002CB}" destId="{7F354E16-C509-4EC1-9709-B21B936D3968}" srcOrd="0" destOrd="0" parTransId="{A9D1B55B-084D-4E4A-944F-6E9A3DBB39A1}" sibTransId="{752762FE-A63E-4121-A1F5-56FC26AD12A7}"/>
    <dgm:cxn modelId="{57D929C2-4EAD-4024-BDEC-13FC42DB5599}" type="presOf" srcId="{C56C447B-47F9-4B0F-B564-376F30CF2E58}" destId="{F8FF1547-5255-4A99-8DBA-2C5AC21260AB}" srcOrd="0" destOrd="0" presId="urn:microsoft.com/office/officeart/2005/8/layout/hProcess7"/>
    <dgm:cxn modelId="{A6C589C5-F375-4CE8-8E9B-A7E947FDC72D}" srcId="{30309F82-CCA3-449F-A2F4-8F9D65768A13}" destId="{C5ECC80D-036B-4B42-80F9-8C9D86EB5A85}" srcOrd="1" destOrd="0" parTransId="{562DD951-002E-464B-9B35-F323151A5E78}" sibTransId="{5AF90843-8865-49C8-A3CE-E6601CD87CF1}"/>
    <dgm:cxn modelId="{C530B6C7-46A2-4367-98F7-5EA6AD92CE9D}" srcId="{30309F82-CCA3-449F-A2F4-8F9D65768A13}" destId="{B8E0BE3A-12E6-493B-9CBB-9EE4E837D7E3}" srcOrd="3" destOrd="0" parTransId="{8B524920-012C-4DB7-B10E-E2777023198C}" sibTransId="{D92847DF-21BC-426B-A87A-8143E1B2BB6E}"/>
    <dgm:cxn modelId="{349F0BDD-479E-400C-B54E-291F2D790787}" type="presOf" srcId="{F0A53A19-65C3-44FD-B533-B2FF86964718}" destId="{5B5D6255-FFFD-4E85-86DD-C773E9F14088}" srcOrd="0" destOrd="0" presId="urn:microsoft.com/office/officeart/2005/8/layout/hProcess7"/>
    <dgm:cxn modelId="{13441DDD-417F-4671-A25F-16EF03D2DA2F}" type="presOf" srcId="{7F354E16-C509-4EC1-9709-B21B936D3968}" destId="{7B1C3C5F-51A4-44AB-B78B-A42712F498F8}" srcOrd="0" destOrd="0" presId="urn:microsoft.com/office/officeart/2005/8/layout/hProcess7"/>
    <dgm:cxn modelId="{25C1F5E0-4BBD-43C6-96D5-B1C95EE9FCCE}" type="presOf" srcId="{C5ECC80D-036B-4B42-80F9-8C9D86EB5A85}" destId="{0432C7AE-7A5C-40DD-A5F7-1D24AAE507DC}" srcOrd="0" destOrd="0" presId="urn:microsoft.com/office/officeart/2005/8/layout/hProcess7"/>
    <dgm:cxn modelId="{A56FE4E6-317C-41E0-9CDC-98E6CB274DCF}" srcId="{F63B3126-8A70-4C2D-9154-7DC705850F22}" destId="{E5255D1C-B970-48D4-92B0-B9913AE104CD}" srcOrd="0" destOrd="0" parTransId="{38C73E5C-671E-4BF9-AC4B-174DC91E739A}" sibTransId="{FBA5C7D8-FEAC-4537-9B4C-4E07FA1786C9}"/>
    <dgm:cxn modelId="{E1CA37FA-5600-478A-AA63-5D1FEF32FFB8}" srcId="{30309F82-CCA3-449F-A2F4-8F9D65768A13}" destId="{F63B3126-8A70-4C2D-9154-7DC705850F22}" srcOrd="4" destOrd="0" parTransId="{DDD32EC2-5962-42AE-A20C-4650C961896A}" sibTransId="{7E8AF7B8-7BC8-4793-B4C6-E5AD3E3036B1}"/>
    <dgm:cxn modelId="{00A183FC-FF00-4DBD-A52C-91E9A065E139}" type="presOf" srcId="{C79C79E1-DF22-46C6-AA66-CE023450380E}" destId="{0984C7E9-C290-4103-96EF-8B487F6AE2F4}" srcOrd="0" destOrd="0" presId="urn:microsoft.com/office/officeart/2005/8/layout/hProcess7"/>
    <dgm:cxn modelId="{19927FFE-FD55-4A63-AD6B-44506193D12C}" srcId="{C79C79E1-DF22-46C6-AA66-CE023450380E}" destId="{C56C447B-47F9-4B0F-B564-376F30CF2E58}" srcOrd="0" destOrd="0" parTransId="{D59D92E0-ED44-41CA-836A-806A458E20A6}" sibTransId="{ED959590-B9B5-4FE2-AEA6-BFDCAD97FF2A}"/>
    <dgm:cxn modelId="{1488F8EE-AA3D-4797-A820-1D7D0781F55E}" type="presParOf" srcId="{645DD1C3-F0F0-46DE-B3D4-77E995931FC7}" destId="{170CFF85-91BD-474A-8E86-D99F3F3C7B21}" srcOrd="0" destOrd="0" presId="urn:microsoft.com/office/officeart/2005/8/layout/hProcess7"/>
    <dgm:cxn modelId="{83BCF834-3046-4389-A99E-E5D68C2097E0}" type="presParOf" srcId="{170CFF85-91BD-474A-8E86-D99F3F3C7B21}" destId="{0984C7E9-C290-4103-96EF-8B487F6AE2F4}" srcOrd="0" destOrd="0" presId="urn:microsoft.com/office/officeart/2005/8/layout/hProcess7"/>
    <dgm:cxn modelId="{1DB66F24-1F7E-4051-BB49-07CA7354AD37}" type="presParOf" srcId="{170CFF85-91BD-474A-8E86-D99F3F3C7B21}" destId="{FDB9ECC2-B8F7-4C4D-B020-89AFC593C635}" srcOrd="1" destOrd="0" presId="urn:microsoft.com/office/officeart/2005/8/layout/hProcess7"/>
    <dgm:cxn modelId="{5204C07F-511F-4BAC-ACAE-18228CC70E71}" type="presParOf" srcId="{170CFF85-91BD-474A-8E86-D99F3F3C7B21}" destId="{F8FF1547-5255-4A99-8DBA-2C5AC21260AB}" srcOrd="2" destOrd="0" presId="urn:microsoft.com/office/officeart/2005/8/layout/hProcess7"/>
    <dgm:cxn modelId="{0CAC875F-C602-4217-B2B2-FC0F6D682F23}" type="presParOf" srcId="{645DD1C3-F0F0-46DE-B3D4-77E995931FC7}" destId="{F3B4663D-814B-4778-A860-AA969CBE34FA}" srcOrd="1" destOrd="0" presId="urn:microsoft.com/office/officeart/2005/8/layout/hProcess7"/>
    <dgm:cxn modelId="{AD06D543-581B-487F-81B5-8F2F3B6A4B65}" type="presParOf" srcId="{645DD1C3-F0F0-46DE-B3D4-77E995931FC7}" destId="{275BF2D1-F70F-4680-A7A0-38640096B68D}" srcOrd="2" destOrd="0" presId="urn:microsoft.com/office/officeart/2005/8/layout/hProcess7"/>
    <dgm:cxn modelId="{B5DF66A1-31C9-441B-955B-8C434CFF4C99}" type="presParOf" srcId="{275BF2D1-F70F-4680-A7A0-38640096B68D}" destId="{82EA25A4-2160-4A4B-811D-A34254A2E593}" srcOrd="0" destOrd="0" presId="urn:microsoft.com/office/officeart/2005/8/layout/hProcess7"/>
    <dgm:cxn modelId="{00DB0030-AFBD-4AE8-B89C-54A82EAF368A}" type="presParOf" srcId="{275BF2D1-F70F-4680-A7A0-38640096B68D}" destId="{9E9ABEB9-666B-46CA-8EA0-8B1E243477CD}" srcOrd="1" destOrd="0" presId="urn:microsoft.com/office/officeart/2005/8/layout/hProcess7"/>
    <dgm:cxn modelId="{28EB7784-F6A7-4F6E-AD2D-F4AE9361D29F}" type="presParOf" srcId="{275BF2D1-F70F-4680-A7A0-38640096B68D}" destId="{7D2D74E7-8897-4D6F-B8BE-8351BDDCF905}" srcOrd="2" destOrd="0" presId="urn:microsoft.com/office/officeart/2005/8/layout/hProcess7"/>
    <dgm:cxn modelId="{CDF24ECC-8360-4BBC-996F-2FAC3736607B}" type="presParOf" srcId="{645DD1C3-F0F0-46DE-B3D4-77E995931FC7}" destId="{E1DE7AAB-9DE1-46D0-9582-9D711BFD9FFB}" srcOrd="3" destOrd="0" presId="urn:microsoft.com/office/officeart/2005/8/layout/hProcess7"/>
    <dgm:cxn modelId="{99B276EF-DCEA-4336-A59E-2B8437E568F5}" type="presParOf" srcId="{645DD1C3-F0F0-46DE-B3D4-77E995931FC7}" destId="{9CE5BDED-B58D-4222-A34E-E6997C37A75E}" srcOrd="4" destOrd="0" presId="urn:microsoft.com/office/officeart/2005/8/layout/hProcess7"/>
    <dgm:cxn modelId="{F88CD46F-2133-417A-90DF-9093A16048A6}" type="presParOf" srcId="{9CE5BDED-B58D-4222-A34E-E6997C37A75E}" destId="{0432C7AE-7A5C-40DD-A5F7-1D24AAE507DC}" srcOrd="0" destOrd="0" presId="urn:microsoft.com/office/officeart/2005/8/layout/hProcess7"/>
    <dgm:cxn modelId="{7D1916BC-AF5F-4895-BC31-4CB8DD9C6500}" type="presParOf" srcId="{9CE5BDED-B58D-4222-A34E-E6997C37A75E}" destId="{9D649A5E-0B53-4F44-A9DE-FD4811EA7B48}" srcOrd="1" destOrd="0" presId="urn:microsoft.com/office/officeart/2005/8/layout/hProcess7"/>
    <dgm:cxn modelId="{BE61128C-BBF7-4A6B-BABD-CC39EF5E175D}" type="presParOf" srcId="{9CE5BDED-B58D-4222-A34E-E6997C37A75E}" destId="{5B5D6255-FFFD-4E85-86DD-C773E9F14088}" srcOrd="2" destOrd="0" presId="urn:microsoft.com/office/officeart/2005/8/layout/hProcess7"/>
    <dgm:cxn modelId="{7E66AC2D-CED5-46ED-8893-67604F5EB65A}" type="presParOf" srcId="{645DD1C3-F0F0-46DE-B3D4-77E995931FC7}" destId="{9092CCB9-4CEE-40F5-A4E5-3FB24F264C14}" srcOrd="5" destOrd="0" presId="urn:microsoft.com/office/officeart/2005/8/layout/hProcess7"/>
    <dgm:cxn modelId="{A39DCDA5-824B-426F-9809-C0DB6E29AD0D}" type="presParOf" srcId="{645DD1C3-F0F0-46DE-B3D4-77E995931FC7}" destId="{F427A49B-6039-4312-9D46-5CBC95882634}" srcOrd="6" destOrd="0" presId="urn:microsoft.com/office/officeart/2005/8/layout/hProcess7"/>
    <dgm:cxn modelId="{B5731EDC-FA2C-44D4-AAFB-EED12682A5B3}" type="presParOf" srcId="{F427A49B-6039-4312-9D46-5CBC95882634}" destId="{C74B24F9-DB6F-4ABF-8CC1-FD87D5D0CF4A}" srcOrd="0" destOrd="0" presId="urn:microsoft.com/office/officeart/2005/8/layout/hProcess7"/>
    <dgm:cxn modelId="{5435CCCC-8C99-4FEC-AFA5-17174C3D206D}" type="presParOf" srcId="{F427A49B-6039-4312-9D46-5CBC95882634}" destId="{DF0BD80F-CA1F-4942-9C04-CD57172A018C}" srcOrd="1" destOrd="0" presId="urn:microsoft.com/office/officeart/2005/8/layout/hProcess7"/>
    <dgm:cxn modelId="{AAAAD4C7-A932-4808-9938-CBEC2816473B}" type="presParOf" srcId="{F427A49B-6039-4312-9D46-5CBC95882634}" destId="{8C8A3F43-2777-436E-B648-FABAB755A421}" srcOrd="2" destOrd="0" presId="urn:microsoft.com/office/officeart/2005/8/layout/hProcess7"/>
    <dgm:cxn modelId="{F82F2BF7-4D11-4AE3-BD46-6B86F0051F10}" type="presParOf" srcId="{645DD1C3-F0F0-46DE-B3D4-77E995931FC7}" destId="{705FD1E6-209C-442B-A72A-2EB92E4ABCDD}" srcOrd="7" destOrd="0" presId="urn:microsoft.com/office/officeart/2005/8/layout/hProcess7"/>
    <dgm:cxn modelId="{6B3B28CF-6F20-464C-8666-9B9AF92A89B7}" type="presParOf" srcId="{645DD1C3-F0F0-46DE-B3D4-77E995931FC7}" destId="{EF66C1F6-D5EA-49C9-9003-E8FB0530E50B}" srcOrd="8" destOrd="0" presId="urn:microsoft.com/office/officeart/2005/8/layout/hProcess7"/>
    <dgm:cxn modelId="{3773DCDA-49FF-4CFA-8ACC-DB014B268BBA}" type="presParOf" srcId="{EF66C1F6-D5EA-49C9-9003-E8FB0530E50B}" destId="{DDB8546E-141E-45DA-806B-AE36DB99685D}" srcOrd="0" destOrd="0" presId="urn:microsoft.com/office/officeart/2005/8/layout/hProcess7"/>
    <dgm:cxn modelId="{8D81E911-AC47-422E-AEB2-05E68BD743A1}" type="presParOf" srcId="{EF66C1F6-D5EA-49C9-9003-E8FB0530E50B}" destId="{5C7553DF-0001-4E48-BA06-646828F35DA3}" srcOrd="1" destOrd="0" presId="urn:microsoft.com/office/officeart/2005/8/layout/hProcess7"/>
    <dgm:cxn modelId="{B46C14E0-0A65-42B3-A258-A249E74B85FC}" type="presParOf" srcId="{EF66C1F6-D5EA-49C9-9003-E8FB0530E50B}" destId="{7B1C3C5F-51A4-44AB-B78B-A42712F498F8}" srcOrd="2" destOrd="0" presId="urn:microsoft.com/office/officeart/2005/8/layout/hProcess7"/>
    <dgm:cxn modelId="{EDE2853C-FAD7-4B0A-A3BE-4FC8CA9A3296}" type="presParOf" srcId="{645DD1C3-F0F0-46DE-B3D4-77E995931FC7}" destId="{9C5A7EA4-68D2-4F4E-A341-32D2060277C0}" srcOrd="9" destOrd="0" presId="urn:microsoft.com/office/officeart/2005/8/layout/hProcess7"/>
    <dgm:cxn modelId="{00D2743B-87BD-4228-BBAC-D46DD29DD2DB}" type="presParOf" srcId="{645DD1C3-F0F0-46DE-B3D4-77E995931FC7}" destId="{533F5CB5-11CD-4113-94DB-6332B0E42A68}" srcOrd="10" destOrd="0" presId="urn:microsoft.com/office/officeart/2005/8/layout/hProcess7"/>
    <dgm:cxn modelId="{4F543380-12C1-4DBD-87A1-3CCD365736B9}" type="presParOf" srcId="{533F5CB5-11CD-4113-94DB-6332B0E42A68}" destId="{A0AADE5D-2DD5-468C-9FB4-A9CCBF7E542B}" srcOrd="0" destOrd="0" presId="urn:microsoft.com/office/officeart/2005/8/layout/hProcess7"/>
    <dgm:cxn modelId="{E9C5333B-7B9B-4F79-A371-A9129709C74E}" type="presParOf" srcId="{533F5CB5-11CD-4113-94DB-6332B0E42A68}" destId="{6F7A2C98-2BDF-4AF2-8E7D-F161EA5914DC}" srcOrd="1" destOrd="0" presId="urn:microsoft.com/office/officeart/2005/8/layout/hProcess7"/>
    <dgm:cxn modelId="{7E5ACE80-0779-482D-A04E-998583F82423}" type="presParOf" srcId="{533F5CB5-11CD-4113-94DB-6332B0E42A68}" destId="{7C8EE941-D3B3-43BF-ACDB-D1C18AFAA2ED}" srcOrd="2" destOrd="0" presId="urn:microsoft.com/office/officeart/2005/8/layout/hProcess7"/>
    <dgm:cxn modelId="{F71BFE2F-DEA4-4617-B6FC-473BF817C794}" type="presParOf" srcId="{645DD1C3-F0F0-46DE-B3D4-77E995931FC7}" destId="{B56FE6A2-BE7A-480D-9F62-18FEB0B8771D}" srcOrd="11" destOrd="0" presId="urn:microsoft.com/office/officeart/2005/8/layout/hProcess7"/>
    <dgm:cxn modelId="{C048588E-C638-4216-8D8D-5EEC75CAED74}" type="presParOf" srcId="{645DD1C3-F0F0-46DE-B3D4-77E995931FC7}" destId="{C14F29C5-A46A-4384-BBC8-5F0582B8F8F8}" srcOrd="12" destOrd="0" presId="urn:microsoft.com/office/officeart/2005/8/layout/hProcess7"/>
    <dgm:cxn modelId="{57107411-8364-43DD-A9B7-EE82C4C981B4}" type="presParOf" srcId="{C14F29C5-A46A-4384-BBC8-5F0582B8F8F8}" destId="{8312984E-8818-4AE4-9964-CD99F5303B47}" srcOrd="0" destOrd="0" presId="urn:microsoft.com/office/officeart/2005/8/layout/hProcess7"/>
    <dgm:cxn modelId="{CC138C94-45CD-42C1-8057-4C036278BF97}" type="presParOf" srcId="{C14F29C5-A46A-4384-BBC8-5F0582B8F8F8}" destId="{21B51C3B-F3AB-4A14-836A-988299E049E4}" srcOrd="1" destOrd="0" presId="urn:microsoft.com/office/officeart/2005/8/layout/hProcess7"/>
    <dgm:cxn modelId="{DE95E5F0-74B7-4BC4-9ECD-BAB6C63D4D71}" type="presParOf" srcId="{C14F29C5-A46A-4384-BBC8-5F0582B8F8F8}" destId="{57B8AB37-1240-4408-9FBD-885687A2EC8D}" srcOrd="2" destOrd="0" presId="urn:microsoft.com/office/officeart/2005/8/layout/hProcess7"/>
    <dgm:cxn modelId="{513D8E1C-1EFC-43DE-B962-6C41B54DFDC0}" type="presParOf" srcId="{645DD1C3-F0F0-46DE-B3D4-77E995931FC7}" destId="{1E370F3A-4C76-42A1-9A0A-BE6EFE92446A}" srcOrd="13" destOrd="0" presId="urn:microsoft.com/office/officeart/2005/8/layout/hProcess7"/>
    <dgm:cxn modelId="{AA1DEC57-5DB3-4417-B44B-8F2A85A4781E}" type="presParOf" srcId="{645DD1C3-F0F0-46DE-B3D4-77E995931FC7}" destId="{B2A68460-335F-4478-AF8C-F589A03E5819}" srcOrd="14" destOrd="0" presId="urn:microsoft.com/office/officeart/2005/8/layout/hProcess7"/>
    <dgm:cxn modelId="{141DCDC3-83AC-40F5-A44A-37F2D58959D6}" type="presParOf" srcId="{B2A68460-335F-4478-AF8C-F589A03E5819}" destId="{44554180-0C3B-41F0-8FA5-B86109009F12}" srcOrd="0" destOrd="0" presId="urn:microsoft.com/office/officeart/2005/8/layout/hProcess7"/>
    <dgm:cxn modelId="{DB465C2E-4F1E-478B-B1AF-D1F2B281A7BD}" type="presParOf" srcId="{B2A68460-335F-4478-AF8C-F589A03E5819}" destId="{D1DD816F-6758-485F-8A48-2A36082DC2F6}" srcOrd="1" destOrd="0" presId="urn:microsoft.com/office/officeart/2005/8/layout/hProcess7"/>
    <dgm:cxn modelId="{89BD1192-9458-4127-B438-D3054ED77B6C}" type="presParOf" srcId="{B2A68460-335F-4478-AF8C-F589A03E5819}" destId="{55D52958-D943-4565-8A57-93E68D9842D3}" srcOrd="2" destOrd="0" presId="urn:microsoft.com/office/officeart/2005/8/layout/hProcess7"/>
    <dgm:cxn modelId="{7C5242AD-2918-4391-9629-303CA96AAED6}" type="presParOf" srcId="{645DD1C3-F0F0-46DE-B3D4-77E995931FC7}" destId="{A13D61BA-26E1-46C6-BAE7-90D4535519F6}" srcOrd="15" destOrd="0" presId="urn:microsoft.com/office/officeart/2005/8/layout/hProcess7"/>
    <dgm:cxn modelId="{85980328-99DC-44C8-91A1-BB436F986062}" type="presParOf" srcId="{645DD1C3-F0F0-46DE-B3D4-77E995931FC7}" destId="{D40EA468-97F9-44A6-AB5C-9AE5FA3FCCB5}" srcOrd="16" destOrd="0" presId="urn:microsoft.com/office/officeart/2005/8/layout/hProcess7"/>
    <dgm:cxn modelId="{AC8C1930-6E28-40E6-B81C-2691117CD925}" type="presParOf" srcId="{D40EA468-97F9-44A6-AB5C-9AE5FA3FCCB5}" destId="{9351DF02-9739-4E20-BD28-675B3FB67A5D}" srcOrd="0" destOrd="0" presId="urn:microsoft.com/office/officeart/2005/8/layout/hProcess7"/>
    <dgm:cxn modelId="{8217D769-F1FA-4E97-8063-504932935D96}" type="presParOf" srcId="{D40EA468-97F9-44A6-AB5C-9AE5FA3FCCB5}" destId="{945AC6EE-7277-4D44-BD8E-6A1BFE586CDB}" srcOrd="1" destOrd="0" presId="urn:microsoft.com/office/officeart/2005/8/layout/hProcess7"/>
    <dgm:cxn modelId="{12D1CC84-F4AB-4C4C-A89E-1609FDB19621}" type="presParOf" srcId="{D40EA468-97F9-44A6-AB5C-9AE5FA3FCCB5}" destId="{8C5AE68A-6797-4ACF-A627-BB57CC35A427}" srcOrd="2" destOrd="0" presId="urn:microsoft.com/office/officeart/2005/8/layout/hProcess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84C7E9-C290-4103-96EF-8B487F6AE2F4}">
      <dsp:nvSpPr>
        <dsp:cNvPr id="0" name=""/>
        <dsp:cNvSpPr/>
      </dsp:nvSpPr>
      <dsp:spPr>
        <a:xfrm>
          <a:off x="5749" y="0"/>
          <a:ext cx="2007163" cy="946217"/>
        </a:xfrm>
        <a:prstGeom prst="roundRect">
          <a:avLst>
            <a:gd name="adj" fmla="val 5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4864" rIns="71120" bIns="0" numCol="1" spcCol="1270" anchor="t" anchorCtr="0">
          <a:noAutofit/>
        </a:bodyPr>
        <a:lstStyle/>
        <a:p>
          <a:pPr marL="0" lvl="0" indent="0" algn="r" defTabSz="711200">
            <a:lnSpc>
              <a:spcPct val="90000"/>
            </a:lnSpc>
            <a:spcBef>
              <a:spcPct val="0"/>
            </a:spcBef>
            <a:spcAft>
              <a:spcPct val="35000"/>
            </a:spcAft>
            <a:buNone/>
          </a:pPr>
          <a:endParaRPr lang="en-US" sz="1600" b="1" kern="1200" dirty="0">
            <a:latin typeface="+mj-lt"/>
          </a:endParaRPr>
        </a:p>
      </dsp:txBody>
      <dsp:txXfrm rot="16200000">
        <a:off x="-181483" y="187232"/>
        <a:ext cx="775897" cy="401432"/>
      </dsp:txXfrm>
    </dsp:sp>
    <dsp:sp modelId="{F8FF1547-5255-4A99-8DBA-2C5AC21260AB}">
      <dsp:nvSpPr>
        <dsp:cNvPr id="0" name=""/>
        <dsp:cNvSpPr/>
      </dsp:nvSpPr>
      <dsp:spPr>
        <a:xfrm>
          <a:off x="407181"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i="0" u="none" strike="noStrike" kern="1200" dirty="0">
              <a:effectLst/>
              <a:latin typeface="Aptos" panose="020B0004020202020204" pitchFamily="34" charset="0"/>
            </a:rPr>
            <a:t>Shift To Adaptive Leadership </a:t>
          </a:r>
          <a:endParaRPr lang="en-US" sz="1400" kern="1200" dirty="0"/>
        </a:p>
      </dsp:txBody>
      <dsp:txXfrm>
        <a:off x="407181" y="0"/>
        <a:ext cx="1495336" cy="946217"/>
      </dsp:txXfrm>
    </dsp:sp>
    <dsp:sp modelId="{0432C7AE-7A5C-40DD-A5F7-1D24AAE507DC}">
      <dsp:nvSpPr>
        <dsp:cNvPr id="0" name=""/>
        <dsp:cNvSpPr/>
      </dsp:nvSpPr>
      <dsp:spPr>
        <a:xfrm>
          <a:off x="2083163" y="0"/>
          <a:ext cx="2007163" cy="946217"/>
        </a:xfrm>
        <a:prstGeom prst="roundRect">
          <a:avLst>
            <a:gd name="adj" fmla="val 5000"/>
          </a:avLst>
        </a:prstGeom>
        <a:solidFill>
          <a:schemeClr val="accent3">
            <a:hueOff val="928722"/>
            <a:satOff val="12188"/>
            <a:lumOff val="-2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4864" rIns="71120" bIns="0" numCol="1" spcCol="1270" anchor="t" anchorCtr="0">
          <a:noAutofit/>
        </a:bodyPr>
        <a:lstStyle/>
        <a:p>
          <a:pPr marL="0" lvl="0" indent="0" algn="r" defTabSz="711200">
            <a:lnSpc>
              <a:spcPct val="90000"/>
            </a:lnSpc>
            <a:spcBef>
              <a:spcPct val="0"/>
            </a:spcBef>
            <a:spcAft>
              <a:spcPct val="35000"/>
            </a:spcAft>
            <a:buNone/>
          </a:pPr>
          <a:endParaRPr lang="en-US" sz="1600" kern="1200" dirty="0"/>
        </a:p>
      </dsp:txBody>
      <dsp:txXfrm rot="16200000">
        <a:off x="1895930" y="187232"/>
        <a:ext cx="775897" cy="401432"/>
      </dsp:txXfrm>
    </dsp:sp>
    <dsp:sp modelId="{9E9ABEB9-666B-46CA-8EA0-8B1E243477CD}">
      <dsp:nvSpPr>
        <dsp:cNvPr id="0" name=""/>
        <dsp:cNvSpPr/>
      </dsp:nvSpPr>
      <dsp:spPr>
        <a:xfrm rot="5400000">
          <a:off x="2023698" y="660302"/>
          <a:ext cx="139001" cy="301074"/>
        </a:xfrm>
        <a:prstGeom prst="flowChartExtract">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B5D6255-FFFD-4E85-86DD-C773E9F14088}">
      <dsp:nvSpPr>
        <dsp:cNvPr id="0" name=""/>
        <dsp:cNvSpPr/>
      </dsp:nvSpPr>
      <dsp:spPr>
        <a:xfrm>
          <a:off x="2484596"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i="0" u="none" strike="noStrike" kern="1200" spc="0" baseline="0" dirty="0">
              <a:ln/>
              <a:effectLst/>
              <a:latin typeface="Aptos" panose="020B0004020202020204" pitchFamily="34" charset="0"/>
            </a:rPr>
            <a:t>Develop a Coaching Mindset</a:t>
          </a:r>
          <a:endParaRPr lang="en-US" sz="1400" kern="1200" dirty="0"/>
        </a:p>
      </dsp:txBody>
      <dsp:txXfrm>
        <a:off x="2484596" y="0"/>
        <a:ext cx="1495336" cy="946217"/>
      </dsp:txXfrm>
    </dsp:sp>
    <dsp:sp modelId="{DDB8546E-141E-45DA-806B-AE36DB99685D}">
      <dsp:nvSpPr>
        <dsp:cNvPr id="0" name=""/>
        <dsp:cNvSpPr/>
      </dsp:nvSpPr>
      <dsp:spPr>
        <a:xfrm>
          <a:off x="4160577" y="0"/>
          <a:ext cx="2007163" cy="946217"/>
        </a:xfrm>
        <a:prstGeom prst="roundRect">
          <a:avLst>
            <a:gd name="adj" fmla="val 5000"/>
          </a:avLst>
        </a:prstGeom>
        <a:solidFill>
          <a:schemeClr val="accent3">
            <a:hueOff val="1857443"/>
            <a:satOff val="24376"/>
            <a:lumOff val="-5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4864" rIns="71120" bIns="0" numCol="1" spcCol="1270" anchor="t" anchorCtr="0">
          <a:noAutofit/>
        </a:bodyPr>
        <a:lstStyle/>
        <a:p>
          <a:pPr marL="0" lvl="0" indent="0" algn="r" defTabSz="711200">
            <a:lnSpc>
              <a:spcPct val="90000"/>
            </a:lnSpc>
            <a:spcBef>
              <a:spcPct val="0"/>
            </a:spcBef>
            <a:spcAft>
              <a:spcPct val="35000"/>
            </a:spcAft>
            <a:buNone/>
          </a:pPr>
          <a:endParaRPr lang="en-US" sz="1600" kern="1200" dirty="0"/>
        </a:p>
      </dsp:txBody>
      <dsp:txXfrm rot="16200000">
        <a:off x="3973345" y="187232"/>
        <a:ext cx="775897" cy="401432"/>
      </dsp:txXfrm>
    </dsp:sp>
    <dsp:sp modelId="{DF0BD80F-CA1F-4942-9C04-CD57172A018C}">
      <dsp:nvSpPr>
        <dsp:cNvPr id="0" name=""/>
        <dsp:cNvSpPr/>
      </dsp:nvSpPr>
      <dsp:spPr>
        <a:xfrm rot="5400000">
          <a:off x="4101112" y="660302"/>
          <a:ext cx="139001" cy="301074"/>
        </a:xfrm>
        <a:prstGeom prst="flowChartExtract">
          <a:avLst/>
        </a:prstGeom>
        <a:solidFill>
          <a:schemeClr val="lt1">
            <a:hueOff val="0"/>
            <a:satOff val="0"/>
            <a:lumOff val="0"/>
            <a:alphaOff val="0"/>
          </a:schemeClr>
        </a:solidFill>
        <a:ln w="12700" cap="flat" cmpd="sng" algn="ctr">
          <a:solidFill>
            <a:schemeClr val="accent3">
              <a:hueOff val="1238296"/>
              <a:satOff val="16251"/>
              <a:lumOff val="-3791"/>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1C3C5F-51A4-44AB-B78B-A42712F498F8}">
      <dsp:nvSpPr>
        <dsp:cNvPr id="0" name=""/>
        <dsp:cNvSpPr/>
      </dsp:nvSpPr>
      <dsp:spPr>
        <a:xfrm>
          <a:off x="4562010"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i="0" u="none" strike="noStrike" kern="1200" spc="0" baseline="0" dirty="0">
              <a:ln/>
              <a:effectLst/>
              <a:latin typeface="Aptos" panose="020B0004020202020204" pitchFamily="34" charset="0"/>
            </a:rPr>
            <a:t> Prioritize Transparent Communication</a:t>
          </a:r>
          <a:endParaRPr lang="en-US" sz="1400" kern="1200" dirty="0"/>
        </a:p>
      </dsp:txBody>
      <dsp:txXfrm>
        <a:off x="4562010" y="0"/>
        <a:ext cx="1495336" cy="946217"/>
      </dsp:txXfrm>
    </dsp:sp>
    <dsp:sp modelId="{8312984E-8818-4AE4-9964-CD99F5303B47}">
      <dsp:nvSpPr>
        <dsp:cNvPr id="0" name=""/>
        <dsp:cNvSpPr/>
      </dsp:nvSpPr>
      <dsp:spPr>
        <a:xfrm>
          <a:off x="6237992" y="0"/>
          <a:ext cx="2007163" cy="946217"/>
        </a:xfrm>
        <a:prstGeom prst="roundRect">
          <a:avLst>
            <a:gd name="adj" fmla="val 5000"/>
          </a:avLst>
        </a:prstGeom>
        <a:solidFill>
          <a:schemeClr val="accent3">
            <a:hueOff val="2786165"/>
            <a:satOff val="36564"/>
            <a:lumOff val="-85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4864" rIns="71120" bIns="0" numCol="1" spcCol="1270" anchor="t" anchorCtr="0">
          <a:noAutofit/>
        </a:bodyPr>
        <a:lstStyle/>
        <a:p>
          <a:pPr marL="0" lvl="0" indent="0" algn="r" defTabSz="711200">
            <a:lnSpc>
              <a:spcPct val="90000"/>
            </a:lnSpc>
            <a:spcBef>
              <a:spcPct val="0"/>
            </a:spcBef>
            <a:spcAft>
              <a:spcPct val="35000"/>
            </a:spcAft>
            <a:buNone/>
          </a:pPr>
          <a:endParaRPr lang="en-US" sz="1600" kern="1200" dirty="0"/>
        </a:p>
      </dsp:txBody>
      <dsp:txXfrm rot="16200000">
        <a:off x="6050759" y="187232"/>
        <a:ext cx="775897" cy="401432"/>
      </dsp:txXfrm>
    </dsp:sp>
    <dsp:sp modelId="{6F7A2C98-2BDF-4AF2-8E7D-F161EA5914DC}">
      <dsp:nvSpPr>
        <dsp:cNvPr id="0" name=""/>
        <dsp:cNvSpPr/>
      </dsp:nvSpPr>
      <dsp:spPr>
        <a:xfrm rot="5400000">
          <a:off x="6178527" y="660302"/>
          <a:ext cx="139001" cy="301074"/>
        </a:xfrm>
        <a:prstGeom prst="flowChartExtract">
          <a:avLst/>
        </a:prstGeom>
        <a:solidFill>
          <a:schemeClr val="lt1">
            <a:hueOff val="0"/>
            <a:satOff val="0"/>
            <a:lumOff val="0"/>
            <a:alphaOff val="0"/>
          </a:schemeClr>
        </a:solidFill>
        <a:ln w="12700" cap="flat" cmpd="sng" algn="ctr">
          <a:solidFill>
            <a:schemeClr val="accent3">
              <a:hueOff val="2476591"/>
              <a:satOff val="32501"/>
              <a:lumOff val="-7581"/>
              <a:alphaOff val="0"/>
            </a:schemeClr>
          </a:solidFill>
          <a:prstDash val="solid"/>
          <a:miter lim="800000"/>
        </a:ln>
        <a:effectLst/>
      </dsp:spPr>
      <dsp:style>
        <a:lnRef idx="2">
          <a:scrgbClr r="0" g="0" b="0"/>
        </a:lnRef>
        <a:fillRef idx="1">
          <a:scrgbClr r="0" g="0" b="0"/>
        </a:fillRef>
        <a:effectRef idx="0">
          <a:scrgbClr r="0" g="0" b="0"/>
        </a:effectRef>
        <a:fontRef idx="minor"/>
      </dsp:style>
    </dsp:sp>
    <dsp:sp modelId="{57B8AB37-1240-4408-9FBD-885687A2EC8D}">
      <dsp:nvSpPr>
        <dsp:cNvPr id="0" name=""/>
        <dsp:cNvSpPr/>
      </dsp:nvSpPr>
      <dsp:spPr>
        <a:xfrm>
          <a:off x="6639424"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i="0" u="none" strike="noStrike" kern="1200" spc="0" baseline="0" dirty="0">
              <a:ln/>
              <a:effectLst/>
              <a:latin typeface="Aptos" panose="020B0004020202020204" pitchFamily="34" charset="0"/>
            </a:rPr>
            <a:t>Emphasize a Data-Informed Decision-Making Process</a:t>
          </a:r>
          <a:endParaRPr lang="en-US" sz="1400" kern="1200" dirty="0"/>
        </a:p>
      </dsp:txBody>
      <dsp:txXfrm>
        <a:off x="6639424" y="0"/>
        <a:ext cx="1495336" cy="946217"/>
      </dsp:txXfrm>
    </dsp:sp>
    <dsp:sp modelId="{9351DF02-9739-4E20-BD28-675B3FB67A5D}">
      <dsp:nvSpPr>
        <dsp:cNvPr id="0" name=""/>
        <dsp:cNvSpPr/>
      </dsp:nvSpPr>
      <dsp:spPr>
        <a:xfrm>
          <a:off x="8315406" y="0"/>
          <a:ext cx="2007163" cy="946217"/>
        </a:xfrm>
        <a:prstGeom prst="roundRect">
          <a:avLst>
            <a:gd name="adj" fmla="val 5000"/>
          </a:avLst>
        </a:prstGeom>
        <a:solidFill>
          <a:schemeClr val="accent3">
            <a:hueOff val="3714887"/>
            <a:satOff val="48752"/>
            <a:lumOff val="-1137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1148" rIns="53340" bIns="0" numCol="1" spcCol="1270" anchor="t" anchorCtr="0">
          <a:noAutofit/>
        </a:bodyPr>
        <a:lstStyle/>
        <a:p>
          <a:pPr marL="0" lvl="0" indent="0" algn="r" defTabSz="533400">
            <a:lnSpc>
              <a:spcPct val="90000"/>
            </a:lnSpc>
            <a:spcBef>
              <a:spcPct val="0"/>
            </a:spcBef>
            <a:spcAft>
              <a:spcPct val="35000"/>
            </a:spcAft>
            <a:buNone/>
          </a:pPr>
          <a:endParaRPr lang="en-US" sz="1200" kern="1200" dirty="0"/>
        </a:p>
      </dsp:txBody>
      <dsp:txXfrm rot="16200000">
        <a:off x="8128173" y="187232"/>
        <a:ext cx="775897" cy="401432"/>
      </dsp:txXfrm>
    </dsp:sp>
    <dsp:sp modelId="{D1DD816F-6758-485F-8A48-2A36082DC2F6}">
      <dsp:nvSpPr>
        <dsp:cNvPr id="0" name=""/>
        <dsp:cNvSpPr/>
      </dsp:nvSpPr>
      <dsp:spPr>
        <a:xfrm rot="5400000">
          <a:off x="8255941" y="660302"/>
          <a:ext cx="139001" cy="301074"/>
        </a:xfrm>
        <a:prstGeom prst="flowChartExtract">
          <a:avLst/>
        </a:prstGeom>
        <a:solidFill>
          <a:schemeClr val="lt1">
            <a:hueOff val="0"/>
            <a:satOff val="0"/>
            <a:lumOff val="0"/>
            <a:alphaOff val="0"/>
          </a:schemeClr>
        </a:solidFill>
        <a:ln w="12700" cap="flat" cmpd="sng" algn="ctr">
          <a:solidFill>
            <a:schemeClr val="accent3">
              <a:hueOff val="3714887"/>
              <a:satOff val="48752"/>
              <a:lumOff val="-11372"/>
              <a:alphaOff val="0"/>
            </a:schemeClr>
          </a:solidFill>
          <a:prstDash val="solid"/>
          <a:miter lim="800000"/>
        </a:ln>
        <a:effectLst/>
      </dsp:spPr>
      <dsp:style>
        <a:lnRef idx="2">
          <a:scrgbClr r="0" g="0" b="0"/>
        </a:lnRef>
        <a:fillRef idx="1">
          <a:scrgbClr r="0" g="0" b="0"/>
        </a:fillRef>
        <a:effectRef idx="0">
          <a:scrgbClr r="0" g="0" b="0"/>
        </a:effectRef>
        <a:fontRef idx="minor"/>
      </dsp:style>
    </dsp:sp>
    <dsp:sp modelId="{8C5AE68A-6797-4ACF-A627-BB57CC35A427}">
      <dsp:nvSpPr>
        <dsp:cNvPr id="0" name=""/>
        <dsp:cNvSpPr/>
      </dsp:nvSpPr>
      <dsp:spPr>
        <a:xfrm>
          <a:off x="8716838"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kern="1200" dirty="0">
              <a:latin typeface="+mj-lt"/>
            </a:rPr>
            <a:t>Focus on a Task-Oriented Delegation Process</a:t>
          </a:r>
        </a:p>
      </dsp:txBody>
      <dsp:txXfrm>
        <a:off x="8716838" y="0"/>
        <a:ext cx="1495336" cy="9462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84C7E9-C290-4103-96EF-8B487F6AE2F4}">
      <dsp:nvSpPr>
        <dsp:cNvPr id="0" name=""/>
        <dsp:cNvSpPr/>
      </dsp:nvSpPr>
      <dsp:spPr>
        <a:xfrm>
          <a:off x="5749" y="0"/>
          <a:ext cx="2007163" cy="946217"/>
        </a:xfrm>
        <a:prstGeom prst="roundRect">
          <a:avLst>
            <a:gd name="adj" fmla="val 5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4864" rIns="71120" bIns="0" numCol="1" spcCol="1270" anchor="t" anchorCtr="0">
          <a:noAutofit/>
        </a:bodyPr>
        <a:lstStyle/>
        <a:p>
          <a:pPr marL="0" lvl="0" indent="0" algn="r" defTabSz="711200">
            <a:lnSpc>
              <a:spcPct val="90000"/>
            </a:lnSpc>
            <a:spcBef>
              <a:spcPct val="0"/>
            </a:spcBef>
            <a:spcAft>
              <a:spcPct val="35000"/>
            </a:spcAft>
            <a:buNone/>
          </a:pPr>
          <a:endParaRPr lang="en-US" sz="1600" b="1" kern="1200" dirty="0">
            <a:latin typeface="+mj-lt"/>
          </a:endParaRPr>
        </a:p>
      </dsp:txBody>
      <dsp:txXfrm rot="16200000">
        <a:off x="-181483" y="187232"/>
        <a:ext cx="775897" cy="401432"/>
      </dsp:txXfrm>
    </dsp:sp>
    <dsp:sp modelId="{F8FF1547-5255-4A99-8DBA-2C5AC21260AB}">
      <dsp:nvSpPr>
        <dsp:cNvPr id="0" name=""/>
        <dsp:cNvSpPr/>
      </dsp:nvSpPr>
      <dsp:spPr>
        <a:xfrm>
          <a:off x="407181"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i="0" u="none" strike="noStrike" kern="1200" dirty="0">
              <a:effectLst/>
              <a:latin typeface="Aptos" panose="020B0004020202020204" pitchFamily="34" charset="0"/>
            </a:rPr>
            <a:t>Shift To Adaptive Leadership </a:t>
          </a:r>
          <a:endParaRPr lang="en-US" sz="1400" kern="1200" dirty="0"/>
        </a:p>
      </dsp:txBody>
      <dsp:txXfrm>
        <a:off x="407181" y="0"/>
        <a:ext cx="1495336" cy="946217"/>
      </dsp:txXfrm>
    </dsp:sp>
    <dsp:sp modelId="{0432C7AE-7A5C-40DD-A5F7-1D24AAE507DC}">
      <dsp:nvSpPr>
        <dsp:cNvPr id="0" name=""/>
        <dsp:cNvSpPr/>
      </dsp:nvSpPr>
      <dsp:spPr>
        <a:xfrm>
          <a:off x="2083163" y="0"/>
          <a:ext cx="2007163" cy="946217"/>
        </a:xfrm>
        <a:prstGeom prst="roundRect">
          <a:avLst>
            <a:gd name="adj" fmla="val 5000"/>
          </a:avLst>
        </a:prstGeom>
        <a:solidFill>
          <a:schemeClr val="accent3">
            <a:hueOff val="928722"/>
            <a:satOff val="12188"/>
            <a:lumOff val="-2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4864" rIns="71120" bIns="0" numCol="1" spcCol="1270" anchor="t" anchorCtr="0">
          <a:noAutofit/>
        </a:bodyPr>
        <a:lstStyle/>
        <a:p>
          <a:pPr marL="0" lvl="0" indent="0" algn="r" defTabSz="711200">
            <a:lnSpc>
              <a:spcPct val="90000"/>
            </a:lnSpc>
            <a:spcBef>
              <a:spcPct val="0"/>
            </a:spcBef>
            <a:spcAft>
              <a:spcPct val="35000"/>
            </a:spcAft>
            <a:buNone/>
          </a:pPr>
          <a:endParaRPr lang="en-US" sz="1600" kern="1200" dirty="0"/>
        </a:p>
      </dsp:txBody>
      <dsp:txXfrm rot="16200000">
        <a:off x="1895930" y="187232"/>
        <a:ext cx="775897" cy="401432"/>
      </dsp:txXfrm>
    </dsp:sp>
    <dsp:sp modelId="{9E9ABEB9-666B-46CA-8EA0-8B1E243477CD}">
      <dsp:nvSpPr>
        <dsp:cNvPr id="0" name=""/>
        <dsp:cNvSpPr/>
      </dsp:nvSpPr>
      <dsp:spPr>
        <a:xfrm rot="5400000">
          <a:off x="2023698" y="660302"/>
          <a:ext cx="139001" cy="301074"/>
        </a:xfrm>
        <a:prstGeom prst="flowChartExtract">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B5D6255-FFFD-4E85-86DD-C773E9F14088}">
      <dsp:nvSpPr>
        <dsp:cNvPr id="0" name=""/>
        <dsp:cNvSpPr/>
      </dsp:nvSpPr>
      <dsp:spPr>
        <a:xfrm>
          <a:off x="2484596"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i="0" u="none" strike="noStrike" kern="1200" spc="0" baseline="0" dirty="0">
              <a:ln/>
              <a:effectLst/>
              <a:latin typeface="Aptos" panose="020B0004020202020204" pitchFamily="34" charset="0"/>
            </a:rPr>
            <a:t>Develop a Coaching Mindset</a:t>
          </a:r>
          <a:endParaRPr lang="en-US" sz="1400" kern="1200" dirty="0"/>
        </a:p>
      </dsp:txBody>
      <dsp:txXfrm>
        <a:off x="2484596" y="0"/>
        <a:ext cx="1495336" cy="946217"/>
      </dsp:txXfrm>
    </dsp:sp>
    <dsp:sp modelId="{DDB8546E-141E-45DA-806B-AE36DB99685D}">
      <dsp:nvSpPr>
        <dsp:cNvPr id="0" name=""/>
        <dsp:cNvSpPr/>
      </dsp:nvSpPr>
      <dsp:spPr>
        <a:xfrm>
          <a:off x="4160577" y="0"/>
          <a:ext cx="2007163" cy="946217"/>
        </a:xfrm>
        <a:prstGeom prst="roundRect">
          <a:avLst>
            <a:gd name="adj" fmla="val 5000"/>
          </a:avLst>
        </a:prstGeom>
        <a:solidFill>
          <a:schemeClr val="accent3">
            <a:hueOff val="1857443"/>
            <a:satOff val="24376"/>
            <a:lumOff val="-5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4864" rIns="71120" bIns="0" numCol="1" spcCol="1270" anchor="t" anchorCtr="0">
          <a:noAutofit/>
        </a:bodyPr>
        <a:lstStyle/>
        <a:p>
          <a:pPr marL="0" lvl="0" indent="0" algn="r" defTabSz="711200">
            <a:lnSpc>
              <a:spcPct val="90000"/>
            </a:lnSpc>
            <a:spcBef>
              <a:spcPct val="0"/>
            </a:spcBef>
            <a:spcAft>
              <a:spcPct val="35000"/>
            </a:spcAft>
            <a:buNone/>
          </a:pPr>
          <a:endParaRPr lang="en-US" sz="1600" kern="1200" dirty="0"/>
        </a:p>
      </dsp:txBody>
      <dsp:txXfrm rot="16200000">
        <a:off x="3973345" y="187232"/>
        <a:ext cx="775897" cy="401432"/>
      </dsp:txXfrm>
    </dsp:sp>
    <dsp:sp modelId="{DF0BD80F-CA1F-4942-9C04-CD57172A018C}">
      <dsp:nvSpPr>
        <dsp:cNvPr id="0" name=""/>
        <dsp:cNvSpPr/>
      </dsp:nvSpPr>
      <dsp:spPr>
        <a:xfrm rot="5400000">
          <a:off x="4101112" y="660302"/>
          <a:ext cx="139001" cy="301074"/>
        </a:xfrm>
        <a:prstGeom prst="flowChartExtract">
          <a:avLst/>
        </a:prstGeom>
        <a:solidFill>
          <a:schemeClr val="lt1">
            <a:hueOff val="0"/>
            <a:satOff val="0"/>
            <a:lumOff val="0"/>
            <a:alphaOff val="0"/>
          </a:schemeClr>
        </a:solidFill>
        <a:ln w="12700" cap="flat" cmpd="sng" algn="ctr">
          <a:solidFill>
            <a:schemeClr val="accent3">
              <a:hueOff val="1238296"/>
              <a:satOff val="16251"/>
              <a:lumOff val="-3791"/>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1C3C5F-51A4-44AB-B78B-A42712F498F8}">
      <dsp:nvSpPr>
        <dsp:cNvPr id="0" name=""/>
        <dsp:cNvSpPr/>
      </dsp:nvSpPr>
      <dsp:spPr>
        <a:xfrm>
          <a:off x="4562010"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i="0" u="none" strike="noStrike" kern="1200" spc="0" baseline="0" dirty="0">
              <a:ln/>
              <a:effectLst/>
              <a:latin typeface="Aptos" panose="020B0004020202020204" pitchFamily="34" charset="0"/>
            </a:rPr>
            <a:t> Prioritize Transparent Communication</a:t>
          </a:r>
          <a:endParaRPr lang="en-US" sz="1400" kern="1200" dirty="0"/>
        </a:p>
      </dsp:txBody>
      <dsp:txXfrm>
        <a:off x="4562010" y="0"/>
        <a:ext cx="1495336" cy="946217"/>
      </dsp:txXfrm>
    </dsp:sp>
    <dsp:sp modelId="{8312984E-8818-4AE4-9964-CD99F5303B47}">
      <dsp:nvSpPr>
        <dsp:cNvPr id="0" name=""/>
        <dsp:cNvSpPr/>
      </dsp:nvSpPr>
      <dsp:spPr>
        <a:xfrm>
          <a:off x="6237992" y="0"/>
          <a:ext cx="2007163" cy="946217"/>
        </a:xfrm>
        <a:prstGeom prst="roundRect">
          <a:avLst>
            <a:gd name="adj" fmla="val 5000"/>
          </a:avLst>
        </a:prstGeom>
        <a:solidFill>
          <a:schemeClr val="accent3">
            <a:hueOff val="2786165"/>
            <a:satOff val="36564"/>
            <a:lumOff val="-85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54864" rIns="71120" bIns="0" numCol="1" spcCol="1270" anchor="t" anchorCtr="0">
          <a:noAutofit/>
        </a:bodyPr>
        <a:lstStyle/>
        <a:p>
          <a:pPr marL="0" lvl="0" indent="0" algn="r" defTabSz="711200">
            <a:lnSpc>
              <a:spcPct val="90000"/>
            </a:lnSpc>
            <a:spcBef>
              <a:spcPct val="0"/>
            </a:spcBef>
            <a:spcAft>
              <a:spcPct val="35000"/>
            </a:spcAft>
            <a:buNone/>
          </a:pPr>
          <a:endParaRPr lang="en-US" sz="1600" kern="1200" dirty="0"/>
        </a:p>
      </dsp:txBody>
      <dsp:txXfrm rot="16200000">
        <a:off x="6050759" y="187232"/>
        <a:ext cx="775897" cy="401432"/>
      </dsp:txXfrm>
    </dsp:sp>
    <dsp:sp modelId="{6F7A2C98-2BDF-4AF2-8E7D-F161EA5914DC}">
      <dsp:nvSpPr>
        <dsp:cNvPr id="0" name=""/>
        <dsp:cNvSpPr/>
      </dsp:nvSpPr>
      <dsp:spPr>
        <a:xfrm rot="5400000">
          <a:off x="6178527" y="660302"/>
          <a:ext cx="139001" cy="301074"/>
        </a:xfrm>
        <a:prstGeom prst="flowChartExtract">
          <a:avLst/>
        </a:prstGeom>
        <a:solidFill>
          <a:schemeClr val="lt1">
            <a:hueOff val="0"/>
            <a:satOff val="0"/>
            <a:lumOff val="0"/>
            <a:alphaOff val="0"/>
          </a:schemeClr>
        </a:solidFill>
        <a:ln w="12700" cap="flat" cmpd="sng" algn="ctr">
          <a:solidFill>
            <a:schemeClr val="accent3">
              <a:hueOff val="2476591"/>
              <a:satOff val="32501"/>
              <a:lumOff val="-7581"/>
              <a:alphaOff val="0"/>
            </a:schemeClr>
          </a:solidFill>
          <a:prstDash val="solid"/>
          <a:miter lim="800000"/>
        </a:ln>
        <a:effectLst/>
      </dsp:spPr>
      <dsp:style>
        <a:lnRef idx="2">
          <a:scrgbClr r="0" g="0" b="0"/>
        </a:lnRef>
        <a:fillRef idx="1">
          <a:scrgbClr r="0" g="0" b="0"/>
        </a:fillRef>
        <a:effectRef idx="0">
          <a:scrgbClr r="0" g="0" b="0"/>
        </a:effectRef>
        <a:fontRef idx="minor"/>
      </dsp:style>
    </dsp:sp>
    <dsp:sp modelId="{57B8AB37-1240-4408-9FBD-885687A2EC8D}">
      <dsp:nvSpPr>
        <dsp:cNvPr id="0" name=""/>
        <dsp:cNvSpPr/>
      </dsp:nvSpPr>
      <dsp:spPr>
        <a:xfrm>
          <a:off x="6639424"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i="0" u="none" strike="noStrike" kern="1200" spc="0" baseline="0" dirty="0">
              <a:ln/>
              <a:effectLst/>
              <a:latin typeface="Aptos" panose="020B0004020202020204" pitchFamily="34" charset="0"/>
            </a:rPr>
            <a:t>Emphasize a Data-Informed Decision-Making Process</a:t>
          </a:r>
          <a:endParaRPr lang="en-US" sz="1400" kern="1200" dirty="0"/>
        </a:p>
      </dsp:txBody>
      <dsp:txXfrm>
        <a:off x="6639424" y="0"/>
        <a:ext cx="1495336" cy="946217"/>
      </dsp:txXfrm>
    </dsp:sp>
    <dsp:sp modelId="{9351DF02-9739-4E20-BD28-675B3FB67A5D}">
      <dsp:nvSpPr>
        <dsp:cNvPr id="0" name=""/>
        <dsp:cNvSpPr/>
      </dsp:nvSpPr>
      <dsp:spPr>
        <a:xfrm>
          <a:off x="8315406" y="0"/>
          <a:ext cx="2007163" cy="946217"/>
        </a:xfrm>
        <a:prstGeom prst="roundRect">
          <a:avLst>
            <a:gd name="adj" fmla="val 5000"/>
          </a:avLst>
        </a:prstGeom>
        <a:solidFill>
          <a:schemeClr val="accent3">
            <a:hueOff val="3714887"/>
            <a:satOff val="48752"/>
            <a:lumOff val="-1137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41148" rIns="53340" bIns="0" numCol="1" spcCol="1270" anchor="t" anchorCtr="0">
          <a:noAutofit/>
        </a:bodyPr>
        <a:lstStyle/>
        <a:p>
          <a:pPr marL="0" lvl="0" indent="0" algn="r" defTabSz="533400">
            <a:lnSpc>
              <a:spcPct val="90000"/>
            </a:lnSpc>
            <a:spcBef>
              <a:spcPct val="0"/>
            </a:spcBef>
            <a:spcAft>
              <a:spcPct val="35000"/>
            </a:spcAft>
            <a:buNone/>
          </a:pPr>
          <a:endParaRPr lang="en-US" sz="1200" kern="1200" dirty="0"/>
        </a:p>
      </dsp:txBody>
      <dsp:txXfrm rot="16200000">
        <a:off x="8128173" y="187232"/>
        <a:ext cx="775897" cy="401432"/>
      </dsp:txXfrm>
    </dsp:sp>
    <dsp:sp modelId="{D1DD816F-6758-485F-8A48-2A36082DC2F6}">
      <dsp:nvSpPr>
        <dsp:cNvPr id="0" name=""/>
        <dsp:cNvSpPr/>
      </dsp:nvSpPr>
      <dsp:spPr>
        <a:xfrm rot="5400000">
          <a:off x="8255941" y="660302"/>
          <a:ext cx="139001" cy="301074"/>
        </a:xfrm>
        <a:prstGeom prst="flowChartExtract">
          <a:avLst/>
        </a:prstGeom>
        <a:solidFill>
          <a:schemeClr val="lt1">
            <a:hueOff val="0"/>
            <a:satOff val="0"/>
            <a:lumOff val="0"/>
            <a:alphaOff val="0"/>
          </a:schemeClr>
        </a:solidFill>
        <a:ln w="12700" cap="flat" cmpd="sng" algn="ctr">
          <a:solidFill>
            <a:schemeClr val="accent3">
              <a:hueOff val="3714887"/>
              <a:satOff val="48752"/>
              <a:lumOff val="-11372"/>
              <a:alphaOff val="0"/>
            </a:schemeClr>
          </a:solidFill>
          <a:prstDash val="solid"/>
          <a:miter lim="800000"/>
        </a:ln>
        <a:effectLst/>
      </dsp:spPr>
      <dsp:style>
        <a:lnRef idx="2">
          <a:scrgbClr r="0" g="0" b="0"/>
        </a:lnRef>
        <a:fillRef idx="1">
          <a:scrgbClr r="0" g="0" b="0"/>
        </a:fillRef>
        <a:effectRef idx="0">
          <a:scrgbClr r="0" g="0" b="0"/>
        </a:effectRef>
        <a:fontRef idx="minor"/>
      </dsp:style>
    </dsp:sp>
    <dsp:sp modelId="{8C5AE68A-6797-4ACF-A627-BB57CC35A427}">
      <dsp:nvSpPr>
        <dsp:cNvPr id="0" name=""/>
        <dsp:cNvSpPr/>
      </dsp:nvSpPr>
      <dsp:spPr>
        <a:xfrm>
          <a:off x="8716838" y="0"/>
          <a:ext cx="1495336" cy="94621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t" anchorCtr="0">
          <a:noAutofit/>
        </a:bodyPr>
        <a:lstStyle/>
        <a:p>
          <a:pPr marL="0" lvl="0" indent="0" algn="l" defTabSz="622300">
            <a:lnSpc>
              <a:spcPct val="90000"/>
            </a:lnSpc>
            <a:spcBef>
              <a:spcPct val="0"/>
            </a:spcBef>
            <a:spcAft>
              <a:spcPct val="35000"/>
            </a:spcAft>
            <a:buNone/>
          </a:pPr>
          <a:r>
            <a:rPr lang="en-US" sz="1400" b="1" kern="1200" dirty="0">
              <a:latin typeface="+mj-lt"/>
            </a:rPr>
            <a:t>Focus on a Task-Oriented Delegation Process</a:t>
          </a:r>
        </a:p>
      </dsp:txBody>
      <dsp:txXfrm>
        <a:off x="8716838" y="0"/>
        <a:ext cx="1495336" cy="94621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49474EC-0F50-6B3A-05FD-CC79826C44EE}"/>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2B160BC6-BF79-B840-75E6-6EE958C743E6}"/>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53DD94F8-2D5B-4368-9D16-993EC1948619}" type="datetimeFigureOut">
              <a:rPr lang="en-US" smtClean="0"/>
              <a:t>5/17/25</a:t>
            </a:fld>
            <a:endParaRPr lang="en-US"/>
          </a:p>
        </p:txBody>
      </p:sp>
      <p:sp>
        <p:nvSpPr>
          <p:cNvPr id="4" name="Footer Placeholder 3">
            <a:extLst>
              <a:ext uri="{FF2B5EF4-FFF2-40B4-BE49-F238E27FC236}">
                <a16:creationId xmlns:a16="http://schemas.microsoft.com/office/drawing/2014/main" id="{C0560F2A-195F-53E4-C0CF-51A2D70FC929}"/>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337D7DE-6E1F-1133-EBBB-51A2332FF438}"/>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381C9DCE-40E6-448C-99D7-18F0248CA6FD}" type="slidenum">
              <a:rPr lang="en-US" smtClean="0"/>
              <a:t>‹#›</a:t>
            </a:fld>
            <a:endParaRPr lang="en-US"/>
          </a:p>
        </p:txBody>
      </p:sp>
    </p:spTree>
    <p:extLst>
      <p:ext uri="{BB962C8B-B14F-4D97-AF65-F5344CB8AC3E}">
        <p14:creationId xmlns:p14="http://schemas.microsoft.com/office/powerpoint/2010/main" val="3986775446"/>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2928"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7A756AC-950E-407D-B997-9F8281A4EB8E}" type="datetimeFigureOut">
              <a:rPr lang="en-US" smtClean="0"/>
              <a:t>5/17/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12854C9-FAB8-4F12-AC50-7CC28BF7C9C9}" type="slidenum">
              <a:rPr lang="en-US" smtClean="0"/>
              <a:t>‹#›</a:t>
            </a:fld>
            <a:endParaRPr lang="en-US"/>
          </a:p>
        </p:txBody>
      </p:sp>
    </p:spTree>
    <p:extLst>
      <p:ext uri="{BB962C8B-B14F-4D97-AF65-F5344CB8AC3E}">
        <p14:creationId xmlns:p14="http://schemas.microsoft.com/office/powerpoint/2010/main" val="145128068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2854C9-FAB8-4F12-AC50-7CC28BF7C9C9}" type="slidenum">
              <a:rPr lang="en-US" smtClean="0"/>
              <a:t>0</a:t>
            </a:fld>
            <a:endParaRPr lang="en-US" dirty="0"/>
          </a:p>
        </p:txBody>
      </p:sp>
    </p:spTree>
    <p:extLst>
      <p:ext uri="{BB962C8B-B14F-4D97-AF65-F5344CB8AC3E}">
        <p14:creationId xmlns:p14="http://schemas.microsoft.com/office/powerpoint/2010/main" val="1444259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2854C9-FAB8-4F12-AC50-7CC28BF7C9C9}" type="slidenum">
              <a:rPr lang="en-US" smtClean="0"/>
              <a:t>1</a:t>
            </a:fld>
            <a:endParaRPr lang="en-US" dirty="0"/>
          </a:p>
        </p:txBody>
      </p:sp>
    </p:spTree>
    <p:extLst>
      <p:ext uri="{BB962C8B-B14F-4D97-AF65-F5344CB8AC3E}">
        <p14:creationId xmlns:p14="http://schemas.microsoft.com/office/powerpoint/2010/main" val="2045813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2854C9-FAB8-4F12-AC50-7CC28BF7C9C9}" type="slidenum">
              <a:rPr lang="en-US" smtClean="0"/>
              <a:t>2</a:t>
            </a:fld>
            <a:endParaRPr lang="en-US" dirty="0"/>
          </a:p>
        </p:txBody>
      </p:sp>
    </p:spTree>
    <p:extLst>
      <p:ext uri="{BB962C8B-B14F-4D97-AF65-F5344CB8AC3E}">
        <p14:creationId xmlns:p14="http://schemas.microsoft.com/office/powerpoint/2010/main" val="33299235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2854C9-FAB8-4F12-AC50-7CC28BF7C9C9}" type="slidenum">
              <a:rPr lang="en-US" smtClean="0"/>
              <a:t>4</a:t>
            </a:fld>
            <a:endParaRPr lang="en-US" dirty="0"/>
          </a:p>
        </p:txBody>
      </p:sp>
    </p:spTree>
    <p:extLst>
      <p:ext uri="{BB962C8B-B14F-4D97-AF65-F5344CB8AC3E}">
        <p14:creationId xmlns:p14="http://schemas.microsoft.com/office/powerpoint/2010/main" val="1244753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9C1270-B528-F405-CF7F-3988C0F32B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AFDE94-B1DF-71C9-D9CC-AEAC59B56F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2E6E58-5D69-156C-105D-1705BC0B0549}"/>
              </a:ext>
            </a:extLst>
          </p:cNvPr>
          <p:cNvSpPr>
            <a:spLocks noGrp="1"/>
          </p:cNvSpPr>
          <p:nvPr>
            <p:ph type="body" idx="1"/>
          </p:nvPr>
        </p:nvSpPr>
        <p:spPr/>
        <p:txBody>
          <a:bodyPr/>
          <a:lstStyle/>
          <a:p>
            <a:pPr fontAlgn="ctr"/>
            <a:r>
              <a:rPr lang="en-US" sz="1800" b="1" dirty="0">
                <a:solidFill>
                  <a:srgbClr val="1B1B1B"/>
                </a:solidFill>
                <a:latin typeface="Aptos" panose="020B0004020202020204" pitchFamily="34" charset="0"/>
              </a:rPr>
              <a:t>Leadership Strategy</a:t>
            </a:r>
            <a:endParaRPr lang="en-US" sz="1800" dirty="0">
              <a:latin typeface="Arial" panose="020B0604020202020204" pitchFamily="34" charset="0"/>
            </a:endParaRPr>
          </a:p>
          <a:p>
            <a:pPr fontAlgn="ctr"/>
            <a:r>
              <a:rPr lang="en-US" sz="1800" b="1" dirty="0">
                <a:solidFill>
                  <a:srgbClr val="1B1B1B"/>
                </a:solidFill>
                <a:latin typeface="Aptos" panose="020B0004020202020204" pitchFamily="34" charset="0"/>
              </a:rPr>
              <a:t>Description</a:t>
            </a:r>
            <a:endParaRPr lang="en-US" sz="1800" dirty="0">
              <a:latin typeface="Arial" panose="020B0604020202020204" pitchFamily="34" charset="0"/>
            </a:endParaRPr>
          </a:p>
          <a:p>
            <a:pPr fontAlgn="ctr"/>
            <a:r>
              <a:rPr lang="en-US" sz="1800" b="1" dirty="0">
                <a:solidFill>
                  <a:srgbClr val="1B1B1B"/>
                </a:solidFill>
                <a:latin typeface="Aptos" panose="020B0004020202020204" pitchFamily="34" charset="0"/>
              </a:rPr>
              <a:t>Goal</a:t>
            </a:r>
            <a:endParaRPr lang="en-US" sz="1800" dirty="0">
              <a:latin typeface="Arial" panose="020B0604020202020204" pitchFamily="34" charset="0"/>
            </a:endParaRPr>
          </a:p>
          <a:p>
            <a:pPr fontAlgn="ctr"/>
            <a:r>
              <a:rPr lang="en-US" sz="1800" b="1" dirty="0">
                <a:solidFill>
                  <a:srgbClr val="1B1B1B"/>
                </a:solidFill>
                <a:latin typeface="Aptos" panose="020B0004020202020204" pitchFamily="34" charset="0"/>
              </a:rPr>
              <a:t>Best Practice</a:t>
            </a:r>
            <a:endParaRPr lang="en-US" sz="1800" dirty="0">
              <a:latin typeface="Arial" panose="020B0604020202020204" pitchFamily="34" charset="0"/>
            </a:endParaRPr>
          </a:p>
          <a:p>
            <a:pPr fontAlgn="ctr"/>
            <a:r>
              <a:rPr lang="en-US" sz="1800" b="1" dirty="0">
                <a:solidFill>
                  <a:srgbClr val="1B1B1B"/>
                </a:solidFill>
                <a:latin typeface="Aptos" panose="020B0004020202020204" pitchFamily="34" charset="0"/>
              </a:rPr>
              <a:t>Shift to Adaptive Leadership Strategy</a:t>
            </a:r>
            <a:endParaRPr lang="en-US" sz="1800" dirty="0">
              <a:latin typeface="Arial" panose="020B0604020202020204" pitchFamily="34" charset="0"/>
            </a:endParaRPr>
          </a:p>
          <a:p>
            <a:pPr fontAlgn="ctr"/>
            <a:r>
              <a:rPr lang="en-US" sz="1800" dirty="0">
                <a:solidFill>
                  <a:srgbClr val="1B1B1B"/>
                </a:solidFill>
                <a:latin typeface="Aptos Light" panose="020B0004020202020204" pitchFamily="34" charset="0"/>
              </a:rPr>
              <a:t>Focuses on mobilizing people to diagnose the situation, manage emotional reactions, empower staff, and value perspectives of front-line staff</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Organizational resilience and emotional maturity</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Diagnose the situation and assess your ability to lead. Adjust as needed.</a:t>
            </a:r>
            <a:endParaRPr lang="en-US" sz="1800" dirty="0">
              <a:latin typeface="Arial" panose="020B0604020202020204" pitchFamily="34" charset="0"/>
            </a:endParaRPr>
          </a:p>
          <a:p>
            <a:r>
              <a:rPr lang="en-US" sz="1800" b="1" dirty="0">
                <a:solidFill>
                  <a:srgbClr val="1B1B1B"/>
                </a:solidFill>
                <a:latin typeface="Aptos" panose="020B0004020202020204" pitchFamily="34" charset="0"/>
              </a:rPr>
              <a:t>Develop a Coaching Mindset</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Empowers team members to understand their strengths and weaknesses, develop problem-solving skills, and gain confidence</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Culture of psychological safety</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Say less, ask more, and challenge the way you lead forever.”  – The Coaching Habit</a:t>
            </a:r>
            <a:endParaRPr lang="en-US" sz="1800" dirty="0">
              <a:latin typeface="Arial" panose="020B0604020202020204" pitchFamily="34" charset="0"/>
            </a:endParaRPr>
          </a:p>
          <a:p>
            <a:r>
              <a:rPr lang="en-US" sz="1800" b="1" dirty="0">
                <a:solidFill>
                  <a:srgbClr val="1B1B1B"/>
                </a:solidFill>
                <a:latin typeface="Aptos" panose="020B0004020202020204" pitchFamily="34" charset="0"/>
              </a:rPr>
              <a:t>Focus on Transparent Communication </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Provides clear, honest communication content, both positive and negative, that are solution-oriented </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Culture of trust </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Listen and speak simultaneously, adjusting messages based on other’s verbal and non-verbal cues. </a:t>
            </a:r>
            <a:endParaRPr lang="en-US" sz="1800" dirty="0">
              <a:latin typeface="Arial" panose="020B0604020202020204" pitchFamily="34" charset="0"/>
            </a:endParaRPr>
          </a:p>
          <a:p>
            <a:r>
              <a:rPr lang="en-US" sz="1800" b="1" dirty="0">
                <a:solidFill>
                  <a:srgbClr val="1B1B1B"/>
                </a:solidFill>
                <a:latin typeface="Aptos" panose="020B0004020202020204" pitchFamily="34" charset="0"/>
              </a:rPr>
              <a:t>Emphasize a Data-Informed Decision-Making Process </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Uses data, instead of intuition, to make decisions</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Clarity of well-informed decisions</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Use facts, metrics, and insights derived from data analysis to guide strategic decisions, to align with goals and objectives.</a:t>
            </a:r>
            <a:endParaRPr lang="en-US" sz="1800" dirty="0">
              <a:latin typeface="Arial" panose="020B0604020202020204" pitchFamily="34" charset="0"/>
            </a:endParaRPr>
          </a:p>
          <a:p>
            <a:r>
              <a:rPr lang="en-US" sz="1800" b="1" dirty="0">
                <a:solidFill>
                  <a:srgbClr val="1B1B1B"/>
                </a:solidFill>
                <a:latin typeface="Aptos" panose="020B0004020202020204" pitchFamily="34" charset="0"/>
              </a:rPr>
              <a:t>Focus on a Task-Oriented Delegation Process</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Identifies priorities, focuses on urgent priorities, delegates tasks </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Empowerment of team members</a:t>
            </a:r>
            <a:endParaRPr lang="en-US" sz="1800" dirty="0">
              <a:latin typeface="Arial" panose="020B0604020202020204" pitchFamily="34" charset="0"/>
            </a:endParaRPr>
          </a:p>
          <a:p>
            <a:r>
              <a:rPr lang="en-US" sz="1800" dirty="0">
                <a:solidFill>
                  <a:srgbClr val="1B1B1B"/>
                </a:solidFill>
                <a:latin typeface="Aptos Light" panose="020B0004020202020204" pitchFamily="34" charset="0"/>
              </a:rPr>
              <a:t>Work individually and collaboratively to determine the urgency and importance of tasks emphasizing accountability and transparency.</a:t>
            </a:r>
            <a:endParaRPr lang="en-US" sz="1800" dirty="0">
              <a:latin typeface="Arial" panose="020B0604020202020204" pitchFamily="34" charset="0"/>
            </a:endParaRPr>
          </a:p>
          <a:p>
            <a:endParaRPr lang="en-US" dirty="0"/>
          </a:p>
        </p:txBody>
      </p:sp>
      <p:sp>
        <p:nvSpPr>
          <p:cNvPr id="4" name="Slide Number Placeholder 3">
            <a:extLst>
              <a:ext uri="{FF2B5EF4-FFF2-40B4-BE49-F238E27FC236}">
                <a16:creationId xmlns:a16="http://schemas.microsoft.com/office/drawing/2014/main" id="{FC207959-58F7-EEAA-743D-5C86A3E60E7F}"/>
              </a:ext>
            </a:extLst>
          </p:cNvPr>
          <p:cNvSpPr>
            <a:spLocks noGrp="1"/>
          </p:cNvSpPr>
          <p:nvPr>
            <p:ph type="sldNum" sz="quarter" idx="5"/>
          </p:nvPr>
        </p:nvSpPr>
        <p:spPr/>
        <p:txBody>
          <a:bodyPr/>
          <a:lstStyle/>
          <a:p>
            <a:fld id="{D12854C9-FAB8-4F12-AC50-7CC28BF7C9C9}" type="slidenum">
              <a:rPr lang="en-US" smtClean="0"/>
              <a:t>5</a:t>
            </a:fld>
            <a:endParaRPr lang="en-US" dirty="0"/>
          </a:p>
        </p:txBody>
      </p:sp>
    </p:spTree>
    <p:extLst>
      <p:ext uri="{BB962C8B-B14F-4D97-AF65-F5344CB8AC3E}">
        <p14:creationId xmlns:p14="http://schemas.microsoft.com/office/powerpoint/2010/main" val="1796926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2854C9-FAB8-4F12-AC50-7CC28BF7C9C9}" type="slidenum">
              <a:rPr lang="en-US" smtClean="0"/>
              <a:t>6</a:t>
            </a:fld>
            <a:endParaRPr lang="en-US" dirty="0"/>
          </a:p>
        </p:txBody>
      </p:sp>
    </p:spTree>
    <p:extLst>
      <p:ext uri="{BB962C8B-B14F-4D97-AF65-F5344CB8AC3E}">
        <p14:creationId xmlns:p14="http://schemas.microsoft.com/office/powerpoint/2010/main" val="4050410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CD28A4-0366-2866-2D71-C17B453EAC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02C47C-80F8-A466-0C5E-25A655AC1B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F15CC1-5BEB-2F40-40B5-92038C1BA657}"/>
              </a:ext>
            </a:extLst>
          </p:cNvPr>
          <p:cNvSpPr>
            <a:spLocks noGrp="1"/>
          </p:cNvSpPr>
          <p:nvPr>
            <p:ph type="body" idx="1"/>
          </p:nvPr>
        </p:nvSpPr>
        <p:spPr/>
        <p:txBody>
          <a:bodyPr/>
          <a:lstStyle/>
          <a:p>
            <a:pPr>
              <a:lnSpc>
                <a:spcPct val="107000"/>
              </a:lnSpc>
              <a:spcAft>
                <a:spcPts val="815"/>
              </a:spcAft>
            </a:pPr>
            <a:r>
              <a:rPr lang="en-US" sz="1800" kern="100" dirty="0">
                <a:latin typeface="Aptos" panose="020B0004020202020204" pitchFamily="34" charset="0"/>
                <a:ea typeface="Aptos" panose="020B0004020202020204" pitchFamily="34" charset="0"/>
                <a:cs typeface="Times New Roman" panose="02020603050405020304" pitchFamily="18" charset="0"/>
              </a:rPr>
              <a:t>Creating a Win or Lessons Learned Situation:</a:t>
            </a:r>
          </a:p>
          <a:p>
            <a:pPr>
              <a:lnSpc>
                <a:spcPct val="107000"/>
              </a:lnSpc>
              <a:spcAft>
                <a:spcPts val="815"/>
              </a:spcAft>
            </a:pPr>
            <a:r>
              <a:rPr lang="en-US" sz="1800" kern="100" dirty="0">
                <a:latin typeface="Aptos" panose="020B0004020202020204" pitchFamily="34" charset="0"/>
                <a:ea typeface="Aptos" panose="020B0004020202020204" pitchFamily="34" charset="0"/>
                <a:cs typeface="Times New Roman" panose="02020603050405020304" pitchFamily="18" charset="0"/>
              </a:rPr>
              <a:t>The following contains information for a lessons learned example. Please consider the definition of a win situation when creating a win example</a:t>
            </a:r>
            <a:r>
              <a:rPr lang="en-US" sz="1800" b="1" kern="100" dirty="0">
                <a:latin typeface="Aptos" panose="020B0004020202020204" pitchFamily="34" charset="0"/>
                <a:ea typeface="Aptos" panose="020B0004020202020204" pitchFamily="34" charset="0"/>
                <a:cs typeface="Times New Roman" panose="02020603050405020304" pitchFamily="18" charset="0"/>
              </a:rPr>
              <a:t>. On slides 6-7 please add 1 or two statements about your situation in the highlighted areas</a:t>
            </a:r>
            <a:r>
              <a:rPr lang="en-US" sz="1800" kern="100" dirty="0">
                <a:latin typeface="Aptos" panose="020B0004020202020204" pitchFamily="34" charset="0"/>
                <a:ea typeface="Aptos" panose="020B0004020202020204" pitchFamily="34" charset="0"/>
                <a:cs typeface="Times New Roman" panose="02020603050405020304" pitchFamily="18" charset="0"/>
              </a:rPr>
              <a:t>. </a:t>
            </a:r>
            <a:r>
              <a:rPr lang="en-US" sz="1800" b="1" kern="100" dirty="0">
                <a:latin typeface="Aptos" panose="020B0004020202020204" pitchFamily="34" charset="0"/>
                <a:ea typeface="Aptos" panose="020B0004020202020204" pitchFamily="34" charset="0"/>
                <a:cs typeface="Times New Roman" panose="02020603050405020304" pitchFamily="18" charset="0"/>
              </a:rPr>
              <a:t>In your notes add the information on task, action, results and strategies used.  The task, action, results and strategies used won’t appear on the slides but will be used in your discussion. </a:t>
            </a:r>
            <a:endParaRPr lang="en-US" sz="1800" kern="100" dirty="0">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15"/>
              </a:spcAft>
            </a:pPr>
            <a:r>
              <a:rPr lang="en-US" sz="1800" b="1" kern="100" dirty="0">
                <a:latin typeface="Aptos" panose="020B0004020202020204" pitchFamily="34" charset="0"/>
                <a:ea typeface="Aptos" panose="020B0004020202020204" pitchFamily="34" charset="0"/>
                <a:cs typeface="Times New Roman" panose="02020603050405020304" pitchFamily="18" charset="0"/>
              </a:rPr>
              <a:t>Lessons Learned Example:</a:t>
            </a:r>
            <a:endParaRPr lang="en-US" sz="1800" kern="100" dirty="0">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15"/>
              </a:spcAft>
            </a:pPr>
            <a:r>
              <a:rPr lang="en-US" sz="1800" kern="100" dirty="0">
                <a:latin typeface="Aptos" panose="020B0004020202020204" pitchFamily="34" charset="0"/>
                <a:ea typeface="Aptos" panose="020B0004020202020204" pitchFamily="34" charset="0"/>
                <a:cs typeface="Times New Roman" panose="02020603050405020304" pitchFamily="18" charset="0"/>
              </a:rPr>
              <a:t>Discuss a situation where the goal was to assist teams in navigating an uncertain work environment but upon conclusion had a negative impact or ended in unexpected results. When developing your situation consider using scenarios that met the goals of modernizing technology, government efficiency and innovation, and/or the transformation of federal agencies. </a:t>
            </a:r>
          </a:p>
          <a:p>
            <a:pPr>
              <a:lnSpc>
                <a:spcPct val="107000"/>
              </a:lnSpc>
              <a:spcAft>
                <a:spcPts val="815"/>
              </a:spcAft>
            </a:pPr>
            <a:r>
              <a:rPr lang="en-US" sz="1800" kern="100" dirty="0">
                <a:latin typeface="Aptos" panose="020B0004020202020204" pitchFamily="34" charset="0"/>
                <a:ea typeface="Aptos" panose="020B0004020202020204" pitchFamily="34" charset="0"/>
                <a:cs typeface="Times New Roman" panose="02020603050405020304" pitchFamily="18" charset="0"/>
              </a:rPr>
              <a:t>Frame scenarios considering lessons learned and if the these relate to the leadership strategies presented. Highlight any lessons learned that relate to these strategies presented in this session. </a:t>
            </a:r>
          </a:p>
          <a:p>
            <a:pPr>
              <a:lnSpc>
                <a:spcPct val="107000"/>
              </a:lnSpc>
              <a:spcAft>
                <a:spcPts val="815"/>
              </a:spcAft>
            </a:pPr>
            <a:r>
              <a:rPr lang="en-US" sz="1800" b="1" kern="100" dirty="0">
                <a:latin typeface="Aptos" panose="020B0004020202020204" pitchFamily="34" charset="0"/>
                <a:ea typeface="Aptos" panose="020B0004020202020204" pitchFamily="34" charset="0"/>
                <a:cs typeface="Times New Roman" panose="02020603050405020304" pitchFamily="18" charset="0"/>
              </a:rPr>
              <a:t>Situation:</a:t>
            </a:r>
            <a:r>
              <a:rPr lang="en-US" sz="1800" kern="100" dirty="0">
                <a:latin typeface="Aptos" panose="020B0004020202020204" pitchFamily="34" charset="0"/>
                <a:ea typeface="Aptos" panose="020B0004020202020204" pitchFamily="34" charset="0"/>
                <a:cs typeface="Times New Roman" panose="02020603050405020304" pitchFamily="18" charset="0"/>
              </a:rPr>
              <a:t> Quickly Integrate new technology. Existing systems were inefficient and error-prone, requiring our team to streamline operations. </a:t>
            </a:r>
          </a:p>
          <a:p>
            <a:pPr>
              <a:lnSpc>
                <a:spcPct val="107000"/>
              </a:lnSpc>
              <a:spcAft>
                <a:spcPts val="815"/>
              </a:spcAft>
            </a:pPr>
            <a:r>
              <a:rPr lang="en-US" sz="1800" b="1" kern="100" dirty="0">
                <a:latin typeface="Aptos" panose="020B0004020202020204" pitchFamily="34" charset="0"/>
                <a:ea typeface="Aptos" panose="020B0004020202020204" pitchFamily="34" charset="0"/>
                <a:cs typeface="Times New Roman" panose="02020603050405020304" pitchFamily="18" charset="0"/>
              </a:rPr>
              <a:t>Task:</a:t>
            </a:r>
            <a:r>
              <a:rPr lang="en-US" sz="1800" kern="100" dirty="0">
                <a:latin typeface="Aptos" panose="020B0004020202020204" pitchFamily="34" charset="0"/>
                <a:ea typeface="Aptos" panose="020B0004020202020204" pitchFamily="34" charset="0"/>
                <a:cs typeface="Times New Roman" panose="02020603050405020304" pitchFamily="18" charset="0"/>
              </a:rPr>
              <a:t> Align our internal reporting processes with new technology, streamline the reporting processes, reduce errors, and save time. </a:t>
            </a:r>
          </a:p>
          <a:p>
            <a:pPr>
              <a:lnSpc>
                <a:spcPct val="107000"/>
              </a:lnSpc>
              <a:spcAft>
                <a:spcPts val="815"/>
              </a:spcAft>
            </a:pPr>
            <a:r>
              <a:rPr lang="en-US" sz="1800" b="1" kern="100" dirty="0">
                <a:latin typeface="Aptos" panose="020B0004020202020204" pitchFamily="34" charset="0"/>
                <a:ea typeface="Aptos" panose="020B0004020202020204" pitchFamily="34" charset="0"/>
                <a:cs typeface="Times New Roman" panose="02020603050405020304" pitchFamily="18" charset="0"/>
              </a:rPr>
              <a:t>Action:</a:t>
            </a:r>
            <a:r>
              <a:rPr lang="en-US" sz="1800" kern="100" dirty="0">
                <a:latin typeface="Aptos" panose="020B0004020202020204" pitchFamily="34" charset="0"/>
                <a:ea typeface="Aptos" panose="020B0004020202020204" pitchFamily="34" charset="0"/>
                <a:cs typeface="Times New Roman" panose="02020603050405020304" pitchFamily="18" charset="0"/>
              </a:rPr>
              <a:t> Analyzed, planned and gathered input. I conducted a thorough analysis of the existing process to identify bottlenecks and areas for improvement. I used project management tools to map out the steps and set clear objectives. I also gathered input from team members to understand their challenges and suggestions.</a:t>
            </a:r>
          </a:p>
          <a:p>
            <a:pPr>
              <a:lnSpc>
                <a:spcPct val="107000"/>
              </a:lnSpc>
              <a:spcAft>
                <a:spcPts val="815"/>
              </a:spcAft>
            </a:pPr>
            <a:r>
              <a:rPr lang="en-US" sz="1800" b="1" kern="100" dirty="0">
                <a:latin typeface="Aptos" panose="020B0004020202020204" pitchFamily="34" charset="0"/>
                <a:ea typeface="Aptos" panose="020B0004020202020204" pitchFamily="34" charset="0"/>
                <a:cs typeface="Times New Roman" panose="02020603050405020304" pitchFamily="18" charset="0"/>
              </a:rPr>
              <a:t>Result:</a:t>
            </a:r>
            <a:r>
              <a:rPr lang="en-US" sz="1800" kern="100" dirty="0">
                <a:latin typeface="Aptos" panose="020B0004020202020204" pitchFamily="34" charset="0"/>
                <a:ea typeface="Aptos" panose="020B0004020202020204" pitchFamily="34" charset="0"/>
                <a:cs typeface="Times New Roman" panose="02020603050405020304" pitchFamily="18" charset="0"/>
              </a:rPr>
              <a:t>  The project resulted in a 15%-time reduction and 10% error reduction, falling short of improvement expectations.</a:t>
            </a:r>
          </a:p>
          <a:p>
            <a:pPr>
              <a:lnSpc>
                <a:spcPct val="107000"/>
              </a:lnSpc>
              <a:spcAft>
                <a:spcPts val="815"/>
              </a:spcAft>
            </a:pPr>
            <a:r>
              <a:rPr lang="en-US" sz="1800" b="1" kern="100" dirty="0">
                <a:latin typeface="Aptos" panose="020B0004020202020204" pitchFamily="34" charset="0"/>
                <a:ea typeface="Aptos" panose="020B0004020202020204" pitchFamily="34" charset="0"/>
                <a:cs typeface="Times New Roman" panose="02020603050405020304" pitchFamily="18" charset="0"/>
              </a:rPr>
              <a:t>Lessons Learned:</a:t>
            </a:r>
            <a:r>
              <a:rPr lang="en-US" sz="1800" kern="100" dirty="0">
                <a:latin typeface="Aptos" panose="020B0004020202020204" pitchFamily="34" charset="0"/>
                <a:ea typeface="Aptos" panose="020B0004020202020204" pitchFamily="34" charset="0"/>
                <a:cs typeface="Times New Roman" panose="02020603050405020304" pitchFamily="18" charset="0"/>
              </a:rPr>
              <a:t> Early team buy-in and comprehensive training are crucial for successful change implementation. Realistic expectations and proactive planning for resistance are essential. </a:t>
            </a:r>
          </a:p>
          <a:p>
            <a:pPr>
              <a:lnSpc>
                <a:spcPct val="107000"/>
              </a:lnSpc>
              <a:spcAft>
                <a:spcPts val="815"/>
              </a:spcAft>
            </a:pPr>
            <a:r>
              <a:rPr lang="en-US" sz="1800" b="1" i="1" kern="100" dirty="0">
                <a:latin typeface="Aptos" panose="020B0004020202020204" pitchFamily="34" charset="0"/>
                <a:ea typeface="Aptos" panose="020B0004020202020204" pitchFamily="34" charset="0"/>
                <a:cs typeface="Times New Roman" panose="02020603050405020304" pitchFamily="18" charset="0"/>
              </a:rPr>
              <a:t>Example: Use of Strategy </a:t>
            </a:r>
            <a:endParaRPr lang="en-US" sz="1800" kern="100" dirty="0">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15"/>
              </a:spcAft>
            </a:pPr>
            <a:r>
              <a:rPr lang="en-US" sz="1800" b="1" kern="100" dirty="0">
                <a:latin typeface="Aptos" panose="020B0004020202020204" pitchFamily="34" charset="0"/>
                <a:ea typeface="Aptos" panose="020B0004020202020204" pitchFamily="34" charset="0"/>
                <a:cs typeface="Times New Roman" panose="02020603050405020304" pitchFamily="18" charset="0"/>
              </a:rPr>
              <a:t>Adaptability:</a:t>
            </a:r>
            <a:r>
              <a:rPr lang="en-US" sz="1800" kern="100" dirty="0">
                <a:latin typeface="Aptos" panose="020B0004020202020204" pitchFamily="34" charset="0"/>
                <a:ea typeface="Aptos" panose="020B0004020202020204" pitchFamily="34" charset="0"/>
                <a:cs typeface="Times New Roman" panose="02020603050405020304" pitchFamily="18" charset="0"/>
              </a:rPr>
              <a:t> Employees initially resisted the new technology, expressing frustration with the learning curve. We, in response could have used adaptability by addressing their feelings and concerns prior to implementation and openly discussing the perceived change's impact. We then could have incorporated their feedback into the initial implementation plan.  </a:t>
            </a:r>
          </a:p>
          <a:p>
            <a:pPr>
              <a:lnSpc>
                <a:spcPct val="107000"/>
              </a:lnSpc>
              <a:spcAft>
                <a:spcPts val="815"/>
              </a:spcAft>
            </a:pPr>
            <a:r>
              <a:rPr lang="en-US" sz="1800" kern="100" dirty="0">
                <a:latin typeface="Aptos" panose="020B0004020202020204" pitchFamily="34" charset="0"/>
                <a:ea typeface="Aptos" panose="020B0004020202020204" pitchFamily="34" charset="0"/>
                <a:cs typeface="Times New Roman" panose="02020603050405020304" pitchFamily="18" charset="0"/>
              </a:rPr>
              <a:t> </a:t>
            </a:r>
          </a:p>
          <a:p>
            <a:endParaRPr lang="en-US" dirty="0"/>
          </a:p>
        </p:txBody>
      </p:sp>
      <p:sp>
        <p:nvSpPr>
          <p:cNvPr id="4" name="Slide Number Placeholder 3">
            <a:extLst>
              <a:ext uri="{FF2B5EF4-FFF2-40B4-BE49-F238E27FC236}">
                <a16:creationId xmlns:a16="http://schemas.microsoft.com/office/drawing/2014/main" id="{5F28C017-6970-9E7C-7F32-30D9002DF3F4}"/>
              </a:ext>
            </a:extLst>
          </p:cNvPr>
          <p:cNvSpPr>
            <a:spLocks noGrp="1"/>
          </p:cNvSpPr>
          <p:nvPr>
            <p:ph type="sldNum" sz="quarter" idx="5"/>
          </p:nvPr>
        </p:nvSpPr>
        <p:spPr/>
        <p:txBody>
          <a:bodyPr/>
          <a:lstStyle/>
          <a:p>
            <a:fld id="{D12854C9-FAB8-4F12-AC50-7CC28BF7C9C9}" type="slidenum">
              <a:rPr lang="en-US" smtClean="0"/>
              <a:t>7</a:t>
            </a:fld>
            <a:endParaRPr lang="en-US" dirty="0"/>
          </a:p>
        </p:txBody>
      </p:sp>
    </p:spTree>
    <p:extLst>
      <p:ext uri="{BB962C8B-B14F-4D97-AF65-F5344CB8AC3E}">
        <p14:creationId xmlns:p14="http://schemas.microsoft.com/office/powerpoint/2010/main" val="3656963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2854C9-FAB8-4F12-AC50-7CC28BF7C9C9}" type="slidenum">
              <a:rPr lang="en-US" smtClean="0"/>
              <a:t>8</a:t>
            </a:fld>
            <a:endParaRPr lang="en-US" dirty="0"/>
          </a:p>
        </p:txBody>
      </p:sp>
    </p:spTree>
    <p:extLst>
      <p:ext uri="{BB962C8B-B14F-4D97-AF65-F5344CB8AC3E}">
        <p14:creationId xmlns:p14="http://schemas.microsoft.com/office/powerpoint/2010/main" val="829014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2854C9-FAB8-4F12-AC50-7CC28BF7C9C9}" type="slidenum">
              <a:rPr lang="en-US" smtClean="0"/>
              <a:t>9</a:t>
            </a:fld>
            <a:endParaRPr lang="en-US" dirty="0"/>
          </a:p>
        </p:txBody>
      </p:sp>
    </p:spTree>
    <p:extLst>
      <p:ext uri="{BB962C8B-B14F-4D97-AF65-F5344CB8AC3E}">
        <p14:creationId xmlns:p14="http://schemas.microsoft.com/office/powerpoint/2010/main" val="33668352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10.sv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9.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28.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29.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Master" Target="../slideMasters/slideMaster2.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2.svg"/><Relationship Id="rId7" Type="http://schemas.openxmlformats.org/officeDocument/2006/relationships/image" Target="../media/image3.svg"/><Relationship Id="rId2" Type="http://schemas.openxmlformats.org/officeDocument/2006/relationships/image" Target="../media/image41.png"/><Relationship Id="rId1" Type="http://schemas.openxmlformats.org/officeDocument/2006/relationships/slideMaster" Target="../slideMasters/slideMaster2.xml"/><Relationship Id="rId6" Type="http://schemas.openxmlformats.org/officeDocument/2006/relationships/image" Target="../media/image2.png"/><Relationship Id="rId5" Type="http://schemas.openxmlformats.org/officeDocument/2006/relationships/image" Target="../media/image44.svg"/><Relationship Id="rId4" Type="http://schemas.openxmlformats.org/officeDocument/2006/relationships/image" Target="../media/image43.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46.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45.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48.sv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47.png"/><Relationship Id="rId5" Type="http://schemas.openxmlformats.org/officeDocument/2006/relationships/image" Target="../media/image42.svg"/><Relationship Id="rId4" Type="http://schemas.openxmlformats.org/officeDocument/2006/relationships/image" Target="../media/image4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5.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2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9.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Master" Target="../slideMasters/slideMaster1.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2.svg"/><Relationship Id="rId7" Type="http://schemas.openxmlformats.org/officeDocument/2006/relationships/image" Target="../media/image3.svg"/><Relationship Id="rId2" Type="http://schemas.openxmlformats.org/officeDocument/2006/relationships/image" Target="../media/image41.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44.svg"/><Relationship Id="rId4" Type="http://schemas.openxmlformats.org/officeDocument/2006/relationships/image" Target="../media/image4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46.sv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45.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48.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7.png"/><Relationship Id="rId5" Type="http://schemas.openxmlformats.org/officeDocument/2006/relationships/image" Target="../media/image42.svg"/><Relationship Id="rId4" Type="http://schemas.openxmlformats.org/officeDocument/2006/relationships/image" Target="../media/image41.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10.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19.sv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5.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1 - Light">
    <p:bg>
      <p:bgPr>
        <a:solidFill>
          <a:schemeClr val="bg2"/>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ADC32B5-6938-17C4-2DFC-3B7C1D44061F}"/>
              </a:ext>
            </a:extLst>
          </p:cNvPr>
          <p:cNvSpPr txBox="1">
            <a:spLocks noGrp="1" noRot="1" noMove="1" noResize="1" noEditPoints="1" noAdjustHandles="1" noChangeArrowheads="1" noChangeShapeType="1"/>
          </p:cNvSpPr>
          <p:nvPr userDrawn="1"/>
        </p:nvSpPr>
        <p:spPr>
          <a:xfrm>
            <a:off x="8710864" y="2586790"/>
            <a:ext cx="3092116" cy="1015663"/>
          </a:xfrm>
          <a:prstGeom prst="rect">
            <a:avLst/>
          </a:prstGeom>
          <a:noFill/>
        </p:spPr>
        <p:txBody>
          <a:bodyPr wrap="square" rtlCol="0">
            <a:spAutoFit/>
          </a:bodyPr>
          <a:lstStyle/>
          <a:p>
            <a:pPr algn="l"/>
            <a:r>
              <a:rPr lang="en-US" sz="6000" dirty="0"/>
              <a:t>Vision</a:t>
            </a:r>
          </a:p>
        </p:txBody>
      </p:sp>
      <p:sp>
        <p:nvSpPr>
          <p:cNvPr id="8" name="TextBox 7">
            <a:extLst>
              <a:ext uri="{FF2B5EF4-FFF2-40B4-BE49-F238E27FC236}">
                <a16:creationId xmlns:a16="http://schemas.microsoft.com/office/drawing/2014/main" id="{91E4B1B9-CCF8-13DC-9010-DF09F26923D6}"/>
              </a:ext>
            </a:extLst>
          </p:cNvPr>
          <p:cNvSpPr txBox="1">
            <a:spLocks noGrp="1" noRot="1" noMove="1" noResize="1" noEditPoints="1" noAdjustHandles="1" noChangeArrowheads="1" noChangeShapeType="1"/>
          </p:cNvSpPr>
          <p:nvPr userDrawn="1"/>
        </p:nvSpPr>
        <p:spPr>
          <a:xfrm>
            <a:off x="517358" y="2586790"/>
            <a:ext cx="3092116" cy="1015663"/>
          </a:xfrm>
          <a:prstGeom prst="rect">
            <a:avLst/>
          </a:prstGeom>
          <a:noFill/>
        </p:spPr>
        <p:txBody>
          <a:bodyPr wrap="square" rtlCol="0">
            <a:spAutoFit/>
          </a:bodyPr>
          <a:lstStyle/>
          <a:p>
            <a:pPr algn="l"/>
            <a:r>
              <a:rPr lang="en-US" sz="6000" dirty="0"/>
              <a:t>Mission</a:t>
            </a:r>
          </a:p>
        </p:txBody>
      </p:sp>
      <p:cxnSp>
        <p:nvCxnSpPr>
          <p:cNvPr id="3" name="Straight Connector 2">
            <a:extLst>
              <a:ext uri="{FF2B5EF4-FFF2-40B4-BE49-F238E27FC236}">
                <a16:creationId xmlns:a16="http://schemas.microsoft.com/office/drawing/2014/main" id="{D4CCA385-BADC-9412-0D5E-D86D6665ADB9}"/>
              </a:ext>
            </a:extLst>
          </p:cNvPr>
          <p:cNvCxnSpPr>
            <a:cxnSpLocks noGrp="1" noRot="1" noMove="1" noResize="1" noEditPoints="1" noAdjustHandles="1" noChangeArrowheads="1" noChangeShapeType="1"/>
          </p:cNvCxnSpPr>
          <p:nvPr/>
        </p:nvCxnSpPr>
        <p:spPr>
          <a:xfrm>
            <a:off x="609600" y="3730948"/>
            <a:ext cx="293624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5" name="Graphic 3">
            <a:extLst>
              <a:ext uri="{FF2B5EF4-FFF2-40B4-BE49-F238E27FC236}">
                <a16:creationId xmlns:a16="http://schemas.microsoft.com/office/drawing/2014/main" id="{B3F109DD-32AE-D92D-4621-BF43B58FB4A1}"/>
              </a:ext>
            </a:extLst>
          </p:cNvPr>
          <p:cNvGrpSpPr>
            <a:grpSpLocks noChangeAspect="1"/>
          </p:cNvGrpSpPr>
          <p:nvPr userDrawn="1"/>
        </p:nvGrpSpPr>
        <p:grpSpPr>
          <a:xfrm>
            <a:off x="609600" y="557212"/>
            <a:ext cx="1734668" cy="438912"/>
            <a:chOff x="609600" y="557212"/>
            <a:chExt cx="2667656" cy="674980"/>
          </a:xfrm>
        </p:grpSpPr>
        <p:sp>
          <p:nvSpPr>
            <p:cNvPr id="36" name="Freeform: Shape 35">
              <a:extLst>
                <a:ext uri="{FF2B5EF4-FFF2-40B4-BE49-F238E27FC236}">
                  <a16:creationId xmlns:a16="http://schemas.microsoft.com/office/drawing/2014/main" id="{8BF33003-98EC-AC6E-F2E8-D433A9977017}"/>
                </a:ext>
              </a:extLst>
            </p:cNvPr>
            <p:cNvSpPr/>
            <p:nvPr/>
          </p:nvSpPr>
          <p:spPr>
            <a:xfrm>
              <a:off x="1180659" y="790421"/>
              <a:ext cx="2096597" cy="283512"/>
            </a:xfrm>
            <a:custGeom>
              <a:avLst/>
              <a:gdLst>
                <a:gd name="connsiteX0" fmla="*/ 129433 w 2096597"/>
                <a:gd name="connsiteY0" fmla="*/ 283512 h 283512"/>
                <a:gd name="connsiteX1" fmla="*/ 76968 w 2096597"/>
                <a:gd name="connsiteY1" fmla="*/ 273567 h 283512"/>
                <a:gd name="connsiteX2" fmla="*/ 36610 w 2096597"/>
                <a:gd name="connsiteY2" fmla="*/ 245461 h 283512"/>
                <a:gd name="connsiteX3" fmla="*/ 9369 w 2096597"/>
                <a:gd name="connsiteY3" fmla="*/ 199770 h 283512"/>
                <a:gd name="connsiteX4" fmla="*/ 0 w 2096597"/>
                <a:gd name="connsiteY4" fmla="*/ 142260 h 283512"/>
                <a:gd name="connsiteX5" fmla="*/ 10522 w 2096597"/>
                <a:gd name="connsiteY5" fmla="*/ 82733 h 283512"/>
                <a:gd name="connsiteX6" fmla="*/ 40358 w 2096597"/>
                <a:gd name="connsiteY6" fmla="*/ 36178 h 283512"/>
                <a:gd name="connsiteX7" fmla="*/ 80715 w 2096597"/>
                <a:gd name="connsiteY7" fmla="*/ 9513 h 283512"/>
                <a:gd name="connsiteX8" fmla="*/ 133612 w 2096597"/>
                <a:gd name="connsiteY8" fmla="*/ 0 h 283512"/>
                <a:gd name="connsiteX9" fmla="*/ 180744 w 2096597"/>
                <a:gd name="connsiteY9" fmla="*/ 6630 h 283512"/>
                <a:gd name="connsiteX10" fmla="*/ 216922 w 2096597"/>
                <a:gd name="connsiteY10" fmla="*/ 25656 h 283512"/>
                <a:gd name="connsiteX11" fmla="*/ 241425 w 2096597"/>
                <a:gd name="connsiteY11" fmla="*/ 55492 h 283512"/>
                <a:gd name="connsiteX12" fmla="*/ 254109 w 2096597"/>
                <a:gd name="connsiteY12" fmla="*/ 94264 h 283512"/>
                <a:gd name="connsiteX13" fmla="*/ 188672 w 2096597"/>
                <a:gd name="connsiteY13" fmla="*/ 94264 h 283512"/>
                <a:gd name="connsiteX14" fmla="*/ 171520 w 2096597"/>
                <a:gd name="connsiteY14" fmla="*/ 66446 h 283512"/>
                <a:gd name="connsiteX15" fmla="*/ 135774 w 2096597"/>
                <a:gd name="connsiteY15" fmla="*/ 55348 h 283512"/>
                <a:gd name="connsiteX16" fmla="*/ 106227 w 2096597"/>
                <a:gd name="connsiteY16" fmla="*/ 61978 h 283512"/>
                <a:gd name="connsiteX17" fmla="*/ 85039 w 2096597"/>
                <a:gd name="connsiteY17" fmla="*/ 80283 h 283512"/>
                <a:gd name="connsiteX18" fmla="*/ 72500 w 2096597"/>
                <a:gd name="connsiteY18" fmla="*/ 107668 h 283512"/>
                <a:gd name="connsiteX19" fmla="*/ 68320 w 2096597"/>
                <a:gd name="connsiteY19" fmla="*/ 142116 h 283512"/>
                <a:gd name="connsiteX20" fmla="*/ 73076 w 2096597"/>
                <a:gd name="connsiteY20" fmla="*/ 176709 h 283512"/>
                <a:gd name="connsiteX21" fmla="*/ 86625 w 2096597"/>
                <a:gd name="connsiteY21" fmla="*/ 204238 h 283512"/>
                <a:gd name="connsiteX22" fmla="*/ 108101 w 2096597"/>
                <a:gd name="connsiteY22" fmla="*/ 222255 h 283512"/>
                <a:gd name="connsiteX23" fmla="*/ 136783 w 2096597"/>
                <a:gd name="connsiteY23" fmla="*/ 228741 h 283512"/>
                <a:gd name="connsiteX24" fmla="*/ 160566 w 2096597"/>
                <a:gd name="connsiteY24" fmla="*/ 224705 h 283512"/>
                <a:gd name="connsiteX25" fmla="*/ 178438 w 2096597"/>
                <a:gd name="connsiteY25" fmla="*/ 214039 h 283512"/>
                <a:gd name="connsiteX26" fmla="*/ 190257 w 2096597"/>
                <a:gd name="connsiteY26" fmla="*/ 198761 h 283512"/>
                <a:gd name="connsiteX27" fmla="*/ 195734 w 2096597"/>
                <a:gd name="connsiteY27" fmla="*/ 181033 h 283512"/>
                <a:gd name="connsiteX28" fmla="*/ 195734 w 2096597"/>
                <a:gd name="connsiteY28" fmla="*/ 180312 h 283512"/>
                <a:gd name="connsiteX29" fmla="*/ 144711 w 2096597"/>
                <a:gd name="connsiteY29" fmla="*/ 180312 h 283512"/>
                <a:gd name="connsiteX30" fmla="*/ 144711 w 2096597"/>
                <a:gd name="connsiteY30" fmla="*/ 130874 h 283512"/>
                <a:gd name="connsiteX31" fmla="*/ 258144 w 2096597"/>
                <a:gd name="connsiteY31" fmla="*/ 130874 h 283512"/>
                <a:gd name="connsiteX32" fmla="*/ 258144 w 2096597"/>
                <a:gd name="connsiteY32" fmla="*/ 277026 h 283512"/>
                <a:gd name="connsiteX33" fmla="*/ 211013 w 2096597"/>
                <a:gd name="connsiteY33" fmla="*/ 277026 h 283512"/>
                <a:gd name="connsiteX34" fmla="*/ 207265 w 2096597"/>
                <a:gd name="connsiteY34" fmla="*/ 244308 h 283512"/>
                <a:gd name="connsiteX35" fmla="*/ 206544 w 2096597"/>
                <a:gd name="connsiteY35" fmla="*/ 244308 h 283512"/>
                <a:gd name="connsiteX36" fmla="*/ 173682 w 2096597"/>
                <a:gd name="connsiteY36" fmla="*/ 274143 h 283512"/>
                <a:gd name="connsiteX37" fmla="*/ 129288 w 2096597"/>
                <a:gd name="connsiteY37" fmla="*/ 283080 h 283512"/>
                <a:gd name="connsiteX38" fmla="*/ 358029 w 2096597"/>
                <a:gd name="connsiteY38" fmla="*/ 282647 h 283512"/>
                <a:gd name="connsiteX39" fmla="*/ 306862 w 2096597"/>
                <a:gd name="connsiteY39" fmla="*/ 262613 h 283512"/>
                <a:gd name="connsiteX40" fmla="*/ 289566 w 2096597"/>
                <a:gd name="connsiteY40" fmla="*/ 209859 h 283512"/>
                <a:gd name="connsiteX41" fmla="*/ 289566 w 2096597"/>
                <a:gd name="connsiteY41" fmla="*/ 82012 h 283512"/>
                <a:gd name="connsiteX42" fmla="*/ 351255 w 2096597"/>
                <a:gd name="connsiteY42" fmla="*/ 82012 h 283512"/>
                <a:gd name="connsiteX43" fmla="*/ 351255 w 2096597"/>
                <a:gd name="connsiteY43" fmla="*/ 197032 h 283512"/>
                <a:gd name="connsiteX44" fmla="*/ 358462 w 2096597"/>
                <a:gd name="connsiteY44" fmla="*/ 221534 h 283512"/>
                <a:gd name="connsiteX45" fmla="*/ 380514 w 2096597"/>
                <a:gd name="connsiteY45" fmla="*/ 230038 h 283512"/>
                <a:gd name="connsiteX46" fmla="*/ 405594 w 2096597"/>
                <a:gd name="connsiteY46" fmla="*/ 219228 h 283512"/>
                <a:gd name="connsiteX47" fmla="*/ 414674 w 2096597"/>
                <a:gd name="connsiteY47" fmla="*/ 190834 h 283512"/>
                <a:gd name="connsiteX48" fmla="*/ 414674 w 2096597"/>
                <a:gd name="connsiteY48" fmla="*/ 82012 h 283512"/>
                <a:gd name="connsiteX49" fmla="*/ 476652 w 2096597"/>
                <a:gd name="connsiteY49" fmla="*/ 82012 h 283512"/>
                <a:gd name="connsiteX50" fmla="*/ 476652 w 2096597"/>
                <a:gd name="connsiteY50" fmla="*/ 276882 h 283512"/>
                <a:gd name="connsiteX51" fmla="*/ 417269 w 2096597"/>
                <a:gd name="connsiteY51" fmla="*/ 276882 h 283512"/>
                <a:gd name="connsiteX52" fmla="*/ 417269 w 2096597"/>
                <a:gd name="connsiteY52" fmla="*/ 252956 h 283512"/>
                <a:gd name="connsiteX53" fmla="*/ 416116 w 2096597"/>
                <a:gd name="connsiteY53" fmla="*/ 252956 h 283512"/>
                <a:gd name="connsiteX54" fmla="*/ 391901 w 2096597"/>
                <a:gd name="connsiteY54" fmla="*/ 275008 h 283512"/>
                <a:gd name="connsiteX55" fmla="*/ 357885 w 2096597"/>
                <a:gd name="connsiteY55" fmla="*/ 282647 h 283512"/>
                <a:gd name="connsiteX56" fmla="*/ 511965 w 2096597"/>
                <a:gd name="connsiteY56" fmla="*/ 2162 h 283512"/>
                <a:gd name="connsiteX57" fmla="*/ 573943 w 2096597"/>
                <a:gd name="connsiteY57" fmla="*/ 2162 h 283512"/>
                <a:gd name="connsiteX58" fmla="*/ 573943 w 2096597"/>
                <a:gd name="connsiteY58" fmla="*/ 55059 h 283512"/>
                <a:gd name="connsiteX59" fmla="*/ 511965 w 2096597"/>
                <a:gd name="connsiteY59" fmla="*/ 55059 h 283512"/>
                <a:gd name="connsiteX60" fmla="*/ 511965 w 2096597"/>
                <a:gd name="connsiteY60" fmla="*/ 2162 h 283512"/>
                <a:gd name="connsiteX61" fmla="*/ 511965 w 2096597"/>
                <a:gd name="connsiteY61" fmla="*/ 82012 h 283512"/>
                <a:gd name="connsiteX62" fmla="*/ 573943 w 2096597"/>
                <a:gd name="connsiteY62" fmla="*/ 82012 h 283512"/>
                <a:gd name="connsiteX63" fmla="*/ 573943 w 2096597"/>
                <a:gd name="connsiteY63" fmla="*/ 276882 h 283512"/>
                <a:gd name="connsiteX64" fmla="*/ 511965 w 2096597"/>
                <a:gd name="connsiteY64" fmla="*/ 276882 h 283512"/>
                <a:gd name="connsiteX65" fmla="*/ 511965 w 2096597"/>
                <a:gd name="connsiteY65" fmla="*/ 82012 h 283512"/>
                <a:gd name="connsiteX66" fmla="*/ 685935 w 2096597"/>
                <a:gd name="connsiteY66" fmla="*/ 282936 h 283512"/>
                <a:gd name="connsiteX67" fmla="*/ 651631 w 2096597"/>
                <a:gd name="connsiteY67" fmla="*/ 275873 h 283512"/>
                <a:gd name="connsiteX68" fmla="*/ 624678 w 2096597"/>
                <a:gd name="connsiteY68" fmla="*/ 255550 h 283512"/>
                <a:gd name="connsiteX69" fmla="*/ 606949 w 2096597"/>
                <a:gd name="connsiteY69" fmla="*/ 222976 h 283512"/>
                <a:gd name="connsiteX70" fmla="*/ 600607 w 2096597"/>
                <a:gd name="connsiteY70" fmla="*/ 179447 h 283512"/>
                <a:gd name="connsiteX71" fmla="*/ 606949 w 2096597"/>
                <a:gd name="connsiteY71" fmla="*/ 137504 h 283512"/>
                <a:gd name="connsiteX72" fmla="*/ 624390 w 2096597"/>
                <a:gd name="connsiteY72" fmla="*/ 104930 h 283512"/>
                <a:gd name="connsiteX73" fmla="*/ 651199 w 2096597"/>
                <a:gd name="connsiteY73" fmla="*/ 83742 h 283512"/>
                <a:gd name="connsiteX74" fmla="*/ 685791 w 2096597"/>
                <a:gd name="connsiteY74" fmla="*/ 76103 h 283512"/>
                <a:gd name="connsiteX75" fmla="*/ 718942 w 2096597"/>
                <a:gd name="connsiteY75" fmla="*/ 83886 h 283512"/>
                <a:gd name="connsiteX76" fmla="*/ 740273 w 2096597"/>
                <a:gd name="connsiteY76" fmla="*/ 103921 h 283512"/>
                <a:gd name="connsiteX77" fmla="*/ 741426 w 2096597"/>
                <a:gd name="connsiteY77" fmla="*/ 103921 h 283512"/>
                <a:gd name="connsiteX78" fmla="*/ 741426 w 2096597"/>
                <a:gd name="connsiteY78" fmla="*/ 1874 h 283512"/>
                <a:gd name="connsiteX79" fmla="*/ 803404 w 2096597"/>
                <a:gd name="connsiteY79" fmla="*/ 1874 h 283512"/>
                <a:gd name="connsiteX80" fmla="*/ 803404 w 2096597"/>
                <a:gd name="connsiteY80" fmla="*/ 276738 h 283512"/>
                <a:gd name="connsiteX81" fmla="*/ 744021 w 2096597"/>
                <a:gd name="connsiteY81" fmla="*/ 276738 h 283512"/>
                <a:gd name="connsiteX82" fmla="*/ 744021 w 2096597"/>
                <a:gd name="connsiteY82" fmla="*/ 250505 h 283512"/>
                <a:gd name="connsiteX83" fmla="*/ 743300 w 2096597"/>
                <a:gd name="connsiteY83" fmla="*/ 250505 h 283512"/>
                <a:gd name="connsiteX84" fmla="*/ 719951 w 2096597"/>
                <a:gd name="connsiteY84" fmla="*/ 274287 h 283512"/>
                <a:gd name="connsiteX85" fmla="*/ 685935 w 2096597"/>
                <a:gd name="connsiteY85" fmla="*/ 282791 h 283512"/>
                <a:gd name="connsiteX86" fmla="*/ 701934 w 2096597"/>
                <a:gd name="connsiteY86" fmla="*/ 233642 h 283512"/>
                <a:gd name="connsiteX87" fmla="*/ 732202 w 2096597"/>
                <a:gd name="connsiteY87" fmla="*/ 218363 h 283512"/>
                <a:gd name="connsiteX88" fmla="*/ 743012 w 2096597"/>
                <a:gd name="connsiteY88" fmla="*/ 179159 h 283512"/>
                <a:gd name="connsiteX89" fmla="*/ 740562 w 2096597"/>
                <a:gd name="connsiteY89" fmla="*/ 156530 h 283512"/>
                <a:gd name="connsiteX90" fmla="*/ 732923 w 2096597"/>
                <a:gd name="connsiteY90" fmla="*/ 138657 h 283512"/>
                <a:gd name="connsiteX91" fmla="*/ 720383 w 2096597"/>
                <a:gd name="connsiteY91" fmla="*/ 126982 h 283512"/>
                <a:gd name="connsiteX92" fmla="*/ 702654 w 2096597"/>
                <a:gd name="connsiteY92" fmla="*/ 122802 h 283512"/>
                <a:gd name="connsiteX93" fmla="*/ 673683 w 2096597"/>
                <a:gd name="connsiteY93" fmla="*/ 138225 h 283512"/>
                <a:gd name="connsiteX94" fmla="*/ 663450 w 2096597"/>
                <a:gd name="connsiteY94" fmla="*/ 178438 h 283512"/>
                <a:gd name="connsiteX95" fmla="*/ 673539 w 2096597"/>
                <a:gd name="connsiteY95" fmla="*/ 218796 h 283512"/>
                <a:gd name="connsiteX96" fmla="*/ 701934 w 2096597"/>
                <a:gd name="connsiteY96" fmla="*/ 233642 h 283512"/>
                <a:gd name="connsiteX97" fmla="*/ 930242 w 2096597"/>
                <a:gd name="connsiteY97" fmla="*/ 282359 h 283512"/>
                <a:gd name="connsiteX98" fmla="*/ 886858 w 2096597"/>
                <a:gd name="connsiteY98" fmla="*/ 274576 h 283512"/>
                <a:gd name="connsiteX99" fmla="*/ 854139 w 2096597"/>
                <a:gd name="connsiteY99" fmla="*/ 252811 h 283512"/>
                <a:gd name="connsiteX100" fmla="*/ 833528 w 2096597"/>
                <a:gd name="connsiteY100" fmla="*/ 219949 h 283512"/>
                <a:gd name="connsiteX101" fmla="*/ 826322 w 2096597"/>
                <a:gd name="connsiteY101" fmla="*/ 178871 h 283512"/>
                <a:gd name="connsiteX102" fmla="*/ 833528 w 2096597"/>
                <a:gd name="connsiteY102" fmla="*/ 138369 h 283512"/>
                <a:gd name="connsiteX103" fmla="*/ 854139 w 2096597"/>
                <a:gd name="connsiteY103" fmla="*/ 105650 h 283512"/>
                <a:gd name="connsiteX104" fmla="*/ 885705 w 2096597"/>
                <a:gd name="connsiteY104" fmla="*/ 84030 h 283512"/>
                <a:gd name="connsiteX105" fmla="*/ 926495 w 2096597"/>
                <a:gd name="connsiteY105" fmla="*/ 76247 h 283512"/>
                <a:gd name="connsiteX106" fmla="*/ 963970 w 2096597"/>
                <a:gd name="connsiteY106" fmla="*/ 82733 h 283512"/>
                <a:gd name="connsiteX107" fmla="*/ 993085 w 2096597"/>
                <a:gd name="connsiteY107" fmla="*/ 100606 h 283512"/>
                <a:gd name="connsiteX108" fmla="*/ 1019173 w 2096597"/>
                <a:gd name="connsiteY108" fmla="*/ 141107 h 283512"/>
                <a:gd name="connsiteX109" fmla="*/ 1027389 w 2096597"/>
                <a:gd name="connsiteY109" fmla="*/ 195302 h 283512"/>
                <a:gd name="connsiteX110" fmla="*/ 887290 w 2096597"/>
                <a:gd name="connsiteY110" fmla="*/ 195302 h 283512"/>
                <a:gd name="connsiteX111" fmla="*/ 900983 w 2096597"/>
                <a:gd name="connsiteY111" fmla="*/ 226579 h 283512"/>
                <a:gd name="connsiteX112" fmla="*/ 931107 w 2096597"/>
                <a:gd name="connsiteY112" fmla="*/ 237966 h 283512"/>
                <a:gd name="connsiteX113" fmla="*/ 951286 w 2096597"/>
                <a:gd name="connsiteY113" fmla="*/ 232777 h 283512"/>
                <a:gd name="connsiteX114" fmla="*/ 963393 w 2096597"/>
                <a:gd name="connsiteY114" fmla="*/ 218508 h 283512"/>
                <a:gd name="connsiteX115" fmla="*/ 1023930 w 2096597"/>
                <a:gd name="connsiteY115" fmla="*/ 218508 h 283512"/>
                <a:gd name="connsiteX116" fmla="*/ 1012543 w 2096597"/>
                <a:gd name="connsiteY116" fmla="*/ 243875 h 283512"/>
                <a:gd name="connsiteX117" fmla="*/ 991211 w 2096597"/>
                <a:gd name="connsiteY117" fmla="*/ 264630 h 283512"/>
                <a:gd name="connsiteX118" fmla="*/ 963970 w 2096597"/>
                <a:gd name="connsiteY118" fmla="*/ 277891 h 283512"/>
                <a:gd name="connsiteX119" fmla="*/ 930242 w 2096597"/>
                <a:gd name="connsiteY119" fmla="*/ 282503 h 283512"/>
                <a:gd name="connsiteX120" fmla="*/ 964546 w 2096597"/>
                <a:gd name="connsiteY120" fmla="*/ 158404 h 283512"/>
                <a:gd name="connsiteX121" fmla="*/ 952727 w 2096597"/>
                <a:gd name="connsiteY121" fmla="*/ 130586 h 283512"/>
                <a:gd name="connsiteX122" fmla="*/ 927648 w 2096597"/>
                <a:gd name="connsiteY122" fmla="*/ 120352 h 283512"/>
                <a:gd name="connsiteX123" fmla="*/ 900262 w 2096597"/>
                <a:gd name="connsiteY123" fmla="*/ 130586 h 283512"/>
                <a:gd name="connsiteX124" fmla="*/ 887723 w 2096597"/>
                <a:gd name="connsiteY124" fmla="*/ 158404 h 283512"/>
                <a:gd name="connsiteX125" fmla="*/ 964546 w 2096597"/>
                <a:gd name="connsiteY125" fmla="*/ 158404 h 283512"/>
                <a:gd name="connsiteX126" fmla="*/ 1050162 w 2096597"/>
                <a:gd name="connsiteY126" fmla="*/ 2018 h 283512"/>
                <a:gd name="connsiteX127" fmla="*/ 1112140 w 2096597"/>
                <a:gd name="connsiteY127" fmla="*/ 2018 h 283512"/>
                <a:gd name="connsiteX128" fmla="*/ 1112140 w 2096597"/>
                <a:gd name="connsiteY128" fmla="*/ 105939 h 283512"/>
                <a:gd name="connsiteX129" fmla="*/ 1113293 w 2096597"/>
                <a:gd name="connsiteY129" fmla="*/ 105939 h 283512"/>
                <a:gd name="connsiteX130" fmla="*/ 1137219 w 2096597"/>
                <a:gd name="connsiteY130" fmla="*/ 84030 h 283512"/>
                <a:gd name="connsiteX131" fmla="*/ 1171091 w 2096597"/>
                <a:gd name="connsiteY131" fmla="*/ 76247 h 283512"/>
                <a:gd name="connsiteX132" fmla="*/ 1199629 w 2096597"/>
                <a:gd name="connsiteY132" fmla="*/ 81724 h 283512"/>
                <a:gd name="connsiteX133" fmla="*/ 1220961 w 2096597"/>
                <a:gd name="connsiteY133" fmla="*/ 97002 h 283512"/>
                <a:gd name="connsiteX134" fmla="*/ 1234366 w 2096597"/>
                <a:gd name="connsiteY134" fmla="*/ 120208 h 283512"/>
                <a:gd name="connsiteX135" fmla="*/ 1238978 w 2096597"/>
                <a:gd name="connsiteY135" fmla="*/ 150044 h 283512"/>
                <a:gd name="connsiteX136" fmla="*/ 1238978 w 2096597"/>
                <a:gd name="connsiteY136" fmla="*/ 276738 h 283512"/>
                <a:gd name="connsiteX137" fmla="*/ 1177000 w 2096597"/>
                <a:gd name="connsiteY137" fmla="*/ 276738 h 283512"/>
                <a:gd name="connsiteX138" fmla="*/ 1177000 w 2096597"/>
                <a:gd name="connsiteY138" fmla="*/ 162583 h 283512"/>
                <a:gd name="connsiteX139" fmla="*/ 1169361 w 2096597"/>
                <a:gd name="connsiteY139" fmla="*/ 137504 h 283512"/>
                <a:gd name="connsiteX140" fmla="*/ 1146588 w 2096597"/>
                <a:gd name="connsiteY140" fmla="*/ 127991 h 283512"/>
                <a:gd name="connsiteX141" fmla="*/ 1121653 w 2096597"/>
                <a:gd name="connsiteY141" fmla="*/ 139378 h 283512"/>
                <a:gd name="connsiteX142" fmla="*/ 1112284 w 2096597"/>
                <a:gd name="connsiteY142" fmla="*/ 169069 h 283512"/>
                <a:gd name="connsiteX143" fmla="*/ 1112284 w 2096597"/>
                <a:gd name="connsiteY143" fmla="*/ 276738 h 283512"/>
                <a:gd name="connsiteX144" fmla="*/ 1050306 w 2096597"/>
                <a:gd name="connsiteY144" fmla="*/ 276738 h 283512"/>
                <a:gd name="connsiteX145" fmla="*/ 1050306 w 2096597"/>
                <a:gd name="connsiteY145" fmla="*/ 1874 h 283512"/>
                <a:gd name="connsiteX146" fmla="*/ 1362645 w 2096597"/>
                <a:gd name="connsiteY146" fmla="*/ 282936 h 283512"/>
                <a:gd name="connsiteX147" fmla="*/ 1319837 w 2096597"/>
                <a:gd name="connsiteY147" fmla="*/ 275152 h 283512"/>
                <a:gd name="connsiteX148" fmla="*/ 1286830 w 2096597"/>
                <a:gd name="connsiteY148" fmla="*/ 253388 h 283512"/>
                <a:gd name="connsiteX149" fmla="*/ 1265787 w 2096597"/>
                <a:gd name="connsiteY149" fmla="*/ 220670 h 283512"/>
                <a:gd name="connsiteX150" fmla="*/ 1258292 w 2096597"/>
                <a:gd name="connsiteY150" fmla="*/ 179735 h 283512"/>
                <a:gd name="connsiteX151" fmla="*/ 1265787 w 2096597"/>
                <a:gd name="connsiteY151" fmla="*/ 138801 h 283512"/>
                <a:gd name="connsiteX152" fmla="*/ 1286830 w 2096597"/>
                <a:gd name="connsiteY152" fmla="*/ 106083 h 283512"/>
                <a:gd name="connsiteX153" fmla="*/ 1319837 w 2096597"/>
                <a:gd name="connsiteY153" fmla="*/ 84463 h 283512"/>
                <a:gd name="connsiteX154" fmla="*/ 1362645 w 2096597"/>
                <a:gd name="connsiteY154" fmla="*/ 76679 h 283512"/>
                <a:gd name="connsiteX155" fmla="*/ 1405453 w 2096597"/>
                <a:gd name="connsiteY155" fmla="*/ 84463 h 283512"/>
                <a:gd name="connsiteX156" fmla="*/ 1438171 w 2096597"/>
                <a:gd name="connsiteY156" fmla="*/ 106083 h 283512"/>
                <a:gd name="connsiteX157" fmla="*/ 1459071 w 2096597"/>
                <a:gd name="connsiteY157" fmla="*/ 138801 h 283512"/>
                <a:gd name="connsiteX158" fmla="*/ 1466422 w 2096597"/>
                <a:gd name="connsiteY158" fmla="*/ 179735 h 283512"/>
                <a:gd name="connsiteX159" fmla="*/ 1459071 w 2096597"/>
                <a:gd name="connsiteY159" fmla="*/ 220670 h 283512"/>
                <a:gd name="connsiteX160" fmla="*/ 1438171 w 2096597"/>
                <a:gd name="connsiteY160" fmla="*/ 253388 h 283512"/>
                <a:gd name="connsiteX161" fmla="*/ 1405453 w 2096597"/>
                <a:gd name="connsiteY161" fmla="*/ 275152 h 283512"/>
                <a:gd name="connsiteX162" fmla="*/ 1362645 w 2096597"/>
                <a:gd name="connsiteY162" fmla="*/ 282936 h 283512"/>
                <a:gd name="connsiteX163" fmla="*/ 1362213 w 2096597"/>
                <a:gd name="connsiteY163" fmla="*/ 238830 h 283512"/>
                <a:gd name="connsiteX164" fmla="*/ 1393201 w 2096597"/>
                <a:gd name="connsiteY164" fmla="*/ 222687 h 283512"/>
                <a:gd name="connsiteX165" fmla="*/ 1403723 w 2096597"/>
                <a:gd name="connsiteY165" fmla="*/ 179880 h 283512"/>
                <a:gd name="connsiteX166" fmla="*/ 1393201 w 2096597"/>
                <a:gd name="connsiteY166" fmla="*/ 136928 h 283512"/>
                <a:gd name="connsiteX167" fmla="*/ 1362213 w 2096597"/>
                <a:gd name="connsiteY167" fmla="*/ 120496 h 283512"/>
                <a:gd name="connsiteX168" fmla="*/ 1331368 w 2096597"/>
                <a:gd name="connsiteY168" fmla="*/ 136928 h 283512"/>
                <a:gd name="connsiteX169" fmla="*/ 1321134 w 2096597"/>
                <a:gd name="connsiteY169" fmla="*/ 179880 h 283512"/>
                <a:gd name="connsiteX170" fmla="*/ 1331368 w 2096597"/>
                <a:gd name="connsiteY170" fmla="*/ 222687 h 283512"/>
                <a:gd name="connsiteX171" fmla="*/ 1362213 w 2096597"/>
                <a:gd name="connsiteY171" fmla="*/ 238830 h 283512"/>
                <a:gd name="connsiteX172" fmla="*/ 1554488 w 2096597"/>
                <a:gd name="connsiteY172" fmla="*/ 282647 h 283512"/>
                <a:gd name="connsiteX173" fmla="*/ 1503320 w 2096597"/>
                <a:gd name="connsiteY173" fmla="*/ 262613 h 283512"/>
                <a:gd name="connsiteX174" fmla="*/ 1486024 w 2096597"/>
                <a:gd name="connsiteY174" fmla="*/ 209859 h 283512"/>
                <a:gd name="connsiteX175" fmla="*/ 1486024 w 2096597"/>
                <a:gd name="connsiteY175" fmla="*/ 82012 h 283512"/>
                <a:gd name="connsiteX176" fmla="*/ 1547713 w 2096597"/>
                <a:gd name="connsiteY176" fmla="*/ 82012 h 283512"/>
                <a:gd name="connsiteX177" fmla="*/ 1547713 w 2096597"/>
                <a:gd name="connsiteY177" fmla="*/ 197032 h 283512"/>
                <a:gd name="connsiteX178" fmla="*/ 1554920 w 2096597"/>
                <a:gd name="connsiteY178" fmla="*/ 221534 h 283512"/>
                <a:gd name="connsiteX179" fmla="*/ 1576973 w 2096597"/>
                <a:gd name="connsiteY179" fmla="*/ 230038 h 283512"/>
                <a:gd name="connsiteX180" fmla="*/ 1602052 w 2096597"/>
                <a:gd name="connsiteY180" fmla="*/ 219228 h 283512"/>
                <a:gd name="connsiteX181" fmla="*/ 1611132 w 2096597"/>
                <a:gd name="connsiteY181" fmla="*/ 190834 h 283512"/>
                <a:gd name="connsiteX182" fmla="*/ 1611132 w 2096597"/>
                <a:gd name="connsiteY182" fmla="*/ 82012 h 283512"/>
                <a:gd name="connsiteX183" fmla="*/ 1673110 w 2096597"/>
                <a:gd name="connsiteY183" fmla="*/ 82012 h 283512"/>
                <a:gd name="connsiteX184" fmla="*/ 1673110 w 2096597"/>
                <a:gd name="connsiteY184" fmla="*/ 276882 h 283512"/>
                <a:gd name="connsiteX185" fmla="*/ 1613727 w 2096597"/>
                <a:gd name="connsiteY185" fmla="*/ 276882 h 283512"/>
                <a:gd name="connsiteX186" fmla="*/ 1613727 w 2096597"/>
                <a:gd name="connsiteY186" fmla="*/ 252956 h 283512"/>
                <a:gd name="connsiteX187" fmla="*/ 1612574 w 2096597"/>
                <a:gd name="connsiteY187" fmla="*/ 252956 h 283512"/>
                <a:gd name="connsiteX188" fmla="*/ 1588359 w 2096597"/>
                <a:gd name="connsiteY188" fmla="*/ 275008 h 283512"/>
                <a:gd name="connsiteX189" fmla="*/ 1554344 w 2096597"/>
                <a:gd name="connsiteY189" fmla="*/ 282647 h 283512"/>
                <a:gd name="connsiteX190" fmla="*/ 1789571 w 2096597"/>
                <a:gd name="connsiteY190" fmla="*/ 283080 h 283512"/>
                <a:gd name="connsiteX191" fmla="*/ 1721395 w 2096597"/>
                <a:gd name="connsiteY191" fmla="*/ 264630 h 283512"/>
                <a:gd name="connsiteX192" fmla="*/ 1694730 w 2096597"/>
                <a:gd name="connsiteY192" fmla="*/ 213751 h 283512"/>
                <a:gd name="connsiteX193" fmla="*/ 1753393 w 2096597"/>
                <a:gd name="connsiteY193" fmla="*/ 213751 h 283512"/>
                <a:gd name="connsiteX194" fmla="*/ 1764491 w 2096597"/>
                <a:gd name="connsiteY194" fmla="*/ 235515 h 283512"/>
                <a:gd name="connsiteX195" fmla="*/ 1789282 w 2096597"/>
                <a:gd name="connsiteY195" fmla="*/ 242722 h 283512"/>
                <a:gd name="connsiteX196" fmla="*/ 1811479 w 2096597"/>
                <a:gd name="connsiteY196" fmla="*/ 237821 h 283512"/>
                <a:gd name="connsiteX197" fmla="*/ 1819695 w 2096597"/>
                <a:gd name="connsiteY197" fmla="*/ 223408 h 283512"/>
                <a:gd name="connsiteX198" fmla="*/ 1815515 w 2096597"/>
                <a:gd name="connsiteY198" fmla="*/ 212886 h 283512"/>
                <a:gd name="connsiteX199" fmla="*/ 1804416 w 2096597"/>
                <a:gd name="connsiteY199" fmla="*/ 206400 h 283512"/>
                <a:gd name="connsiteX200" fmla="*/ 1788562 w 2096597"/>
                <a:gd name="connsiteY200" fmla="*/ 202653 h 283512"/>
                <a:gd name="connsiteX201" fmla="*/ 1770112 w 2096597"/>
                <a:gd name="connsiteY201" fmla="*/ 199482 h 283512"/>
                <a:gd name="connsiteX202" fmla="*/ 1745033 w 2096597"/>
                <a:gd name="connsiteY202" fmla="*/ 194005 h 283512"/>
                <a:gd name="connsiteX203" fmla="*/ 1722404 w 2096597"/>
                <a:gd name="connsiteY203" fmla="*/ 184348 h 283512"/>
                <a:gd name="connsiteX204" fmla="*/ 1706261 w 2096597"/>
                <a:gd name="connsiteY204" fmla="*/ 167052 h 283512"/>
                <a:gd name="connsiteX205" fmla="*/ 1700207 w 2096597"/>
                <a:gd name="connsiteY205" fmla="*/ 139090 h 283512"/>
                <a:gd name="connsiteX206" fmla="*/ 1706837 w 2096597"/>
                <a:gd name="connsiteY206" fmla="*/ 111992 h 283512"/>
                <a:gd name="connsiteX207" fmla="*/ 1724999 w 2096597"/>
                <a:gd name="connsiteY207" fmla="*/ 92390 h 283512"/>
                <a:gd name="connsiteX208" fmla="*/ 1751808 w 2096597"/>
                <a:gd name="connsiteY208" fmla="*/ 80571 h 283512"/>
                <a:gd name="connsiteX209" fmla="*/ 1784382 w 2096597"/>
                <a:gd name="connsiteY209" fmla="*/ 76535 h 283512"/>
                <a:gd name="connsiteX210" fmla="*/ 1847945 w 2096597"/>
                <a:gd name="connsiteY210" fmla="*/ 93255 h 283512"/>
                <a:gd name="connsiteX211" fmla="*/ 1872304 w 2096597"/>
                <a:gd name="connsiteY211" fmla="*/ 138945 h 283512"/>
                <a:gd name="connsiteX212" fmla="*/ 1815226 w 2096597"/>
                <a:gd name="connsiteY212" fmla="*/ 138945 h 283512"/>
                <a:gd name="connsiteX213" fmla="*/ 1805137 w 2096597"/>
                <a:gd name="connsiteY213" fmla="*/ 120929 h 283512"/>
                <a:gd name="connsiteX214" fmla="*/ 1783949 w 2096597"/>
                <a:gd name="connsiteY214" fmla="*/ 116172 h 283512"/>
                <a:gd name="connsiteX215" fmla="*/ 1764780 w 2096597"/>
                <a:gd name="connsiteY215" fmla="*/ 120496 h 283512"/>
                <a:gd name="connsiteX216" fmla="*/ 1756996 w 2096597"/>
                <a:gd name="connsiteY216" fmla="*/ 134045 h 283512"/>
                <a:gd name="connsiteX217" fmla="*/ 1760744 w 2096597"/>
                <a:gd name="connsiteY217" fmla="*/ 142405 h 283512"/>
                <a:gd name="connsiteX218" fmla="*/ 1770977 w 2096597"/>
                <a:gd name="connsiteY218" fmla="*/ 147593 h 283512"/>
                <a:gd name="connsiteX219" fmla="*/ 1785967 w 2096597"/>
                <a:gd name="connsiteY219" fmla="*/ 151197 h 283512"/>
                <a:gd name="connsiteX220" fmla="*/ 1803696 w 2096597"/>
                <a:gd name="connsiteY220" fmla="*/ 154224 h 283512"/>
                <a:gd name="connsiteX221" fmla="*/ 1829784 w 2096597"/>
                <a:gd name="connsiteY221" fmla="*/ 159701 h 283512"/>
                <a:gd name="connsiteX222" fmla="*/ 1853710 w 2096597"/>
                <a:gd name="connsiteY222" fmla="*/ 169790 h 283512"/>
                <a:gd name="connsiteX223" fmla="*/ 1871439 w 2096597"/>
                <a:gd name="connsiteY223" fmla="*/ 188239 h 283512"/>
                <a:gd name="connsiteX224" fmla="*/ 1878357 w 2096597"/>
                <a:gd name="connsiteY224" fmla="*/ 218508 h 283512"/>
                <a:gd name="connsiteX225" fmla="*/ 1871727 w 2096597"/>
                <a:gd name="connsiteY225" fmla="*/ 246614 h 283512"/>
                <a:gd name="connsiteX226" fmla="*/ 1853278 w 2096597"/>
                <a:gd name="connsiteY226" fmla="*/ 266792 h 283512"/>
                <a:gd name="connsiteX227" fmla="*/ 1825172 w 2096597"/>
                <a:gd name="connsiteY227" fmla="*/ 279044 h 283512"/>
                <a:gd name="connsiteX228" fmla="*/ 1789715 w 2096597"/>
                <a:gd name="connsiteY228" fmla="*/ 283224 h 283512"/>
                <a:gd name="connsiteX229" fmla="*/ 1999430 w 2096597"/>
                <a:gd name="connsiteY229" fmla="*/ 282791 h 283512"/>
                <a:gd name="connsiteX230" fmla="*/ 1956046 w 2096597"/>
                <a:gd name="connsiteY230" fmla="*/ 275008 h 283512"/>
                <a:gd name="connsiteX231" fmla="*/ 1923327 w 2096597"/>
                <a:gd name="connsiteY231" fmla="*/ 253244 h 283512"/>
                <a:gd name="connsiteX232" fmla="*/ 1902716 w 2096597"/>
                <a:gd name="connsiteY232" fmla="*/ 220381 h 283512"/>
                <a:gd name="connsiteX233" fmla="*/ 1895509 w 2096597"/>
                <a:gd name="connsiteY233" fmla="*/ 179303 h 283512"/>
                <a:gd name="connsiteX234" fmla="*/ 1902716 w 2096597"/>
                <a:gd name="connsiteY234" fmla="*/ 138801 h 283512"/>
                <a:gd name="connsiteX235" fmla="*/ 1923327 w 2096597"/>
                <a:gd name="connsiteY235" fmla="*/ 106083 h 283512"/>
                <a:gd name="connsiteX236" fmla="*/ 1954893 w 2096597"/>
                <a:gd name="connsiteY236" fmla="*/ 84463 h 283512"/>
                <a:gd name="connsiteX237" fmla="*/ 1995683 w 2096597"/>
                <a:gd name="connsiteY237" fmla="*/ 76679 h 283512"/>
                <a:gd name="connsiteX238" fmla="*/ 2033157 w 2096597"/>
                <a:gd name="connsiteY238" fmla="*/ 83165 h 283512"/>
                <a:gd name="connsiteX239" fmla="*/ 2062273 w 2096597"/>
                <a:gd name="connsiteY239" fmla="*/ 101038 h 283512"/>
                <a:gd name="connsiteX240" fmla="*/ 2088361 w 2096597"/>
                <a:gd name="connsiteY240" fmla="*/ 141540 h 283512"/>
                <a:gd name="connsiteX241" fmla="*/ 2096577 w 2096597"/>
                <a:gd name="connsiteY241" fmla="*/ 195734 h 283512"/>
                <a:gd name="connsiteX242" fmla="*/ 1956478 w 2096597"/>
                <a:gd name="connsiteY242" fmla="*/ 195734 h 283512"/>
                <a:gd name="connsiteX243" fmla="*/ 1970171 w 2096597"/>
                <a:gd name="connsiteY243" fmla="*/ 227011 h 283512"/>
                <a:gd name="connsiteX244" fmla="*/ 2000295 w 2096597"/>
                <a:gd name="connsiteY244" fmla="*/ 238398 h 283512"/>
                <a:gd name="connsiteX245" fmla="*/ 2020474 w 2096597"/>
                <a:gd name="connsiteY245" fmla="*/ 233209 h 283512"/>
                <a:gd name="connsiteX246" fmla="*/ 2032725 w 2096597"/>
                <a:gd name="connsiteY246" fmla="*/ 218940 h 283512"/>
                <a:gd name="connsiteX247" fmla="*/ 2093262 w 2096597"/>
                <a:gd name="connsiteY247" fmla="*/ 218940 h 283512"/>
                <a:gd name="connsiteX248" fmla="*/ 2081875 w 2096597"/>
                <a:gd name="connsiteY248" fmla="*/ 244308 h 283512"/>
                <a:gd name="connsiteX249" fmla="*/ 2060543 w 2096597"/>
                <a:gd name="connsiteY249" fmla="*/ 265063 h 283512"/>
                <a:gd name="connsiteX250" fmla="*/ 2033302 w 2096597"/>
                <a:gd name="connsiteY250" fmla="*/ 278323 h 283512"/>
                <a:gd name="connsiteX251" fmla="*/ 1999574 w 2096597"/>
                <a:gd name="connsiteY251" fmla="*/ 282936 h 283512"/>
                <a:gd name="connsiteX252" fmla="*/ 2033878 w 2096597"/>
                <a:gd name="connsiteY252" fmla="*/ 158836 h 283512"/>
                <a:gd name="connsiteX253" fmla="*/ 2022059 w 2096597"/>
                <a:gd name="connsiteY253" fmla="*/ 131018 h 283512"/>
                <a:gd name="connsiteX254" fmla="*/ 1996980 w 2096597"/>
                <a:gd name="connsiteY254" fmla="*/ 120784 h 283512"/>
                <a:gd name="connsiteX255" fmla="*/ 1969594 w 2096597"/>
                <a:gd name="connsiteY255" fmla="*/ 131018 h 283512"/>
                <a:gd name="connsiteX256" fmla="*/ 1957055 w 2096597"/>
                <a:gd name="connsiteY256" fmla="*/ 158836 h 283512"/>
                <a:gd name="connsiteX257" fmla="*/ 2033878 w 2096597"/>
                <a:gd name="connsiteY257" fmla="*/ 15883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6597" h="283512">
                  <a:moveTo>
                    <a:pt x="129433" y="283512"/>
                  </a:moveTo>
                  <a:cubicBezTo>
                    <a:pt x="109830" y="283512"/>
                    <a:pt x="92390" y="280197"/>
                    <a:pt x="76968" y="273567"/>
                  </a:cubicBezTo>
                  <a:cubicBezTo>
                    <a:pt x="61545" y="266937"/>
                    <a:pt x="47997" y="257568"/>
                    <a:pt x="36610" y="245461"/>
                  </a:cubicBezTo>
                  <a:cubicBezTo>
                    <a:pt x="24647" y="232489"/>
                    <a:pt x="15567" y="217354"/>
                    <a:pt x="9369" y="199770"/>
                  </a:cubicBezTo>
                  <a:cubicBezTo>
                    <a:pt x="3171" y="182330"/>
                    <a:pt x="0" y="163160"/>
                    <a:pt x="0" y="142260"/>
                  </a:cubicBezTo>
                  <a:cubicBezTo>
                    <a:pt x="0" y="121361"/>
                    <a:pt x="3459" y="100894"/>
                    <a:pt x="10522" y="82733"/>
                  </a:cubicBezTo>
                  <a:cubicBezTo>
                    <a:pt x="17440" y="64572"/>
                    <a:pt x="27386" y="49006"/>
                    <a:pt x="40358" y="36178"/>
                  </a:cubicBezTo>
                  <a:cubicBezTo>
                    <a:pt x="51744" y="24791"/>
                    <a:pt x="65149" y="15855"/>
                    <a:pt x="80715" y="9513"/>
                  </a:cubicBezTo>
                  <a:cubicBezTo>
                    <a:pt x="96138" y="3171"/>
                    <a:pt x="113866" y="0"/>
                    <a:pt x="133612" y="0"/>
                  </a:cubicBezTo>
                  <a:cubicBezTo>
                    <a:pt x="151053" y="0"/>
                    <a:pt x="166907" y="2162"/>
                    <a:pt x="180744" y="6630"/>
                  </a:cubicBezTo>
                  <a:cubicBezTo>
                    <a:pt x="194725" y="11098"/>
                    <a:pt x="206833" y="17440"/>
                    <a:pt x="216922" y="25656"/>
                  </a:cubicBezTo>
                  <a:cubicBezTo>
                    <a:pt x="227011" y="33872"/>
                    <a:pt x="235227" y="43817"/>
                    <a:pt x="241425" y="55492"/>
                  </a:cubicBezTo>
                  <a:cubicBezTo>
                    <a:pt x="247623" y="67167"/>
                    <a:pt x="251947" y="80139"/>
                    <a:pt x="254109" y="94264"/>
                  </a:cubicBezTo>
                  <a:lnTo>
                    <a:pt x="188672" y="94264"/>
                  </a:lnTo>
                  <a:cubicBezTo>
                    <a:pt x="186077" y="83165"/>
                    <a:pt x="180456" y="73797"/>
                    <a:pt x="171520" y="66446"/>
                  </a:cubicBezTo>
                  <a:cubicBezTo>
                    <a:pt x="162583" y="59095"/>
                    <a:pt x="150764" y="55348"/>
                    <a:pt x="135774" y="55348"/>
                  </a:cubicBezTo>
                  <a:cubicBezTo>
                    <a:pt x="124532" y="55348"/>
                    <a:pt x="114731" y="57654"/>
                    <a:pt x="106227" y="61978"/>
                  </a:cubicBezTo>
                  <a:cubicBezTo>
                    <a:pt x="97723" y="66446"/>
                    <a:pt x="90660" y="72500"/>
                    <a:pt x="85039" y="80283"/>
                  </a:cubicBezTo>
                  <a:cubicBezTo>
                    <a:pt x="79418" y="88066"/>
                    <a:pt x="75238" y="97146"/>
                    <a:pt x="72500" y="107668"/>
                  </a:cubicBezTo>
                  <a:cubicBezTo>
                    <a:pt x="69761" y="118190"/>
                    <a:pt x="68320" y="129721"/>
                    <a:pt x="68320" y="142116"/>
                  </a:cubicBezTo>
                  <a:cubicBezTo>
                    <a:pt x="68320" y="154512"/>
                    <a:pt x="69905" y="166043"/>
                    <a:pt x="73076" y="176709"/>
                  </a:cubicBezTo>
                  <a:cubicBezTo>
                    <a:pt x="76247" y="187375"/>
                    <a:pt x="80715" y="196599"/>
                    <a:pt x="86625" y="204238"/>
                  </a:cubicBezTo>
                  <a:cubicBezTo>
                    <a:pt x="92534" y="212021"/>
                    <a:pt x="99597" y="218075"/>
                    <a:pt x="108101" y="222255"/>
                  </a:cubicBezTo>
                  <a:cubicBezTo>
                    <a:pt x="116605" y="226579"/>
                    <a:pt x="126117" y="228741"/>
                    <a:pt x="136783" y="228741"/>
                  </a:cubicBezTo>
                  <a:cubicBezTo>
                    <a:pt x="145576" y="228741"/>
                    <a:pt x="153647" y="227444"/>
                    <a:pt x="160566" y="224705"/>
                  </a:cubicBezTo>
                  <a:cubicBezTo>
                    <a:pt x="167484" y="222111"/>
                    <a:pt x="173538" y="218508"/>
                    <a:pt x="178438" y="214039"/>
                  </a:cubicBezTo>
                  <a:cubicBezTo>
                    <a:pt x="183339" y="209571"/>
                    <a:pt x="187375" y="204526"/>
                    <a:pt x="190257" y="198761"/>
                  </a:cubicBezTo>
                  <a:cubicBezTo>
                    <a:pt x="193140" y="193140"/>
                    <a:pt x="195014" y="187230"/>
                    <a:pt x="195734" y="181033"/>
                  </a:cubicBezTo>
                  <a:lnTo>
                    <a:pt x="195734" y="180312"/>
                  </a:lnTo>
                  <a:lnTo>
                    <a:pt x="144711" y="180312"/>
                  </a:lnTo>
                  <a:lnTo>
                    <a:pt x="144711" y="130874"/>
                  </a:lnTo>
                  <a:lnTo>
                    <a:pt x="258144" y="130874"/>
                  </a:lnTo>
                  <a:lnTo>
                    <a:pt x="258144" y="277026"/>
                  </a:lnTo>
                  <a:lnTo>
                    <a:pt x="211013" y="277026"/>
                  </a:lnTo>
                  <a:lnTo>
                    <a:pt x="207265" y="244308"/>
                  </a:lnTo>
                  <a:lnTo>
                    <a:pt x="206544" y="244308"/>
                  </a:lnTo>
                  <a:cubicBezTo>
                    <a:pt x="197608" y="258289"/>
                    <a:pt x="186654" y="268234"/>
                    <a:pt x="173682" y="274143"/>
                  </a:cubicBezTo>
                  <a:cubicBezTo>
                    <a:pt x="160566" y="280053"/>
                    <a:pt x="145864" y="283080"/>
                    <a:pt x="129288" y="283080"/>
                  </a:cubicBezTo>
                  <a:moveTo>
                    <a:pt x="358029" y="282647"/>
                  </a:moveTo>
                  <a:cubicBezTo>
                    <a:pt x="335400" y="282647"/>
                    <a:pt x="318393" y="276017"/>
                    <a:pt x="306862" y="262613"/>
                  </a:cubicBezTo>
                  <a:cubicBezTo>
                    <a:pt x="295331" y="249352"/>
                    <a:pt x="289566" y="231768"/>
                    <a:pt x="289566" y="209859"/>
                  </a:cubicBezTo>
                  <a:lnTo>
                    <a:pt x="289566" y="82012"/>
                  </a:lnTo>
                  <a:lnTo>
                    <a:pt x="351255" y="82012"/>
                  </a:lnTo>
                  <a:lnTo>
                    <a:pt x="351255" y="197032"/>
                  </a:lnTo>
                  <a:cubicBezTo>
                    <a:pt x="351255" y="207697"/>
                    <a:pt x="353705" y="215913"/>
                    <a:pt x="358462" y="221534"/>
                  </a:cubicBezTo>
                  <a:cubicBezTo>
                    <a:pt x="363218" y="227300"/>
                    <a:pt x="370713" y="230038"/>
                    <a:pt x="380514" y="230038"/>
                  </a:cubicBezTo>
                  <a:cubicBezTo>
                    <a:pt x="391180" y="230038"/>
                    <a:pt x="399540" y="226435"/>
                    <a:pt x="405594" y="219228"/>
                  </a:cubicBezTo>
                  <a:cubicBezTo>
                    <a:pt x="411647" y="212021"/>
                    <a:pt x="414674" y="202509"/>
                    <a:pt x="414674" y="190834"/>
                  </a:cubicBezTo>
                  <a:lnTo>
                    <a:pt x="414674" y="82012"/>
                  </a:lnTo>
                  <a:lnTo>
                    <a:pt x="476652" y="82012"/>
                  </a:lnTo>
                  <a:lnTo>
                    <a:pt x="476652" y="276882"/>
                  </a:lnTo>
                  <a:lnTo>
                    <a:pt x="417269" y="276882"/>
                  </a:lnTo>
                  <a:lnTo>
                    <a:pt x="417269" y="252956"/>
                  </a:lnTo>
                  <a:lnTo>
                    <a:pt x="416116" y="252956"/>
                  </a:lnTo>
                  <a:cubicBezTo>
                    <a:pt x="409053" y="262613"/>
                    <a:pt x="400981" y="269963"/>
                    <a:pt x="391901" y="275008"/>
                  </a:cubicBezTo>
                  <a:cubicBezTo>
                    <a:pt x="382965" y="280053"/>
                    <a:pt x="371578" y="282647"/>
                    <a:pt x="357885" y="282647"/>
                  </a:cubicBezTo>
                  <a:moveTo>
                    <a:pt x="511965" y="2162"/>
                  </a:moveTo>
                  <a:lnTo>
                    <a:pt x="573943" y="2162"/>
                  </a:lnTo>
                  <a:lnTo>
                    <a:pt x="573943" y="55059"/>
                  </a:lnTo>
                  <a:lnTo>
                    <a:pt x="511965" y="55059"/>
                  </a:lnTo>
                  <a:lnTo>
                    <a:pt x="511965" y="2162"/>
                  </a:lnTo>
                  <a:close/>
                  <a:moveTo>
                    <a:pt x="511965" y="82012"/>
                  </a:moveTo>
                  <a:lnTo>
                    <a:pt x="573943" y="82012"/>
                  </a:lnTo>
                  <a:lnTo>
                    <a:pt x="573943" y="276882"/>
                  </a:lnTo>
                  <a:lnTo>
                    <a:pt x="511965" y="276882"/>
                  </a:lnTo>
                  <a:lnTo>
                    <a:pt x="511965" y="82012"/>
                  </a:lnTo>
                  <a:close/>
                  <a:moveTo>
                    <a:pt x="685935" y="282936"/>
                  </a:moveTo>
                  <a:cubicBezTo>
                    <a:pt x="673539" y="282936"/>
                    <a:pt x="662009" y="280629"/>
                    <a:pt x="651631" y="275873"/>
                  </a:cubicBezTo>
                  <a:cubicBezTo>
                    <a:pt x="641253" y="271117"/>
                    <a:pt x="632173" y="264342"/>
                    <a:pt x="624678" y="255550"/>
                  </a:cubicBezTo>
                  <a:cubicBezTo>
                    <a:pt x="617039" y="246614"/>
                    <a:pt x="611129" y="235804"/>
                    <a:pt x="606949" y="222976"/>
                  </a:cubicBezTo>
                  <a:cubicBezTo>
                    <a:pt x="602769" y="210148"/>
                    <a:pt x="600607" y="195590"/>
                    <a:pt x="600607" y="179447"/>
                  </a:cubicBezTo>
                  <a:cubicBezTo>
                    <a:pt x="600607" y="164169"/>
                    <a:pt x="602769" y="150332"/>
                    <a:pt x="606949" y="137504"/>
                  </a:cubicBezTo>
                  <a:cubicBezTo>
                    <a:pt x="611129" y="124820"/>
                    <a:pt x="617039" y="114010"/>
                    <a:pt x="624390" y="104930"/>
                  </a:cubicBezTo>
                  <a:cubicBezTo>
                    <a:pt x="631884" y="95993"/>
                    <a:pt x="640821" y="88931"/>
                    <a:pt x="651199" y="83742"/>
                  </a:cubicBezTo>
                  <a:cubicBezTo>
                    <a:pt x="661576" y="78697"/>
                    <a:pt x="673107" y="76103"/>
                    <a:pt x="685791" y="76103"/>
                  </a:cubicBezTo>
                  <a:cubicBezTo>
                    <a:pt x="699483" y="76103"/>
                    <a:pt x="710582" y="78697"/>
                    <a:pt x="718942" y="83886"/>
                  </a:cubicBezTo>
                  <a:cubicBezTo>
                    <a:pt x="727301" y="89075"/>
                    <a:pt x="734364" y="95705"/>
                    <a:pt x="740273" y="103921"/>
                  </a:cubicBezTo>
                  <a:lnTo>
                    <a:pt x="741426" y="103921"/>
                  </a:lnTo>
                  <a:lnTo>
                    <a:pt x="741426" y="1874"/>
                  </a:lnTo>
                  <a:lnTo>
                    <a:pt x="803404" y="1874"/>
                  </a:lnTo>
                  <a:lnTo>
                    <a:pt x="803404" y="276738"/>
                  </a:lnTo>
                  <a:lnTo>
                    <a:pt x="744021" y="276738"/>
                  </a:lnTo>
                  <a:lnTo>
                    <a:pt x="744021" y="250505"/>
                  </a:lnTo>
                  <a:lnTo>
                    <a:pt x="743300" y="250505"/>
                  </a:lnTo>
                  <a:cubicBezTo>
                    <a:pt x="737535" y="260595"/>
                    <a:pt x="729607" y="268522"/>
                    <a:pt x="719951" y="274287"/>
                  </a:cubicBezTo>
                  <a:cubicBezTo>
                    <a:pt x="710149" y="280053"/>
                    <a:pt x="698907" y="282791"/>
                    <a:pt x="685935" y="282791"/>
                  </a:cubicBezTo>
                  <a:moveTo>
                    <a:pt x="701934" y="233642"/>
                  </a:moveTo>
                  <a:cubicBezTo>
                    <a:pt x="714906" y="233642"/>
                    <a:pt x="724995" y="228597"/>
                    <a:pt x="732202" y="218363"/>
                  </a:cubicBezTo>
                  <a:cubicBezTo>
                    <a:pt x="739409" y="208274"/>
                    <a:pt x="743012" y="195158"/>
                    <a:pt x="743012" y="179159"/>
                  </a:cubicBezTo>
                  <a:cubicBezTo>
                    <a:pt x="743012" y="171087"/>
                    <a:pt x="742147" y="163448"/>
                    <a:pt x="740562" y="156530"/>
                  </a:cubicBezTo>
                  <a:cubicBezTo>
                    <a:pt x="738976" y="149611"/>
                    <a:pt x="736382" y="143558"/>
                    <a:pt x="732923" y="138657"/>
                  </a:cubicBezTo>
                  <a:cubicBezTo>
                    <a:pt x="729463" y="133757"/>
                    <a:pt x="725284" y="129865"/>
                    <a:pt x="720383" y="126982"/>
                  </a:cubicBezTo>
                  <a:cubicBezTo>
                    <a:pt x="715482" y="124244"/>
                    <a:pt x="709573" y="122802"/>
                    <a:pt x="702654" y="122802"/>
                  </a:cubicBezTo>
                  <a:cubicBezTo>
                    <a:pt x="690259" y="122802"/>
                    <a:pt x="680602" y="127991"/>
                    <a:pt x="673683" y="138225"/>
                  </a:cubicBezTo>
                  <a:cubicBezTo>
                    <a:pt x="666765" y="148458"/>
                    <a:pt x="663450" y="161863"/>
                    <a:pt x="663450" y="178438"/>
                  </a:cubicBezTo>
                  <a:cubicBezTo>
                    <a:pt x="663450" y="195014"/>
                    <a:pt x="666765" y="208851"/>
                    <a:pt x="673539" y="218796"/>
                  </a:cubicBezTo>
                  <a:cubicBezTo>
                    <a:pt x="680314" y="228741"/>
                    <a:pt x="689682" y="233642"/>
                    <a:pt x="701934" y="233642"/>
                  </a:cubicBezTo>
                  <a:moveTo>
                    <a:pt x="930242" y="282359"/>
                  </a:moveTo>
                  <a:cubicBezTo>
                    <a:pt x="914243" y="282359"/>
                    <a:pt x="899830" y="279765"/>
                    <a:pt x="886858" y="274576"/>
                  </a:cubicBezTo>
                  <a:cubicBezTo>
                    <a:pt x="873886" y="269387"/>
                    <a:pt x="862932" y="262180"/>
                    <a:pt x="854139" y="252811"/>
                  </a:cubicBezTo>
                  <a:cubicBezTo>
                    <a:pt x="845203" y="243587"/>
                    <a:pt x="838429" y="232633"/>
                    <a:pt x="833528" y="219949"/>
                  </a:cubicBezTo>
                  <a:cubicBezTo>
                    <a:pt x="828772" y="207265"/>
                    <a:pt x="826322" y="193572"/>
                    <a:pt x="826322" y="178871"/>
                  </a:cubicBezTo>
                  <a:cubicBezTo>
                    <a:pt x="826322" y="164169"/>
                    <a:pt x="828772" y="150909"/>
                    <a:pt x="833528" y="138369"/>
                  </a:cubicBezTo>
                  <a:cubicBezTo>
                    <a:pt x="838285" y="125829"/>
                    <a:pt x="845203" y="114875"/>
                    <a:pt x="854139" y="105650"/>
                  </a:cubicBezTo>
                  <a:cubicBezTo>
                    <a:pt x="863076" y="96426"/>
                    <a:pt x="873598" y="89219"/>
                    <a:pt x="885705" y="84030"/>
                  </a:cubicBezTo>
                  <a:cubicBezTo>
                    <a:pt x="897812" y="78841"/>
                    <a:pt x="911505" y="76247"/>
                    <a:pt x="926495" y="76247"/>
                  </a:cubicBezTo>
                  <a:cubicBezTo>
                    <a:pt x="940476" y="76247"/>
                    <a:pt x="953016" y="78409"/>
                    <a:pt x="963970" y="82733"/>
                  </a:cubicBezTo>
                  <a:cubicBezTo>
                    <a:pt x="975068" y="87057"/>
                    <a:pt x="984725" y="92967"/>
                    <a:pt x="993085" y="100606"/>
                  </a:cubicBezTo>
                  <a:cubicBezTo>
                    <a:pt x="1004760" y="111272"/>
                    <a:pt x="1013408" y="124820"/>
                    <a:pt x="1019173" y="141107"/>
                  </a:cubicBezTo>
                  <a:cubicBezTo>
                    <a:pt x="1024939" y="157539"/>
                    <a:pt x="1027533" y="175556"/>
                    <a:pt x="1027389" y="195302"/>
                  </a:cubicBezTo>
                  <a:lnTo>
                    <a:pt x="887290" y="195302"/>
                  </a:lnTo>
                  <a:cubicBezTo>
                    <a:pt x="889308" y="208562"/>
                    <a:pt x="893921" y="218940"/>
                    <a:pt x="900983" y="226579"/>
                  </a:cubicBezTo>
                  <a:cubicBezTo>
                    <a:pt x="908046" y="234218"/>
                    <a:pt x="918135" y="237966"/>
                    <a:pt x="931107" y="237966"/>
                  </a:cubicBezTo>
                  <a:cubicBezTo>
                    <a:pt x="939179" y="237966"/>
                    <a:pt x="945953" y="236236"/>
                    <a:pt x="951286" y="232777"/>
                  </a:cubicBezTo>
                  <a:cubicBezTo>
                    <a:pt x="956619" y="229318"/>
                    <a:pt x="960655" y="224561"/>
                    <a:pt x="963393" y="218508"/>
                  </a:cubicBezTo>
                  <a:lnTo>
                    <a:pt x="1023930" y="218508"/>
                  </a:lnTo>
                  <a:cubicBezTo>
                    <a:pt x="1021912" y="227444"/>
                    <a:pt x="1018020" y="235804"/>
                    <a:pt x="1012543" y="243875"/>
                  </a:cubicBezTo>
                  <a:cubicBezTo>
                    <a:pt x="1006922" y="251803"/>
                    <a:pt x="999859" y="258721"/>
                    <a:pt x="991211" y="264630"/>
                  </a:cubicBezTo>
                  <a:cubicBezTo>
                    <a:pt x="983140" y="270540"/>
                    <a:pt x="974059" y="274864"/>
                    <a:pt x="963970" y="277891"/>
                  </a:cubicBezTo>
                  <a:cubicBezTo>
                    <a:pt x="954024" y="280918"/>
                    <a:pt x="942782" y="282503"/>
                    <a:pt x="930242" y="282503"/>
                  </a:cubicBezTo>
                  <a:moveTo>
                    <a:pt x="964546" y="158404"/>
                  </a:moveTo>
                  <a:cubicBezTo>
                    <a:pt x="963249" y="146729"/>
                    <a:pt x="959357" y="137504"/>
                    <a:pt x="952727" y="130586"/>
                  </a:cubicBezTo>
                  <a:cubicBezTo>
                    <a:pt x="946097" y="123811"/>
                    <a:pt x="937737" y="120352"/>
                    <a:pt x="927648" y="120352"/>
                  </a:cubicBezTo>
                  <a:cubicBezTo>
                    <a:pt x="915685" y="120352"/>
                    <a:pt x="906604" y="123811"/>
                    <a:pt x="900262" y="130586"/>
                  </a:cubicBezTo>
                  <a:cubicBezTo>
                    <a:pt x="893921" y="137504"/>
                    <a:pt x="889741" y="146729"/>
                    <a:pt x="887723" y="158404"/>
                  </a:cubicBezTo>
                  <a:lnTo>
                    <a:pt x="964546" y="158404"/>
                  </a:lnTo>
                  <a:close/>
                  <a:moveTo>
                    <a:pt x="1050162" y="2018"/>
                  </a:moveTo>
                  <a:lnTo>
                    <a:pt x="1112140" y="2018"/>
                  </a:lnTo>
                  <a:lnTo>
                    <a:pt x="1112140" y="105939"/>
                  </a:lnTo>
                  <a:lnTo>
                    <a:pt x="1113293" y="105939"/>
                  </a:lnTo>
                  <a:cubicBezTo>
                    <a:pt x="1120355" y="96570"/>
                    <a:pt x="1128427" y="89219"/>
                    <a:pt x="1137219" y="84030"/>
                  </a:cubicBezTo>
                  <a:cubicBezTo>
                    <a:pt x="1146155" y="78841"/>
                    <a:pt x="1157398" y="76247"/>
                    <a:pt x="1171091" y="76247"/>
                  </a:cubicBezTo>
                  <a:cubicBezTo>
                    <a:pt x="1181757" y="76247"/>
                    <a:pt x="1191269" y="78121"/>
                    <a:pt x="1199629" y="81724"/>
                  </a:cubicBezTo>
                  <a:cubicBezTo>
                    <a:pt x="1207989" y="85327"/>
                    <a:pt x="1215052" y="90516"/>
                    <a:pt x="1220961" y="97002"/>
                  </a:cubicBezTo>
                  <a:cubicBezTo>
                    <a:pt x="1226871" y="103488"/>
                    <a:pt x="1231195" y="111272"/>
                    <a:pt x="1234366" y="120208"/>
                  </a:cubicBezTo>
                  <a:cubicBezTo>
                    <a:pt x="1237392" y="129144"/>
                    <a:pt x="1238978" y="139234"/>
                    <a:pt x="1238978" y="150044"/>
                  </a:cubicBezTo>
                  <a:lnTo>
                    <a:pt x="1238978" y="276738"/>
                  </a:lnTo>
                  <a:lnTo>
                    <a:pt x="1177000" y="276738"/>
                  </a:lnTo>
                  <a:lnTo>
                    <a:pt x="1177000" y="162583"/>
                  </a:lnTo>
                  <a:cubicBezTo>
                    <a:pt x="1177000" y="152206"/>
                    <a:pt x="1174406" y="143846"/>
                    <a:pt x="1169361" y="137504"/>
                  </a:cubicBezTo>
                  <a:cubicBezTo>
                    <a:pt x="1164316" y="131162"/>
                    <a:pt x="1156677" y="127991"/>
                    <a:pt x="1146588" y="127991"/>
                  </a:cubicBezTo>
                  <a:cubicBezTo>
                    <a:pt x="1136498" y="127991"/>
                    <a:pt x="1127850" y="131739"/>
                    <a:pt x="1121653" y="139378"/>
                  </a:cubicBezTo>
                  <a:cubicBezTo>
                    <a:pt x="1115455" y="147017"/>
                    <a:pt x="1112284" y="156962"/>
                    <a:pt x="1112284" y="169069"/>
                  </a:cubicBezTo>
                  <a:lnTo>
                    <a:pt x="1112284" y="276738"/>
                  </a:lnTo>
                  <a:lnTo>
                    <a:pt x="1050306" y="276738"/>
                  </a:lnTo>
                  <a:lnTo>
                    <a:pt x="1050306" y="1874"/>
                  </a:lnTo>
                  <a:close/>
                  <a:moveTo>
                    <a:pt x="1362645" y="282936"/>
                  </a:moveTo>
                  <a:cubicBezTo>
                    <a:pt x="1346935" y="282936"/>
                    <a:pt x="1332665" y="280341"/>
                    <a:pt x="1319837" y="275152"/>
                  </a:cubicBezTo>
                  <a:cubicBezTo>
                    <a:pt x="1307009" y="269963"/>
                    <a:pt x="1296055" y="262757"/>
                    <a:pt x="1286830" y="253388"/>
                  </a:cubicBezTo>
                  <a:cubicBezTo>
                    <a:pt x="1277750" y="244163"/>
                    <a:pt x="1270687" y="233209"/>
                    <a:pt x="1265787" y="220670"/>
                  </a:cubicBezTo>
                  <a:cubicBezTo>
                    <a:pt x="1260886" y="208130"/>
                    <a:pt x="1258292" y="194437"/>
                    <a:pt x="1258292" y="179735"/>
                  </a:cubicBezTo>
                  <a:cubicBezTo>
                    <a:pt x="1258292" y="165034"/>
                    <a:pt x="1260742" y="151341"/>
                    <a:pt x="1265787" y="138801"/>
                  </a:cubicBezTo>
                  <a:cubicBezTo>
                    <a:pt x="1270687" y="126262"/>
                    <a:pt x="1277750" y="115307"/>
                    <a:pt x="1286830" y="106083"/>
                  </a:cubicBezTo>
                  <a:cubicBezTo>
                    <a:pt x="1295911" y="96858"/>
                    <a:pt x="1307009" y="89651"/>
                    <a:pt x="1319837" y="84463"/>
                  </a:cubicBezTo>
                  <a:cubicBezTo>
                    <a:pt x="1332665" y="79274"/>
                    <a:pt x="1346935" y="76679"/>
                    <a:pt x="1362645" y="76679"/>
                  </a:cubicBezTo>
                  <a:cubicBezTo>
                    <a:pt x="1378356" y="76679"/>
                    <a:pt x="1392625" y="79274"/>
                    <a:pt x="1405453" y="84463"/>
                  </a:cubicBezTo>
                  <a:cubicBezTo>
                    <a:pt x="1418281" y="89651"/>
                    <a:pt x="1429235" y="96858"/>
                    <a:pt x="1438171" y="106083"/>
                  </a:cubicBezTo>
                  <a:cubicBezTo>
                    <a:pt x="1447108" y="115307"/>
                    <a:pt x="1454170" y="126262"/>
                    <a:pt x="1459071" y="138801"/>
                  </a:cubicBezTo>
                  <a:cubicBezTo>
                    <a:pt x="1463971" y="151341"/>
                    <a:pt x="1466422" y="165034"/>
                    <a:pt x="1466422" y="179735"/>
                  </a:cubicBezTo>
                  <a:cubicBezTo>
                    <a:pt x="1466422" y="194437"/>
                    <a:pt x="1463971" y="208130"/>
                    <a:pt x="1459071" y="220670"/>
                  </a:cubicBezTo>
                  <a:cubicBezTo>
                    <a:pt x="1454170" y="233209"/>
                    <a:pt x="1447108" y="244163"/>
                    <a:pt x="1438171" y="253388"/>
                  </a:cubicBezTo>
                  <a:cubicBezTo>
                    <a:pt x="1429235" y="262613"/>
                    <a:pt x="1418281" y="269819"/>
                    <a:pt x="1405453" y="275152"/>
                  </a:cubicBezTo>
                  <a:cubicBezTo>
                    <a:pt x="1392625" y="280341"/>
                    <a:pt x="1378356" y="282936"/>
                    <a:pt x="1362645" y="282936"/>
                  </a:cubicBezTo>
                  <a:moveTo>
                    <a:pt x="1362213" y="238830"/>
                  </a:moveTo>
                  <a:cubicBezTo>
                    <a:pt x="1375905" y="238830"/>
                    <a:pt x="1386283" y="233497"/>
                    <a:pt x="1393201" y="222687"/>
                  </a:cubicBezTo>
                  <a:cubicBezTo>
                    <a:pt x="1400264" y="211877"/>
                    <a:pt x="1403723" y="197608"/>
                    <a:pt x="1403723" y="179880"/>
                  </a:cubicBezTo>
                  <a:cubicBezTo>
                    <a:pt x="1403723" y="162151"/>
                    <a:pt x="1400264" y="147738"/>
                    <a:pt x="1393201" y="136928"/>
                  </a:cubicBezTo>
                  <a:cubicBezTo>
                    <a:pt x="1386283" y="125973"/>
                    <a:pt x="1375905" y="120496"/>
                    <a:pt x="1362213" y="120496"/>
                  </a:cubicBezTo>
                  <a:cubicBezTo>
                    <a:pt x="1348520" y="120496"/>
                    <a:pt x="1338286" y="125973"/>
                    <a:pt x="1331368" y="136928"/>
                  </a:cubicBezTo>
                  <a:cubicBezTo>
                    <a:pt x="1324594" y="147882"/>
                    <a:pt x="1321134" y="162151"/>
                    <a:pt x="1321134" y="179880"/>
                  </a:cubicBezTo>
                  <a:cubicBezTo>
                    <a:pt x="1321134" y="197608"/>
                    <a:pt x="1324594" y="211877"/>
                    <a:pt x="1331368" y="222687"/>
                  </a:cubicBezTo>
                  <a:cubicBezTo>
                    <a:pt x="1338286" y="233497"/>
                    <a:pt x="1348520" y="238830"/>
                    <a:pt x="1362213" y="238830"/>
                  </a:cubicBezTo>
                  <a:moveTo>
                    <a:pt x="1554488" y="282647"/>
                  </a:moveTo>
                  <a:cubicBezTo>
                    <a:pt x="1531859" y="282647"/>
                    <a:pt x="1514851" y="276017"/>
                    <a:pt x="1503320" y="262613"/>
                  </a:cubicBezTo>
                  <a:cubicBezTo>
                    <a:pt x="1491789" y="249352"/>
                    <a:pt x="1486024" y="231768"/>
                    <a:pt x="1486024" y="209859"/>
                  </a:cubicBezTo>
                  <a:lnTo>
                    <a:pt x="1486024" y="82012"/>
                  </a:lnTo>
                  <a:lnTo>
                    <a:pt x="1547713" y="82012"/>
                  </a:lnTo>
                  <a:lnTo>
                    <a:pt x="1547713" y="197032"/>
                  </a:lnTo>
                  <a:cubicBezTo>
                    <a:pt x="1547713" y="207697"/>
                    <a:pt x="1550164" y="215913"/>
                    <a:pt x="1554920" y="221534"/>
                  </a:cubicBezTo>
                  <a:cubicBezTo>
                    <a:pt x="1559677" y="227300"/>
                    <a:pt x="1567172" y="230038"/>
                    <a:pt x="1576973" y="230038"/>
                  </a:cubicBezTo>
                  <a:cubicBezTo>
                    <a:pt x="1587639" y="230038"/>
                    <a:pt x="1595998" y="226435"/>
                    <a:pt x="1602052" y="219228"/>
                  </a:cubicBezTo>
                  <a:cubicBezTo>
                    <a:pt x="1608106" y="212021"/>
                    <a:pt x="1611132" y="202509"/>
                    <a:pt x="1611132" y="190834"/>
                  </a:cubicBezTo>
                  <a:lnTo>
                    <a:pt x="1611132" y="82012"/>
                  </a:lnTo>
                  <a:lnTo>
                    <a:pt x="1673110" y="82012"/>
                  </a:lnTo>
                  <a:lnTo>
                    <a:pt x="1673110" y="276882"/>
                  </a:lnTo>
                  <a:lnTo>
                    <a:pt x="1613727" y="276882"/>
                  </a:lnTo>
                  <a:lnTo>
                    <a:pt x="1613727" y="252956"/>
                  </a:lnTo>
                  <a:lnTo>
                    <a:pt x="1612574" y="252956"/>
                  </a:lnTo>
                  <a:cubicBezTo>
                    <a:pt x="1605511" y="262613"/>
                    <a:pt x="1597440" y="269963"/>
                    <a:pt x="1588359" y="275008"/>
                  </a:cubicBezTo>
                  <a:cubicBezTo>
                    <a:pt x="1579423" y="280053"/>
                    <a:pt x="1568036" y="282647"/>
                    <a:pt x="1554344" y="282647"/>
                  </a:cubicBezTo>
                  <a:moveTo>
                    <a:pt x="1789571" y="283080"/>
                  </a:moveTo>
                  <a:cubicBezTo>
                    <a:pt x="1760888" y="283080"/>
                    <a:pt x="1738259" y="276882"/>
                    <a:pt x="1721395" y="264630"/>
                  </a:cubicBezTo>
                  <a:cubicBezTo>
                    <a:pt x="1704676" y="252379"/>
                    <a:pt x="1695739" y="235371"/>
                    <a:pt x="1694730" y="213751"/>
                  </a:cubicBezTo>
                  <a:lnTo>
                    <a:pt x="1753393" y="213751"/>
                  </a:lnTo>
                  <a:cubicBezTo>
                    <a:pt x="1754690" y="223408"/>
                    <a:pt x="1758294" y="230615"/>
                    <a:pt x="1764491" y="235515"/>
                  </a:cubicBezTo>
                  <a:cubicBezTo>
                    <a:pt x="1770545" y="240272"/>
                    <a:pt x="1778761" y="242722"/>
                    <a:pt x="1789282" y="242722"/>
                  </a:cubicBezTo>
                  <a:cubicBezTo>
                    <a:pt x="1798651" y="242722"/>
                    <a:pt x="1806146" y="241137"/>
                    <a:pt x="1811479" y="237821"/>
                  </a:cubicBezTo>
                  <a:cubicBezTo>
                    <a:pt x="1816956" y="234506"/>
                    <a:pt x="1819695" y="229750"/>
                    <a:pt x="1819695" y="223408"/>
                  </a:cubicBezTo>
                  <a:cubicBezTo>
                    <a:pt x="1819695" y="219084"/>
                    <a:pt x="1818253" y="215625"/>
                    <a:pt x="1815515" y="212886"/>
                  </a:cubicBezTo>
                  <a:cubicBezTo>
                    <a:pt x="1812776" y="210292"/>
                    <a:pt x="1809029" y="208130"/>
                    <a:pt x="1804416" y="206400"/>
                  </a:cubicBezTo>
                  <a:cubicBezTo>
                    <a:pt x="1799804" y="204815"/>
                    <a:pt x="1794615" y="203518"/>
                    <a:pt x="1788562" y="202653"/>
                  </a:cubicBezTo>
                  <a:cubicBezTo>
                    <a:pt x="1782652" y="201788"/>
                    <a:pt x="1776454" y="200635"/>
                    <a:pt x="1770112" y="199482"/>
                  </a:cubicBezTo>
                  <a:cubicBezTo>
                    <a:pt x="1761753" y="197896"/>
                    <a:pt x="1753393" y="196167"/>
                    <a:pt x="1745033" y="194005"/>
                  </a:cubicBezTo>
                  <a:cubicBezTo>
                    <a:pt x="1736673" y="191843"/>
                    <a:pt x="1729178" y="188672"/>
                    <a:pt x="1722404" y="184348"/>
                  </a:cubicBezTo>
                  <a:cubicBezTo>
                    <a:pt x="1715630" y="180024"/>
                    <a:pt x="1710297" y="174258"/>
                    <a:pt x="1706261" y="167052"/>
                  </a:cubicBezTo>
                  <a:cubicBezTo>
                    <a:pt x="1702225" y="159845"/>
                    <a:pt x="1700207" y="150476"/>
                    <a:pt x="1700207" y="139090"/>
                  </a:cubicBezTo>
                  <a:cubicBezTo>
                    <a:pt x="1700207" y="129000"/>
                    <a:pt x="1702369" y="119920"/>
                    <a:pt x="1706837" y="111992"/>
                  </a:cubicBezTo>
                  <a:cubicBezTo>
                    <a:pt x="1711306" y="104209"/>
                    <a:pt x="1717359" y="97579"/>
                    <a:pt x="1724999" y="92390"/>
                  </a:cubicBezTo>
                  <a:cubicBezTo>
                    <a:pt x="1732638" y="87201"/>
                    <a:pt x="1741574" y="83310"/>
                    <a:pt x="1751808" y="80571"/>
                  </a:cubicBezTo>
                  <a:cubicBezTo>
                    <a:pt x="1762041" y="77977"/>
                    <a:pt x="1772995" y="76535"/>
                    <a:pt x="1784382" y="76535"/>
                  </a:cubicBezTo>
                  <a:cubicBezTo>
                    <a:pt x="1812056" y="76535"/>
                    <a:pt x="1833243" y="82157"/>
                    <a:pt x="1847945" y="93255"/>
                  </a:cubicBezTo>
                  <a:cubicBezTo>
                    <a:pt x="1862647" y="104353"/>
                    <a:pt x="1870718" y="119631"/>
                    <a:pt x="1872304" y="138945"/>
                  </a:cubicBezTo>
                  <a:lnTo>
                    <a:pt x="1815226" y="138945"/>
                  </a:lnTo>
                  <a:cubicBezTo>
                    <a:pt x="1813929" y="130009"/>
                    <a:pt x="1810614" y="124100"/>
                    <a:pt x="1805137" y="120929"/>
                  </a:cubicBezTo>
                  <a:cubicBezTo>
                    <a:pt x="1799660" y="117758"/>
                    <a:pt x="1792598" y="116172"/>
                    <a:pt x="1783949" y="116172"/>
                  </a:cubicBezTo>
                  <a:cubicBezTo>
                    <a:pt x="1776310" y="116172"/>
                    <a:pt x="1769968" y="117614"/>
                    <a:pt x="1764780" y="120496"/>
                  </a:cubicBezTo>
                  <a:cubicBezTo>
                    <a:pt x="1759591" y="123379"/>
                    <a:pt x="1756996" y="127847"/>
                    <a:pt x="1756996" y="134045"/>
                  </a:cubicBezTo>
                  <a:cubicBezTo>
                    <a:pt x="1756996" y="137648"/>
                    <a:pt x="1758294" y="140387"/>
                    <a:pt x="1760744" y="142405"/>
                  </a:cubicBezTo>
                  <a:cubicBezTo>
                    <a:pt x="1763338" y="144423"/>
                    <a:pt x="1766653" y="146152"/>
                    <a:pt x="1770977" y="147593"/>
                  </a:cubicBezTo>
                  <a:cubicBezTo>
                    <a:pt x="1775301" y="149035"/>
                    <a:pt x="1780346" y="150188"/>
                    <a:pt x="1785967" y="151197"/>
                  </a:cubicBezTo>
                  <a:cubicBezTo>
                    <a:pt x="1791733" y="152206"/>
                    <a:pt x="1797642" y="153215"/>
                    <a:pt x="1803696" y="154224"/>
                  </a:cubicBezTo>
                  <a:cubicBezTo>
                    <a:pt x="1812344" y="155665"/>
                    <a:pt x="1820992" y="157539"/>
                    <a:pt x="1829784" y="159701"/>
                  </a:cubicBezTo>
                  <a:cubicBezTo>
                    <a:pt x="1838576" y="161863"/>
                    <a:pt x="1846504" y="165178"/>
                    <a:pt x="1853710" y="169790"/>
                  </a:cubicBezTo>
                  <a:cubicBezTo>
                    <a:pt x="1860917" y="174402"/>
                    <a:pt x="1866827" y="180456"/>
                    <a:pt x="1871439" y="188239"/>
                  </a:cubicBezTo>
                  <a:cubicBezTo>
                    <a:pt x="1876051" y="196023"/>
                    <a:pt x="1878357" y="206112"/>
                    <a:pt x="1878357" y="218508"/>
                  </a:cubicBezTo>
                  <a:cubicBezTo>
                    <a:pt x="1878357" y="229173"/>
                    <a:pt x="1876051" y="238542"/>
                    <a:pt x="1871727" y="246614"/>
                  </a:cubicBezTo>
                  <a:cubicBezTo>
                    <a:pt x="1867259" y="254685"/>
                    <a:pt x="1861061" y="261460"/>
                    <a:pt x="1853278" y="266792"/>
                  </a:cubicBezTo>
                  <a:cubicBezTo>
                    <a:pt x="1845350" y="272125"/>
                    <a:pt x="1835982" y="276161"/>
                    <a:pt x="1825172" y="279044"/>
                  </a:cubicBezTo>
                  <a:cubicBezTo>
                    <a:pt x="1814218" y="281782"/>
                    <a:pt x="1802399" y="283224"/>
                    <a:pt x="1789715" y="283224"/>
                  </a:cubicBezTo>
                  <a:moveTo>
                    <a:pt x="1999430" y="282791"/>
                  </a:moveTo>
                  <a:cubicBezTo>
                    <a:pt x="1983431" y="282791"/>
                    <a:pt x="1969018" y="280197"/>
                    <a:pt x="1956046" y="275008"/>
                  </a:cubicBezTo>
                  <a:cubicBezTo>
                    <a:pt x="1943073" y="269819"/>
                    <a:pt x="1932263" y="262613"/>
                    <a:pt x="1923327" y="253244"/>
                  </a:cubicBezTo>
                  <a:cubicBezTo>
                    <a:pt x="1914391" y="244019"/>
                    <a:pt x="1907617" y="233065"/>
                    <a:pt x="1902716" y="220381"/>
                  </a:cubicBezTo>
                  <a:cubicBezTo>
                    <a:pt x="1897960" y="207697"/>
                    <a:pt x="1895509" y="194005"/>
                    <a:pt x="1895509" y="179303"/>
                  </a:cubicBezTo>
                  <a:cubicBezTo>
                    <a:pt x="1895509" y="164601"/>
                    <a:pt x="1897960" y="151341"/>
                    <a:pt x="1902716" y="138801"/>
                  </a:cubicBezTo>
                  <a:cubicBezTo>
                    <a:pt x="1907473" y="126262"/>
                    <a:pt x="1914391" y="115307"/>
                    <a:pt x="1923327" y="106083"/>
                  </a:cubicBezTo>
                  <a:cubicBezTo>
                    <a:pt x="1932263" y="96858"/>
                    <a:pt x="1942785" y="89651"/>
                    <a:pt x="1954893" y="84463"/>
                  </a:cubicBezTo>
                  <a:cubicBezTo>
                    <a:pt x="1967144" y="79274"/>
                    <a:pt x="1980693" y="76679"/>
                    <a:pt x="1995683" y="76679"/>
                  </a:cubicBezTo>
                  <a:cubicBezTo>
                    <a:pt x="2009664" y="76679"/>
                    <a:pt x="2022059" y="78841"/>
                    <a:pt x="2033157" y="83165"/>
                  </a:cubicBezTo>
                  <a:cubicBezTo>
                    <a:pt x="2044256" y="87489"/>
                    <a:pt x="2053913" y="93399"/>
                    <a:pt x="2062273" y="101038"/>
                  </a:cubicBezTo>
                  <a:cubicBezTo>
                    <a:pt x="2073947" y="111704"/>
                    <a:pt x="2082596" y="125253"/>
                    <a:pt x="2088361" y="141540"/>
                  </a:cubicBezTo>
                  <a:cubicBezTo>
                    <a:pt x="2094126" y="157971"/>
                    <a:pt x="2096865" y="175988"/>
                    <a:pt x="2096577" y="195734"/>
                  </a:cubicBezTo>
                  <a:lnTo>
                    <a:pt x="1956478" y="195734"/>
                  </a:lnTo>
                  <a:cubicBezTo>
                    <a:pt x="1958496" y="208995"/>
                    <a:pt x="1963108" y="219372"/>
                    <a:pt x="1970171" y="227011"/>
                  </a:cubicBezTo>
                  <a:cubicBezTo>
                    <a:pt x="1977233" y="234651"/>
                    <a:pt x="1987323" y="238398"/>
                    <a:pt x="2000295" y="238398"/>
                  </a:cubicBezTo>
                  <a:cubicBezTo>
                    <a:pt x="2008366" y="238398"/>
                    <a:pt x="2015141" y="236668"/>
                    <a:pt x="2020474" y="233209"/>
                  </a:cubicBezTo>
                  <a:cubicBezTo>
                    <a:pt x="2025807" y="229750"/>
                    <a:pt x="2029842" y="224994"/>
                    <a:pt x="2032725" y="218940"/>
                  </a:cubicBezTo>
                  <a:lnTo>
                    <a:pt x="2093262" y="218940"/>
                  </a:lnTo>
                  <a:cubicBezTo>
                    <a:pt x="2091244" y="227876"/>
                    <a:pt x="2087496" y="236236"/>
                    <a:pt x="2081875" y="244308"/>
                  </a:cubicBezTo>
                  <a:cubicBezTo>
                    <a:pt x="2076254" y="252379"/>
                    <a:pt x="2069191" y="259153"/>
                    <a:pt x="2060543" y="265063"/>
                  </a:cubicBezTo>
                  <a:cubicBezTo>
                    <a:pt x="2052472" y="270972"/>
                    <a:pt x="2043391" y="275296"/>
                    <a:pt x="2033302" y="278323"/>
                  </a:cubicBezTo>
                  <a:cubicBezTo>
                    <a:pt x="2023212" y="281350"/>
                    <a:pt x="2011970" y="282936"/>
                    <a:pt x="1999574" y="282936"/>
                  </a:cubicBezTo>
                  <a:moveTo>
                    <a:pt x="2033878" y="158836"/>
                  </a:moveTo>
                  <a:cubicBezTo>
                    <a:pt x="2032581" y="147161"/>
                    <a:pt x="2028689" y="137936"/>
                    <a:pt x="2022059" y="131018"/>
                  </a:cubicBezTo>
                  <a:cubicBezTo>
                    <a:pt x="2015429" y="124244"/>
                    <a:pt x="2007069" y="120784"/>
                    <a:pt x="1996980" y="120784"/>
                  </a:cubicBezTo>
                  <a:cubicBezTo>
                    <a:pt x="1985017" y="120784"/>
                    <a:pt x="1975936" y="124244"/>
                    <a:pt x="1969594" y="131018"/>
                  </a:cubicBezTo>
                  <a:cubicBezTo>
                    <a:pt x="1963252" y="137936"/>
                    <a:pt x="1959072" y="147161"/>
                    <a:pt x="1957055" y="158836"/>
                  </a:cubicBezTo>
                  <a:lnTo>
                    <a:pt x="2033878" y="158836"/>
                  </a:lnTo>
                  <a:close/>
                </a:path>
              </a:pathLst>
            </a:custGeom>
            <a:solidFill>
              <a:srgbClr val="000000"/>
            </a:solidFill>
            <a:ln w="0"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15457261-1C34-087B-4575-1B5E779EBBAB}"/>
                </a:ext>
              </a:extLst>
            </p:cNvPr>
            <p:cNvSpPr/>
            <p:nvPr/>
          </p:nvSpPr>
          <p:spPr>
            <a:xfrm>
              <a:off x="882878" y="557212"/>
              <a:ext cx="273278" cy="674980"/>
            </a:xfrm>
            <a:custGeom>
              <a:avLst/>
              <a:gdLst>
                <a:gd name="connsiteX0" fmla="*/ 0 w 273278"/>
                <a:gd name="connsiteY0" fmla="*/ 0 h 674980"/>
                <a:gd name="connsiteX1" fmla="*/ 0 w 273278"/>
                <a:gd name="connsiteY1" fmla="*/ 476508 h 674980"/>
                <a:gd name="connsiteX2" fmla="*/ 272558 w 273278"/>
                <a:gd name="connsiteY2" fmla="*/ 674981 h 674980"/>
                <a:gd name="connsiteX3" fmla="*/ 273278 w 273278"/>
                <a:gd name="connsiteY3" fmla="*/ 674260 h 674980"/>
                <a:gd name="connsiteX4" fmla="*/ 0 w 273278"/>
                <a:gd name="connsiteY4" fmla="*/ 0 h 674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980">
                  <a:moveTo>
                    <a:pt x="0" y="0"/>
                  </a:moveTo>
                  <a:lnTo>
                    <a:pt x="0" y="476508"/>
                  </a:lnTo>
                  <a:lnTo>
                    <a:pt x="272558" y="674981"/>
                  </a:lnTo>
                  <a:cubicBezTo>
                    <a:pt x="272558" y="674981"/>
                    <a:pt x="273134" y="674404"/>
                    <a:pt x="273278" y="674260"/>
                  </a:cubicBezTo>
                  <a:lnTo>
                    <a:pt x="0" y="0"/>
                  </a:lnTo>
                  <a:close/>
                </a:path>
              </a:pathLst>
            </a:custGeom>
            <a:solidFill>
              <a:srgbClr val="93D500"/>
            </a:solidFill>
            <a:ln w="0"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CDB77CD-C5E1-9227-DF1A-82C8E96E04A3}"/>
                </a:ext>
              </a:extLst>
            </p:cNvPr>
            <p:cNvSpPr/>
            <p:nvPr/>
          </p:nvSpPr>
          <p:spPr>
            <a:xfrm>
              <a:off x="609600" y="557212"/>
              <a:ext cx="273278" cy="674836"/>
            </a:xfrm>
            <a:custGeom>
              <a:avLst/>
              <a:gdLst>
                <a:gd name="connsiteX0" fmla="*/ 0 w 273278"/>
                <a:gd name="connsiteY0" fmla="*/ 674116 h 674836"/>
                <a:gd name="connsiteX1" fmla="*/ 721 w 273278"/>
                <a:gd name="connsiteY1" fmla="*/ 674837 h 674836"/>
                <a:gd name="connsiteX2" fmla="*/ 273278 w 273278"/>
                <a:gd name="connsiteY2" fmla="*/ 476364 h 674836"/>
                <a:gd name="connsiteX3" fmla="*/ 273278 w 273278"/>
                <a:gd name="connsiteY3" fmla="*/ 0 h 674836"/>
                <a:gd name="connsiteX4" fmla="*/ 0 w 273278"/>
                <a:gd name="connsiteY4" fmla="*/ 674116 h 674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836">
                  <a:moveTo>
                    <a:pt x="0" y="674116"/>
                  </a:moveTo>
                  <a:cubicBezTo>
                    <a:pt x="0" y="674116"/>
                    <a:pt x="577" y="674692"/>
                    <a:pt x="721" y="674837"/>
                  </a:cubicBezTo>
                  <a:lnTo>
                    <a:pt x="273278" y="476364"/>
                  </a:lnTo>
                  <a:lnTo>
                    <a:pt x="273278" y="0"/>
                  </a:lnTo>
                  <a:lnTo>
                    <a:pt x="0" y="674116"/>
                  </a:lnTo>
                  <a:close/>
                </a:path>
              </a:pathLst>
            </a:custGeom>
            <a:solidFill>
              <a:srgbClr val="000000"/>
            </a:solidFill>
            <a:ln w="0" cap="flat">
              <a:noFill/>
              <a:prstDash val="solid"/>
              <a:miter/>
            </a:ln>
          </p:spPr>
          <p:txBody>
            <a:bodyPr rtlCol="0" anchor="ctr"/>
            <a:lstStyle/>
            <a:p>
              <a:endParaRPr lang="en-US" dirty="0"/>
            </a:p>
          </p:txBody>
        </p:sp>
      </p:grpSp>
      <p:pic>
        <p:nvPicPr>
          <p:cNvPr id="6" name="Graphic 5">
            <a:extLst>
              <a:ext uri="{FF2B5EF4-FFF2-40B4-BE49-F238E27FC236}">
                <a16:creationId xmlns:a16="http://schemas.microsoft.com/office/drawing/2014/main" id="{0DBEBFD3-3735-BFC8-D7E6-A618637D48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cxnSp>
        <p:nvCxnSpPr>
          <p:cNvPr id="7" name="Straight Connector 6">
            <a:extLst>
              <a:ext uri="{FF2B5EF4-FFF2-40B4-BE49-F238E27FC236}">
                <a16:creationId xmlns:a16="http://schemas.microsoft.com/office/drawing/2014/main" id="{C6D9E022-BE89-FB15-252F-12F87B4655DB}"/>
              </a:ext>
            </a:extLst>
          </p:cNvPr>
          <p:cNvCxnSpPr>
            <a:cxnSpLocks noGrp="1" noRot="1" noMove="1" noResize="1" noEditPoints="1" noAdjustHandles="1" noChangeArrowheads="1" noChangeShapeType="1"/>
          </p:cNvCxnSpPr>
          <p:nvPr userDrawn="1"/>
        </p:nvCxnSpPr>
        <p:spPr>
          <a:xfrm>
            <a:off x="8802624" y="3730948"/>
            <a:ext cx="268833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 name="Picture 13" descr="A green and black triangle&#10;&#10;Description automatically generated">
            <a:extLst>
              <a:ext uri="{FF2B5EF4-FFF2-40B4-BE49-F238E27FC236}">
                <a16:creationId xmlns:a16="http://schemas.microsoft.com/office/drawing/2014/main" id="{A86F892C-2F81-39A8-7421-B03C5A21711B}"/>
              </a:ext>
            </a:extLst>
          </p:cNvPr>
          <p:cNvPicPr>
            <a:picLocks noGrp="1" noRot="1" noChangeAspect="1" noMove="1" noResize="1" noEditPoints="1" noAdjustHandles="1" noChangeArrowheads="1" noChangeShapeType="1" noCrop="1"/>
          </p:cNvPicPr>
          <p:nvPr userDrawn="1"/>
        </p:nvPicPr>
        <p:blipFill>
          <a:blip r:embed="rId4">
            <a:extLst>
              <a:ext uri="{28A0092B-C50C-407E-A947-70E740481C1C}">
                <a14:useLocalDpi xmlns:a14="http://schemas.microsoft.com/office/drawing/2010/main" val="0"/>
              </a:ext>
            </a:extLst>
          </a:blip>
          <a:stretch>
            <a:fillRect/>
          </a:stretch>
        </p:blipFill>
        <p:spPr>
          <a:xfrm>
            <a:off x="3370432" y="0"/>
            <a:ext cx="5577121" cy="6858000"/>
          </a:xfrm>
          <a:prstGeom prst="rect">
            <a:avLst/>
          </a:prstGeom>
        </p:spPr>
      </p:pic>
      <p:sp>
        <p:nvSpPr>
          <p:cNvPr id="12" name="TextBox 11">
            <a:extLst>
              <a:ext uri="{FF2B5EF4-FFF2-40B4-BE49-F238E27FC236}">
                <a16:creationId xmlns:a16="http://schemas.microsoft.com/office/drawing/2014/main" id="{3DC0E9AD-7754-6000-D95A-ABDACDA8FEC3}"/>
              </a:ext>
            </a:extLst>
          </p:cNvPr>
          <p:cNvSpPr txBox="1">
            <a:spLocks noGrp="1" noRot="1" noMove="1" noResize="1" noEditPoints="1" noAdjustHandles="1" noChangeArrowheads="1" noChangeShapeType="1"/>
          </p:cNvSpPr>
          <p:nvPr userDrawn="1"/>
        </p:nvSpPr>
        <p:spPr>
          <a:xfrm>
            <a:off x="8710864" y="3962402"/>
            <a:ext cx="3092116" cy="1200329"/>
          </a:xfrm>
          <a:prstGeom prst="rect">
            <a:avLst/>
          </a:prstGeom>
          <a:noFill/>
        </p:spPr>
        <p:txBody>
          <a:bodyPr wrap="square" rtlCol="0">
            <a:spAutoFit/>
          </a:bodyPr>
          <a:lstStyle/>
          <a:p>
            <a:pPr algn="l"/>
            <a:r>
              <a:rPr lang="en-US" sz="1800" dirty="0"/>
              <a:t>To earn a seat at the table for our clients’ most complex issues, creating meaningful opportunities and impact.</a:t>
            </a:r>
          </a:p>
        </p:txBody>
      </p:sp>
      <p:sp>
        <p:nvSpPr>
          <p:cNvPr id="13" name="TextBox 12">
            <a:extLst>
              <a:ext uri="{FF2B5EF4-FFF2-40B4-BE49-F238E27FC236}">
                <a16:creationId xmlns:a16="http://schemas.microsoft.com/office/drawing/2014/main" id="{ACFBA21A-B743-3338-65FE-BEC48305E79C}"/>
              </a:ext>
            </a:extLst>
          </p:cNvPr>
          <p:cNvSpPr txBox="1">
            <a:spLocks noGrp="1" noRot="1" noMove="1" noResize="1" noEditPoints="1" noAdjustHandles="1" noChangeArrowheads="1" noChangeShapeType="1"/>
          </p:cNvSpPr>
          <p:nvPr userDrawn="1"/>
        </p:nvSpPr>
        <p:spPr>
          <a:xfrm>
            <a:off x="517358" y="3962402"/>
            <a:ext cx="3092116" cy="923330"/>
          </a:xfrm>
          <a:prstGeom prst="rect">
            <a:avLst/>
          </a:prstGeom>
          <a:noFill/>
        </p:spPr>
        <p:txBody>
          <a:bodyPr wrap="square" rtlCol="0">
            <a:spAutoFit/>
          </a:bodyPr>
          <a:lstStyle/>
          <a:p>
            <a:pPr marL="0" lvl="1" indent="0"/>
            <a:r>
              <a:rPr lang="en-US" sz="1800" dirty="0"/>
              <a:t>To solve big problems, build trust in society, and empower clients to shape the future.</a:t>
            </a:r>
          </a:p>
        </p:txBody>
      </p:sp>
    </p:spTree>
    <p:extLst>
      <p:ext uri="{BB962C8B-B14F-4D97-AF65-F5344CB8AC3E}">
        <p14:creationId xmlns:p14="http://schemas.microsoft.com/office/powerpoint/2010/main" val="288194142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1 with Image - Light">
    <p:bg>
      <p:bgPr>
        <a:solidFill>
          <a:schemeClr val="bg2"/>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cxnSp>
        <p:nvCxnSpPr>
          <p:cNvPr id="3" name="Straight Connector 2">
            <a:extLst>
              <a:ext uri="{FF2B5EF4-FFF2-40B4-BE49-F238E27FC236}">
                <a16:creationId xmlns:a16="http://schemas.microsoft.com/office/drawing/2014/main" id="{D4CCA385-BADC-9412-0D5E-D86D6665ADB9}"/>
              </a:ext>
            </a:extLst>
          </p:cNvPr>
          <p:cNvCxnSpPr>
            <a:cxnSpLocks/>
          </p:cNvCxnSpPr>
          <p:nvPr/>
        </p:nvCxnSpPr>
        <p:spPr>
          <a:xfrm>
            <a:off x="609600" y="4594548"/>
            <a:ext cx="537667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5" name="Graphic 3">
            <a:extLst>
              <a:ext uri="{FF2B5EF4-FFF2-40B4-BE49-F238E27FC236}">
                <a16:creationId xmlns:a16="http://schemas.microsoft.com/office/drawing/2014/main" id="{B3F109DD-32AE-D92D-4621-BF43B58FB4A1}"/>
              </a:ext>
            </a:extLst>
          </p:cNvPr>
          <p:cNvGrpSpPr>
            <a:grpSpLocks noChangeAspect="1"/>
          </p:cNvGrpSpPr>
          <p:nvPr/>
        </p:nvGrpSpPr>
        <p:grpSpPr>
          <a:xfrm>
            <a:off x="609600" y="557212"/>
            <a:ext cx="1734668" cy="438912"/>
            <a:chOff x="609600" y="557212"/>
            <a:chExt cx="2667656" cy="674980"/>
          </a:xfrm>
        </p:grpSpPr>
        <p:sp>
          <p:nvSpPr>
            <p:cNvPr id="36" name="Freeform: Shape 35">
              <a:extLst>
                <a:ext uri="{FF2B5EF4-FFF2-40B4-BE49-F238E27FC236}">
                  <a16:creationId xmlns:a16="http://schemas.microsoft.com/office/drawing/2014/main" id="{8BF33003-98EC-AC6E-F2E8-D433A9977017}"/>
                </a:ext>
              </a:extLst>
            </p:cNvPr>
            <p:cNvSpPr/>
            <p:nvPr/>
          </p:nvSpPr>
          <p:spPr>
            <a:xfrm>
              <a:off x="1180659" y="790421"/>
              <a:ext cx="2096597" cy="283512"/>
            </a:xfrm>
            <a:custGeom>
              <a:avLst/>
              <a:gdLst>
                <a:gd name="connsiteX0" fmla="*/ 129433 w 2096597"/>
                <a:gd name="connsiteY0" fmla="*/ 283512 h 283512"/>
                <a:gd name="connsiteX1" fmla="*/ 76968 w 2096597"/>
                <a:gd name="connsiteY1" fmla="*/ 273567 h 283512"/>
                <a:gd name="connsiteX2" fmla="*/ 36610 w 2096597"/>
                <a:gd name="connsiteY2" fmla="*/ 245461 h 283512"/>
                <a:gd name="connsiteX3" fmla="*/ 9369 w 2096597"/>
                <a:gd name="connsiteY3" fmla="*/ 199770 h 283512"/>
                <a:gd name="connsiteX4" fmla="*/ 0 w 2096597"/>
                <a:gd name="connsiteY4" fmla="*/ 142260 h 283512"/>
                <a:gd name="connsiteX5" fmla="*/ 10522 w 2096597"/>
                <a:gd name="connsiteY5" fmla="*/ 82733 h 283512"/>
                <a:gd name="connsiteX6" fmla="*/ 40358 w 2096597"/>
                <a:gd name="connsiteY6" fmla="*/ 36178 h 283512"/>
                <a:gd name="connsiteX7" fmla="*/ 80715 w 2096597"/>
                <a:gd name="connsiteY7" fmla="*/ 9513 h 283512"/>
                <a:gd name="connsiteX8" fmla="*/ 133612 w 2096597"/>
                <a:gd name="connsiteY8" fmla="*/ 0 h 283512"/>
                <a:gd name="connsiteX9" fmla="*/ 180744 w 2096597"/>
                <a:gd name="connsiteY9" fmla="*/ 6630 h 283512"/>
                <a:gd name="connsiteX10" fmla="*/ 216922 w 2096597"/>
                <a:gd name="connsiteY10" fmla="*/ 25656 h 283512"/>
                <a:gd name="connsiteX11" fmla="*/ 241425 w 2096597"/>
                <a:gd name="connsiteY11" fmla="*/ 55492 h 283512"/>
                <a:gd name="connsiteX12" fmla="*/ 254109 w 2096597"/>
                <a:gd name="connsiteY12" fmla="*/ 94264 h 283512"/>
                <a:gd name="connsiteX13" fmla="*/ 188672 w 2096597"/>
                <a:gd name="connsiteY13" fmla="*/ 94264 h 283512"/>
                <a:gd name="connsiteX14" fmla="*/ 171520 w 2096597"/>
                <a:gd name="connsiteY14" fmla="*/ 66446 h 283512"/>
                <a:gd name="connsiteX15" fmla="*/ 135774 w 2096597"/>
                <a:gd name="connsiteY15" fmla="*/ 55348 h 283512"/>
                <a:gd name="connsiteX16" fmla="*/ 106227 w 2096597"/>
                <a:gd name="connsiteY16" fmla="*/ 61978 h 283512"/>
                <a:gd name="connsiteX17" fmla="*/ 85039 w 2096597"/>
                <a:gd name="connsiteY17" fmla="*/ 80283 h 283512"/>
                <a:gd name="connsiteX18" fmla="*/ 72500 w 2096597"/>
                <a:gd name="connsiteY18" fmla="*/ 107668 h 283512"/>
                <a:gd name="connsiteX19" fmla="*/ 68320 w 2096597"/>
                <a:gd name="connsiteY19" fmla="*/ 142116 h 283512"/>
                <a:gd name="connsiteX20" fmla="*/ 73076 w 2096597"/>
                <a:gd name="connsiteY20" fmla="*/ 176709 h 283512"/>
                <a:gd name="connsiteX21" fmla="*/ 86625 w 2096597"/>
                <a:gd name="connsiteY21" fmla="*/ 204238 h 283512"/>
                <a:gd name="connsiteX22" fmla="*/ 108101 w 2096597"/>
                <a:gd name="connsiteY22" fmla="*/ 222255 h 283512"/>
                <a:gd name="connsiteX23" fmla="*/ 136783 w 2096597"/>
                <a:gd name="connsiteY23" fmla="*/ 228741 h 283512"/>
                <a:gd name="connsiteX24" fmla="*/ 160566 w 2096597"/>
                <a:gd name="connsiteY24" fmla="*/ 224705 h 283512"/>
                <a:gd name="connsiteX25" fmla="*/ 178438 w 2096597"/>
                <a:gd name="connsiteY25" fmla="*/ 214039 h 283512"/>
                <a:gd name="connsiteX26" fmla="*/ 190257 w 2096597"/>
                <a:gd name="connsiteY26" fmla="*/ 198761 h 283512"/>
                <a:gd name="connsiteX27" fmla="*/ 195734 w 2096597"/>
                <a:gd name="connsiteY27" fmla="*/ 181033 h 283512"/>
                <a:gd name="connsiteX28" fmla="*/ 195734 w 2096597"/>
                <a:gd name="connsiteY28" fmla="*/ 180312 h 283512"/>
                <a:gd name="connsiteX29" fmla="*/ 144711 w 2096597"/>
                <a:gd name="connsiteY29" fmla="*/ 180312 h 283512"/>
                <a:gd name="connsiteX30" fmla="*/ 144711 w 2096597"/>
                <a:gd name="connsiteY30" fmla="*/ 130874 h 283512"/>
                <a:gd name="connsiteX31" fmla="*/ 258144 w 2096597"/>
                <a:gd name="connsiteY31" fmla="*/ 130874 h 283512"/>
                <a:gd name="connsiteX32" fmla="*/ 258144 w 2096597"/>
                <a:gd name="connsiteY32" fmla="*/ 277026 h 283512"/>
                <a:gd name="connsiteX33" fmla="*/ 211013 w 2096597"/>
                <a:gd name="connsiteY33" fmla="*/ 277026 h 283512"/>
                <a:gd name="connsiteX34" fmla="*/ 207265 w 2096597"/>
                <a:gd name="connsiteY34" fmla="*/ 244308 h 283512"/>
                <a:gd name="connsiteX35" fmla="*/ 206544 w 2096597"/>
                <a:gd name="connsiteY35" fmla="*/ 244308 h 283512"/>
                <a:gd name="connsiteX36" fmla="*/ 173682 w 2096597"/>
                <a:gd name="connsiteY36" fmla="*/ 274143 h 283512"/>
                <a:gd name="connsiteX37" fmla="*/ 129288 w 2096597"/>
                <a:gd name="connsiteY37" fmla="*/ 283080 h 283512"/>
                <a:gd name="connsiteX38" fmla="*/ 358029 w 2096597"/>
                <a:gd name="connsiteY38" fmla="*/ 282647 h 283512"/>
                <a:gd name="connsiteX39" fmla="*/ 306862 w 2096597"/>
                <a:gd name="connsiteY39" fmla="*/ 262613 h 283512"/>
                <a:gd name="connsiteX40" fmla="*/ 289566 w 2096597"/>
                <a:gd name="connsiteY40" fmla="*/ 209859 h 283512"/>
                <a:gd name="connsiteX41" fmla="*/ 289566 w 2096597"/>
                <a:gd name="connsiteY41" fmla="*/ 82012 h 283512"/>
                <a:gd name="connsiteX42" fmla="*/ 351255 w 2096597"/>
                <a:gd name="connsiteY42" fmla="*/ 82012 h 283512"/>
                <a:gd name="connsiteX43" fmla="*/ 351255 w 2096597"/>
                <a:gd name="connsiteY43" fmla="*/ 197032 h 283512"/>
                <a:gd name="connsiteX44" fmla="*/ 358462 w 2096597"/>
                <a:gd name="connsiteY44" fmla="*/ 221534 h 283512"/>
                <a:gd name="connsiteX45" fmla="*/ 380514 w 2096597"/>
                <a:gd name="connsiteY45" fmla="*/ 230038 h 283512"/>
                <a:gd name="connsiteX46" fmla="*/ 405594 w 2096597"/>
                <a:gd name="connsiteY46" fmla="*/ 219228 h 283512"/>
                <a:gd name="connsiteX47" fmla="*/ 414674 w 2096597"/>
                <a:gd name="connsiteY47" fmla="*/ 190834 h 283512"/>
                <a:gd name="connsiteX48" fmla="*/ 414674 w 2096597"/>
                <a:gd name="connsiteY48" fmla="*/ 82012 h 283512"/>
                <a:gd name="connsiteX49" fmla="*/ 476652 w 2096597"/>
                <a:gd name="connsiteY49" fmla="*/ 82012 h 283512"/>
                <a:gd name="connsiteX50" fmla="*/ 476652 w 2096597"/>
                <a:gd name="connsiteY50" fmla="*/ 276882 h 283512"/>
                <a:gd name="connsiteX51" fmla="*/ 417269 w 2096597"/>
                <a:gd name="connsiteY51" fmla="*/ 276882 h 283512"/>
                <a:gd name="connsiteX52" fmla="*/ 417269 w 2096597"/>
                <a:gd name="connsiteY52" fmla="*/ 252956 h 283512"/>
                <a:gd name="connsiteX53" fmla="*/ 416116 w 2096597"/>
                <a:gd name="connsiteY53" fmla="*/ 252956 h 283512"/>
                <a:gd name="connsiteX54" fmla="*/ 391901 w 2096597"/>
                <a:gd name="connsiteY54" fmla="*/ 275008 h 283512"/>
                <a:gd name="connsiteX55" fmla="*/ 357885 w 2096597"/>
                <a:gd name="connsiteY55" fmla="*/ 282647 h 283512"/>
                <a:gd name="connsiteX56" fmla="*/ 511965 w 2096597"/>
                <a:gd name="connsiteY56" fmla="*/ 2162 h 283512"/>
                <a:gd name="connsiteX57" fmla="*/ 573943 w 2096597"/>
                <a:gd name="connsiteY57" fmla="*/ 2162 h 283512"/>
                <a:gd name="connsiteX58" fmla="*/ 573943 w 2096597"/>
                <a:gd name="connsiteY58" fmla="*/ 55059 h 283512"/>
                <a:gd name="connsiteX59" fmla="*/ 511965 w 2096597"/>
                <a:gd name="connsiteY59" fmla="*/ 55059 h 283512"/>
                <a:gd name="connsiteX60" fmla="*/ 511965 w 2096597"/>
                <a:gd name="connsiteY60" fmla="*/ 2162 h 283512"/>
                <a:gd name="connsiteX61" fmla="*/ 511965 w 2096597"/>
                <a:gd name="connsiteY61" fmla="*/ 82012 h 283512"/>
                <a:gd name="connsiteX62" fmla="*/ 573943 w 2096597"/>
                <a:gd name="connsiteY62" fmla="*/ 82012 h 283512"/>
                <a:gd name="connsiteX63" fmla="*/ 573943 w 2096597"/>
                <a:gd name="connsiteY63" fmla="*/ 276882 h 283512"/>
                <a:gd name="connsiteX64" fmla="*/ 511965 w 2096597"/>
                <a:gd name="connsiteY64" fmla="*/ 276882 h 283512"/>
                <a:gd name="connsiteX65" fmla="*/ 511965 w 2096597"/>
                <a:gd name="connsiteY65" fmla="*/ 82012 h 283512"/>
                <a:gd name="connsiteX66" fmla="*/ 685935 w 2096597"/>
                <a:gd name="connsiteY66" fmla="*/ 282936 h 283512"/>
                <a:gd name="connsiteX67" fmla="*/ 651631 w 2096597"/>
                <a:gd name="connsiteY67" fmla="*/ 275873 h 283512"/>
                <a:gd name="connsiteX68" fmla="*/ 624678 w 2096597"/>
                <a:gd name="connsiteY68" fmla="*/ 255550 h 283512"/>
                <a:gd name="connsiteX69" fmla="*/ 606949 w 2096597"/>
                <a:gd name="connsiteY69" fmla="*/ 222976 h 283512"/>
                <a:gd name="connsiteX70" fmla="*/ 600607 w 2096597"/>
                <a:gd name="connsiteY70" fmla="*/ 179447 h 283512"/>
                <a:gd name="connsiteX71" fmla="*/ 606949 w 2096597"/>
                <a:gd name="connsiteY71" fmla="*/ 137504 h 283512"/>
                <a:gd name="connsiteX72" fmla="*/ 624390 w 2096597"/>
                <a:gd name="connsiteY72" fmla="*/ 104930 h 283512"/>
                <a:gd name="connsiteX73" fmla="*/ 651199 w 2096597"/>
                <a:gd name="connsiteY73" fmla="*/ 83742 h 283512"/>
                <a:gd name="connsiteX74" fmla="*/ 685791 w 2096597"/>
                <a:gd name="connsiteY74" fmla="*/ 76103 h 283512"/>
                <a:gd name="connsiteX75" fmla="*/ 718942 w 2096597"/>
                <a:gd name="connsiteY75" fmla="*/ 83886 h 283512"/>
                <a:gd name="connsiteX76" fmla="*/ 740273 w 2096597"/>
                <a:gd name="connsiteY76" fmla="*/ 103921 h 283512"/>
                <a:gd name="connsiteX77" fmla="*/ 741426 w 2096597"/>
                <a:gd name="connsiteY77" fmla="*/ 103921 h 283512"/>
                <a:gd name="connsiteX78" fmla="*/ 741426 w 2096597"/>
                <a:gd name="connsiteY78" fmla="*/ 1874 h 283512"/>
                <a:gd name="connsiteX79" fmla="*/ 803404 w 2096597"/>
                <a:gd name="connsiteY79" fmla="*/ 1874 h 283512"/>
                <a:gd name="connsiteX80" fmla="*/ 803404 w 2096597"/>
                <a:gd name="connsiteY80" fmla="*/ 276738 h 283512"/>
                <a:gd name="connsiteX81" fmla="*/ 744021 w 2096597"/>
                <a:gd name="connsiteY81" fmla="*/ 276738 h 283512"/>
                <a:gd name="connsiteX82" fmla="*/ 744021 w 2096597"/>
                <a:gd name="connsiteY82" fmla="*/ 250505 h 283512"/>
                <a:gd name="connsiteX83" fmla="*/ 743300 w 2096597"/>
                <a:gd name="connsiteY83" fmla="*/ 250505 h 283512"/>
                <a:gd name="connsiteX84" fmla="*/ 719951 w 2096597"/>
                <a:gd name="connsiteY84" fmla="*/ 274287 h 283512"/>
                <a:gd name="connsiteX85" fmla="*/ 685935 w 2096597"/>
                <a:gd name="connsiteY85" fmla="*/ 282791 h 283512"/>
                <a:gd name="connsiteX86" fmla="*/ 701934 w 2096597"/>
                <a:gd name="connsiteY86" fmla="*/ 233642 h 283512"/>
                <a:gd name="connsiteX87" fmla="*/ 732202 w 2096597"/>
                <a:gd name="connsiteY87" fmla="*/ 218363 h 283512"/>
                <a:gd name="connsiteX88" fmla="*/ 743012 w 2096597"/>
                <a:gd name="connsiteY88" fmla="*/ 179159 h 283512"/>
                <a:gd name="connsiteX89" fmla="*/ 740562 w 2096597"/>
                <a:gd name="connsiteY89" fmla="*/ 156530 h 283512"/>
                <a:gd name="connsiteX90" fmla="*/ 732923 w 2096597"/>
                <a:gd name="connsiteY90" fmla="*/ 138657 h 283512"/>
                <a:gd name="connsiteX91" fmla="*/ 720383 w 2096597"/>
                <a:gd name="connsiteY91" fmla="*/ 126982 h 283512"/>
                <a:gd name="connsiteX92" fmla="*/ 702654 w 2096597"/>
                <a:gd name="connsiteY92" fmla="*/ 122802 h 283512"/>
                <a:gd name="connsiteX93" fmla="*/ 673683 w 2096597"/>
                <a:gd name="connsiteY93" fmla="*/ 138225 h 283512"/>
                <a:gd name="connsiteX94" fmla="*/ 663450 w 2096597"/>
                <a:gd name="connsiteY94" fmla="*/ 178438 h 283512"/>
                <a:gd name="connsiteX95" fmla="*/ 673539 w 2096597"/>
                <a:gd name="connsiteY95" fmla="*/ 218796 h 283512"/>
                <a:gd name="connsiteX96" fmla="*/ 701934 w 2096597"/>
                <a:gd name="connsiteY96" fmla="*/ 233642 h 283512"/>
                <a:gd name="connsiteX97" fmla="*/ 930242 w 2096597"/>
                <a:gd name="connsiteY97" fmla="*/ 282359 h 283512"/>
                <a:gd name="connsiteX98" fmla="*/ 886858 w 2096597"/>
                <a:gd name="connsiteY98" fmla="*/ 274576 h 283512"/>
                <a:gd name="connsiteX99" fmla="*/ 854139 w 2096597"/>
                <a:gd name="connsiteY99" fmla="*/ 252811 h 283512"/>
                <a:gd name="connsiteX100" fmla="*/ 833528 w 2096597"/>
                <a:gd name="connsiteY100" fmla="*/ 219949 h 283512"/>
                <a:gd name="connsiteX101" fmla="*/ 826322 w 2096597"/>
                <a:gd name="connsiteY101" fmla="*/ 178871 h 283512"/>
                <a:gd name="connsiteX102" fmla="*/ 833528 w 2096597"/>
                <a:gd name="connsiteY102" fmla="*/ 138369 h 283512"/>
                <a:gd name="connsiteX103" fmla="*/ 854139 w 2096597"/>
                <a:gd name="connsiteY103" fmla="*/ 105650 h 283512"/>
                <a:gd name="connsiteX104" fmla="*/ 885705 w 2096597"/>
                <a:gd name="connsiteY104" fmla="*/ 84030 h 283512"/>
                <a:gd name="connsiteX105" fmla="*/ 926495 w 2096597"/>
                <a:gd name="connsiteY105" fmla="*/ 76247 h 283512"/>
                <a:gd name="connsiteX106" fmla="*/ 963970 w 2096597"/>
                <a:gd name="connsiteY106" fmla="*/ 82733 h 283512"/>
                <a:gd name="connsiteX107" fmla="*/ 993085 w 2096597"/>
                <a:gd name="connsiteY107" fmla="*/ 100606 h 283512"/>
                <a:gd name="connsiteX108" fmla="*/ 1019173 w 2096597"/>
                <a:gd name="connsiteY108" fmla="*/ 141107 h 283512"/>
                <a:gd name="connsiteX109" fmla="*/ 1027389 w 2096597"/>
                <a:gd name="connsiteY109" fmla="*/ 195302 h 283512"/>
                <a:gd name="connsiteX110" fmla="*/ 887290 w 2096597"/>
                <a:gd name="connsiteY110" fmla="*/ 195302 h 283512"/>
                <a:gd name="connsiteX111" fmla="*/ 900983 w 2096597"/>
                <a:gd name="connsiteY111" fmla="*/ 226579 h 283512"/>
                <a:gd name="connsiteX112" fmla="*/ 931107 w 2096597"/>
                <a:gd name="connsiteY112" fmla="*/ 237966 h 283512"/>
                <a:gd name="connsiteX113" fmla="*/ 951286 w 2096597"/>
                <a:gd name="connsiteY113" fmla="*/ 232777 h 283512"/>
                <a:gd name="connsiteX114" fmla="*/ 963393 w 2096597"/>
                <a:gd name="connsiteY114" fmla="*/ 218508 h 283512"/>
                <a:gd name="connsiteX115" fmla="*/ 1023930 w 2096597"/>
                <a:gd name="connsiteY115" fmla="*/ 218508 h 283512"/>
                <a:gd name="connsiteX116" fmla="*/ 1012543 w 2096597"/>
                <a:gd name="connsiteY116" fmla="*/ 243875 h 283512"/>
                <a:gd name="connsiteX117" fmla="*/ 991211 w 2096597"/>
                <a:gd name="connsiteY117" fmla="*/ 264630 h 283512"/>
                <a:gd name="connsiteX118" fmla="*/ 963970 w 2096597"/>
                <a:gd name="connsiteY118" fmla="*/ 277891 h 283512"/>
                <a:gd name="connsiteX119" fmla="*/ 930242 w 2096597"/>
                <a:gd name="connsiteY119" fmla="*/ 282503 h 283512"/>
                <a:gd name="connsiteX120" fmla="*/ 964546 w 2096597"/>
                <a:gd name="connsiteY120" fmla="*/ 158404 h 283512"/>
                <a:gd name="connsiteX121" fmla="*/ 952727 w 2096597"/>
                <a:gd name="connsiteY121" fmla="*/ 130586 h 283512"/>
                <a:gd name="connsiteX122" fmla="*/ 927648 w 2096597"/>
                <a:gd name="connsiteY122" fmla="*/ 120352 h 283512"/>
                <a:gd name="connsiteX123" fmla="*/ 900262 w 2096597"/>
                <a:gd name="connsiteY123" fmla="*/ 130586 h 283512"/>
                <a:gd name="connsiteX124" fmla="*/ 887723 w 2096597"/>
                <a:gd name="connsiteY124" fmla="*/ 158404 h 283512"/>
                <a:gd name="connsiteX125" fmla="*/ 964546 w 2096597"/>
                <a:gd name="connsiteY125" fmla="*/ 158404 h 283512"/>
                <a:gd name="connsiteX126" fmla="*/ 1050162 w 2096597"/>
                <a:gd name="connsiteY126" fmla="*/ 2018 h 283512"/>
                <a:gd name="connsiteX127" fmla="*/ 1112140 w 2096597"/>
                <a:gd name="connsiteY127" fmla="*/ 2018 h 283512"/>
                <a:gd name="connsiteX128" fmla="*/ 1112140 w 2096597"/>
                <a:gd name="connsiteY128" fmla="*/ 105939 h 283512"/>
                <a:gd name="connsiteX129" fmla="*/ 1113293 w 2096597"/>
                <a:gd name="connsiteY129" fmla="*/ 105939 h 283512"/>
                <a:gd name="connsiteX130" fmla="*/ 1137219 w 2096597"/>
                <a:gd name="connsiteY130" fmla="*/ 84030 h 283512"/>
                <a:gd name="connsiteX131" fmla="*/ 1171091 w 2096597"/>
                <a:gd name="connsiteY131" fmla="*/ 76247 h 283512"/>
                <a:gd name="connsiteX132" fmla="*/ 1199629 w 2096597"/>
                <a:gd name="connsiteY132" fmla="*/ 81724 h 283512"/>
                <a:gd name="connsiteX133" fmla="*/ 1220961 w 2096597"/>
                <a:gd name="connsiteY133" fmla="*/ 97002 h 283512"/>
                <a:gd name="connsiteX134" fmla="*/ 1234366 w 2096597"/>
                <a:gd name="connsiteY134" fmla="*/ 120208 h 283512"/>
                <a:gd name="connsiteX135" fmla="*/ 1238978 w 2096597"/>
                <a:gd name="connsiteY135" fmla="*/ 150044 h 283512"/>
                <a:gd name="connsiteX136" fmla="*/ 1238978 w 2096597"/>
                <a:gd name="connsiteY136" fmla="*/ 276738 h 283512"/>
                <a:gd name="connsiteX137" fmla="*/ 1177000 w 2096597"/>
                <a:gd name="connsiteY137" fmla="*/ 276738 h 283512"/>
                <a:gd name="connsiteX138" fmla="*/ 1177000 w 2096597"/>
                <a:gd name="connsiteY138" fmla="*/ 162583 h 283512"/>
                <a:gd name="connsiteX139" fmla="*/ 1169361 w 2096597"/>
                <a:gd name="connsiteY139" fmla="*/ 137504 h 283512"/>
                <a:gd name="connsiteX140" fmla="*/ 1146588 w 2096597"/>
                <a:gd name="connsiteY140" fmla="*/ 127991 h 283512"/>
                <a:gd name="connsiteX141" fmla="*/ 1121653 w 2096597"/>
                <a:gd name="connsiteY141" fmla="*/ 139378 h 283512"/>
                <a:gd name="connsiteX142" fmla="*/ 1112284 w 2096597"/>
                <a:gd name="connsiteY142" fmla="*/ 169069 h 283512"/>
                <a:gd name="connsiteX143" fmla="*/ 1112284 w 2096597"/>
                <a:gd name="connsiteY143" fmla="*/ 276738 h 283512"/>
                <a:gd name="connsiteX144" fmla="*/ 1050306 w 2096597"/>
                <a:gd name="connsiteY144" fmla="*/ 276738 h 283512"/>
                <a:gd name="connsiteX145" fmla="*/ 1050306 w 2096597"/>
                <a:gd name="connsiteY145" fmla="*/ 1874 h 283512"/>
                <a:gd name="connsiteX146" fmla="*/ 1362645 w 2096597"/>
                <a:gd name="connsiteY146" fmla="*/ 282936 h 283512"/>
                <a:gd name="connsiteX147" fmla="*/ 1319837 w 2096597"/>
                <a:gd name="connsiteY147" fmla="*/ 275152 h 283512"/>
                <a:gd name="connsiteX148" fmla="*/ 1286830 w 2096597"/>
                <a:gd name="connsiteY148" fmla="*/ 253388 h 283512"/>
                <a:gd name="connsiteX149" fmla="*/ 1265787 w 2096597"/>
                <a:gd name="connsiteY149" fmla="*/ 220670 h 283512"/>
                <a:gd name="connsiteX150" fmla="*/ 1258292 w 2096597"/>
                <a:gd name="connsiteY150" fmla="*/ 179735 h 283512"/>
                <a:gd name="connsiteX151" fmla="*/ 1265787 w 2096597"/>
                <a:gd name="connsiteY151" fmla="*/ 138801 h 283512"/>
                <a:gd name="connsiteX152" fmla="*/ 1286830 w 2096597"/>
                <a:gd name="connsiteY152" fmla="*/ 106083 h 283512"/>
                <a:gd name="connsiteX153" fmla="*/ 1319837 w 2096597"/>
                <a:gd name="connsiteY153" fmla="*/ 84463 h 283512"/>
                <a:gd name="connsiteX154" fmla="*/ 1362645 w 2096597"/>
                <a:gd name="connsiteY154" fmla="*/ 76679 h 283512"/>
                <a:gd name="connsiteX155" fmla="*/ 1405453 w 2096597"/>
                <a:gd name="connsiteY155" fmla="*/ 84463 h 283512"/>
                <a:gd name="connsiteX156" fmla="*/ 1438171 w 2096597"/>
                <a:gd name="connsiteY156" fmla="*/ 106083 h 283512"/>
                <a:gd name="connsiteX157" fmla="*/ 1459071 w 2096597"/>
                <a:gd name="connsiteY157" fmla="*/ 138801 h 283512"/>
                <a:gd name="connsiteX158" fmla="*/ 1466422 w 2096597"/>
                <a:gd name="connsiteY158" fmla="*/ 179735 h 283512"/>
                <a:gd name="connsiteX159" fmla="*/ 1459071 w 2096597"/>
                <a:gd name="connsiteY159" fmla="*/ 220670 h 283512"/>
                <a:gd name="connsiteX160" fmla="*/ 1438171 w 2096597"/>
                <a:gd name="connsiteY160" fmla="*/ 253388 h 283512"/>
                <a:gd name="connsiteX161" fmla="*/ 1405453 w 2096597"/>
                <a:gd name="connsiteY161" fmla="*/ 275152 h 283512"/>
                <a:gd name="connsiteX162" fmla="*/ 1362645 w 2096597"/>
                <a:gd name="connsiteY162" fmla="*/ 282936 h 283512"/>
                <a:gd name="connsiteX163" fmla="*/ 1362213 w 2096597"/>
                <a:gd name="connsiteY163" fmla="*/ 238830 h 283512"/>
                <a:gd name="connsiteX164" fmla="*/ 1393201 w 2096597"/>
                <a:gd name="connsiteY164" fmla="*/ 222687 h 283512"/>
                <a:gd name="connsiteX165" fmla="*/ 1403723 w 2096597"/>
                <a:gd name="connsiteY165" fmla="*/ 179880 h 283512"/>
                <a:gd name="connsiteX166" fmla="*/ 1393201 w 2096597"/>
                <a:gd name="connsiteY166" fmla="*/ 136928 h 283512"/>
                <a:gd name="connsiteX167" fmla="*/ 1362213 w 2096597"/>
                <a:gd name="connsiteY167" fmla="*/ 120496 h 283512"/>
                <a:gd name="connsiteX168" fmla="*/ 1331368 w 2096597"/>
                <a:gd name="connsiteY168" fmla="*/ 136928 h 283512"/>
                <a:gd name="connsiteX169" fmla="*/ 1321134 w 2096597"/>
                <a:gd name="connsiteY169" fmla="*/ 179880 h 283512"/>
                <a:gd name="connsiteX170" fmla="*/ 1331368 w 2096597"/>
                <a:gd name="connsiteY170" fmla="*/ 222687 h 283512"/>
                <a:gd name="connsiteX171" fmla="*/ 1362213 w 2096597"/>
                <a:gd name="connsiteY171" fmla="*/ 238830 h 283512"/>
                <a:gd name="connsiteX172" fmla="*/ 1554488 w 2096597"/>
                <a:gd name="connsiteY172" fmla="*/ 282647 h 283512"/>
                <a:gd name="connsiteX173" fmla="*/ 1503320 w 2096597"/>
                <a:gd name="connsiteY173" fmla="*/ 262613 h 283512"/>
                <a:gd name="connsiteX174" fmla="*/ 1486024 w 2096597"/>
                <a:gd name="connsiteY174" fmla="*/ 209859 h 283512"/>
                <a:gd name="connsiteX175" fmla="*/ 1486024 w 2096597"/>
                <a:gd name="connsiteY175" fmla="*/ 82012 h 283512"/>
                <a:gd name="connsiteX176" fmla="*/ 1547713 w 2096597"/>
                <a:gd name="connsiteY176" fmla="*/ 82012 h 283512"/>
                <a:gd name="connsiteX177" fmla="*/ 1547713 w 2096597"/>
                <a:gd name="connsiteY177" fmla="*/ 197032 h 283512"/>
                <a:gd name="connsiteX178" fmla="*/ 1554920 w 2096597"/>
                <a:gd name="connsiteY178" fmla="*/ 221534 h 283512"/>
                <a:gd name="connsiteX179" fmla="*/ 1576973 w 2096597"/>
                <a:gd name="connsiteY179" fmla="*/ 230038 h 283512"/>
                <a:gd name="connsiteX180" fmla="*/ 1602052 w 2096597"/>
                <a:gd name="connsiteY180" fmla="*/ 219228 h 283512"/>
                <a:gd name="connsiteX181" fmla="*/ 1611132 w 2096597"/>
                <a:gd name="connsiteY181" fmla="*/ 190834 h 283512"/>
                <a:gd name="connsiteX182" fmla="*/ 1611132 w 2096597"/>
                <a:gd name="connsiteY182" fmla="*/ 82012 h 283512"/>
                <a:gd name="connsiteX183" fmla="*/ 1673110 w 2096597"/>
                <a:gd name="connsiteY183" fmla="*/ 82012 h 283512"/>
                <a:gd name="connsiteX184" fmla="*/ 1673110 w 2096597"/>
                <a:gd name="connsiteY184" fmla="*/ 276882 h 283512"/>
                <a:gd name="connsiteX185" fmla="*/ 1613727 w 2096597"/>
                <a:gd name="connsiteY185" fmla="*/ 276882 h 283512"/>
                <a:gd name="connsiteX186" fmla="*/ 1613727 w 2096597"/>
                <a:gd name="connsiteY186" fmla="*/ 252956 h 283512"/>
                <a:gd name="connsiteX187" fmla="*/ 1612574 w 2096597"/>
                <a:gd name="connsiteY187" fmla="*/ 252956 h 283512"/>
                <a:gd name="connsiteX188" fmla="*/ 1588359 w 2096597"/>
                <a:gd name="connsiteY188" fmla="*/ 275008 h 283512"/>
                <a:gd name="connsiteX189" fmla="*/ 1554344 w 2096597"/>
                <a:gd name="connsiteY189" fmla="*/ 282647 h 283512"/>
                <a:gd name="connsiteX190" fmla="*/ 1789571 w 2096597"/>
                <a:gd name="connsiteY190" fmla="*/ 283080 h 283512"/>
                <a:gd name="connsiteX191" fmla="*/ 1721395 w 2096597"/>
                <a:gd name="connsiteY191" fmla="*/ 264630 h 283512"/>
                <a:gd name="connsiteX192" fmla="*/ 1694730 w 2096597"/>
                <a:gd name="connsiteY192" fmla="*/ 213751 h 283512"/>
                <a:gd name="connsiteX193" fmla="*/ 1753393 w 2096597"/>
                <a:gd name="connsiteY193" fmla="*/ 213751 h 283512"/>
                <a:gd name="connsiteX194" fmla="*/ 1764491 w 2096597"/>
                <a:gd name="connsiteY194" fmla="*/ 235515 h 283512"/>
                <a:gd name="connsiteX195" fmla="*/ 1789282 w 2096597"/>
                <a:gd name="connsiteY195" fmla="*/ 242722 h 283512"/>
                <a:gd name="connsiteX196" fmla="*/ 1811479 w 2096597"/>
                <a:gd name="connsiteY196" fmla="*/ 237821 h 283512"/>
                <a:gd name="connsiteX197" fmla="*/ 1819695 w 2096597"/>
                <a:gd name="connsiteY197" fmla="*/ 223408 h 283512"/>
                <a:gd name="connsiteX198" fmla="*/ 1815515 w 2096597"/>
                <a:gd name="connsiteY198" fmla="*/ 212886 h 283512"/>
                <a:gd name="connsiteX199" fmla="*/ 1804416 w 2096597"/>
                <a:gd name="connsiteY199" fmla="*/ 206400 h 283512"/>
                <a:gd name="connsiteX200" fmla="*/ 1788562 w 2096597"/>
                <a:gd name="connsiteY200" fmla="*/ 202653 h 283512"/>
                <a:gd name="connsiteX201" fmla="*/ 1770112 w 2096597"/>
                <a:gd name="connsiteY201" fmla="*/ 199482 h 283512"/>
                <a:gd name="connsiteX202" fmla="*/ 1745033 w 2096597"/>
                <a:gd name="connsiteY202" fmla="*/ 194005 h 283512"/>
                <a:gd name="connsiteX203" fmla="*/ 1722404 w 2096597"/>
                <a:gd name="connsiteY203" fmla="*/ 184348 h 283512"/>
                <a:gd name="connsiteX204" fmla="*/ 1706261 w 2096597"/>
                <a:gd name="connsiteY204" fmla="*/ 167052 h 283512"/>
                <a:gd name="connsiteX205" fmla="*/ 1700207 w 2096597"/>
                <a:gd name="connsiteY205" fmla="*/ 139090 h 283512"/>
                <a:gd name="connsiteX206" fmla="*/ 1706837 w 2096597"/>
                <a:gd name="connsiteY206" fmla="*/ 111992 h 283512"/>
                <a:gd name="connsiteX207" fmla="*/ 1724999 w 2096597"/>
                <a:gd name="connsiteY207" fmla="*/ 92390 h 283512"/>
                <a:gd name="connsiteX208" fmla="*/ 1751808 w 2096597"/>
                <a:gd name="connsiteY208" fmla="*/ 80571 h 283512"/>
                <a:gd name="connsiteX209" fmla="*/ 1784382 w 2096597"/>
                <a:gd name="connsiteY209" fmla="*/ 76535 h 283512"/>
                <a:gd name="connsiteX210" fmla="*/ 1847945 w 2096597"/>
                <a:gd name="connsiteY210" fmla="*/ 93255 h 283512"/>
                <a:gd name="connsiteX211" fmla="*/ 1872304 w 2096597"/>
                <a:gd name="connsiteY211" fmla="*/ 138945 h 283512"/>
                <a:gd name="connsiteX212" fmla="*/ 1815226 w 2096597"/>
                <a:gd name="connsiteY212" fmla="*/ 138945 h 283512"/>
                <a:gd name="connsiteX213" fmla="*/ 1805137 w 2096597"/>
                <a:gd name="connsiteY213" fmla="*/ 120929 h 283512"/>
                <a:gd name="connsiteX214" fmla="*/ 1783949 w 2096597"/>
                <a:gd name="connsiteY214" fmla="*/ 116172 h 283512"/>
                <a:gd name="connsiteX215" fmla="*/ 1764780 w 2096597"/>
                <a:gd name="connsiteY215" fmla="*/ 120496 h 283512"/>
                <a:gd name="connsiteX216" fmla="*/ 1756996 w 2096597"/>
                <a:gd name="connsiteY216" fmla="*/ 134045 h 283512"/>
                <a:gd name="connsiteX217" fmla="*/ 1760744 w 2096597"/>
                <a:gd name="connsiteY217" fmla="*/ 142405 h 283512"/>
                <a:gd name="connsiteX218" fmla="*/ 1770977 w 2096597"/>
                <a:gd name="connsiteY218" fmla="*/ 147593 h 283512"/>
                <a:gd name="connsiteX219" fmla="*/ 1785967 w 2096597"/>
                <a:gd name="connsiteY219" fmla="*/ 151197 h 283512"/>
                <a:gd name="connsiteX220" fmla="*/ 1803696 w 2096597"/>
                <a:gd name="connsiteY220" fmla="*/ 154224 h 283512"/>
                <a:gd name="connsiteX221" fmla="*/ 1829784 w 2096597"/>
                <a:gd name="connsiteY221" fmla="*/ 159701 h 283512"/>
                <a:gd name="connsiteX222" fmla="*/ 1853710 w 2096597"/>
                <a:gd name="connsiteY222" fmla="*/ 169790 h 283512"/>
                <a:gd name="connsiteX223" fmla="*/ 1871439 w 2096597"/>
                <a:gd name="connsiteY223" fmla="*/ 188239 h 283512"/>
                <a:gd name="connsiteX224" fmla="*/ 1878357 w 2096597"/>
                <a:gd name="connsiteY224" fmla="*/ 218508 h 283512"/>
                <a:gd name="connsiteX225" fmla="*/ 1871727 w 2096597"/>
                <a:gd name="connsiteY225" fmla="*/ 246614 h 283512"/>
                <a:gd name="connsiteX226" fmla="*/ 1853278 w 2096597"/>
                <a:gd name="connsiteY226" fmla="*/ 266792 h 283512"/>
                <a:gd name="connsiteX227" fmla="*/ 1825172 w 2096597"/>
                <a:gd name="connsiteY227" fmla="*/ 279044 h 283512"/>
                <a:gd name="connsiteX228" fmla="*/ 1789715 w 2096597"/>
                <a:gd name="connsiteY228" fmla="*/ 283224 h 283512"/>
                <a:gd name="connsiteX229" fmla="*/ 1999430 w 2096597"/>
                <a:gd name="connsiteY229" fmla="*/ 282791 h 283512"/>
                <a:gd name="connsiteX230" fmla="*/ 1956046 w 2096597"/>
                <a:gd name="connsiteY230" fmla="*/ 275008 h 283512"/>
                <a:gd name="connsiteX231" fmla="*/ 1923327 w 2096597"/>
                <a:gd name="connsiteY231" fmla="*/ 253244 h 283512"/>
                <a:gd name="connsiteX232" fmla="*/ 1902716 w 2096597"/>
                <a:gd name="connsiteY232" fmla="*/ 220381 h 283512"/>
                <a:gd name="connsiteX233" fmla="*/ 1895509 w 2096597"/>
                <a:gd name="connsiteY233" fmla="*/ 179303 h 283512"/>
                <a:gd name="connsiteX234" fmla="*/ 1902716 w 2096597"/>
                <a:gd name="connsiteY234" fmla="*/ 138801 h 283512"/>
                <a:gd name="connsiteX235" fmla="*/ 1923327 w 2096597"/>
                <a:gd name="connsiteY235" fmla="*/ 106083 h 283512"/>
                <a:gd name="connsiteX236" fmla="*/ 1954893 w 2096597"/>
                <a:gd name="connsiteY236" fmla="*/ 84463 h 283512"/>
                <a:gd name="connsiteX237" fmla="*/ 1995683 w 2096597"/>
                <a:gd name="connsiteY237" fmla="*/ 76679 h 283512"/>
                <a:gd name="connsiteX238" fmla="*/ 2033157 w 2096597"/>
                <a:gd name="connsiteY238" fmla="*/ 83165 h 283512"/>
                <a:gd name="connsiteX239" fmla="*/ 2062273 w 2096597"/>
                <a:gd name="connsiteY239" fmla="*/ 101038 h 283512"/>
                <a:gd name="connsiteX240" fmla="*/ 2088361 w 2096597"/>
                <a:gd name="connsiteY240" fmla="*/ 141540 h 283512"/>
                <a:gd name="connsiteX241" fmla="*/ 2096577 w 2096597"/>
                <a:gd name="connsiteY241" fmla="*/ 195734 h 283512"/>
                <a:gd name="connsiteX242" fmla="*/ 1956478 w 2096597"/>
                <a:gd name="connsiteY242" fmla="*/ 195734 h 283512"/>
                <a:gd name="connsiteX243" fmla="*/ 1970171 w 2096597"/>
                <a:gd name="connsiteY243" fmla="*/ 227011 h 283512"/>
                <a:gd name="connsiteX244" fmla="*/ 2000295 w 2096597"/>
                <a:gd name="connsiteY244" fmla="*/ 238398 h 283512"/>
                <a:gd name="connsiteX245" fmla="*/ 2020474 w 2096597"/>
                <a:gd name="connsiteY245" fmla="*/ 233209 h 283512"/>
                <a:gd name="connsiteX246" fmla="*/ 2032725 w 2096597"/>
                <a:gd name="connsiteY246" fmla="*/ 218940 h 283512"/>
                <a:gd name="connsiteX247" fmla="*/ 2093262 w 2096597"/>
                <a:gd name="connsiteY247" fmla="*/ 218940 h 283512"/>
                <a:gd name="connsiteX248" fmla="*/ 2081875 w 2096597"/>
                <a:gd name="connsiteY248" fmla="*/ 244308 h 283512"/>
                <a:gd name="connsiteX249" fmla="*/ 2060543 w 2096597"/>
                <a:gd name="connsiteY249" fmla="*/ 265063 h 283512"/>
                <a:gd name="connsiteX250" fmla="*/ 2033302 w 2096597"/>
                <a:gd name="connsiteY250" fmla="*/ 278323 h 283512"/>
                <a:gd name="connsiteX251" fmla="*/ 1999574 w 2096597"/>
                <a:gd name="connsiteY251" fmla="*/ 282936 h 283512"/>
                <a:gd name="connsiteX252" fmla="*/ 2033878 w 2096597"/>
                <a:gd name="connsiteY252" fmla="*/ 158836 h 283512"/>
                <a:gd name="connsiteX253" fmla="*/ 2022059 w 2096597"/>
                <a:gd name="connsiteY253" fmla="*/ 131018 h 283512"/>
                <a:gd name="connsiteX254" fmla="*/ 1996980 w 2096597"/>
                <a:gd name="connsiteY254" fmla="*/ 120784 h 283512"/>
                <a:gd name="connsiteX255" fmla="*/ 1969594 w 2096597"/>
                <a:gd name="connsiteY255" fmla="*/ 131018 h 283512"/>
                <a:gd name="connsiteX256" fmla="*/ 1957055 w 2096597"/>
                <a:gd name="connsiteY256" fmla="*/ 158836 h 283512"/>
                <a:gd name="connsiteX257" fmla="*/ 2033878 w 2096597"/>
                <a:gd name="connsiteY257" fmla="*/ 15883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6597" h="283512">
                  <a:moveTo>
                    <a:pt x="129433" y="283512"/>
                  </a:moveTo>
                  <a:cubicBezTo>
                    <a:pt x="109830" y="283512"/>
                    <a:pt x="92390" y="280197"/>
                    <a:pt x="76968" y="273567"/>
                  </a:cubicBezTo>
                  <a:cubicBezTo>
                    <a:pt x="61545" y="266937"/>
                    <a:pt x="47997" y="257568"/>
                    <a:pt x="36610" y="245461"/>
                  </a:cubicBezTo>
                  <a:cubicBezTo>
                    <a:pt x="24647" y="232489"/>
                    <a:pt x="15567" y="217354"/>
                    <a:pt x="9369" y="199770"/>
                  </a:cubicBezTo>
                  <a:cubicBezTo>
                    <a:pt x="3171" y="182330"/>
                    <a:pt x="0" y="163160"/>
                    <a:pt x="0" y="142260"/>
                  </a:cubicBezTo>
                  <a:cubicBezTo>
                    <a:pt x="0" y="121361"/>
                    <a:pt x="3459" y="100894"/>
                    <a:pt x="10522" y="82733"/>
                  </a:cubicBezTo>
                  <a:cubicBezTo>
                    <a:pt x="17440" y="64572"/>
                    <a:pt x="27386" y="49006"/>
                    <a:pt x="40358" y="36178"/>
                  </a:cubicBezTo>
                  <a:cubicBezTo>
                    <a:pt x="51744" y="24791"/>
                    <a:pt x="65149" y="15855"/>
                    <a:pt x="80715" y="9513"/>
                  </a:cubicBezTo>
                  <a:cubicBezTo>
                    <a:pt x="96138" y="3171"/>
                    <a:pt x="113866" y="0"/>
                    <a:pt x="133612" y="0"/>
                  </a:cubicBezTo>
                  <a:cubicBezTo>
                    <a:pt x="151053" y="0"/>
                    <a:pt x="166907" y="2162"/>
                    <a:pt x="180744" y="6630"/>
                  </a:cubicBezTo>
                  <a:cubicBezTo>
                    <a:pt x="194725" y="11098"/>
                    <a:pt x="206833" y="17440"/>
                    <a:pt x="216922" y="25656"/>
                  </a:cubicBezTo>
                  <a:cubicBezTo>
                    <a:pt x="227011" y="33872"/>
                    <a:pt x="235227" y="43817"/>
                    <a:pt x="241425" y="55492"/>
                  </a:cubicBezTo>
                  <a:cubicBezTo>
                    <a:pt x="247623" y="67167"/>
                    <a:pt x="251947" y="80139"/>
                    <a:pt x="254109" y="94264"/>
                  </a:cubicBezTo>
                  <a:lnTo>
                    <a:pt x="188672" y="94264"/>
                  </a:lnTo>
                  <a:cubicBezTo>
                    <a:pt x="186077" y="83165"/>
                    <a:pt x="180456" y="73797"/>
                    <a:pt x="171520" y="66446"/>
                  </a:cubicBezTo>
                  <a:cubicBezTo>
                    <a:pt x="162583" y="59095"/>
                    <a:pt x="150764" y="55348"/>
                    <a:pt x="135774" y="55348"/>
                  </a:cubicBezTo>
                  <a:cubicBezTo>
                    <a:pt x="124532" y="55348"/>
                    <a:pt x="114731" y="57654"/>
                    <a:pt x="106227" y="61978"/>
                  </a:cubicBezTo>
                  <a:cubicBezTo>
                    <a:pt x="97723" y="66446"/>
                    <a:pt x="90660" y="72500"/>
                    <a:pt x="85039" y="80283"/>
                  </a:cubicBezTo>
                  <a:cubicBezTo>
                    <a:pt x="79418" y="88066"/>
                    <a:pt x="75238" y="97146"/>
                    <a:pt x="72500" y="107668"/>
                  </a:cubicBezTo>
                  <a:cubicBezTo>
                    <a:pt x="69761" y="118190"/>
                    <a:pt x="68320" y="129721"/>
                    <a:pt x="68320" y="142116"/>
                  </a:cubicBezTo>
                  <a:cubicBezTo>
                    <a:pt x="68320" y="154512"/>
                    <a:pt x="69905" y="166043"/>
                    <a:pt x="73076" y="176709"/>
                  </a:cubicBezTo>
                  <a:cubicBezTo>
                    <a:pt x="76247" y="187375"/>
                    <a:pt x="80715" y="196599"/>
                    <a:pt x="86625" y="204238"/>
                  </a:cubicBezTo>
                  <a:cubicBezTo>
                    <a:pt x="92534" y="212021"/>
                    <a:pt x="99597" y="218075"/>
                    <a:pt x="108101" y="222255"/>
                  </a:cubicBezTo>
                  <a:cubicBezTo>
                    <a:pt x="116605" y="226579"/>
                    <a:pt x="126117" y="228741"/>
                    <a:pt x="136783" y="228741"/>
                  </a:cubicBezTo>
                  <a:cubicBezTo>
                    <a:pt x="145576" y="228741"/>
                    <a:pt x="153647" y="227444"/>
                    <a:pt x="160566" y="224705"/>
                  </a:cubicBezTo>
                  <a:cubicBezTo>
                    <a:pt x="167484" y="222111"/>
                    <a:pt x="173538" y="218508"/>
                    <a:pt x="178438" y="214039"/>
                  </a:cubicBezTo>
                  <a:cubicBezTo>
                    <a:pt x="183339" y="209571"/>
                    <a:pt x="187375" y="204526"/>
                    <a:pt x="190257" y="198761"/>
                  </a:cubicBezTo>
                  <a:cubicBezTo>
                    <a:pt x="193140" y="193140"/>
                    <a:pt x="195014" y="187230"/>
                    <a:pt x="195734" y="181033"/>
                  </a:cubicBezTo>
                  <a:lnTo>
                    <a:pt x="195734" y="180312"/>
                  </a:lnTo>
                  <a:lnTo>
                    <a:pt x="144711" y="180312"/>
                  </a:lnTo>
                  <a:lnTo>
                    <a:pt x="144711" y="130874"/>
                  </a:lnTo>
                  <a:lnTo>
                    <a:pt x="258144" y="130874"/>
                  </a:lnTo>
                  <a:lnTo>
                    <a:pt x="258144" y="277026"/>
                  </a:lnTo>
                  <a:lnTo>
                    <a:pt x="211013" y="277026"/>
                  </a:lnTo>
                  <a:lnTo>
                    <a:pt x="207265" y="244308"/>
                  </a:lnTo>
                  <a:lnTo>
                    <a:pt x="206544" y="244308"/>
                  </a:lnTo>
                  <a:cubicBezTo>
                    <a:pt x="197608" y="258289"/>
                    <a:pt x="186654" y="268234"/>
                    <a:pt x="173682" y="274143"/>
                  </a:cubicBezTo>
                  <a:cubicBezTo>
                    <a:pt x="160566" y="280053"/>
                    <a:pt x="145864" y="283080"/>
                    <a:pt x="129288" y="283080"/>
                  </a:cubicBezTo>
                  <a:moveTo>
                    <a:pt x="358029" y="282647"/>
                  </a:moveTo>
                  <a:cubicBezTo>
                    <a:pt x="335400" y="282647"/>
                    <a:pt x="318393" y="276017"/>
                    <a:pt x="306862" y="262613"/>
                  </a:cubicBezTo>
                  <a:cubicBezTo>
                    <a:pt x="295331" y="249352"/>
                    <a:pt x="289566" y="231768"/>
                    <a:pt x="289566" y="209859"/>
                  </a:cubicBezTo>
                  <a:lnTo>
                    <a:pt x="289566" y="82012"/>
                  </a:lnTo>
                  <a:lnTo>
                    <a:pt x="351255" y="82012"/>
                  </a:lnTo>
                  <a:lnTo>
                    <a:pt x="351255" y="197032"/>
                  </a:lnTo>
                  <a:cubicBezTo>
                    <a:pt x="351255" y="207697"/>
                    <a:pt x="353705" y="215913"/>
                    <a:pt x="358462" y="221534"/>
                  </a:cubicBezTo>
                  <a:cubicBezTo>
                    <a:pt x="363218" y="227300"/>
                    <a:pt x="370713" y="230038"/>
                    <a:pt x="380514" y="230038"/>
                  </a:cubicBezTo>
                  <a:cubicBezTo>
                    <a:pt x="391180" y="230038"/>
                    <a:pt x="399540" y="226435"/>
                    <a:pt x="405594" y="219228"/>
                  </a:cubicBezTo>
                  <a:cubicBezTo>
                    <a:pt x="411647" y="212021"/>
                    <a:pt x="414674" y="202509"/>
                    <a:pt x="414674" y="190834"/>
                  </a:cubicBezTo>
                  <a:lnTo>
                    <a:pt x="414674" y="82012"/>
                  </a:lnTo>
                  <a:lnTo>
                    <a:pt x="476652" y="82012"/>
                  </a:lnTo>
                  <a:lnTo>
                    <a:pt x="476652" y="276882"/>
                  </a:lnTo>
                  <a:lnTo>
                    <a:pt x="417269" y="276882"/>
                  </a:lnTo>
                  <a:lnTo>
                    <a:pt x="417269" y="252956"/>
                  </a:lnTo>
                  <a:lnTo>
                    <a:pt x="416116" y="252956"/>
                  </a:lnTo>
                  <a:cubicBezTo>
                    <a:pt x="409053" y="262613"/>
                    <a:pt x="400981" y="269963"/>
                    <a:pt x="391901" y="275008"/>
                  </a:cubicBezTo>
                  <a:cubicBezTo>
                    <a:pt x="382965" y="280053"/>
                    <a:pt x="371578" y="282647"/>
                    <a:pt x="357885" y="282647"/>
                  </a:cubicBezTo>
                  <a:moveTo>
                    <a:pt x="511965" y="2162"/>
                  </a:moveTo>
                  <a:lnTo>
                    <a:pt x="573943" y="2162"/>
                  </a:lnTo>
                  <a:lnTo>
                    <a:pt x="573943" y="55059"/>
                  </a:lnTo>
                  <a:lnTo>
                    <a:pt x="511965" y="55059"/>
                  </a:lnTo>
                  <a:lnTo>
                    <a:pt x="511965" y="2162"/>
                  </a:lnTo>
                  <a:close/>
                  <a:moveTo>
                    <a:pt x="511965" y="82012"/>
                  </a:moveTo>
                  <a:lnTo>
                    <a:pt x="573943" y="82012"/>
                  </a:lnTo>
                  <a:lnTo>
                    <a:pt x="573943" y="276882"/>
                  </a:lnTo>
                  <a:lnTo>
                    <a:pt x="511965" y="276882"/>
                  </a:lnTo>
                  <a:lnTo>
                    <a:pt x="511965" y="82012"/>
                  </a:lnTo>
                  <a:close/>
                  <a:moveTo>
                    <a:pt x="685935" y="282936"/>
                  </a:moveTo>
                  <a:cubicBezTo>
                    <a:pt x="673539" y="282936"/>
                    <a:pt x="662009" y="280629"/>
                    <a:pt x="651631" y="275873"/>
                  </a:cubicBezTo>
                  <a:cubicBezTo>
                    <a:pt x="641253" y="271117"/>
                    <a:pt x="632173" y="264342"/>
                    <a:pt x="624678" y="255550"/>
                  </a:cubicBezTo>
                  <a:cubicBezTo>
                    <a:pt x="617039" y="246614"/>
                    <a:pt x="611129" y="235804"/>
                    <a:pt x="606949" y="222976"/>
                  </a:cubicBezTo>
                  <a:cubicBezTo>
                    <a:pt x="602769" y="210148"/>
                    <a:pt x="600607" y="195590"/>
                    <a:pt x="600607" y="179447"/>
                  </a:cubicBezTo>
                  <a:cubicBezTo>
                    <a:pt x="600607" y="164169"/>
                    <a:pt x="602769" y="150332"/>
                    <a:pt x="606949" y="137504"/>
                  </a:cubicBezTo>
                  <a:cubicBezTo>
                    <a:pt x="611129" y="124820"/>
                    <a:pt x="617039" y="114010"/>
                    <a:pt x="624390" y="104930"/>
                  </a:cubicBezTo>
                  <a:cubicBezTo>
                    <a:pt x="631884" y="95993"/>
                    <a:pt x="640821" y="88931"/>
                    <a:pt x="651199" y="83742"/>
                  </a:cubicBezTo>
                  <a:cubicBezTo>
                    <a:pt x="661576" y="78697"/>
                    <a:pt x="673107" y="76103"/>
                    <a:pt x="685791" y="76103"/>
                  </a:cubicBezTo>
                  <a:cubicBezTo>
                    <a:pt x="699483" y="76103"/>
                    <a:pt x="710582" y="78697"/>
                    <a:pt x="718942" y="83886"/>
                  </a:cubicBezTo>
                  <a:cubicBezTo>
                    <a:pt x="727301" y="89075"/>
                    <a:pt x="734364" y="95705"/>
                    <a:pt x="740273" y="103921"/>
                  </a:cubicBezTo>
                  <a:lnTo>
                    <a:pt x="741426" y="103921"/>
                  </a:lnTo>
                  <a:lnTo>
                    <a:pt x="741426" y="1874"/>
                  </a:lnTo>
                  <a:lnTo>
                    <a:pt x="803404" y="1874"/>
                  </a:lnTo>
                  <a:lnTo>
                    <a:pt x="803404" y="276738"/>
                  </a:lnTo>
                  <a:lnTo>
                    <a:pt x="744021" y="276738"/>
                  </a:lnTo>
                  <a:lnTo>
                    <a:pt x="744021" y="250505"/>
                  </a:lnTo>
                  <a:lnTo>
                    <a:pt x="743300" y="250505"/>
                  </a:lnTo>
                  <a:cubicBezTo>
                    <a:pt x="737535" y="260595"/>
                    <a:pt x="729607" y="268522"/>
                    <a:pt x="719951" y="274287"/>
                  </a:cubicBezTo>
                  <a:cubicBezTo>
                    <a:pt x="710149" y="280053"/>
                    <a:pt x="698907" y="282791"/>
                    <a:pt x="685935" y="282791"/>
                  </a:cubicBezTo>
                  <a:moveTo>
                    <a:pt x="701934" y="233642"/>
                  </a:moveTo>
                  <a:cubicBezTo>
                    <a:pt x="714906" y="233642"/>
                    <a:pt x="724995" y="228597"/>
                    <a:pt x="732202" y="218363"/>
                  </a:cubicBezTo>
                  <a:cubicBezTo>
                    <a:pt x="739409" y="208274"/>
                    <a:pt x="743012" y="195158"/>
                    <a:pt x="743012" y="179159"/>
                  </a:cubicBezTo>
                  <a:cubicBezTo>
                    <a:pt x="743012" y="171087"/>
                    <a:pt x="742147" y="163448"/>
                    <a:pt x="740562" y="156530"/>
                  </a:cubicBezTo>
                  <a:cubicBezTo>
                    <a:pt x="738976" y="149611"/>
                    <a:pt x="736382" y="143558"/>
                    <a:pt x="732923" y="138657"/>
                  </a:cubicBezTo>
                  <a:cubicBezTo>
                    <a:pt x="729463" y="133757"/>
                    <a:pt x="725284" y="129865"/>
                    <a:pt x="720383" y="126982"/>
                  </a:cubicBezTo>
                  <a:cubicBezTo>
                    <a:pt x="715482" y="124244"/>
                    <a:pt x="709573" y="122802"/>
                    <a:pt x="702654" y="122802"/>
                  </a:cubicBezTo>
                  <a:cubicBezTo>
                    <a:pt x="690259" y="122802"/>
                    <a:pt x="680602" y="127991"/>
                    <a:pt x="673683" y="138225"/>
                  </a:cubicBezTo>
                  <a:cubicBezTo>
                    <a:pt x="666765" y="148458"/>
                    <a:pt x="663450" y="161863"/>
                    <a:pt x="663450" y="178438"/>
                  </a:cubicBezTo>
                  <a:cubicBezTo>
                    <a:pt x="663450" y="195014"/>
                    <a:pt x="666765" y="208851"/>
                    <a:pt x="673539" y="218796"/>
                  </a:cubicBezTo>
                  <a:cubicBezTo>
                    <a:pt x="680314" y="228741"/>
                    <a:pt x="689682" y="233642"/>
                    <a:pt x="701934" y="233642"/>
                  </a:cubicBezTo>
                  <a:moveTo>
                    <a:pt x="930242" y="282359"/>
                  </a:moveTo>
                  <a:cubicBezTo>
                    <a:pt x="914243" y="282359"/>
                    <a:pt x="899830" y="279765"/>
                    <a:pt x="886858" y="274576"/>
                  </a:cubicBezTo>
                  <a:cubicBezTo>
                    <a:pt x="873886" y="269387"/>
                    <a:pt x="862932" y="262180"/>
                    <a:pt x="854139" y="252811"/>
                  </a:cubicBezTo>
                  <a:cubicBezTo>
                    <a:pt x="845203" y="243587"/>
                    <a:pt x="838429" y="232633"/>
                    <a:pt x="833528" y="219949"/>
                  </a:cubicBezTo>
                  <a:cubicBezTo>
                    <a:pt x="828772" y="207265"/>
                    <a:pt x="826322" y="193572"/>
                    <a:pt x="826322" y="178871"/>
                  </a:cubicBezTo>
                  <a:cubicBezTo>
                    <a:pt x="826322" y="164169"/>
                    <a:pt x="828772" y="150909"/>
                    <a:pt x="833528" y="138369"/>
                  </a:cubicBezTo>
                  <a:cubicBezTo>
                    <a:pt x="838285" y="125829"/>
                    <a:pt x="845203" y="114875"/>
                    <a:pt x="854139" y="105650"/>
                  </a:cubicBezTo>
                  <a:cubicBezTo>
                    <a:pt x="863076" y="96426"/>
                    <a:pt x="873598" y="89219"/>
                    <a:pt x="885705" y="84030"/>
                  </a:cubicBezTo>
                  <a:cubicBezTo>
                    <a:pt x="897812" y="78841"/>
                    <a:pt x="911505" y="76247"/>
                    <a:pt x="926495" y="76247"/>
                  </a:cubicBezTo>
                  <a:cubicBezTo>
                    <a:pt x="940476" y="76247"/>
                    <a:pt x="953016" y="78409"/>
                    <a:pt x="963970" y="82733"/>
                  </a:cubicBezTo>
                  <a:cubicBezTo>
                    <a:pt x="975068" y="87057"/>
                    <a:pt x="984725" y="92967"/>
                    <a:pt x="993085" y="100606"/>
                  </a:cubicBezTo>
                  <a:cubicBezTo>
                    <a:pt x="1004760" y="111272"/>
                    <a:pt x="1013408" y="124820"/>
                    <a:pt x="1019173" y="141107"/>
                  </a:cubicBezTo>
                  <a:cubicBezTo>
                    <a:pt x="1024939" y="157539"/>
                    <a:pt x="1027533" y="175556"/>
                    <a:pt x="1027389" y="195302"/>
                  </a:cubicBezTo>
                  <a:lnTo>
                    <a:pt x="887290" y="195302"/>
                  </a:lnTo>
                  <a:cubicBezTo>
                    <a:pt x="889308" y="208562"/>
                    <a:pt x="893921" y="218940"/>
                    <a:pt x="900983" y="226579"/>
                  </a:cubicBezTo>
                  <a:cubicBezTo>
                    <a:pt x="908046" y="234218"/>
                    <a:pt x="918135" y="237966"/>
                    <a:pt x="931107" y="237966"/>
                  </a:cubicBezTo>
                  <a:cubicBezTo>
                    <a:pt x="939179" y="237966"/>
                    <a:pt x="945953" y="236236"/>
                    <a:pt x="951286" y="232777"/>
                  </a:cubicBezTo>
                  <a:cubicBezTo>
                    <a:pt x="956619" y="229318"/>
                    <a:pt x="960655" y="224561"/>
                    <a:pt x="963393" y="218508"/>
                  </a:cubicBezTo>
                  <a:lnTo>
                    <a:pt x="1023930" y="218508"/>
                  </a:lnTo>
                  <a:cubicBezTo>
                    <a:pt x="1021912" y="227444"/>
                    <a:pt x="1018020" y="235804"/>
                    <a:pt x="1012543" y="243875"/>
                  </a:cubicBezTo>
                  <a:cubicBezTo>
                    <a:pt x="1006922" y="251803"/>
                    <a:pt x="999859" y="258721"/>
                    <a:pt x="991211" y="264630"/>
                  </a:cubicBezTo>
                  <a:cubicBezTo>
                    <a:pt x="983140" y="270540"/>
                    <a:pt x="974059" y="274864"/>
                    <a:pt x="963970" y="277891"/>
                  </a:cubicBezTo>
                  <a:cubicBezTo>
                    <a:pt x="954024" y="280918"/>
                    <a:pt x="942782" y="282503"/>
                    <a:pt x="930242" y="282503"/>
                  </a:cubicBezTo>
                  <a:moveTo>
                    <a:pt x="964546" y="158404"/>
                  </a:moveTo>
                  <a:cubicBezTo>
                    <a:pt x="963249" y="146729"/>
                    <a:pt x="959357" y="137504"/>
                    <a:pt x="952727" y="130586"/>
                  </a:cubicBezTo>
                  <a:cubicBezTo>
                    <a:pt x="946097" y="123811"/>
                    <a:pt x="937737" y="120352"/>
                    <a:pt x="927648" y="120352"/>
                  </a:cubicBezTo>
                  <a:cubicBezTo>
                    <a:pt x="915685" y="120352"/>
                    <a:pt x="906604" y="123811"/>
                    <a:pt x="900262" y="130586"/>
                  </a:cubicBezTo>
                  <a:cubicBezTo>
                    <a:pt x="893921" y="137504"/>
                    <a:pt x="889741" y="146729"/>
                    <a:pt x="887723" y="158404"/>
                  </a:cubicBezTo>
                  <a:lnTo>
                    <a:pt x="964546" y="158404"/>
                  </a:lnTo>
                  <a:close/>
                  <a:moveTo>
                    <a:pt x="1050162" y="2018"/>
                  </a:moveTo>
                  <a:lnTo>
                    <a:pt x="1112140" y="2018"/>
                  </a:lnTo>
                  <a:lnTo>
                    <a:pt x="1112140" y="105939"/>
                  </a:lnTo>
                  <a:lnTo>
                    <a:pt x="1113293" y="105939"/>
                  </a:lnTo>
                  <a:cubicBezTo>
                    <a:pt x="1120355" y="96570"/>
                    <a:pt x="1128427" y="89219"/>
                    <a:pt x="1137219" y="84030"/>
                  </a:cubicBezTo>
                  <a:cubicBezTo>
                    <a:pt x="1146155" y="78841"/>
                    <a:pt x="1157398" y="76247"/>
                    <a:pt x="1171091" y="76247"/>
                  </a:cubicBezTo>
                  <a:cubicBezTo>
                    <a:pt x="1181757" y="76247"/>
                    <a:pt x="1191269" y="78121"/>
                    <a:pt x="1199629" y="81724"/>
                  </a:cubicBezTo>
                  <a:cubicBezTo>
                    <a:pt x="1207989" y="85327"/>
                    <a:pt x="1215052" y="90516"/>
                    <a:pt x="1220961" y="97002"/>
                  </a:cubicBezTo>
                  <a:cubicBezTo>
                    <a:pt x="1226871" y="103488"/>
                    <a:pt x="1231195" y="111272"/>
                    <a:pt x="1234366" y="120208"/>
                  </a:cubicBezTo>
                  <a:cubicBezTo>
                    <a:pt x="1237392" y="129144"/>
                    <a:pt x="1238978" y="139234"/>
                    <a:pt x="1238978" y="150044"/>
                  </a:cubicBezTo>
                  <a:lnTo>
                    <a:pt x="1238978" y="276738"/>
                  </a:lnTo>
                  <a:lnTo>
                    <a:pt x="1177000" y="276738"/>
                  </a:lnTo>
                  <a:lnTo>
                    <a:pt x="1177000" y="162583"/>
                  </a:lnTo>
                  <a:cubicBezTo>
                    <a:pt x="1177000" y="152206"/>
                    <a:pt x="1174406" y="143846"/>
                    <a:pt x="1169361" y="137504"/>
                  </a:cubicBezTo>
                  <a:cubicBezTo>
                    <a:pt x="1164316" y="131162"/>
                    <a:pt x="1156677" y="127991"/>
                    <a:pt x="1146588" y="127991"/>
                  </a:cubicBezTo>
                  <a:cubicBezTo>
                    <a:pt x="1136498" y="127991"/>
                    <a:pt x="1127850" y="131739"/>
                    <a:pt x="1121653" y="139378"/>
                  </a:cubicBezTo>
                  <a:cubicBezTo>
                    <a:pt x="1115455" y="147017"/>
                    <a:pt x="1112284" y="156962"/>
                    <a:pt x="1112284" y="169069"/>
                  </a:cubicBezTo>
                  <a:lnTo>
                    <a:pt x="1112284" y="276738"/>
                  </a:lnTo>
                  <a:lnTo>
                    <a:pt x="1050306" y="276738"/>
                  </a:lnTo>
                  <a:lnTo>
                    <a:pt x="1050306" y="1874"/>
                  </a:lnTo>
                  <a:close/>
                  <a:moveTo>
                    <a:pt x="1362645" y="282936"/>
                  </a:moveTo>
                  <a:cubicBezTo>
                    <a:pt x="1346935" y="282936"/>
                    <a:pt x="1332665" y="280341"/>
                    <a:pt x="1319837" y="275152"/>
                  </a:cubicBezTo>
                  <a:cubicBezTo>
                    <a:pt x="1307009" y="269963"/>
                    <a:pt x="1296055" y="262757"/>
                    <a:pt x="1286830" y="253388"/>
                  </a:cubicBezTo>
                  <a:cubicBezTo>
                    <a:pt x="1277750" y="244163"/>
                    <a:pt x="1270687" y="233209"/>
                    <a:pt x="1265787" y="220670"/>
                  </a:cubicBezTo>
                  <a:cubicBezTo>
                    <a:pt x="1260886" y="208130"/>
                    <a:pt x="1258292" y="194437"/>
                    <a:pt x="1258292" y="179735"/>
                  </a:cubicBezTo>
                  <a:cubicBezTo>
                    <a:pt x="1258292" y="165034"/>
                    <a:pt x="1260742" y="151341"/>
                    <a:pt x="1265787" y="138801"/>
                  </a:cubicBezTo>
                  <a:cubicBezTo>
                    <a:pt x="1270687" y="126262"/>
                    <a:pt x="1277750" y="115307"/>
                    <a:pt x="1286830" y="106083"/>
                  </a:cubicBezTo>
                  <a:cubicBezTo>
                    <a:pt x="1295911" y="96858"/>
                    <a:pt x="1307009" y="89651"/>
                    <a:pt x="1319837" y="84463"/>
                  </a:cubicBezTo>
                  <a:cubicBezTo>
                    <a:pt x="1332665" y="79274"/>
                    <a:pt x="1346935" y="76679"/>
                    <a:pt x="1362645" y="76679"/>
                  </a:cubicBezTo>
                  <a:cubicBezTo>
                    <a:pt x="1378356" y="76679"/>
                    <a:pt x="1392625" y="79274"/>
                    <a:pt x="1405453" y="84463"/>
                  </a:cubicBezTo>
                  <a:cubicBezTo>
                    <a:pt x="1418281" y="89651"/>
                    <a:pt x="1429235" y="96858"/>
                    <a:pt x="1438171" y="106083"/>
                  </a:cubicBezTo>
                  <a:cubicBezTo>
                    <a:pt x="1447108" y="115307"/>
                    <a:pt x="1454170" y="126262"/>
                    <a:pt x="1459071" y="138801"/>
                  </a:cubicBezTo>
                  <a:cubicBezTo>
                    <a:pt x="1463971" y="151341"/>
                    <a:pt x="1466422" y="165034"/>
                    <a:pt x="1466422" y="179735"/>
                  </a:cubicBezTo>
                  <a:cubicBezTo>
                    <a:pt x="1466422" y="194437"/>
                    <a:pt x="1463971" y="208130"/>
                    <a:pt x="1459071" y="220670"/>
                  </a:cubicBezTo>
                  <a:cubicBezTo>
                    <a:pt x="1454170" y="233209"/>
                    <a:pt x="1447108" y="244163"/>
                    <a:pt x="1438171" y="253388"/>
                  </a:cubicBezTo>
                  <a:cubicBezTo>
                    <a:pt x="1429235" y="262613"/>
                    <a:pt x="1418281" y="269819"/>
                    <a:pt x="1405453" y="275152"/>
                  </a:cubicBezTo>
                  <a:cubicBezTo>
                    <a:pt x="1392625" y="280341"/>
                    <a:pt x="1378356" y="282936"/>
                    <a:pt x="1362645" y="282936"/>
                  </a:cubicBezTo>
                  <a:moveTo>
                    <a:pt x="1362213" y="238830"/>
                  </a:moveTo>
                  <a:cubicBezTo>
                    <a:pt x="1375905" y="238830"/>
                    <a:pt x="1386283" y="233497"/>
                    <a:pt x="1393201" y="222687"/>
                  </a:cubicBezTo>
                  <a:cubicBezTo>
                    <a:pt x="1400264" y="211877"/>
                    <a:pt x="1403723" y="197608"/>
                    <a:pt x="1403723" y="179880"/>
                  </a:cubicBezTo>
                  <a:cubicBezTo>
                    <a:pt x="1403723" y="162151"/>
                    <a:pt x="1400264" y="147738"/>
                    <a:pt x="1393201" y="136928"/>
                  </a:cubicBezTo>
                  <a:cubicBezTo>
                    <a:pt x="1386283" y="125973"/>
                    <a:pt x="1375905" y="120496"/>
                    <a:pt x="1362213" y="120496"/>
                  </a:cubicBezTo>
                  <a:cubicBezTo>
                    <a:pt x="1348520" y="120496"/>
                    <a:pt x="1338286" y="125973"/>
                    <a:pt x="1331368" y="136928"/>
                  </a:cubicBezTo>
                  <a:cubicBezTo>
                    <a:pt x="1324594" y="147882"/>
                    <a:pt x="1321134" y="162151"/>
                    <a:pt x="1321134" y="179880"/>
                  </a:cubicBezTo>
                  <a:cubicBezTo>
                    <a:pt x="1321134" y="197608"/>
                    <a:pt x="1324594" y="211877"/>
                    <a:pt x="1331368" y="222687"/>
                  </a:cubicBezTo>
                  <a:cubicBezTo>
                    <a:pt x="1338286" y="233497"/>
                    <a:pt x="1348520" y="238830"/>
                    <a:pt x="1362213" y="238830"/>
                  </a:cubicBezTo>
                  <a:moveTo>
                    <a:pt x="1554488" y="282647"/>
                  </a:moveTo>
                  <a:cubicBezTo>
                    <a:pt x="1531859" y="282647"/>
                    <a:pt x="1514851" y="276017"/>
                    <a:pt x="1503320" y="262613"/>
                  </a:cubicBezTo>
                  <a:cubicBezTo>
                    <a:pt x="1491789" y="249352"/>
                    <a:pt x="1486024" y="231768"/>
                    <a:pt x="1486024" y="209859"/>
                  </a:cubicBezTo>
                  <a:lnTo>
                    <a:pt x="1486024" y="82012"/>
                  </a:lnTo>
                  <a:lnTo>
                    <a:pt x="1547713" y="82012"/>
                  </a:lnTo>
                  <a:lnTo>
                    <a:pt x="1547713" y="197032"/>
                  </a:lnTo>
                  <a:cubicBezTo>
                    <a:pt x="1547713" y="207697"/>
                    <a:pt x="1550164" y="215913"/>
                    <a:pt x="1554920" y="221534"/>
                  </a:cubicBezTo>
                  <a:cubicBezTo>
                    <a:pt x="1559677" y="227300"/>
                    <a:pt x="1567172" y="230038"/>
                    <a:pt x="1576973" y="230038"/>
                  </a:cubicBezTo>
                  <a:cubicBezTo>
                    <a:pt x="1587639" y="230038"/>
                    <a:pt x="1595998" y="226435"/>
                    <a:pt x="1602052" y="219228"/>
                  </a:cubicBezTo>
                  <a:cubicBezTo>
                    <a:pt x="1608106" y="212021"/>
                    <a:pt x="1611132" y="202509"/>
                    <a:pt x="1611132" y="190834"/>
                  </a:cubicBezTo>
                  <a:lnTo>
                    <a:pt x="1611132" y="82012"/>
                  </a:lnTo>
                  <a:lnTo>
                    <a:pt x="1673110" y="82012"/>
                  </a:lnTo>
                  <a:lnTo>
                    <a:pt x="1673110" y="276882"/>
                  </a:lnTo>
                  <a:lnTo>
                    <a:pt x="1613727" y="276882"/>
                  </a:lnTo>
                  <a:lnTo>
                    <a:pt x="1613727" y="252956"/>
                  </a:lnTo>
                  <a:lnTo>
                    <a:pt x="1612574" y="252956"/>
                  </a:lnTo>
                  <a:cubicBezTo>
                    <a:pt x="1605511" y="262613"/>
                    <a:pt x="1597440" y="269963"/>
                    <a:pt x="1588359" y="275008"/>
                  </a:cubicBezTo>
                  <a:cubicBezTo>
                    <a:pt x="1579423" y="280053"/>
                    <a:pt x="1568036" y="282647"/>
                    <a:pt x="1554344" y="282647"/>
                  </a:cubicBezTo>
                  <a:moveTo>
                    <a:pt x="1789571" y="283080"/>
                  </a:moveTo>
                  <a:cubicBezTo>
                    <a:pt x="1760888" y="283080"/>
                    <a:pt x="1738259" y="276882"/>
                    <a:pt x="1721395" y="264630"/>
                  </a:cubicBezTo>
                  <a:cubicBezTo>
                    <a:pt x="1704676" y="252379"/>
                    <a:pt x="1695739" y="235371"/>
                    <a:pt x="1694730" y="213751"/>
                  </a:cubicBezTo>
                  <a:lnTo>
                    <a:pt x="1753393" y="213751"/>
                  </a:lnTo>
                  <a:cubicBezTo>
                    <a:pt x="1754690" y="223408"/>
                    <a:pt x="1758294" y="230615"/>
                    <a:pt x="1764491" y="235515"/>
                  </a:cubicBezTo>
                  <a:cubicBezTo>
                    <a:pt x="1770545" y="240272"/>
                    <a:pt x="1778761" y="242722"/>
                    <a:pt x="1789282" y="242722"/>
                  </a:cubicBezTo>
                  <a:cubicBezTo>
                    <a:pt x="1798651" y="242722"/>
                    <a:pt x="1806146" y="241137"/>
                    <a:pt x="1811479" y="237821"/>
                  </a:cubicBezTo>
                  <a:cubicBezTo>
                    <a:pt x="1816956" y="234506"/>
                    <a:pt x="1819695" y="229750"/>
                    <a:pt x="1819695" y="223408"/>
                  </a:cubicBezTo>
                  <a:cubicBezTo>
                    <a:pt x="1819695" y="219084"/>
                    <a:pt x="1818253" y="215625"/>
                    <a:pt x="1815515" y="212886"/>
                  </a:cubicBezTo>
                  <a:cubicBezTo>
                    <a:pt x="1812776" y="210292"/>
                    <a:pt x="1809029" y="208130"/>
                    <a:pt x="1804416" y="206400"/>
                  </a:cubicBezTo>
                  <a:cubicBezTo>
                    <a:pt x="1799804" y="204815"/>
                    <a:pt x="1794615" y="203518"/>
                    <a:pt x="1788562" y="202653"/>
                  </a:cubicBezTo>
                  <a:cubicBezTo>
                    <a:pt x="1782652" y="201788"/>
                    <a:pt x="1776454" y="200635"/>
                    <a:pt x="1770112" y="199482"/>
                  </a:cubicBezTo>
                  <a:cubicBezTo>
                    <a:pt x="1761753" y="197896"/>
                    <a:pt x="1753393" y="196167"/>
                    <a:pt x="1745033" y="194005"/>
                  </a:cubicBezTo>
                  <a:cubicBezTo>
                    <a:pt x="1736673" y="191843"/>
                    <a:pt x="1729178" y="188672"/>
                    <a:pt x="1722404" y="184348"/>
                  </a:cubicBezTo>
                  <a:cubicBezTo>
                    <a:pt x="1715630" y="180024"/>
                    <a:pt x="1710297" y="174258"/>
                    <a:pt x="1706261" y="167052"/>
                  </a:cubicBezTo>
                  <a:cubicBezTo>
                    <a:pt x="1702225" y="159845"/>
                    <a:pt x="1700207" y="150476"/>
                    <a:pt x="1700207" y="139090"/>
                  </a:cubicBezTo>
                  <a:cubicBezTo>
                    <a:pt x="1700207" y="129000"/>
                    <a:pt x="1702369" y="119920"/>
                    <a:pt x="1706837" y="111992"/>
                  </a:cubicBezTo>
                  <a:cubicBezTo>
                    <a:pt x="1711306" y="104209"/>
                    <a:pt x="1717359" y="97579"/>
                    <a:pt x="1724999" y="92390"/>
                  </a:cubicBezTo>
                  <a:cubicBezTo>
                    <a:pt x="1732638" y="87201"/>
                    <a:pt x="1741574" y="83310"/>
                    <a:pt x="1751808" y="80571"/>
                  </a:cubicBezTo>
                  <a:cubicBezTo>
                    <a:pt x="1762041" y="77977"/>
                    <a:pt x="1772995" y="76535"/>
                    <a:pt x="1784382" y="76535"/>
                  </a:cubicBezTo>
                  <a:cubicBezTo>
                    <a:pt x="1812056" y="76535"/>
                    <a:pt x="1833243" y="82157"/>
                    <a:pt x="1847945" y="93255"/>
                  </a:cubicBezTo>
                  <a:cubicBezTo>
                    <a:pt x="1862647" y="104353"/>
                    <a:pt x="1870718" y="119631"/>
                    <a:pt x="1872304" y="138945"/>
                  </a:cubicBezTo>
                  <a:lnTo>
                    <a:pt x="1815226" y="138945"/>
                  </a:lnTo>
                  <a:cubicBezTo>
                    <a:pt x="1813929" y="130009"/>
                    <a:pt x="1810614" y="124100"/>
                    <a:pt x="1805137" y="120929"/>
                  </a:cubicBezTo>
                  <a:cubicBezTo>
                    <a:pt x="1799660" y="117758"/>
                    <a:pt x="1792598" y="116172"/>
                    <a:pt x="1783949" y="116172"/>
                  </a:cubicBezTo>
                  <a:cubicBezTo>
                    <a:pt x="1776310" y="116172"/>
                    <a:pt x="1769968" y="117614"/>
                    <a:pt x="1764780" y="120496"/>
                  </a:cubicBezTo>
                  <a:cubicBezTo>
                    <a:pt x="1759591" y="123379"/>
                    <a:pt x="1756996" y="127847"/>
                    <a:pt x="1756996" y="134045"/>
                  </a:cubicBezTo>
                  <a:cubicBezTo>
                    <a:pt x="1756996" y="137648"/>
                    <a:pt x="1758294" y="140387"/>
                    <a:pt x="1760744" y="142405"/>
                  </a:cubicBezTo>
                  <a:cubicBezTo>
                    <a:pt x="1763338" y="144423"/>
                    <a:pt x="1766653" y="146152"/>
                    <a:pt x="1770977" y="147593"/>
                  </a:cubicBezTo>
                  <a:cubicBezTo>
                    <a:pt x="1775301" y="149035"/>
                    <a:pt x="1780346" y="150188"/>
                    <a:pt x="1785967" y="151197"/>
                  </a:cubicBezTo>
                  <a:cubicBezTo>
                    <a:pt x="1791733" y="152206"/>
                    <a:pt x="1797642" y="153215"/>
                    <a:pt x="1803696" y="154224"/>
                  </a:cubicBezTo>
                  <a:cubicBezTo>
                    <a:pt x="1812344" y="155665"/>
                    <a:pt x="1820992" y="157539"/>
                    <a:pt x="1829784" y="159701"/>
                  </a:cubicBezTo>
                  <a:cubicBezTo>
                    <a:pt x="1838576" y="161863"/>
                    <a:pt x="1846504" y="165178"/>
                    <a:pt x="1853710" y="169790"/>
                  </a:cubicBezTo>
                  <a:cubicBezTo>
                    <a:pt x="1860917" y="174402"/>
                    <a:pt x="1866827" y="180456"/>
                    <a:pt x="1871439" y="188239"/>
                  </a:cubicBezTo>
                  <a:cubicBezTo>
                    <a:pt x="1876051" y="196023"/>
                    <a:pt x="1878357" y="206112"/>
                    <a:pt x="1878357" y="218508"/>
                  </a:cubicBezTo>
                  <a:cubicBezTo>
                    <a:pt x="1878357" y="229173"/>
                    <a:pt x="1876051" y="238542"/>
                    <a:pt x="1871727" y="246614"/>
                  </a:cubicBezTo>
                  <a:cubicBezTo>
                    <a:pt x="1867259" y="254685"/>
                    <a:pt x="1861061" y="261460"/>
                    <a:pt x="1853278" y="266792"/>
                  </a:cubicBezTo>
                  <a:cubicBezTo>
                    <a:pt x="1845350" y="272125"/>
                    <a:pt x="1835982" y="276161"/>
                    <a:pt x="1825172" y="279044"/>
                  </a:cubicBezTo>
                  <a:cubicBezTo>
                    <a:pt x="1814218" y="281782"/>
                    <a:pt x="1802399" y="283224"/>
                    <a:pt x="1789715" y="283224"/>
                  </a:cubicBezTo>
                  <a:moveTo>
                    <a:pt x="1999430" y="282791"/>
                  </a:moveTo>
                  <a:cubicBezTo>
                    <a:pt x="1983431" y="282791"/>
                    <a:pt x="1969018" y="280197"/>
                    <a:pt x="1956046" y="275008"/>
                  </a:cubicBezTo>
                  <a:cubicBezTo>
                    <a:pt x="1943073" y="269819"/>
                    <a:pt x="1932263" y="262613"/>
                    <a:pt x="1923327" y="253244"/>
                  </a:cubicBezTo>
                  <a:cubicBezTo>
                    <a:pt x="1914391" y="244019"/>
                    <a:pt x="1907617" y="233065"/>
                    <a:pt x="1902716" y="220381"/>
                  </a:cubicBezTo>
                  <a:cubicBezTo>
                    <a:pt x="1897960" y="207697"/>
                    <a:pt x="1895509" y="194005"/>
                    <a:pt x="1895509" y="179303"/>
                  </a:cubicBezTo>
                  <a:cubicBezTo>
                    <a:pt x="1895509" y="164601"/>
                    <a:pt x="1897960" y="151341"/>
                    <a:pt x="1902716" y="138801"/>
                  </a:cubicBezTo>
                  <a:cubicBezTo>
                    <a:pt x="1907473" y="126262"/>
                    <a:pt x="1914391" y="115307"/>
                    <a:pt x="1923327" y="106083"/>
                  </a:cubicBezTo>
                  <a:cubicBezTo>
                    <a:pt x="1932263" y="96858"/>
                    <a:pt x="1942785" y="89651"/>
                    <a:pt x="1954893" y="84463"/>
                  </a:cubicBezTo>
                  <a:cubicBezTo>
                    <a:pt x="1967144" y="79274"/>
                    <a:pt x="1980693" y="76679"/>
                    <a:pt x="1995683" y="76679"/>
                  </a:cubicBezTo>
                  <a:cubicBezTo>
                    <a:pt x="2009664" y="76679"/>
                    <a:pt x="2022059" y="78841"/>
                    <a:pt x="2033157" y="83165"/>
                  </a:cubicBezTo>
                  <a:cubicBezTo>
                    <a:pt x="2044256" y="87489"/>
                    <a:pt x="2053913" y="93399"/>
                    <a:pt x="2062273" y="101038"/>
                  </a:cubicBezTo>
                  <a:cubicBezTo>
                    <a:pt x="2073947" y="111704"/>
                    <a:pt x="2082596" y="125253"/>
                    <a:pt x="2088361" y="141540"/>
                  </a:cubicBezTo>
                  <a:cubicBezTo>
                    <a:pt x="2094126" y="157971"/>
                    <a:pt x="2096865" y="175988"/>
                    <a:pt x="2096577" y="195734"/>
                  </a:cubicBezTo>
                  <a:lnTo>
                    <a:pt x="1956478" y="195734"/>
                  </a:lnTo>
                  <a:cubicBezTo>
                    <a:pt x="1958496" y="208995"/>
                    <a:pt x="1963108" y="219372"/>
                    <a:pt x="1970171" y="227011"/>
                  </a:cubicBezTo>
                  <a:cubicBezTo>
                    <a:pt x="1977233" y="234651"/>
                    <a:pt x="1987323" y="238398"/>
                    <a:pt x="2000295" y="238398"/>
                  </a:cubicBezTo>
                  <a:cubicBezTo>
                    <a:pt x="2008366" y="238398"/>
                    <a:pt x="2015141" y="236668"/>
                    <a:pt x="2020474" y="233209"/>
                  </a:cubicBezTo>
                  <a:cubicBezTo>
                    <a:pt x="2025807" y="229750"/>
                    <a:pt x="2029842" y="224994"/>
                    <a:pt x="2032725" y="218940"/>
                  </a:cubicBezTo>
                  <a:lnTo>
                    <a:pt x="2093262" y="218940"/>
                  </a:lnTo>
                  <a:cubicBezTo>
                    <a:pt x="2091244" y="227876"/>
                    <a:pt x="2087496" y="236236"/>
                    <a:pt x="2081875" y="244308"/>
                  </a:cubicBezTo>
                  <a:cubicBezTo>
                    <a:pt x="2076254" y="252379"/>
                    <a:pt x="2069191" y="259153"/>
                    <a:pt x="2060543" y="265063"/>
                  </a:cubicBezTo>
                  <a:cubicBezTo>
                    <a:pt x="2052472" y="270972"/>
                    <a:pt x="2043391" y="275296"/>
                    <a:pt x="2033302" y="278323"/>
                  </a:cubicBezTo>
                  <a:cubicBezTo>
                    <a:pt x="2023212" y="281350"/>
                    <a:pt x="2011970" y="282936"/>
                    <a:pt x="1999574" y="282936"/>
                  </a:cubicBezTo>
                  <a:moveTo>
                    <a:pt x="2033878" y="158836"/>
                  </a:moveTo>
                  <a:cubicBezTo>
                    <a:pt x="2032581" y="147161"/>
                    <a:pt x="2028689" y="137936"/>
                    <a:pt x="2022059" y="131018"/>
                  </a:cubicBezTo>
                  <a:cubicBezTo>
                    <a:pt x="2015429" y="124244"/>
                    <a:pt x="2007069" y="120784"/>
                    <a:pt x="1996980" y="120784"/>
                  </a:cubicBezTo>
                  <a:cubicBezTo>
                    <a:pt x="1985017" y="120784"/>
                    <a:pt x="1975936" y="124244"/>
                    <a:pt x="1969594" y="131018"/>
                  </a:cubicBezTo>
                  <a:cubicBezTo>
                    <a:pt x="1963252" y="137936"/>
                    <a:pt x="1959072" y="147161"/>
                    <a:pt x="1957055" y="158836"/>
                  </a:cubicBezTo>
                  <a:lnTo>
                    <a:pt x="2033878" y="158836"/>
                  </a:lnTo>
                  <a:close/>
                </a:path>
              </a:pathLst>
            </a:custGeom>
            <a:solidFill>
              <a:srgbClr val="000000"/>
            </a:solidFill>
            <a:ln w="0"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15457261-1C34-087B-4575-1B5E779EBBAB}"/>
                </a:ext>
              </a:extLst>
            </p:cNvPr>
            <p:cNvSpPr/>
            <p:nvPr/>
          </p:nvSpPr>
          <p:spPr>
            <a:xfrm>
              <a:off x="882878" y="557212"/>
              <a:ext cx="273278" cy="674980"/>
            </a:xfrm>
            <a:custGeom>
              <a:avLst/>
              <a:gdLst>
                <a:gd name="connsiteX0" fmla="*/ 0 w 273278"/>
                <a:gd name="connsiteY0" fmla="*/ 0 h 674980"/>
                <a:gd name="connsiteX1" fmla="*/ 0 w 273278"/>
                <a:gd name="connsiteY1" fmla="*/ 476508 h 674980"/>
                <a:gd name="connsiteX2" fmla="*/ 272558 w 273278"/>
                <a:gd name="connsiteY2" fmla="*/ 674981 h 674980"/>
                <a:gd name="connsiteX3" fmla="*/ 273278 w 273278"/>
                <a:gd name="connsiteY3" fmla="*/ 674260 h 674980"/>
                <a:gd name="connsiteX4" fmla="*/ 0 w 273278"/>
                <a:gd name="connsiteY4" fmla="*/ 0 h 674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980">
                  <a:moveTo>
                    <a:pt x="0" y="0"/>
                  </a:moveTo>
                  <a:lnTo>
                    <a:pt x="0" y="476508"/>
                  </a:lnTo>
                  <a:lnTo>
                    <a:pt x="272558" y="674981"/>
                  </a:lnTo>
                  <a:cubicBezTo>
                    <a:pt x="272558" y="674981"/>
                    <a:pt x="273134" y="674404"/>
                    <a:pt x="273278" y="674260"/>
                  </a:cubicBezTo>
                  <a:lnTo>
                    <a:pt x="0" y="0"/>
                  </a:lnTo>
                  <a:close/>
                </a:path>
              </a:pathLst>
            </a:custGeom>
            <a:solidFill>
              <a:srgbClr val="93D500"/>
            </a:solidFill>
            <a:ln w="0"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CDB77CD-C5E1-9227-DF1A-82C8E96E04A3}"/>
                </a:ext>
              </a:extLst>
            </p:cNvPr>
            <p:cNvSpPr/>
            <p:nvPr/>
          </p:nvSpPr>
          <p:spPr>
            <a:xfrm>
              <a:off x="609600" y="557212"/>
              <a:ext cx="273278" cy="674836"/>
            </a:xfrm>
            <a:custGeom>
              <a:avLst/>
              <a:gdLst>
                <a:gd name="connsiteX0" fmla="*/ 0 w 273278"/>
                <a:gd name="connsiteY0" fmla="*/ 674116 h 674836"/>
                <a:gd name="connsiteX1" fmla="*/ 721 w 273278"/>
                <a:gd name="connsiteY1" fmla="*/ 674837 h 674836"/>
                <a:gd name="connsiteX2" fmla="*/ 273278 w 273278"/>
                <a:gd name="connsiteY2" fmla="*/ 476364 h 674836"/>
                <a:gd name="connsiteX3" fmla="*/ 273278 w 273278"/>
                <a:gd name="connsiteY3" fmla="*/ 0 h 674836"/>
                <a:gd name="connsiteX4" fmla="*/ 0 w 273278"/>
                <a:gd name="connsiteY4" fmla="*/ 674116 h 674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836">
                  <a:moveTo>
                    <a:pt x="0" y="674116"/>
                  </a:moveTo>
                  <a:cubicBezTo>
                    <a:pt x="0" y="674116"/>
                    <a:pt x="577" y="674692"/>
                    <a:pt x="721" y="674837"/>
                  </a:cubicBezTo>
                  <a:lnTo>
                    <a:pt x="273278" y="476364"/>
                  </a:lnTo>
                  <a:lnTo>
                    <a:pt x="273278" y="0"/>
                  </a:lnTo>
                  <a:lnTo>
                    <a:pt x="0" y="674116"/>
                  </a:lnTo>
                  <a:close/>
                </a:path>
              </a:pathLst>
            </a:custGeom>
            <a:solidFill>
              <a:srgbClr val="000000"/>
            </a:solidFill>
            <a:ln w="0" cap="flat">
              <a:noFill/>
              <a:prstDash val="solid"/>
              <a:miter/>
            </a:ln>
          </p:spPr>
          <p:txBody>
            <a:bodyPr rtlCol="0" anchor="ctr"/>
            <a:lstStyle/>
            <a:p>
              <a:endParaRPr lang="en-US" dirty="0"/>
            </a:p>
          </p:txBody>
        </p:sp>
      </p:grpSp>
      <p:sp>
        <p:nvSpPr>
          <p:cNvPr id="58" name="Text Placeholder 16">
            <a:extLst>
              <a:ext uri="{FF2B5EF4-FFF2-40B4-BE49-F238E27FC236}">
                <a16:creationId xmlns:a16="http://schemas.microsoft.com/office/drawing/2014/main" id="{2CEC33A9-A637-6C33-525A-AF284749A9F6}"/>
              </a:ext>
            </a:extLst>
          </p:cNvPr>
          <p:cNvSpPr>
            <a:spLocks noGrp="1"/>
          </p:cNvSpPr>
          <p:nvPr>
            <p:ph type="body" sz="quarter" idx="15" hasCustomPrompt="1"/>
          </p:nvPr>
        </p:nvSpPr>
        <p:spPr>
          <a:xfrm>
            <a:off x="609600" y="1523079"/>
            <a:ext cx="1333500" cy="223908"/>
          </a:xfrm>
        </p:spPr>
        <p:txBody>
          <a:bodyPr wrap="square">
            <a:noAutofit/>
          </a:bodyPr>
          <a:lstStyle>
            <a:lvl1pPr algn="l">
              <a:spcAft>
                <a:spcPts val="0"/>
              </a:spcAft>
              <a:defRPr sz="14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6" name="Graphic 5">
            <a:extLst>
              <a:ext uri="{FF2B5EF4-FFF2-40B4-BE49-F238E27FC236}">
                <a16:creationId xmlns:a16="http://schemas.microsoft.com/office/drawing/2014/main" id="{0DBEBFD3-3735-BFC8-D7E6-A618637D48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sp>
        <p:nvSpPr>
          <p:cNvPr id="8" name="Picture Placeholder 6">
            <a:extLst>
              <a:ext uri="{FF2B5EF4-FFF2-40B4-BE49-F238E27FC236}">
                <a16:creationId xmlns:a16="http://schemas.microsoft.com/office/drawing/2014/main" id="{53B85769-FCCA-2D63-E7A5-C3FB3AF5264E}"/>
              </a:ext>
            </a:extLst>
          </p:cNvPr>
          <p:cNvSpPr>
            <a:spLocks noGrp="1"/>
          </p:cNvSpPr>
          <p:nvPr>
            <p:ph type="pic" sz="quarter" idx="16" hasCustomPrompt="1"/>
          </p:nvPr>
        </p:nvSpPr>
        <p:spPr>
          <a:xfrm>
            <a:off x="6645285" y="0"/>
            <a:ext cx="5546715" cy="6858000"/>
          </a:xfrm>
          <a:solidFill>
            <a:schemeClr val="bg1">
              <a:lumMod val="75000"/>
            </a:schemeClr>
          </a:solidFill>
        </p:spPr>
        <p:txBody>
          <a:bodyPr anchor="ctr"/>
          <a:lstStyle>
            <a:lvl1pPr algn="ctr">
              <a:defRPr sz="1000" b="0"/>
            </a:lvl1pPr>
          </a:lstStyle>
          <a:p>
            <a:r>
              <a:rPr lang="en-US" dirty="0"/>
              <a:t>Insert Photo</a:t>
            </a:r>
          </a:p>
        </p:txBody>
      </p:sp>
      <p:sp>
        <p:nvSpPr>
          <p:cNvPr id="2" name="Text Placeholder 33">
            <a:extLst>
              <a:ext uri="{FF2B5EF4-FFF2-40B4-BE49-F238E27FC236}">
                <a16:creationId xmlns:a16="http://schemas.microsoft.com/office/drawing/2014/main" id="{88AE528E-3459-3BE1-3110-B431E04FF8C8}"/>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tx2"/>
                </a:solidFill>
                <a:latin typeface="+mj-lt"/>
              </a:defRPr>
            </a:lvl1pPr>
            <a:lvl2pPr marL="0" indent="0">
              <a:spcAft>
                <a:spcPts val="300"/>
              </a:spcAft>
              <a:buNone/>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4" name="Text Placeholder 33">
            <a:extLst>
              <a:ext uri="{FF2B5EF4-FFF2-40B4-BE49-F238E27FC236}">
                <a16:creationId xmlns:a16="http://schemas.microsoft.com/office/drawing/2014/main" id="{2D8DD257-F285-9A19-2F10-3B81AA2D213F}"/>
              </a:ext>
            </a:extLst>
          </p:cNvPr>
          <p:cNvSpPr>
            <a:spLocks noGrp="1"/>
          </p:cNvSpPr>
          <p:nvPr>
            <p:ph type="body" sz="quarter" idx="17"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701285883"/>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Agenda + Image">
    <p:bg>
      <p:bgPr>
        <a:solidFill>
          <a:srgbClr val="F3F3F3"/>
        </a:solidFill>
        <a:effectLst/>
      </p:bgPr>
    </p:bg>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AA09BD20-B30C-CC32-D428-A1EBE6AC61FC}"/>
              </a:ext>
            </a:extLst>
          </p:cNvPr>
          <p:cNvSpPr>
            <a:spLocks noGrp="1"/>
          </p:cNvSpPr>
          <p:nvPr>
            <p:ph type="pic" sz="quarter" idx="45" hasCustomPrompt="1"/>
          </p:nvPr>
        </p:nvSpPr>
        <p:spPr>
          <a:xfrm>
            <a:off x="0" y="1600200"/>
            <a:ext cx="12192000" cy="3052762"/>
          </a:xfrm>
          <a:solidFill>
            <a:schemeClr val="bg1">
              <a:lumMod val="75000"/>
            </a:schemeClr>
          </a:solidFill>
        </p:spPr>
        <p:txBody>
          <a:bodyPr vert="horz" wrap="square" lIns="0" tIns="0" rIns="0" bIns="0" rtlCol="0" anchor="ctr">
            <a:noAutofit/>
          </a:bodyPr>
          <a:lstStyle>
            <a:lvl1pPr>
              <a:defRPr lang="en-US" sz="1000" b="0" dirty="0"/>
            </a:lvl1pPr>
          </a:lstStyle>
          <a:p>
            <a:pPr lvl="0" algn="ctr"/>
            <a:r>
              <a:rPr lang="en-US" dirty="0"/>
              <a:t>Insert Photo</a:t>
            </a:r>
          </a:p>
        </p:txBody>
      </p:sp>
      <p:graphicFrame>
        <p:nvGraphicFramePr>
          <p:cNvPr id="4" name="think-cell data - do not delete" hidden="1">
            <a:extLst>
              <a:ext uri="{FF2B5EF4-FFF2-40B4-BE49-F238E27FC236}">
                <a16:creationId xmlns:a16="http://schemas.microsoft.com/office/drawing/2014/main" id="{E24B2B4B-82F9-1536-578C-43BD5CE8AF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E24B2B4B-82F9-1536-578C-43BD5CE8A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itle 44">
            <a:extLst>
              <a:ext uri="{FF2B5EF4-FFF2-40B4-BE49-F238E27FC236}">
                <a16:creationId xmlns:a16="http://schemas.microsoft.com/office/drawing/2014/main" id="{8C8DBED3-A629-FC99-1B8F-BE074A307F8C}"/>
              </a:ext>
            </a:extLst>
          </p:cNvPr>
          <p:cNvSpPr>
            <a:spLocks noGrp="1"/>
          </p:cNvSpPr>
          <p:nvPr>
            <p:ph type="title" hasCustomPrompt="1"/>
          </p:nvPr>
        </p:nvSpPr>
        <p:spPr>
          <a:xfrm>
            <a:off x="609600" y="800754"/>
            <a:ext cx="5486400" cy="553998"/>
          </a:xfrm>
        </p:spPr>
        <p:txBody>
          <a:bodyPr vert="horz"/>
          <a:lstStyle>
            <a:lvl1pPr>
              <a:defRPr/>
            </a:lvl1pPr>
          </a:lstStyle>
          <a:p>
            <a:r>
              <a:rPr lang="en-US"/>
              <a:t>Agenda</a:t>
            </a:r>
          </a:p>
        </p:txBody>
      </p:sp>
      <p:sp>
        <p:nvSpPr>
          <p:cNvPr id="51" name="Footer Placeholder 50">
            <a:extLst>
              <a:ext uri="{FF2B5EF4-FFF2-40B4-BE49-F238E27FC236}">
                <a16:creationId xmlns:a16="http://schemas.microsoft.com/office/drawing/2014/main" id="{E6307089-0337-1E41-2413-B773C7DDA356}"/>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4 Guidehouse</a:t>
            </a:r>
          </a:p>
        </p:txBody>
      </p:sp>
      <p:sp>
        <p:nvSpPr>
          <p:cNvPr id="53" name="Text Placeholder 7">
            <a:extLst>
              <a:ext uri="{FF2B5EF4-FFF2-40B4-BE49-F238E27FC236}">
                <a16:creationId xmlns:a16="http://schemas.microsoft.com/office/drawing/2014/main" id="{835ECE48-5FE3-A1E7-D32C-C2F6ADBC4A87}"/>
              </a:ext>
            </a:extLst>
          </p:cNvPr>
          <p:cNvSpPr>
            <a:spLocks noGrp="1"/>
          </p:cNvSpPr>
          <p:nvPr>
            <p:ph type="body" sz="quarter" idx="1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7FA0D2-F8F7-895F-2FBF-67E102F5B1D5}"/>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BC655C-7979-A16B-0182-2803B04DF645}"/>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think-cell data - do not delete" hidden="1">
            <a:extLst>
              <a:ext uri="{FF2B5EF4-FFF2-40B4-BE49-F238E27FC236}">
                <a16:creationId xmlns:a16="http://schemas.microsoft.com/office/drawing/2014/main" id="{8E62D234-D5FD-48E0-D01F-6175CB455F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think-cell data - do not delete" hidden="1">
                        <a:extLst>
                          <a:ext uri="{FF2B5EF4-FFF2-40B4-BE49-F238E27FC236}">
                            <a16:creationId xmlns:a16="http://schemas.microsoft.com/office/drawing/2014/main" id="{8E62D234-D5FD-48E0-D01F-6175CB455F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3B0381F1-E3BA-89CB-8B69-00C507D035B7}"/>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E1B46AC-808C-5D43-EA1B-15963FBCA79E}"/>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24">
            <a:extLst>
              <a:ext uri="{FF2B5EF4-FFF2-40B4-BE49-F238E27FC236}">
                <a16:creationId xmlns:a16="http://schemas.microsoft.com/office/drawing/2014/main" id="{CE4D3010-E8F4-6ECE-FC85-E5C43829DD42}"/>
              </a:ext>
            </a:extLst>
          </p:cNvPr>
          <p:cNvSpPr>
            <a:spLocks noGrp="1"/>
          </p:cNvSpPr>
          <p:nvPr>
            <p:ph type="body" sz="quarter" idx="29"/>
          </p:nvPr>
        </p:nvSpPr>
        <p:spPr>
          <a:xfrm>
            <a:off x="609599"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8" name="Text Placeholder 26">
            <a:extLst>
              <a:ext uri="{FF2B5EF4-FFF2-40B4-BE49-F238E27FC236}">
                <a16:creationId xmlns:a16="http://schemas.microsoft.com/office/drawing/2014/main" id="{D3BAA845-643F-89D1-F332-B3E022656A10}"/>
              </a:ext>
            </a:extLst>
          </p:cNvPr>
          <p:cNvSpPr>
            <a:spLocks noGrp="1"/>
          </p:cNvSpPr>
          <p:nvPr>
            <p:ph type="body" sz="quarter" idx="37" hasCustomPrompt="1"/>
          </p:nvPr>
        </p:nvSpPr>
        <p:spPr>
          <a:xfrm>
            <a:off x="609600"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15" name="Text Placeholder 24">
            <a:extLst>
              <a:ext uri="{FF2B5EF4-FFF2-40B4-BE49-F238E27FC236}">
                <a16:creationId xmlns:a16="http://schemas.microsoft.com/office/drawing/2014/main" id="{DCEFF89C-78B8-ADF9-24ED-AEA05D3EC470}"/>
              </a:ext>
            </a:extLst>
          </p:cNvPr>
          <p:cNvSpPr>
            <a:spLocks noGrp="1"/>
          </p:cNvSpPr>
          <p:nvPr>
            <p:ph type="body" sz="quarter" idx="38"/>
          </p:nvPr>
        </p:nvSpPr>
        <p:spPr>
          <a:xfrm>
            <a:off x="3484244"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16" name="Text Placeholder 26">
            <a:extLst>
              <a:ext uri="{FF2B5EF4-FFF2-40B4-BE49-F238E27FC236}">
                <a16:creationId xmlns:a16="http://schemas.microsoft.com/office/drawing/2014/main" id="{D8446354-7DF9-CD63-06FD-34CC052BDF48}"/>
              </a:ext>
            </a:extLst>
          </p:cNvPr>
          <p:cNvSpPr>
            <a:spLocks noGrp="1"/>
          </p:cNvSpPr>
          <p:nvPr>
            <p:ph type="body" sz="quarter" idx="39" hasCustomPrompt="1"/>
          </p:nvPr>
        </p:nvSpPr>
        <p:spPr>
          <a:xfrm>
            <a:off x="3484244"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19" name="Text Placeholder 24">
            <a:extLst>
              <a:ext uri="{FF2B5EF4-FFF2-40B4-BE49-F238E27FC236}">
                <a16:creationId xmlns:a16="http://schemas.microsoft.com/office/drawing/2014/main" id="{A705EFF2-4847-92E0-5295-3C574E55E1DF}"/>
              </a:ext>
            </a:extLst>
          </p:cNvPr>
          <p:cNvSpPr>
            <a:spLocks noGrp="1"/>
          </p:cNvSpPr>
          <p:nvPr>
            <p:ph type="body" sz="quarter" idx="40"/>
          </p:nvPr>
        </p:nvSpPr>
        <p:spPr>
          <a:xfrm>
            <a:off x="6358889"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20" name="Text Placeholder 26">
            <a:extLst>
              <a:ext uri="{FF2B5EF4-FFF2-40B4-BE49-F238E27FC236}">
                <a16:creationId xmlns:a16="http://schemas.microsoft.com/office/drawing/2014/main" id="{AC7CA245-18EA-597A-82E5-BA3812A8DE29}"/>
              </a:ext>
            </a:extLst>
          </p:cNvPr>
          <p:cNvSpPr>
            <a:spLocks noGrp="1"/>
          </p:cNvSpPr>
          <p:nvPr>
            <p:ph type="body" sz="quarter" idx="41" hasCustomPrompt="1"/>
          </p:nvPr>
        </p:nvSpPr>
        <p:spPr>
          <a:xfrm>
            <a:off x="6358889"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23" name="Text Placeholder 24">
            <a:extLst>
              <a:ext uri="{FF2B5EF4-FFF2-40B4-BE49-F238E27FC236}">
                <a16:creationId xmlns:a16="http://schemas.microsoft.com/office/drawing/2014/main" id="{924E5149-F5C8-EA54-727E-B8B68A5FE9F7}"/>
              </a:ext>
            </a:extLst>
          </p:cNvPr>
          <p:cNvSpPr>
            <a:spLocks noGrp="1"/>
          </p:cNvSpPr>
          <p:nvPr>
            <p:ph type="body" sz="quarter" idx="42"/>
          </p:nvPr>
        </p:nvSpPr>
        <p:spPr>
          <a:xfrm>
            <a:off x="9233535"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24" name="Text Placeholder 26">
            <a:extLst>
              <a:ext uri="{FF2B5EF4-FFF2-40B4-BE49-F238E27FC236}">
                <a16:creationId xmlns:a16="http://schemas.microsoft.com/office/drawing/2014/main" id="{3489A859-38FC-693E-A6ED-DA783AAA67BC}"/>
              </a:ext>
            </a:extLst>
          </p:cNvPr>
          <p:cNvSpPr>
            <a:spLocks noGrp="1"/>
          </p:cNvSpPr>
          <p:nvPr>
            <p:ph type="body" sz="quarter" idx="43" hasCustomPrompt="1"/>
          </p:nvPr>
        </p:nvSpPr>
        <p:spPr>
          <a:xfrm>
            <a:off x="9233535"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29" name="Date Placeholder 49">
            <a:extLst>
              <a:ext uri="{FF2B5EF4-FFF2-40B4-BE49-F238E27FC236}">
                <a16:creationId xmlns:a16="http://schemas.microsoft.com/office/drawing/2014/main" id="{B060A5B5-C6DF-5D69-2D87-90F40677BABD}"/>
              </a:ext>
            </a:extLst>
          </p:cNvPr>
          <p:cNvSpPr>
            <a:spLocks noGrp="1"/>
          </p:cNvSpPr>
          <p:nvPr>
            <p:ph type="dt" sz="half" idx="44"/>
          </p:nvPr>
        </p:nvSpPr>
        <p:spPr>
          <a:xfrm>
            <a:off x="10236555" y="139419"/>
            <a:ext cx="1345845" cy="153888"/>
          </a:xfrm>
        </p:spPr>
        <p:txBody>
          <a:bodyPr>
            <a:noAutofit/>
          </a:bodyPr>
          <a:lstStyle>
            <a:lvl1pPr>
              <a:defRPr>
                <a:solidFill>
                  <a:schemeClr val="tx1">
                    <a:lumMod val="75000"/>
                    <a:lumOff val="25000"/>
                  </a:schemeClr>
                </a:solidFill>
              </a:defRPr>
            </a:lvl1pPr>
          </a:lstStyle>
          <a:p>
            <a:fld id="{8EC7FE3E-E251-492A-8A26-609F7661DDA5}" type="datetime4">
              <a:rPr lang="en-US" smtClean="0"/>
              <a:t>May 17, 2025</a:t>
            </a:fld>
            <a:endParaRPr lang="en-US" dirty="0"/>
          </a:p>
        </p:txBody>
      </p:sp>
      <p:sp>
        <p:nvSpPr>
          <p:cNvPr id="30" name="Slide Number Placeholder 5">
            <a:extLst>
              <a:ext uri="{FF2B5EF4-FFF2-40B4-BE49-F238E27FC236}">
                <a16:creationId xmlns:a16="http://schemas.microsoft.com/office/drawing/2014/main" id="{41599AF1-5158-10CB-A04F-6F714A9AF221}"/>
              </a:ext>
            </a:extLst>
          </p:cNvPr>
          <p:cNvSpPr>
            <a:spLocks noGrp="1"/>
          </p:cNvSpPr>
          <p:nvPr>
            <p:ph type="sldNum" sz="quarter" idx="12"/>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Tree>
    <p:extLst>
      <p:ext uri="{BB962C8B-B14F-4D97-AF65-F5344CB8AC3E}">
        <p14:creationId xmlns:p14="http://schemas.microsoft.com/office/powerpoint/2010/main" val="4359577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Slide with Photo - Dark">
    <p:bg>
      <p:bgPr>
        <a:solidFill>
          <a:schemeClr val="tx2"/>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BCB6D247-1918-2009-BF8B-72F06F7A48BC}"/>
              </a:ext>
            </a:extLst>
          </p:cNvPr>
          <p:cNvSpPr>
            <a:spLocks noGrp="1"/>
          </p:cNvSpPr>
          <p:nvPr>
            <p:ph type="pic" sz="quarter" idx="13"/>
          </p:nvPr>
        </p:nvSpPr>
        <p:spPr>
          <a:xfrm>
            <a:off x="1181100" y="1557159"/>
            <a:ext cx="3619500" cy="3619500"/>
          </a:xfrm>
          <a:prstGeom prst="ellipse">
            <a:avLst/>
          </a:prstGeom>
          <a:solidFill>
            <a:schemeClr val="bg1">
              <a:lumMod val="75000"/>
            </a:schemeClr>
          </a:solidFill>
        </p:spPr>
        <p:txBody>
          <a:bodyPr vert="horz" wrap="square" lIns="0" tIns="0" rIns="0" bIns="0" rtlCol="0" anchor="ctr">
            <a:noAutofit/>
          </a:bodyPr>
          <a:lstStyle>
            <a:lvl1pPr>
              <a:defRPr lang="en-US" sz="1000" b="0"/>
            </a:lvl1pPr>
          </a:lstStyle>
          <a:p>
            <a:pPr lvl="0" algn="ctr"/>
            <a:r>
              <a:rPr lang="en-US" dirty="0"/>
              <a:t>Click icon to add picture</a:t>
            </a:r>
          </a:p>
        </p:txBody>
      </p:sp>
      <p:cxnSp>
        <p:nvCxnSpPr>
          <p:cNvPr id="12" name="Straight Connector 11">
            <a:extLst>
              <a:ext uri="{FF2B5EF4-FFF2-40B4-BE49-F238E27FC236}">
                <a16:creationId xmlns:a16="http://schemas.microsoft.com/office/drawing/2014/main" id="{FE187098-AD66-B07F-82B5-BA55788E388F}"/>
              </a:ext>
            </a:extLst>
          </p:cNvPr>
          <p:cNvCxnSpPr>
            <a:cxnSpLocks/>
          </p:cNvCxnSpPr>
          <p:nvPr/>
        </p:nvCxnSpPr>
        <p:spPr>
          <a:xfrm>
            <a:off x="6738655" y="4526737"/>
            <a:ext cx="48483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9">
            <a:extLst>
              <a:ext uri="{FF2B5EF4-FFF2-40B4-BE49-F238E27FC236}">
                <a16:creationId xmlns:a16="http://schemas.microsoft.com/office/drawing/2014/main" id="{7A16E765-6BD0-3CDD-70C1-CA8D2467CB01}"/>
              </a:ext>
            </a:extLst>
          </p:cNvPr>
          <p:cNvSpPr>
            <a:spLocks noGrp="1"/>
          </p:cNvSpPr>
          <p:nvPr>
            <p:ph type="body" sz="quarter" idx="14"/>
          </p:nvPr>
        </p:nvSpPr>
        <p:spPr>
          <a:xfrm>
            <a:off x="6734083" y="1960494"/>
            <a:ext cx="4848317" cy="2212848"/>
          </a:xfrm>
        </p:spPr>
        <p:txBody>
          <a:bodyPr anchor="b">
            <a:noAutofit/>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2" name="Text Placeholder 19">
            <a:extLst>
              <a:ext uri="{FF2B5EF4-FFF2-40B4-BE49-F238E27FC236}">
                <a16:creationId xmlns:a16="http://schemas.microsoft.com/office/drawing/2014/main" id="{FB69FE2A-FEB7-BE08-9456-D4BD5BC806AD}"/>
              </a:ext>
            </a:extLst>
          </p:cNvPr>
          <p:cNvSpPr>
            <a:spLocks noGrp="1" noRot="1" noMove="1" noResize="1" noEditPoints="1" noAdjustHandles="1" noChangeArrowheads="1" noChangeShapeType="1"/>
          </p:cNvSpPr>
          <p:nvPr>
            <p:ph type="body" sz="quarter" idx="16" hasCustomPrompt="1"/>
          </p:nvPr>
        </p:nvSpPr>
        <p:spPr>
          <a:xfrm>
            <a:off x="5733826" y="911568"/>
            <a:ext cx="956993" cy="3062377"/>
          </a:xfrm>
        </p:spPr>
        <p:txBody>
          <a:bodyPr wrap="none" anchor="t">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9900" kern="1200" dirty="0">
                <a:solidFill>
                  <a:schemeClr val="accent1"/>
                </a:solidFill>
                <a:latin typeface="Franklin Gothic Medium Cond" panose="020B0606030402020204" pitchFamily="34"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63" name="Text Placeholder 33">
            <a:extLst>
              <a:ext uri="{FF2B5EF4-FFF2-40B4-BE49-F238E27FC236}">
                <a16:creationId xmlns:a16="http://schemas.microsoft.com/office/drawing/2014/main" id="{49315336-CF85-AB2B-B3A4-46E89F0D9687}"/>
              </a:ext>
            </a:extLst>
          </p:cNvPr>
          <p:cNvSpPr>
            <a:spLocks noGrp="1"/>
          </p:cNvSpPr>
          <p:nvPr>
            <p:ph type="body" sz="quarter" idx="20" hasCustomPrompt="1"/>
          </p:nvPr>
        </p:nvSpPr>
        <p:spPr>
          <a:xfrm>
            <a:off x="6734082" y="4876991"/>
            <a:ext cx="4848317" cy="299668"/>
          </a:xfrm>
        </p:spPr>
        <p:txBody>
          <a:bodyPr wrap="square">
            <a:noAutofit/>
          </a:bodyPr>
          <a:lstStyle>
            <a:lvl1pPr marL="0" indent="0" algn="r">
              <a:spcAft>
                <a:spcPts val="300"/>
              </a:spcAft>
              <a:buFont typeface="Arial" panose="020B0604020202020204" pitchFamily="34" charset="0"/>
              <a:buNone/>
              <a:defRPr sz="1600" b="1">
                <a:solidFill>
                  <a:schemeClr val="accent1"/>
                </a:solidFill>
                <a:latin typeface="+mj-lt"/>
              </a:defRPr>
            </a:lvl1pPr>
            <a:lvl2pPr marL="0" indent="0" algn="r">
              <a:spcAft>
                <a:spcPts val="300"/>
              </a:spcAft>
              <a:buNone/>
              <a:defRPr sz="14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3" name="Text Placeholder 7">
            <a:extLst>
              <a:ext uri="{FF2B5EF4-FFF2-40B4-BE49-F238E27FC236}">
                <a16:creationId xmlns:a16="http://schemas.microsoft.com/office/drawing/2014/main" id="{A7C5D94E-21FC-6AC5-66EE-F82FAB1D00F7}"/>
              </a:ext>
            </a:extLst>
          </p:cNvPr>
          <p:cNvSpPr>
            <a:spLocks noGrp="1"/>
          </p:cNvSpPr>
          <p:nvPr>
            <p:ph type="body" sz="quarter" idx="21"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6" name="Date Placeholder 12">
            <a:extLst>
              <a:ext uri="{FF2B5EF4-FFF2-40B4-BE49-F238E27FC236}">
                <a16:creationId xmlns:a16="http://schemas.microsoft.com/office/drawing/2014/main" id="{95E5C207-2DAF-C132-6FF6-E4FDC93005CA}"/>
              </a:ext>
            </a:extLst>
          </p:cNvPr>
          <p:cNvSpPr>
            <a:spLocks noGrp="1"/>
          </p:cNvSpPr>
          <p:nvPr>
            <p:ph type="dt" sz="half" idx="22"/>
          </p:nvPr>
        </p:nvSpPr>
        <p:spPr>
          <a:xfrm>
            <a:off x="10236555" y="138027"/>
            <a:ext cx="1345845" cy="153888"/>
          </a:xfrm>
        </p:spPr>
        <p:txBody>
          <a:bodyPr>
            <a:noAutofit/>
          </a:bodyPr>
          <a:lstStyle>
            <a:lvl1pPr>
              <a:defRPr>
                <a:solidFill>
                  <a:schemeClr val="bg1">
                    <a:lumMod val="65000"/>
                  </a:schemeClr>
                </a:solidFill>
              </a:defRPr>
            </a:lvl1pPr>
          </a:lstStyle>
          <a:p>
            <a:fld id="{5F6B9B37-ED23-4617-8C0C-8F866FE38D8E}" type="datetime4">
              <a:rPr lang="en-US" smtClean="0"/>
              <a:t>May 17, 2025</a:t>
            </a:fld>
            <a:endParaRPr lang="en-US" dirty="0"/>
          </a:p>
        </p:txBody>
      </p:sp>
      <p:sp>
        <p:nvSpPr>
          <p:cNvPr id="7" name="Footer Placeholder 13">
            <a:extLst>
              <a:ext uri="{FF2B5EF4-FFF2-40B4-BE49-F238E27FC236}">
                <a16:creationId xmlns:a16="http://schemas.microsoft.com/office/drawing/2014/main" id="{CF4B4545-13F4-2902-0AC9-6AF28B437CE8}"/>
              </a:ext>
            </a:extLst>
          </p:cNvPr>
          <p:cNvSpPr>
            <a:spLocks noGrp="1"/>
          </p:cNvSpPr>
          <p:nvPr>
            <p:ph type="ftr" sz="quarter" idx="15"/>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4 </a:t>
            </a:r>
            <a:r>
              <a:rPr lang="en-US" dirty="0" err="1"/>
              <a:t>Guidehouset</a:t>
            </a:r>
            <a:endParaRPr lang="en-US" dirty="0"/>
          </a:p>
        </p:txBody>
      </p:sp>
      <p:sp>
        <p:nvSpPr>
          <p:cNvPr id="13" name="Slide Number Placeholder 14">
            <a:extLst>
              <a:ext uri="{FF2B5EF4-FFF2-40B4-BE49-F238E27FC236}">
                <a16:creationId xmlns:a16="http://schemas.microsoft.com/office/drawing/2014/main" id="{C266639E-79B8-D05E-C2A0-2E9D57F6CBFE}"/>
              </a:ext>
            </a:extLst>
          </p:cNvPr>
          <p:cNvSpPr>
            <a:spLocks noGrp="1"/>
          </p:cNvSpPr>
          <p:nvPr>
            <p:ph type="sldNum" sz="quarter" idx="23"/>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a:p>
        </p:txBody>
      </p:sp>
      <p:pic>
        <p:nvPicPr>
          <p:cNvPr id="14" name="Graphic 13">
            <a:extLst>
              <a:ext uri="{FF2B5EF4-FFF2-40B4-BE49-F238E27FC236}">
                <a16:creationId xmlns:a16="http://schemas.microsoft.com/office/drawing/2014/main" id="{FF15F0ED-BBBC-2F21-14A8-BAEF93A451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15" name="Straight Connector 14">
            <a:extLst>
              <a:ext uri="{FF2B5EF4-FFF2-40B4-BE49-F238E27FC236}">
                <a16:creationId xmlns:a16="http://schemas.microsoft.com/office/drawing/2014/main" id="{9CDC81FC-8683-540B-7C77-9681384F4E65}"/>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FD21293-CCA9-B189-2095-9F95E3AE36C0}"/>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D4C4D422-07C3-3D74-FD30-B529BB44DF95}"/>
              </a:ext>
            </a:extLst>
          </p:cNvPr>
          <p:cNvCxnSpPr>
            <a:cxnSpLocks/>
          </p:cNvCxnSpPr>
          <p:nvPr userDrawn="1"/>
        </p:nvCxnSpPr>
        <p:spPr>
          <a:xfrm>
            <a:off x="6738655" y="4526737"/>
            <a:ext cx="48483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33">
            <a:extLst>
              <a:ext uri="{FF2B5EF4-FFF2-40B4-BE49-F238E27FC236}">
                <a16:creationId xmlns:a16="http://schemas.microsoft.com/office/drawing/2014/main" id="{ED489F46-1121-34BF-36F0-88601546835D}"/>
              </a:ext>
            </a:extLst>
          </p:cNvPr>
          <p:cNvSpPr>
            <a:spLocks noGrp="1"/>
          </p:cNvSpPr>
          <p:nvPr>
            <p:ph type="body" sz="quarter" idx="24" hasCustomPrompt="1"/>
          </p:nvPr>
        </p:nvSpPr>
        <p:spPr>
          <a:xfrm>
            <a:off x="6734082" y="5204393"/>
            <a:ext cx="4848318" cy="276999"/>
          </a:xfrm>
        </p:spPr>
        <p:txBody>
          <a:bodyPr wrap="square">
            <a:noAutofit/>
          </a:bodyPr>
          <a:lstStyle>
            <a:lvl1pPr marL="0" indent="0" algn="r">
              <a:spcAft>
                <a:spcPts val="300"/>
              </a:spcAft>
              <a:buFont typeface="Arial" panose="020B0604020202020204" pitchFamily="34" charset="0"/>
              <a:buNone/>
              <a:defRPr sz="14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5" name="Freeform: Shape 4">
            <a:extLst>
              <a:ext uri="{FF2B5EF4-FFF2-40B4-BE49-F238E27FC236}">
                <a16:creationId xmlns:a16="http://schemas.microsoft.com/office/drawing/2014/main" id="{3BE9BDD3-0C22-DC07-8A70-55077D71D045}"/>
              </a:ext>
            </a:extLst>
          </p:cNvPr>
          <p:cNvSpPr/>
          <p:nvPr userDrawn="1"/>
        </p:nvSpPr>
        <p:spPr>
          <a:xfrm>
            <a:off x="1775460" y="4749905"/>
            <a:ext cx="2430780" cy="459253"/>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76200" cap="flat">
            <a:solidFill>
              <a:schemeClr val="accent1"/>
            </a:solidFill>
            <a:prstDash val="solid"/>
            <a:miter/>
          </a:ln>
        </p:spPr>
        <p:txBody>
          <a:bodyPr rtlCol="0" anchor="ctr"/>
          <a:lstStyle/>
          <a:p>
            <a:endParaRPr lang="en-US"/>
          </a:p>
        </p:txBody>
      </p:sp>
    </p:spTree>
    <p:extLst>
      <p:ext uri="{BB962C8B-B14F-4D97-AF65-F5344CB8AC3E}">
        <p14:creationId xmlns:p14="http://schemas.microsoft.com/office/powerpoint/2010/main" val="18221117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ote Slide with Photo - Light">
    <p:bg>
      <p:bgPr>
        <a:solidFill>
          <a:srgbClr val="F3F3F3"/>
        </a:solidFill>
        <a:effectLst/>
      </p:bgPr>
    </p:bg>
    <p:spTree>
      <p:nvGrpSpPr>
        <p:cNvPr id="1" name=""/>
        <p:cNvGrpSpPr/>
        <p:nvPr/>
      </p:nvGrpSpPr>
      <p:grpSpPr>
        <a:xfrm>
          <a:off x="0" y="0"/>
          <a:ext cx="0" cy="0"/>
          <a:chOff x="0" y="0"/>
          <a:chExt cx="0" cy="0"/>
        </a:xfrm>
      </p:grpSpPr>
      <p:sp>
        <p:nvSpPr>
          <p:cNvPr id="2" name="Date Placeholder 49">
            <a:extLst>
              <a:ext uri="{FF2B5EF4-FFF2-40B4-BE49-F238E27FC236}">
                <a16:creationId xmlns:a16="http://schemas.microsoft.com/office/drawing/2014/main" id="{68C8DFA2-ADF2-B013-F741-F2BFA6A790EA}"/>
              </a:ext>
            </a:extLst>
          </p:cNvPr>
          <p:cNvSpPr>
            <a:spLocks noGrp="1"/>
          </p:cNvSpPr>
          <p:nvPr>
            <p:ph type="dt" sz="half" idx="17"/>
          </p:nvPr>
        </p:nvSpPr>
        <p:spPr>
          <a:xfrm>
            <a:off x="10236555" y="139419"/>
            <a:ext cx="1345845" cy="153888"/>
          </a:xfrm>
        </p:spPr>
        <p:txBody>
          <a:bodyPr>
            <a:noAutofit/>
          </a:bodyPr>
          <a:lstStyle>
            <a:lvl1pPr>
              <a:defRPr>
                <a:solidFill>
                  <a:schemeClr val="tx1">
                    <a:lumMod val="75000"/>
                    <a:lumOff val="25000"/>
                  </a:schemeClr>
                </a:solidFill>
              </a:defRPr>
            </a:lvl1pPr>
          </a:lstStyle>
          <a:p>
            <a:fld id="{8DFA9521-7F27-42A7-9662-7BCC8FA50C6A}" type="datetime4">
              <a:rPr lang="en-US" smtClean="0"/>
              <a:t>May 17, 2025</a:t>
            </a:fld>
            <a:endParaRPr lang="en-US"/>
          </a:p>
        </p:txBody>
      </p:sp>
      <p:sp>
        <p:nvSpPr>
          <p:cNvPr id="4" name="Text Placeholder 7">
            <a:extLst>
              <a:ext uri="{FF2B5EF4-FFF2-40B4-BE49-F238E27FC236}">
                <a16:creationId xmlns:a16="http://schemas.microsoft.com/office/drawing/2014/main" id="{4C01BF98-E8D1-FA71-7F61-B40AD7F38B59}"/>
              </a:ext>
            </a:extLst>
          </p:cNvPr>
          <p:cNvSpPr>
            <a:spLocks noGrp="1"/>
          </p:cNvSpPr>
          <p:nvPr>
            <p:ph type="body" sz="quarter" idx="19" hasCustomPrompt="1"/>
          </p:nvPr>
        </p:nvSpPr>
        <p:spPr>
          <a:xfrm>
            <a:off x="609600" y="139419"/>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cxnSp>
        <p:nvCxnSpPr>
          <p:cNvPr id="86" name="Straight Connector 85">
            <a:extLst>
              <a:ext uri="{FF2B5EF4-FFF2-40B4-BE49-F238E27FC236}">
                <a16:creationId xmlns:a16="http://schemas.microsoft.com/office/drawing/2014/main" id="{F7FDF169-3491-C6D5-06CE-0C6A409CB1F8}"/>
              </a:ext>
            </a:extLst>
          </p:cNvPr>
          <p:cNvCxnSpPr>
            <a:cxnSpLocks/>
          </p:cNvCxnSpPr>
          <p:nvPr/>
        </p:nvCxnSpPr>
        <p:spPr>
          <a:xfrm>
            <a:off x="6738655" y="4526737"/>
            <a:ext cx="484831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7" name="Text Placeholder 19">
            <a:extLst>
              <a:ext uri="{FF2B5EF4-FFF2-40B4-BE49-F238E27FC236}">
                <a16:creationId xmlns:a16="http://schemas.microsoft.com/office/drawing/2014/main" id="{D2934921-DF3B-B31E-8649-612670262B86}"/>
              </a:ext>
            </a:extLst>
          </p:cNvPr>
          <p:cNvSpPr>
            <a:spLocks noGrp="1"/>
          </p:cNvSpPr>
          <p:nvPr>
            <p:ph type="body" sz="quarter" idx="20"/>
          </p:nvPr>
        </p:nvSpPr>
        <p:spPr>
          <a:xfrm>
            <a:off x="6734083" y="1960494"/>
            <a:ext cx="4848317" cy="2212848"/>
          </a:xfrm>
        </p:spPr>
        <p:txBody>
          <a:bodyPr anchor="b">
            <a:noAutofit/>
          </a:bodyPr>
          <a:lstStyle>
            <a:lvl1pPr>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5EEDFA36-60E1-6C7B-5CCC-B90C1C3CC588}"/>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7" name="Slide Number Placeholder 5">
            <a:extLst>
              <a:ext uri="{FF2B5EF4-FFF2-40B4-BE49-F238E27FC236}">
                <a16:creationId xmlns:a16="http://schemas.microsoft.com/office/drawing/2014/main" id="{4296F0A0-E7AD-B1C7-A831-F6B685006C0D}"/>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8" name="Picture Placeholder 17">
            <a:extLst>
              <a:ext uri="{FF2B5EF4-FFF2-40B4-BE49-F238E27FC236}">
                <a16:creationId xmlns:a16="http://schemas.microsoft.com/office/drawing/2014/main" id="{E508596C-8AF4-394C-3308-4FFF0C762102}"/>
              </a:ext>
            </a:extLst>
          </p:cNvPr>
          <p:cNvSpPr>
            <a:spLocks noGrp="1"/>
          </p:cNvSpPr>
          <p:nvPr>
            <p:ph type="pic" sz="quarter" idx="13" hasCustomPrompt="1"/>
          </p:nvPr>
        </p:nvSpPr>
        <p:spPr>
          <a:xfrm>
            <a:off x="1181100" y="1557159"/>
            <a:ext cx="3619500" cy="3619500"/>
          </a:xfrm>
          <a:prstGeom prst="ellipse">
            <a:avLst/>
          </a:prstGeom>
          <a:solidFill>
            <a:schemeClr val="bg1">
              <a:lumMod val="75000"/>
            </a:schemeClr>
          </a:solidFill>
        </p:spPr>
        <p:txBody>
          <a:bodyPr vert="horz" lIns="0" tIns="0" rIns="0" bIns="0" rtlCol="0" anchor="ctr">
            <a:noAutofit/>
          </a:bodyPr>
          <a:lstStyle>
            <a:lvl1pPr>
              <a:defRPr lang="en-US" sz="1000" b="0"/>
            </a:lvl1pPr>
          </a:lstStyle>
          <a:p>
            <a:pPr lvl="0" algn="ctr"/>
            <a:r>
              <a:rPr lang="en-US"/>
              <a:t>Inset Photo</a:t>
            </a:r>
          </a:p>
        </p:txBody>
      </p:sp>
      <p:cxnSp>
        <p:nvCxnSpPr>
          <p:cNvPr id="3" name="Straight Connector 2">
            <a:extLst>
              <a:ext uri="{FF2B5EF4-FFF2-40B4-BE49-F238E27FC236}">
                <a16:creationId xmlns:a16="http://schemas.microsoft.com/office/drawing/2014/main" id="{FE4A2E3E-D662-CE0A-E534-695A999BF6B0}"/>
              </a:ext>
            </a:extLst>
          </p:cNvPr>
          <p:cNvCxnSpPr>
            <a:cxnSpLocks/>
          </p:cNvCxnSpPr>
          <p:nvPr userDrawn="1"/>
        </p:nvCxnSpPr>
        <p:spPr>
          <a:xfrm>
            <a:off x="6738655" y="4526737"/>
            <a:ext cx="484831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 Placeholder 19">
            <a:extLst>
              <a:ext uri="{FF2B5EF4-FFF2-40B4-BE49-F238E27FC236}">
                <a16:creationId xmlns:a16="http://schemas.microsoft.com/office/drawing/2014/main" id="{6BDE3127-1813-14DC-828E-B3138819FEBA}"/>
              </a:ext>
            </a:extLst>
          </p:cNvPr>
          <p:cNvSpPr>
            <a:spLocks noGrp="1" noRot="1" noMove="1" noResize="1" noEditPoints="1" noAdjustHandles="1" noChangeArrowheads="1" noChangeShapeType="1"/>
          </p:cNvSpPr>
          <p:nvPr>
            <p:ph type="body" sz="quarter" idx="16" hasCustomPrompt="1"/>
          </p:nvPr>
        </p:nvSpPr>
        <p:spPr>
          <a:xfrm>
            <a:off x="5733826" y="911568"/>
            <a:ext cx="956993" cy="3062377"/>
          </a:xfrm>
        </p:spPr>
        <p:txBody>
          <a:bodyPr wrap="none" anchor="t">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9900" kern="1200" dirty="0">
                <a:solidFill>
                  <a:schemeClr val="accent2"/>
                </a:solidFill>
                <a:latin typeface="Franklin Gothic Medium Cond" panose="020B0606030402020204" pitchFamily="34"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9" name="Text Placeholder 33">
            <a:extLst>
              <a:ext uri="{FF2B5EF4-FFF2-40B4-BE49-F238E27FC236}">
                <a16:creationId xmlns:a16="http://schemas.microsoft.com/office/drawing/2014/main" id="{07A67CF4-5BEE-8E4E-1241-20B1A1AB7482}"/>
              </a:ext>
            </a:extLst>
          </p:cNvPr>
          <p:cNvSpPr>
            <a:spLocks noGrp="1"/>
          </p:cNvSpPr>
          <p:nvPr>
            <p:ph type="body" sz="quarter" idx="21" hasCustomPrompt="1"/>
          </p:nvPr>
        </p:nvSpPr>
        <p:spPr>
          <a:xfrm>
            <a:off x="6734082" y="4876991"/>
            <a:ext cx="4848317" cy="299668"/>
          </a:xfrm>
        </p:spPr>
        <p:txBody>
          <a:bodyPr wrap="square">
            <a:noAutofit/>
          </a:bodyPr>
          <a:lstStyle>
            <a:lvl1pPr marL="0" indent="0" algn="r">
              <a:spcAft>
                <a:spcPts val="300"/>
              </a:spcAft>
              <a:buFont typeface="Arial" panose="020B0604020202020204" pitchFamily="34" charset="0"/>
              <a:buNone/>
              <a:defRPr sz="1600" b="1">
                <a:solidFill>
                  <a:schemeClr val="tx1"/>
                </a:solidFill>
                <a:latin typeface="+mj-lt"/>
              </a:defRPr>
            </a:lvl1pPr>
            <a:lvl2pPr marL="0" indent="0" algn="r">
              <a:spcAft>
                <a:spcPts val="300"/>
              </a:spcAft>
              <a:buNone/>
              <a:defRPr sz="14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10" name="Text Placeholder 33">
            <a:extLst>
              <a:ext uri="{FF2B5EF4-FFF2-40B4-BE49-F238E27FC236}">
                <a16:creationId xmlns:a16="http://schemas.microsoft.com/office/drawing/2014/main" id="{6FFC7E46-DB66-D43C-3850-83C8E4F4A44D}"/>
              </a:ext>
            </a:extLst>
          </p:cNvPr>
          <p:cNvSpPr>
            <a:spLocks noGrp="1"/>
          </p:cNvSpPr>
          <p:nvPr>
            <p:ph type="body" sz="quarter" idx="24" hasCustomPrompt="1"/>
          </p:nvPr>
        </p:nvSpPr>
        <p:spPr>
          <a:xfrm>
            <a:off x="6734082" y="5204393"/>
            <a:ext cx="4848318" cy="276999"/>
          </a:xfrm>
        </p:spPr>
        <p:txBody>
          <a:bodyPr wrap="square">
            <a:noAutofit/>
          </a:bodyPr>
          <a:lstStyle>
            <a:lvl1pPr marL="0" indent="0" algn="r">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11" name="Freeform: Shape 10">
            <a:extLst>
              <a:ext uri="{FF2B5EF4-FFF2-40B4-BE49-F238E27FC236}">
                <a16:creationId xmlns:a16="http://schemas.microsoft.com/office/drawing/2014/main" id="{72BAD1C6-BD8F-55FE-4E6A-52C11DD13654}"/>
              </a:ext>
            </a:extLst>
          </p:cNvPr>
          <p:cNvSpPr/>
          <p:nvPr userDrawn="1"/>
        </p:nvSpPr>
        <p:spPr>
          <a:xfrm>
            <a:off x="1775460" y="4749905"/>
            <a:ext cx="2430780" cy="459253"/>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76200" cap="flat">
            <a:solidFill>
              <a:srgbClr val="95C93D"/>
            </a:solidFill>
            <a:prstDash val="solid"/>
            <a:miter/>
          </a:ln>
        </p:spPr>
        <p:txBody>
          <a:bodyPr rtlCol="0" anchor="ctr"/>
          <a:lstStyle/>
          <a:p>
            <a:endParaRPr lang="en-US"/>
          </a:p>
        </p:txBody>
      </p:sp>
    </p:spTree>
    <p:extLst>
      <p:ext uri="{BB962C8B-B14F-4D97-AF65-F5344CB8AC3E}">
        <p14:creationId xmlns:p14="http://schemas.microsoft.com/office/powerpoint/2010/main" val="109710410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am Slide - 4 Members">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772DD-7002-F2A1-C348-A0C46F31C739}"/>
              </a:ext>
            </a:extLst>
          </p:cNvPr>
          <p:cNvSpPr>
            <a:spLocks noGrp="1"/>
          </p:cNvSpPr>
          <p:nvPr>
            <p:ph type="title"/>
          </p:nvPr>
        </p:nvSpPr>
        <p:spPr/>
        <p:txBody>
          <a:bodyPr>
            <a:noAutofit/>
          </a:bodyPr>
          <a:lstStyle/>
          <a:p>
            <a:r>
              <a:rPr lang="en-US"/>
              <a:t>Click to edit Master title style</a:t>
            </a:r>
          </a:p>
        </p:txBody>
      </p:sp>
      <p:sp>
        <p:nvSpPr>
          <p:cNvPr id="33" name="Text Placeholder 3">
            <a:extLst>
              <a:ext uri="{FF2B5EF4-FFF2-40B4-BE49-F238E27FC236}">
                <a16:creationId xmlns:a16="http://schemas.microsoft.com/office/drawing/2014/main" id="{FED28113-7C82-17C7-BA44-13930C355893}"/>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4" name="Picture Placeholder 17">
            <a:extLst>
              <a:ext uri="{FF2B5EF4-FFF2-40B4-BE49-F238E27FC236}">
                <a16:creationId xmlns:a16="http://schemas.microsoft.com/office/drawing/2014/main" id="{813769C8-2552-7A85-2B62-C7568B6AC9AE}"/>
              </a:ext>
            </a:extLst>
          </p:cNvPr>
          <p:cNvSpPr>
            <a:spLocks noGrp="1" noChangeAspect="1"/>
          </p:cNvSpPr>
          <p:nvPr>
            <p:ph type="pic" sz="quarter" idx="14" hasCustomPrompt="1"/>
          </p:nvPr>
        </p:nvSpPr>
        <p:spPr>
          <a:xfrm>
            <a:off x="609600" y="1960419"/>
            <a:ext cx="1354281" cy="1354281"/>
          </a:xfrm>
          <a:prstGeom prst="ellipse">
            <a:avLst/>
          </a:prstGeom>
          <a:solidFill>
            <a:schemeClr val="bg1">
              <a:lumMod val="75000"/>
            </a:schemeClr>
          </a:solidFill>
        </p:spPr>
        <p:txBody>
          <a:bodyPr anchor="ctr"/>
          <a:lstStyle>
            <a:lvl1pPr algn="ctr">
              <a:defRPr sz="1800"/>
            </a:lvl1pPr>
          </a:lstStyle>
          <a:p>
            <a:r>
              <a:rPr lang="en-US"/>
              <a:t>Headshot</a:t>
            </a:r>
          </a:p>
        </p:txBody>
      </p:sp>
      <p:sp>
        <p:nvSpPr>
          <p:cNvPr id="36" name="Text Placeholder 35">
            <a:extLst>
              <a:ext uri="{FF2B5EF4-FFF2-40B4-BE49-F238E27FC236}">
                <a16:creationId xmlns:a16="http://schemas.microsoft.com/office/drawing/2014/main" id="{EF0FDF04-B2B6-525D-AE0D-E3736EA1858B}"/>
              </a:ext>
            </a:extLst>
          </p:cNvPr>
          <p:cNvSpPr>
            <a:spLocks noGrp="1"/>
          </p:cNvSpPr>
          <p:nvPr>
            <p:ph type="body" sz="quarter" idx="15" hasCustomPrompt="1"/>
          </p:nvPr>
        </p:nvSpPr>
        <p:spPr>
          <a:xfrm>
            <a:off x="609600" y="3527923"/>
            <a:ext cx="2258568" cy="307777"/>
          </a:xfrm>
        </p:spPr>
        <p:txBody>
          <a:bodyPr anchor="b">
            <a:noAutofit/>
          </a:bodyPr>
          <a:lstStyle>
            <a:lvl1pPr>
              <a:spcAft>
                <a:spcPts val="0"/>
              </a:spcAft>
              <a:defRPr b="1">
                <a:latin typeface="+mj-lt"/>
              </a:defRPr>
            </a:lvl1pPr>
            <a:lvl2pPr marL="0" indent="0">
              <a:spcAft>
                <a:spcPts val="0"/>
              </a:spcAft>
              <a:buNone/>
              <a:defRPr sz="1600"/>
            </a:lvl2pPr>
          </a:lstStyle>
          <a:p>
            <a:pPr lvl="0"/>
            <a:r>
              <a:rPr lang="en-US"/>
              <a:t>Name, Last Name</a:t>
            </a:r>
          </a:p>
        </p:txBody>
      </p:sp>
      <p:sp>
        <p:nvSpPr>
          <p:cNvPr id="38" name="Text Placeholder 37">
            <a:extLst>
              <a:ext uri="{FF2B5EF4-FFF2-40B4-BE49-F238E27FC236}">
                <a16:creationId xmlns:a16="http://schemas.microsoft.com/office/drawing/2014/main" id="{054EC6BE-3F2F-E9B7-0C72-6CDE487B5CFF}"/>
              </a:ext>
            </a:extLst>
          </p:cNvPr>
          <p:cNvSpPr>
            <a:spLocks noGrp="1"/>
          </p:cNvSpPr>
          <p:nvPr>
            <p:ph type="body" sz="quarter" idx="16"/>
          </p:nvPr>
        </p:nvSpPr>
        <p:spPr>
          <a:xfrm>
            <a:off x="609600" y="4597059"/>
            <a:ext cx="2258568" cy="1308441"/>
          </a:xfrm>
        </p:spPr>
        <p:txBody>
          <a:bodyPr>
            <a:noAutofit/>
          </a:bodyPr>
          <a:lstStyle>
            <a:lvl1pPr>
              <a:defRPr sz="1400"/>
            </a:lvl1pPr>
            <a:lvl2pPr marL="0" indent="0">
              <a:buNone/>
              <a:defRPr/>
            </a:lvl2pPr>
          </a:lstStyle>
          <a:p>
            <a:pPr lvl="0"/>
            <a:r>
              <a:rPr lang="en-US"/>
              <a:t>Click to edit Master text styles</a:t>
            </a:r>
          </a:p>
        </p:txBody>
      </p:sp>
      <p:sp>
        <p:nvSpPr>
          <p:cNvPr id="42" name="Picture Placeholder 17">
            <a:extLst>
              <a:ext uri="{FF2B5EF4-FFF2-40B4-BE49-F238E27FC236}">
                <a16:creationId xmlns:a16="http://schemas.microsoft.com/office/drawing/2014/main" id="{6252DFA9-6D54-E4B7-97FB-9F469D69C192}"/>
              </a:ext>
            </a:extLst>
          </p:cNvPr>
          <p:cNvSpPr>
            <a:spLocks noGrp="1" noChangeAspect="1"/>
          </p:cNvSpPr>
          <p:nvPr>
            <p:ph type="pic" sz="quarter" idx="17" hasCustomPrompt="1"/>
          </p:nvPr>
        </p:nvSpPr>
        <p:spPr>
          <a:xfrm>
            <a:off x="3516666" y="1960419"/>
            <a:ext cx="1354281" cy="1354281"/>
          </a:xfrm>
          <a:prstGeom prst="ellipse">
            <a:avLst/>
          </a:prstGeom>
          <a:solidFill>
            <a:schemeClr val="bg1">
              <a:lumMod val="75000"/>
            </a:schemeClr>
          </a:solidFill>
        </p:spPr>
        <p:txBody>
          <a:bodyPr anchor="ctr"/>
          <a:lstStyle>
            <a:lvl1pPr algn="ctr">
              <a:defRPr sz="18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Headshot</a:t>
            </a:r>
          </a:p>
        </p:txBody>
      </p:sp>
      <p:sp>
        <p:nvSpPr>
          <p:cNvPr id="44" name="Text Placeholder 37">
            <a:extLst>
              <a:ext uri="{FF2B5EF4-FFF2-40B4-BE49-F238E27FC236}">
                <a16:creationId xmlns:a16="http://schemas.microsoft.com/office/drawing/2014/main" id="{7B0BDFE2-624A-1A15-5460-B5974D8FC7DD}"/>
              </a:ext>
            </a:extLst>
          </p:cNvPr>
          <p:cNvSpPr>
            <a:spLocks noGrp="1"/>
          </p:cNvSpPr>
          <p:nvPr>
            <p:ph type="body" sz="quarter" idx="19"/>
          </p:nvPr>
        </p:nvSpPr>
        <p:spPr>
          <a:xfrm>
            <a:off x="3516666" y="4597059"/>
            <a:ext cx="2258568" cy="1308441"/>
          </a:xfrm>
        </p:spPr>
        <p:txBody>
          <a:bodyPr>
            <a:noAutofit/>
          </a:bodyPr>
          <a:lstStyle>
            <a:lvl1pPr>
              <a:defRPr sz="1400"/>
            </a:lvl1pPr>
            <a:lvl2pPr marL="0" indent="0">
              <a:buNone/>
              <a:defRPr/>
            </a:lvl2pPr>
          </a:lstStyle>
          <a:p>
            <a:pPr lvl="0"/>
            <a:r>
              <a:rPr lang="en-US"/>
              <a:t>Click to edit Master text styles</a:t>
            </a:r>
          </a:p>
        </p:txBody>
      </p:sp>
      <p:sp>
        <p:nvSpPr>
          <p:cNvPr id="48" name="Picture Placeholder 17">
            <a:extLst>
              <a:ext uri="{FF2B5EF4-FFF2-40B4-BE49-F238E27FC236}">
                <a16:creationId xmlns:a16="http://schemas.microsoft.com/office/drawing/2014/main" id="{292B6EA7-82EF-8D0E-757D-2DBF0C8C53DF}"/>
              </a:ext>
            </a:extLst>
          </p:cNvPr>
          <p:cNvSpPr>
            <a:spLocks noGrp="1" noChangeAspect="1"/>
          </p:cNvSpPr>
          <p:nvPr>
            <p:ph type="pic" sz="quarter" idx="20" hasCustomPrompt="1"/>
          </p:nvPr>
        </p:nvSpPr>
        <p:spPr>
          <a:xfrm>
            <a:off x="6419088" y="1960419"/>
            <a:ext cx="1354281" cy="1354281"/>
          </a:xfrm>
          <a:prstGeom prst="ellipse">
            <a:avLst/>
          </a:prstGeom>
          <a:solidFill>
            <a:schemeClr val="bg1">
              <a:lumMod val="75000"/>
            </a:schemeClr>
          </a:solidFill>
        </p:spPr>
        <p:txBody>
          <a:bodyPr anchor="ctr"/>
          <a:lstStyle>
            <a:lvl1pPr algn="ctr">
              <a:defRPr sz="18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Headshot</a:t>
            </a:r>
          </a:p>
        </p:txBody>
      </p:sp>
      <p:sp>
        <p:nvSpPr>
          <p:cNvPr id="50" name="Text Placeholder 37">
            <a:extLst>
              <a:ext uri="{FF2B5EF4-FFF2-40B4-BE49-F238E27FC236}">
                <a16:creationId xmlns:a16="http://schemas.microsoft.com/office/drawing/2014/main" id="{81EF1E7C-A189-32BE-97B5-28DA00F81F0F}"/>
              </a:ext>
            </a:extLst>
          </p:cNvPr>
          <p:cNvSpPr>
            <a:spLocks noGrp="1"/>
          </p:cNvSpPr>
          <p:nvPr>
            <p:ph type="body" sz="quarter" idx="22"/>
          </p:nvPr>
        </p:nvSpPr>
        <p:spPr>
          <a:xfrm>
            <a:off x="6419088" y="4597059"/>
            <a:ext cx="2258568" cy="1308441"/>
          </a:xfrm>
        </p:spPr>
        <p:txBody>
          <a:bodyPr>
            <a:noAutofit/>
          </a:bodyPr>
          <a:lstStyle>
            <a:lvl1pPr>
              <a:defRPr sz="1400"/>
            </a:lvl1pPr>
            <a:lvl2pPr marL="0" indent="0">
              <a:buNone/>
              <a:defRPr/>
            </a:lvl2pPr>
          </a:lstStyle>
          <a:p>
            <a:pPr lvl="0"/>
            <a:r>
              <a:rPr lang="en-US"/>
              <a:t>Click to edit Master text styles</a:t>
            </a:r>
          </a:p>
        </p:txBody>
      </p:sp>
      <p:sp>
        <p:nvSpPr>
          <p:cNvPr id="61" name="Picture Placeholder 17">
            <a:extLst>
              <a:ext uri="{FF2B5EF4-FFF2-40B4-BE49-F238E27FC236}">
                <a16:creationId xmlns:a16="http://schemas.microsoft.com/office/drawing/2014/main" id="{424B2AD3-6B91-052B-36CC-6D5B353D4876}"/>
              </a:ext>
            </a:extLst>
          </p:cNvPr>
          <p:cNvSpPr>
            <a:spLocks noGrp="1" noChangeAspect="1"/>
          </p:cNvSpPr>
          <p:nvPr>
            <p:ph type="pic" sz="quarter" idx="23" hasCustomPrompt="1"/>
          </p:nvPr>
        </p:nvSpPr>
        <p:spPr>
          <a:xfrm>
            <a:off x="9323832" y="1960419"/>
            <a:ext cx="1354281" cy="1354281"/>
          </a:xfrm>
          <a:prstGeom prst="ellipse">
            <a:avLst/>
          </a:prstGeom>
          <a:solidFill>
            <a:schemeClr val="bg1">
              <a:lumMod val="75000"/>
            </a:schemeClr>
          </a:solidFill>
        </p:spPr>
        <p:txBody>
          <a:bodyPr anchor="ctr"/>
          <a:lstStyle>
            <a:lvl1pPr algn="ctr">
              <a:defRPr sz="18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Headshot</a:t>
            </a:r>
          </a:p>
        </p:txBody>
      </p:sp>
      <p:sp>
        <p:nvSpPr>
          <p:cNvPr id="63" name="Text Placeholder 37">
            <a:extLst>
              <a:ext uri="{FF2B5EF4-FFF2-40B4-BE49-F238E27FC236}">
                <a16:creationId xmlns:a16="http://schemas.microsoft.com/office/drawing/2014/main" id="{A8E41E57-8F61-2F5E-A3A4-ED89414D828D}"/>
              </a:ext>
            </a:extLst>
          </p:cNvPr>
          <p:cNvSpPr>
            <a:spLocks noGrp="1"/>
          </p:cNvSpPr>
          <p:nvPr>
            <p:ph type="body" sz="quarter" idx="25"/>
          </p:nvPr>
        </p:nvSpPr>
        <p:spPr>
          <a:xfrm>
            <a:off x="9323832" y="4597059"/>
            <a:ext cx="2258568" cy="1308441"/>
          </a:xfrm>
        </p:spPr>
        <p:txBody>
          <a:bodyPr>
            <a:noAutofit/>
          </a:bodyPr>
          <a:lstStyle>
            <a:lvl1pPr>
              <a:defRPr sz="1400"/>
            </a:lvl1pPr>
            <a:lvl2pPr marL="0" indent="0">
              <a:buNone/>
              <a:defRPr/>
            </a:lvl2pPr>
          </a:lstStyle>
          <a:p>
            <a:pPr lvl="0"/>
            <a:r>
              <a:rPr lang="en-US"/>
              <a:t>Click to edit Master text styles</a:t>
            </a:r>
          </a:p>
        </p:txBody>
      </p:sp>
      <p:sp>
        <p:nvSpPr>
          <p:cNvPr id="5" name="Date Placeholder 49">
            <a:extLst>
              <a:ext uri="{FF2B5EF4-FFF2-40B4-BE49-F238E27FC236}">
                <a16:creationId xmlns:a16="http://schemas.microsoft.com/office/drawing/2014/main" id="{A1790F86-0957-48DF-CC52-AE8AE9487111}"/>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D7F9F177-B21B-4601-9445-BEDBCD962BE3}" type="datetime4">
              <a:rPr lang="en-US" smtClean="0"/>
              <a:t>May 17, 2025</a:t>
            </a:fld>
            <a:endParaRPr lang="en-US"/>
          </a:p>
        </p:txBody>
      </p:sp>
      <p:sp>
        <p:nvSpPr>
          <p:cNvPr id="7" name="Text Placeholder 7">
            <a:extLst>
              <a:ext uri="{FF2B5EF4-FFF2-40B4-BE49-F238E27FC236}">
                <a16:creationId xmlns:a16="http://schemas.microsoft.com/office/drawing/2014/main" id="{D74D7FCE-5041-B026-EA43-51B21F3B8BE7}"/>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3" name="Footer Placeholder 4">
            <a:extLst>
              <a:ext uri="{FF2B5EF4-FFF2-40B4-BE49-F238E27FC236}">
                <a16:creationId xmlns:a16="http://schemas.microsoft.com/office/drawing/2014/main" id="{EBF6BF5C-8307-B3C5-1249-18E632BF5044}"/>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8" name="Slide Number Placeholder 5">
            <a:extLst>
              <a:ext uri="{FF2B5EF4-FFF2-40B4-BE49-F238E27FC236}">
                <a16:creationId xmlns:a16="http://schemas.microsoft.com/office/drawing/2014/main" id="{FCAA7CBE-DA9D-01C9-A282-A6D10AF8D44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24" name="Text Placeholder 33">
            <a:extLst>
              <a:ext uri="{FF2B5EF4-FFF2-40B4-BE49-F238E27FC236}">
                <a16:creationId xmlns:a16="http://schemas.microsoft.com/office/drawing/2014/main" id="{D11A414D-3F82-F52A-ED69-FAB9EFC6ECEB}"/>
              </a:ext>
            </a:extLst>
          </p:cNvPr>
          <p:cNvSpPr>
            <a:spLocks noGrp="1"/>
          </p:cNvSpPr>
          <p:nvPr>
            <p:ph type="body" sz="quarter" idx="29" hasCustomPrompt="1"/>
          </p:nvPr>
        </p:nvSpPr>
        <p:spPr>
          <a:xfrm>
            <a:off x="611556" y="3843884"/>
            <a:ext cx="2256612" cy="246221"/>
          </a:xfrm>
        </p:spPr>
        <p:txBody>
          <a:bodyPr wrap="square">
            <a:noAutofit/>
          </a:bodyPr>
          <a:lstStyle>
            <a:lvl1pPr marL="0" indent="0">
              <a:spcAft>
                <a:spcPts val="300"/>
              </a:spcAft>
              <a:buFont typeface="Arial" panose="020B0604020202020204" pitchFamily="34" charset="0"/>
              <a:buNone/>
              <a:defRPr sz="16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25" name="Text Placeholder 35">
            <a:extLst>
              <a:ext uri="{FF2B5EF4-FFF2-40B4-BE49-F238E27FC236}">
                <a16:creationId xmlns:a16="http://schemas.microsoft.com/office/drawing/2014/main" id="{2D933587-49D3-B2C3-66A7-A4E240E34C92}"/>
              </a:ext>
            </a:extLst>
          </p:cNvPr>
          <p:cNvSpPr>
            <a:spLocks noGrp="1"/>
          </p:cNvSpPr>
          <p:nvPr>
            <p:ph type="body" sz="quarter" idx="30" hasCustomPrompt="1"/>
          </p:nvPr>
        </p:nvSpPr>
        <p:spPr>
          <a:xfrm>
            <a:off x="3516666" y="3523468"/>
            <a:ext cx="2258568" cy="307777"/>
          </a:xfrm>
        </p:spPr>
        <p:txBody>
          <a:bodyPr anchor="b">
            <a:noAutofit/>
          </a:bodyPr>
          <a:lstStyle>
            <a:lvl1pPr>
              <a:spcAft>
                <a:spcPts val="0"/>
              </a:spcAft>
              <a:defRPr b="1">
                <a:latin typeface="+mj-lt"/>
              </a:defRPr>
            </a:lvl1pPr>
            <a:lvl2pPr marL="0" indent="0">
              <a:spcAft>
                <a:spcPts val="0"/>
              </a:spcAft>
              <a:buNone/>
              <a:defRPr sz="1600"/>
            </a:lvl2pPr>
          </a:lstStyle>
          <a:p>
            <a:pPr lvl="0"/>
            <a:r>
              <a:rPr lang="en-US"/>
              <a:t>Name, Last Name</a:t>
            </a:r>
          </a:p>
        </p:txBody>
      </p:sp>
      <p:sp>
        <p:nvSpPr>
          <p:cNvPr id="26" name="Text Placeholder 35">
            <a:extLst>
              <a:ext uri="{FF2B5EF4-FFF2-40B4-BE49-F238E27FC236}">
                <a16:creationId xmlns:a16="http://schemas.microsoft.com/office/drawing/2014/main" id="{EDAEAA86-D287-3299-DB78-D7C8566793B0}"/>
              </a:ext>
            </a:extLst>
          </p:cNvPr>
          <p:cNvSpPr>
            <a:spLocks noGrp="1"/>
          </p:cNvSpPr>
          <p:nvPr>
            <p:ph type="body" sz="quarter" idx="31" hasCustomPrompt="1"/>
          </p:nvPr>
        </p:nvSpPr>
        <p:spPr>
          <a:xfrm>
            <a:off x="6419088" y="3523468"/>
            <a:ext cx="2258568" cy="307777"/>
          </a:xfrm>
        </p:spPr>
        <p:txBody>
          <a:bodyPr anchor="b">
            <a:noAutofit/>
          </a:bodyPr>
          <a:lstStyle>
            <a:lvl1pPr>
              <a:spcAft>
                <a:spcPts val="0"/>
              </a:spcAft>
              <a:defRPr b="1">
                <a:latin typeface="+mj-lt"/>
              </a:defRPr>
            </a:lvl1pPr>
            <a:lvl2pPr marL="0" indent="0">
              <a:spcAft>
                <a:spcPts val="0"/>
              </a:spcAft>
              <a:buNone/>
              <a:defRPr sz="1600"/>
            </a:lvl2pPr>
          </a:lstStyle>
          <a:p>
            <a:pPr lvl="0"/>
            <a:r>
              <a:rPr lang="en-US"/>
              <a:t>Name, Last Name</a:t>
            </a:r>
          </a:p>
        </p:txBody>
      </p:sp>
      <p:sp>
        <p:nvSpPr>
          <p:cNvPr id="27" name="Text Placeholder 35">
            <a:extLst>
              <a:ext uri="{FF2B5EF4-FFF2-40B4-BE49-F238E27FC236}">
                <a16:creationId xmlns:a16="http://schemas.microsoft.com/office/drawing/2014/main" id="{65942B2D-3AC5-A77A-2B67-473A7F884BBC}"/>
              </a:ext>
            </a:extLst>
          </p:cNvPr>
          <p:cNvSpPr>
            <a:spLocks noGrp="1"/>
          </p:cNvSpPr>
          <p:nvPr>
            <p:ph type="body" sz="quarter" idx="32" hasCustomPrompt="1"/>
          </p:nvPr>
        </p:nvSpPr>
        <p:spPr>
          <a:xfrm>
            <a:off x="9323832" y="3523468"/>
            <a:ext cx="2258568" cy="307777"/>
          </a:xfrm>
        </p:spPr>
        <p:txBody>
          <a:bodyPr anchor="b">
            <a:noAutofit/>
          </a:bodyPr>
          <a:lstStyle>
            <a:lvl1pPr>
              <a:spcAft>
                <a:spcPts val="0"/>
              </a:spcAft>
              <a:defRPr b="1">
                <a:latin typeface="+mj-lt"/>
              </a:defRPr>
            </a:lvl1pPr>
            <a:lvl2pPr marL="0" indent="0">
              <a:spcAft>
                <a:spcPts val="0"/>
              </a:spcAft>
              <a:buNone/>
              <a:defRPr sz="1600"/>
            </a:lvl2pPr>
          </a:lstStyle>
          <a:p>
            <a:pPr lvl="0"/>
            <a:r>
              <a:rPr lang="en-US"/>
              <a:t>Name, Last Name</a:t>
            </a:r>
          </a:p>
        </p:txBody>
      </p:sp>
      <p:sp>
        <p:nvSpPr>
          <p:cNvPr id="28" name="Text Placeholder 33">
            <a:extLst>
              <a:ext uri="{FF2B5EF4-FFF2-40B4-BE49-F238E27FC236}">
                <a16:creationId xmlns:a16="http://schemas.microsoft.com/office/drawing/2014/main" id="{ED2CB8D3-2554-6B6C-E376-EBA35297A1AD}"/>
              </a:ext>
            </a:extLst>
          </p:cNvPr>
          <p:cNvSpPr>
            <a:spLocks noGrp="1"/>
          </p:cNvSpPr>
          <p:nvPr>
            <p:ph type="body" sz="quarter" idx="33" hasCustomPrompt="1"/>
          </p:nvPr>
        </p:nvSpPr>
        <p:spPr>
          <a:xfrm>
            <a:off x="3518657" y="3843884"/>
            <a:ext cx="2256612" cy="246221"/>
          </a:xfrm>
        </p:spPr>
        <p:txBody>
          <a:bodyPr wrap="square">
            <a:noAutofit/>
          </a:bodyPr>
          <a:lstStyle>
            <a:lvl1pPr marL="0" indent="0">
              <a:spcAft>
                <a:spcPts val="300"/>
              </a:spcAft>
              <a:buFont typeface="Arial" panose="020B0604020202020204" pitchFamily="34" charset="0"/>
              <a:buNone/>
              <a:defRPr sz="16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29" name="Text Placeholder 33">
            <a:extLst>
              <a:ext uri="{FF2B5EF4-FFF2-40B4-BE49-F238E27FC236}">
                <a16:creationId xmlns:a16="http://schemas.microsoft.com/office/drawing/2014/main" id="{7BD67107-7EFF-BB36-FE18-C91DD9348321}"/>
              </a:ext>
            </a:extLst>
          </p:cNvPr>
          <p:cNvSpPr>
            <a:spLocks noGrp="1"/>
          </p:cNvSpPr>
          <p:nvPr>
            <p:ph type="body" sz="quarter" idx="34" hasCustomPrompt="1"/>
          </p:nvPr>
        </p:nvSpPr>
        <p:spPr>
          <a:xfrm>
            <a:off x="6425759" y="3843884"/>
            <a:ext cx="2256612" cy="246221"/>
          </a:xfrm>
        </p:spPr>
        <p:txBody>
          <a:bodyPr wrap="square">
            <a:noAutofit/>
          </a:bodyPr>
          <a:lstStyle>
            <a:lvl1pPr marL="0" indent="0">
              <a:spcAft>
                <a:spcPts val="300"/>
              </a:spcAft>
              <a:buFont typeface="Arial" panose="020B0604020202020204" pitchFamily="34" charset="0"/>
              <a:buNone/>
              <a:defRPr sz="16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30" name="Text Placeholder 33">
            <a:extLst>
              <a:ext uri="{FF2B5EF4-FFF2-40B4-BE49-F238E27FC236}">
                <a16:creationId xmlns:a16="http://schemas.microsoft.com/office/drawing/2014/main" id="{F5BC2639-2D4C-EA86-460B-D75BD37E0AAC}"/>
              </a:ext>
            </a:extLst>
          </p:cNvPr>
          <p:cNvSpPr>
            <a:spLocks noGrp="1"/>
          </p:cNvSpPr>
          <p:nvPr>
            <p:ph type="body" sz="quarter" idx="35" hasCustomPrompt="1"/>
          </p:nvPr>
        </p:nvSpPr>
        <p:spPr>
          <a:xfrm>
            <a:off x="9306982" y="3843884"/>
            <a:ext cx="2256612" cy="246221"/>
          </a:xfrm>
        </p:spPr>
        <p:txBody>
          <a:bodyPr wrap="square">
            <a:noAutofit/>
          </a:bodyPr>
          <a:lstStyle>
            <a:lvl1pPr marL="0" indent="0">
              <a:spcAft>
                <a:spcPts val="300"/>
              </a:spcAft>
              <a:buFont typeface="Arial" panose="020B0604020202020204" pitchFamily="34" charset="0"/>
              <a:buNone/>
              <a:defRPr sz="16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570753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hort Team Slide - 8 Members">
    <p:bg>
      <p:bgPr>
        <a:solidFill>
          <a:srgbClr val="F3F3F3"/>
        </a:solidFill>
        <a:effectLst/>
      </p:bgPr>
    </p:bg>
    <p:spTree>
      <p:nvGrpSpPr>
        <p:cNvPr id="1" name=""/>
        <p:cNvGrpSpPr/>
        <p:nvPr/>
      </p:nvGrpSpPr>
      <p:grpSpPr>
        <a:xfrm>
          <a:off x="0" y="0"/>
          <a:ext cx="0" cy="0"/>
          <a:chOff x="0" y="0"/>
          <a:chExt cx="0" cy="0"/>
        </a:xfrm>
      </p:grpSpPr>
      <p:sp>
        <p:nvSpPr>
          <p:cNvPr id="6" name="Picture Placeholder 17">
            <a:extLst>
              <a:ext uri="{FF2B5EF4-FFF2-40B4-BE49-F238E27FC236}">
                <a16:creationId xmlns:a16="http://schemas.microsoft.com/office/drawing/2014/main" id="{874FFD84-E820-9CCF-0AD2-36B6B4FE3C82}"/>
              </a:ext>
            </a:extLst>
          </p:cNvPr>
          <p:cNvSpPr>
            <a:spLocks noGrp="1" noChangeAspect="1"/>
          </p:cNvSpPr>
          <p:nvPr>
            <p:ph type="pic" sz="quarter" idx="53" hasCustomPrompt="1"/>
          </p:nvPr>
        </p:nvSpPr>
        <p:spPr>
          <a:xfrm>
            <a:off x="9294705" y="1955700"/>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Headshot</a:t>
            </a:r>
          </a:p>
        </p:txBody>
      </p:sp>
      <p:sp>
        <p:nvSpPr>
          <p:cNvPr id="34" name="Picture Placeholder 17">
            <a:extLst>
              <a:ext uri="{FF2B5EF4-FFF2-40B4-BE49-F238E27FC236}">
                <a16:creationId xmlns:a16="http://schemas.microsoft.com/office/drawing/2014/main" id="{813769C8-2552-7A85-2B62-C7568B6AC9AE}"/>
              </a:ext>
            </a:extLst>
          </p:cNvPr>
          <p:cNvSpPr>
            <a:spLocks noGrp="1" noChangeAspect="1"/>
          </p:cNvSpPr>
          <p:nvPr>
            <p:ph type="pic" sz="quarter" idx="14" hasCustomPrompt="1"/>
          </p:nvPr>
        </p:nvSpPr>
        <p:spPr>
          <a:xfrm>
            <a:off x="609600" y="1955700"/>
            <a:ext cx="1054200" cy="1054200"/>
          </a:xfrm>
          <a:prstGeom prst="ellipse">
            <a:avLst/>
          </a:prstGeom>
          <a:solidFill>
            <a:schemeClr val="bg1">
              <a:lumMod val="75000"/>
            </a:schemeClr>
          </a:solidFill>
        </p:spPr>
        <p:txBody>
          <a:bodyPr anchor="ctr"/>
          <a:lstStyle>
            <a:lvl1pPr algn="ctr">
              <a:defRPr sz="1400"/>
            </a:lvl1pPr>
          </a:lstStyle>
          <a:p>
            <a:r>
              <a:rPr lang="en-US"/>
              <a:t>Headshot</a:t>
            </a:r>
          </a:p>
        </p:txBody>
      </p:sp>
      <p:sp>
        <p:nvSpPr>
          <p:cNvPr id="42" name="Picture Placeholder 17">
            <a:extLst>
              <a:ext uri="{FF2B5EF4-FFF2-40B4-BE49-F238E27FC236}">
                <a16:creationId xmlns:a16="http://schemas.microsoft.com/office/drawing/2014/main" id="{6252DFA9-6D54-E4B7-97FB-9F469D69C192}"/>
              </a:ext>
            </a:extLst>
          </p:cNvPr>
          <p:cNvSpPr>
            <a:spLocks noGrp="1" noChangeAspect="1"/>
          </p:cNvSpPr>
          <p:nvPr>
            <p:ph type="pic" sz="quarter" idx="17" hasCustomPrompt="1"/>
          </p:nvPr>
        </p:nvSpPr>
        <p:spPr>
          <a:xfrm>
            <a:off x="3490664" y="1955700"/>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Headshot</a:t>
            </a:r>
          </a:p>
        </p:txBody>
      </p:sp>
      <p:sp>
        <p:nvSpPr>
          <p:cNvPr id="48" name="Picture Placeholder 17">
            <a:extLst>
              <a:ext uri="{FF2B5EF4-FFF2-40B4-BE49-F238E27FC236}">
                <a16:creationId xmlns:a16="http://schemas.microsoft.com/office/drawing/2014/main" id="{292B6EA7-82EF-8D0E-757D-2DBF0C8C53DF}"/>
              </a:ext>
            </a:extLst>
          </p:cNvPr>
          <p:cNvSpPr>
            <a:spLocks noGrp="1" noChangeAspect="1"/>
          </p:cNvSpPr>
          <p:nvPr>
            <p:ph type="pic" sz="quarter" idx="20" hasCustomPrompt="1"/>
          </p:nvPr>
        </p:nvSpPr>
        <p:spPr>
          <a:xfrm>
            <a:off x="6419088" y="1955700"/>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Headshot</a:t>
            </a:r>
          </a:p>
        </p:txBody>
      </p:sp>
      <p:sp>
        <p:nvSpPr>
          <p:cNvPr id="19" name="Picture Placeholder 17">
            <a:extLst>
              <a:ext uri="{FF2B5EF4-FFF2-40B4-BE49-F238E27FC236}">
                <a16:creationId xmlns:a16="http://schemas.microsoft.com/office/drawing/2014/main" id="{4DE34035-F5AD-C611-062F-5093E74F76CC}"/>
              </a:ext>
            </a:extLst>
          </p:cNvPr>
          <p:cNvSpPr>
            <a:spLocks noGrp="1" noChangeAspect="1"/>
          </p:cNvSpPr>
          <p:nvPr>
            <p:ph type="pic" sz="quarter" idx="29" hasCustomPrompt="1"/>
          </p:nvPr>
        </p:nvSpPr>
        <p:spPr>
          <a:xfrm>
            <a:off x="609600" y="4198082"/>
            <a:ext cx="1054200" cy="1054200"/>
          </a:xfrm>
          <a:prstGeom prst="ellipse">
            <a:avLst/>
          </a:prstGeom>
          <a:solidFill>
            <a:schemeClr val="bg1">
              <a:lumMod val="75000"/>
            </a:schemeClr>
          </a:solidFill>
        </p:spPr>
        <p:txBody>
          <a:bodyPr anchor="ctr"/>
          <a:lstStyle>
            <a:lvl1pPr algn="ctr">
              <a:defRPr sz="1400"/>
            </a:lvl1pPr>
          </a:lstStyle>
          <a:p>
            <a:r>
              <a:rPr lang="en-US"/>
              <a:t>Headshot</a:t>
            </a:r>
          </a:p>
        </p:txBody>
      </p:sp>
      <p:sp>
        <p:nvSpPr>
          <p:cNvPr id="21" name="Picture Placeholder 17">
            <a:extLst>
              <a:ext uri="{FF2B5EF4-FFF2-40B4-BE49-F238E27FC236}">
                <a16:creationId xmlns:a16="http://schemas.microsoft.com/office/drawing/2014/main" id="{9686D5F5-5FD5-BDDF-5740-B4C1FA0E5BF8}"/>
              </a:ext>
            </a:extLst>
          </p:cNvPr>
          <p:cNvSpPr>
            <a:spLocks noGrp="1" noChangeAspect="1"/>
          </p:cNvSpPr>
          <p:nvPr>
            <p:ph type="pic" sz="quarter" idx="31" hasCustomPrompt="1"/>
          </p:nvPr>
        </p:nvSpPr>
        <p:spPr>
          <a:xfrm>
            <a:off x="3490664" y="4198082"/>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Headshot</a:t>
            </a:r>
          </a:p>
        </p:txBody>
      </p:sp>
      <p:sp>
        <p:nvSpPr>
          <p:cNvPr id="23" name="Picture Placeholder 17">
            <a:extLst>
              <a:ext uri="{FF2B5EF4-FFF2-40B4-BE49-F238E27FC236}">
                <a16:creationId xmlns:a16="http://schemas.microsoft.com/office/drawing/2014/main" id="{FB7DC8FB-AA4D-3AEF-1A74-024B0CDBA10D}"/>
              </a:ext>
            </a:extLst>
          </p:cNvPr>
          <p:cNvSpPr>
            <a:spLocks noGrp="1" noChangeAspect="1"/>
          </p:cNvSpPr>
          <p:nvPr>
            <p:ph type="pic" sz="quarter" idx="33" hasCustomPrompt="1"/>
          </p:nvPr>
        </p:nvSpPr>
        <p:spPr>
          <a:xfrm>
            <a:off x="6419088" y="4198082"/>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Headshot</a:t>
            </a:r>
          </a:p>
        </p:txBody>
      </p:sp>
      <p:sp>
        <p:nvSpPr>
          <p:cNvPr id="25" name="Picture Placeholder 17">
            <a:extLst>
              <a:ext uri="{FF2B5EF4-FFF2-40B4-BE49-F238E27FC236}">
                <a16:creationId xmlns:a16="http://schemas.microsoft.com/office/drawing/2014/main" id="{9DD06D5E-68D8-CF3C-E2F0-C5A1D9EE6675}"/>
              </a:ext>
            </a:extLst>
          </p:cNvPr>
          <p:cNvSpPr>
            <a:spLocks noGrp="1" noChangeAspect="1"/>
          </p:cNvSpPr>
          <p:nvPr>
            <p:ph type="pic" sz="quarter" idx="35" hasCustomPrompt="1"/>
          </p:nvPr>
        </p:nvSpPr>
        <p:spPr>
          <a:xfrm>
            <a:off x="9290495" y="4198082"/>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a:t>Headshot</a:t>
            </a:r>
          </a:p>
        </p:txBody>
      </p:sp>
      <p:sp>
        <p:nvSpPr>
          <p:cNvPr id="2" name="Title 1">
            <a:extLst>
              <a:ext uri="{FF2B5EF4-FFF2-40B4-BE49-F238E27FC236}">
                <a16:creationId xmlns:a16="http://schemas.microsoft.com/office/drawing/2014/main" id="{94E772DD-7002-F2A1-C348-A0C46F31C739}"/>
              </a:ext>
            </a:extLst>
          </p:cNvPr>
          <p:cNvSpPr>
            <a:spLocks noGrp="1"/>
          </p:cNvSpPr>
          <p:nvPr>
            <p:ph type="title"/>
          </p:nvPr>
        </p:nvSpPr>
        <p:spPr/>
        <p:txBody>
          <a:bodyPr/>
          <a:lstStyle/>
          <a:p>
            <a:r>
              <a:rPr lang="en-US"/>
              <a:t>Click to edit Master title style</a:t>
            </a:r>
          </a:p>
        </p:txBody>
      </p:sp>
      <p:sp>
        <p:nvSpPr>
          <p:cNvPr id="33" name="Text Placeholder 3">
            <a:extLst>
              <a:ext uri="{FF2B5EF4-FFF2-40B4-BE49-F238E27FC236}">
                <a16:creationId xmlns:a16="http://schemas.microsoft.com/office/drawing/2014/main" id="{FED28113-7C82-17C7-BA44-13930C355893}"/>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5" name="Date Placeholder 49">
            <a:extLst>
              <a:ext uri="{FF2B5EF4-FFF2-40B4-BE49-F238E27FC236}">
                <a16:creationId xmlns:a16="http://schemas.microsoft.com/office/drawing/2014/main" id="{A1790F86-0957-48DF-CC52-AE8AE9487111}"/>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CAE2D3EF-2E1E-47F5-91C7-50BCE6E0488C}" type="datetime4">
              <a:rPr lang="en-US" smtClean="0"/>
              <a:t>May 17, 2025</a:t>
            </a:fld>
            <a:endParaRPr lang="en-US"/>
          </a:p>
        </p:txBody>
      </p:sp>
      <p:sp>
        <p:nvSpPr>
          <p:cNvPr id="7" name="Text Placeholder 7">
            <a:extLst>
              <a:ext uri="{FF2B5EF4-FFF2-40B4-BE49-F238E27FC236}">
                <a16:creationId xmlns:a16="http://schemas.microsoft.com/office/drawing/2014/main" id="{D74D7FCE-5041-B026-EA43-51B21F3B8BE7}"/>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3" name="Footer Placeholder 4">
            <a:extLst>
              <a:ext uri="{FF2B5EF4-FFF2-40B4-BE49-F238E27FC236}">
                <a16:creationId xmlns:a16="http://schemas.microsoft.com/office/drawing/2014/main" id="{EBF6BF5C-8307-B3C5-1249-18E632BF5044}"/>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8" name="Slide Number Placeholder 5">
            <a:extLst>
              <a:ext uri="{FF2B5EF4-FFF2-40B4-BE49-F238E27FC236}">
                <a16:creationId xmlns:a16="http://schemas.microsoft.com/office/drawing/2014/main" id="{FCAA7CBE-DA9D-01C9-A282-A6D10AF8D44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38" name="Text Placeholder 35">
            <a:extLst>
              <a:ext uri="{FF2B5EF4-FFF2-40B4-BE49-F238E27FC236}">
                <a16:creationId xmlns:a16="http://schemas.microsoft.com/office/drawing/2014/main" id="{82AC21C8-B99B-2BC0-E7AC-E462E85BB9D7}"/>
              </a:ext>
            </a:extLst>
          </p:cNvPr>
          <p:cNvSpPr>
            <a:spLocks noGrp="1"/>
          </p:cNvSpPr>
          <p:nvPr>
            <p:ph type="body" sz="quarter" idx="37" hasCustomPrompt="1"/>
          </p:nvPr>
        </p:nvSpPr>
        <p:spPr>
          <a:xfrm>
            <a:off x="607827" y="3227269"/>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39" name="Text Placeholder 33">
            <a:extLst>
              <a:ext uri="{FF2B5EF4-FFF2-40B4-BE49-F238E27FC236}">
                <a16:creationId xmlns:a16="http://schemas.microsoft.com/office/drawing/2014/main" id="{A35B063B-18C7-DC71-E554-282EDE7382B6}"/>
              </a:ext>
            </a:extLst>
          </p:cNvPr>
          <p:cNvSpPr>
            <a:spLocks noGrp="1"/>
          </p:cNvSpPr>
          <p:nvPr>
            <p:ph type="body" sz="quarter" idx="38" hasCustomPrompt="1"/>
          </p:nvPr>
        </p:nvSpPr>
        <p:spPr>
          <a:xfrm>
            <a:off x="607827" y="3512452"/>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50" name="Text Placeholder 35">
            <a:extLst>
              <a:ext uri="{FF2B5EF4-FFF2-40B4-BE49-F238E27FC236}">
                <a16:creationId xmlns:a16="http://schemas.microsoft.com/office/drawing/2014/main" id="{81B712C3-F5BF-4CC7-BBC7-D413680C44AA}"/>
              </a:ext>
            </a:extLst>
          </p:cNvPr>
          <p:cNvSpPr>
            <a:spLocks noGrp="1"/>
          </p:cNvSpPr>
          <p:nvPr>
            <p:ph type="body" sz="quarter" idx="39" hasCustomPrompt="1"/>
          </p:nvPr>
        </p:nvSpPr>
        <p:spPr>
          <a:xfrm>
            <a:off x="3486390" y="3227269"/>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51" name="Text Placeholder 33">
            <a:extLst>
              <a:ext uri="{FF2B5EF4-FFF2-40B4-BE49-F238E27FC236}">
                <a16:creationId xmlns:a16="http://schemas.microsoft.com/office/drawing/2014/main" id="{E299C6CE-8AF4-C719-828D-649CA9C94857}"/>
              </a:ext>
            </a:extLst>
          </p:cNvPr>
          <p:cNvSpPr>
            <a:spLocks noGrp="1"/>
          </p:cNvSpPr>
          <p:nvPr>
            <p:ph type="body" sz="quarter" idx="40" hasCustomPrompt="1"/>
          </p:nvPr>
        </p:nvSpPr>
        <p:spPr>
          <a:xfrm>
            <a:off x="3486390" y="3512452"/>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52" name="Text Placeholder 35">
            <a:extLst>
              <a:ext uri="{FF2B5EF4-FFF2-40B4-BE49-F238E27FC236}">
                <a16:creationId xmlns:a16="http://schemas.microsoft.com/office/drawing/2014/main" id="{EB801F43-F2B7-CBE9-357A-F36C0E975462}"/>
              </a:ext>
            </a:extLst>
          </p:cNvPr>
          <p:cNvSpPr>
            <a:spLocks noGrp="1"/>
          </p:cNvSpPr>
          <p:nvPr>
            <p:ph type="body" sz="quarter" idx="41" hasCustomPrompt="1"/>
          </p:nvPr>
        </p:nvSpPr>
        <p:spPr>
          <a:xfrm>
            <a:off x="6425922" y="3227269"/>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53" name="Text Placeholder 33">
            <a:extLst>
              <a:ext uri="{FF2B5EF4-FFF2-40B4-BE49-F238E27FC236}">
                <a16:creationId xmlns:a16="http://schemas.microsoft.com/office/drawing/2014/main" id="{E87D44B1-BC3F-1E5B-3A26-AF3B7FC2BF29}"/>
              </a:ext>
            </a:extLst>
          </p:cNvPr>
          <p:cNvSpPr>
            <a:spLocks noGrp="1"/>
          </p:cNvSpPr>
          <p:nvPr>
            <p:ph type="body" sz="quarter" idx="42" hasCustomPrompt="1"/>
          </p:nvPr>
        </p:nvSpPr>
        <p:spPr>
          <a:xfrm>
            <a:off x="6425922" y="3512452"/>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54" name="Text Placeholder 35">
            <a:extLst>
              <a:ext uri="{FF2B5EF4-FFF2-40B4-BE49-F238E27FC236}">
                <a16:creationId xmlns:a16="http://schemas.microsoft.com/office/drawing/2014/main" id="{5918D064-2F30-9CBA-2821-26AB4FE6EE68}"/>
              </a:ext>
            </a:extLst>
          </p:cNvPr>
          <p:cNvSpPr>
            <a:spLocks noGrp="1"/>
          </p:cNvSpPr>
          <p:nvPr>
            <p:ph type="body" sz="quarter" idx="43" hasCustomPrompt="1"/>
          </p:nvPr>
        </p:nvSpPr>
        <p:spPr>
          <a:xfrm>
            <a:off x="9330486" y="3227269"/>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55" name="Text Placeholder 33">
            <a:extLst>
              <a:ext uri="{FF2B5EF4-FFF2-40B4-BE49-F238E27FC236}">
                <a16:creationId xmlns:a16="http://schemas.microsoft.com/office/drawing/2014/main" id="{D8D0603C-7B55-B6BD-29F5-5DEA129998D0}"/>
              </a:ext>
            </a:extLst>
          </p:cNvPr>
          <p:cNvSpPr>
            <a:spLocks noGrp="1"/>
          </p:cNvSpPr>
          <p:nvPr>
            <p:ph type="body" sz="quarter" idx="44" hasCustomPrompt="1"/>
          </p:nvPr>
        </p:nvSpPr>
        <p:spPr>
          <a:xfrm>
            <a:off x="9330486" y="3512452"/>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66" name="Text Placeholder 35">
            <a:extLst>
              <a:ext uri="{FF2B5EF4-FFF2-40B4-BE49-F238E27FC236}">
                <a16:creationId xmlns:a16="http://schemas.microsoft.com/office/drawing/2014/main" id="{A062BA50-079C-6100-E301-EDBEDFAD3199}"/>
              </a:ext>
            </a:extLst>
          </p:cNvPr>
          <p:cNvSpPr>
            <a:spLocks noGrp="1"/>
          </p:cNvSpPr>
          <p:nvPr>
            <p:ph type="body" sz="quarter" idx="45" hasCustomPrompt="1"/>
          </p:nvPr>
        </p:nvSpPr>
        <p:spPr>
          <a:xfrm>
            <a:off x="607827" y="5468446"/>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67" name="Text Placeholder 33">
            <a:extLst>
              <a:ext uri="{FF2B5EF4-FFF2-40B4-BE49-F238E27FC236}">
                <a16:creationId xmlns:a16="http://schemas.microsoft.com/office/drawing/2014/main" id="{0E067610-4620-E1DE-2CD8-345CC45982B3}"/>
              </a:ext>
            </a:extLst>
          </p:cNvPr>
          <p:cNvSpPr>
            <a:spLocks noGrp="1"/>
          </p:cNvSpPr>
          <p:nvPr>
            <p:ph type="body" sz="quarter" idx="46" hasCustomPrompt="1"/>
          </p:nvPr>
        </p:nvSpPr>
        <p:spPr>
          <a:xfrm>
            <a:off x="607827" y="5753629"/>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68" name="Text Placeholder 35">
            <a:extLst>
              <a:ext uri="{FF2B5EF4-FFF2-40B4-BE49-F238E27FC236}">
                <a16:creationId xmlns:a16="http://schemas.microsoft.com/office/drawing/2014/main" id="{BE730581-6369-EB17-F80E-F02AC2596B3B}"/>
              </a:ext>
            </a:extLst>
          </p:cNvPr>
          <p:cNvSpPr>
            <a:spLocks noGrp="1"/>
          </p:cNvSpPr>
          <p:nvPr>
            <p:ph type="body" sz="quarter" idx="47" hasCustomPrompt="1"/>
          </p:nvPr>
        </p:nvSpPr>
        <p:spPr>
          <a:xfrm>
            <a:off x="3486390" y="5468446"/>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69" name="Text Placeholder 33">
            <a:extLst>
              <a:ext uri="{FF2B5EF4-FFF2-40B4-BE49-F238E27FC236}">
                <a16:creationId xmlns:a16="http://schemas.microsoft.com/office/drawing/2014/main" id="{C449B276-9CBD-FA88-B630-F665FA9395DD}"/>
              </a:ext>
            </a:extLst>
          </p:cNvPr>
          <p:cNvSpPr>
            <a:spLocks noGrp="1"/>
          </p:cNvSpPr>
          <p:nvPr>
            <p:ph type="body" sz="quarter" idx="48" hasCustomPrompt="1"/>
          </p:nvPr>
        </p:nvSpPr>
        <p:spPr>
          <a:xfrm>
            <a:off x="3486390" y="5753629"/>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70" name="Text Placeholder 35">
            <a:extLst>
              <a:ext uri="{FF2B5EF4-FFF2-40B4-BE49-F238E27FC236}">
                <a16:creationId xmlns:a16="http://schemas.microsoft.com/office/drawing/2014/main" id="{82641E12-3574-556D-9292-D2D8F17E0EB2}"/>
              </a:ext>
            </a:extLst>
          </p:cNvPr>
          <p:cNvSpPr>
            <a:spLocks noGrp="1"/>
          </p:cNvSpPr>
          <p:nvPr>
            <p:ph type="body" sz="quarter" idx="49" hasCustomPrompt="1"/>
          </p:nvPr>
        </p:nvSpPr>
        <p:spPr>
          <a:xfrm>
            <a:off x="6425922" y="5468446"/>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71" name="Text Placeholder 33">
            <a:extLst>
              <a:ext uri="{FF2B5EF4-FFF2-40B4-BE49-F238E27FC236}">
                <a16:creationId xmlns:a16="http://schemas.microsoft.com/office/drawing/2014/main" id="{62159AB4-5518-F95D-C883-5F18C31386FE}"/>
              </a:ext>
            </a:extLst>
          </p:cNvPr>
          <p:cNvSpPr>
            <a:spLocks noGrp="1"/>
          </p:cNvSpPr>
          <p:nvPr>
            <p:ph type="body" sz="quarter" idx="50" hasCustomPrompt="1"/>
          </p:nvPr>
        </p:nvSpPr>
        <p:spPr>
          <a:xfrm>
            <a:off x="6425922" y="5753629"/>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72" name="Text Placeholder 35">
            <a:extLst>
              <a:ext uri="{FF2B5EF4-FFF2-40B4-BE49-F238E27FC236}">
                <a16:creationId xmlns:a16="http://schemas.microsoft.com/office/drawing/2014/main" id="{EA3EE371-9B6A-94CB-E243-1B449F7F08BC}"/>
              </a:ext>
            </a:extLst>
          </p:cNvPr>
          <p:cNvSpPr>
            <a:spLocks noGrp="1"/>
          </p:cNvSpPr>
          <p:nvPr>
            <p:ph type="body" sz="quarter" idx="51" hasCustomPrompt="1"/>
          </p:nvPr>
        </p:nvSpPr>
        <p:spPr>
          <a:xfrm>
            <a:off x="9330486" y="5468446"/>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73" name="Text Placeholder 33">
            <a:extLst>
              <a:ext uri="{FF2B5EF4-FFF2-40B4-BE49-F238E27FC236}">
                <a16:creationId xmlns:a16="http://schemas.microsoft.com/office/drawing/2014/main" id="{29259BFE-97CF-E9D2-6119-F50C9DD2DDCB}"/>
              </a:ext>
            </a:extLst>
          </p:cNvPr>
          <p:cNvSpPr>
            <a:spLocks noGrp="1"/>
          </p:cNvSpPr>
          <p:nvPr>
            <p:ph type="body" sz="quarter" idx="52" hasCustomPrompt="1"/>
          </p:nvPr>
        </p:nvSpPr>
        <p:spPr>
          <a:xfrm>
            <a:off x="9330486" y="5753629"/>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9" name="Freeform: Shape 8">
            <a:extLst>
              <a:ext uri="{FF2B5EF4-FFF2-40B4-BE49-F238E27FC236}">
                <a16:creationId xmlns:a16="http://schemas.microsoft.com/office/drawing/2014/main" id="{0E043715-2447-EF79-C393-9F009DECA16C}"/>
              </a:ext>
            </a:extLst>
          </p:cNvPr>
          <p:cNvSpPr/>
          <p:nvPr/>
        </p:nvSpPr>
        <p:spPr>
          <a:xfrm>
            <a:off x="9437233" y="2881377"/>
            <a:ext cx="762963" cy="148976"/>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50919" cap="flat">
            <a:solidFill>
              <a:srgbClr val="95C93D"/>
            </a:solid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03C3675-718C-D8B2-50E1-DBE61222ED73}"/>
              </a:ext>
            </a:extLst>
          </p:cNvPr>
          <p:cNvSpPr/>
          <p:nvPr/>
        </p:nvSpPr>
        <p:spPr>
          <a:xfrm>
            <a:off x="6560789" y="2881377"/>
            <a:ext cx="762963" cy="148976"/>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50919" cap="flat">
            <a:solidFill>
              <a:srgbClr val="95C93D"/>
            </a:solid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5F86E5F3-4C18-57C2-4208-6591AC702E57}"/>
              </a:ext>
            </a:extLst>
          </p:cNvPr>
          <p:cNvSpPr/>
          <p:nvPr/>
        </p:nvSpPr>
        <p:spPr>
          <a:xfrm>
            <a:off x="3637691" y="2881377"/>
            <a:ext cx="762963" cy="148976"/>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50919" cap="flat">
            <a:solidFill>
              <a:srgbClr val="95C93D"/>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658A8CF6-5C8C-BBE2-BE13-A21344246002}"/>
              </a:ext>
            </a:extLst>
          </p:cNvPr>
          <p:cNvSpPr/>
          <p:nvPr/>
        </p:nvSpPr>
        <p:spPr>
          <a:xfrm>
            <a:off x="9430409" y="5125956"/>
            <a:ext cx="762963" cy="148976"/>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50919" cap="flat">
            <a:solidFill>
              <a:srgbClr val="95C93D"/>
            </a:soli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F2AB3ABB-1E4D-815A-F007-F88F12233393}"/>
              </a:ext>
            </a:extLst>
          </p:cNvPr>
          <p:cNvSpPr/>
          <p:nvPr/>
        </p:nvSpPr>
        <p:spPr>
          <a:xfrm>
            <a:off x="6567613" y="5125956"/>
            <a:ext cx="762963" cy="148976"/>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50919" cap="flat">
            <a:solidFill>
              <a:srgbClr val="95C93D"/>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963D55A-4DD8-A62D-041E-765E758FE4A8}"/>
              </a:ext>
            </a:extLst>
          </p:cNvPr>
          <p:cNvSpPr/>
          <p:nvPr/>
        </p:nvSpPr>
        <p:spPr>
          <a:xfrm>
            <a:off x="3637691" y="5125956"/>
            <a:ext cx="762963" cy="148976"/>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50919" cap="flat">
            <a:solidFill>
              <a:srgbClr val="95C93D"/>
            </a:soli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740BBF01-176C-0435-A04E-569431E75FDF}"/>
              </a:ext>
            </a:extLst>
          </p:cNvPr>
          <p:cNvSpPr/>
          <p:nvPr/>
        </p:nvSpPr>
        <p:spPr>
          <a:xfrm>
            <a:off x="747599" y="5125956"/>
            <a:ext cx="762963" cy="148976"/>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50919" cap="flat">
            <a:solidFill>
              <a:srgbClr val="95C93D"/>
            </a:soli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6FD5D955-4FDB-1C52-5897-246710B59A98}"/>
              </a:ext>
            </a:extLst>
          </p:cNvPr>
          <p:cNvSpPr/>
          <p:nvPr userDrawn="1"/>
        </p:nvSpPr>
        <p:spPr>
          <a:xfrm>
            <a:off x="753386" y="2881377"/>
            <a:ext cx="762963" cy="148976"/>
          </a:xfrm>
          <a:custGeom>
            <a:avLst/>
            <a:gdLst>
              <a:gd name="connsiteX0" fmla="*/ 762963 w 762963"/>
              <a:gd name="connsiteY0" fmla="*/ 0 h 148976"/>
              <a:gd name="connsiteX1" fmla="*/ 0 w 762963"/>
              <a:gd name="connsiteY1" fmla="*/ 0 h 148976"/>
            </a:gdLst>
            <a:ahLst/>
            <a:cxnLst>
              <a:cxn ang="0">
                <a:pos x="connsiteX0" y="connsiteY0"/>
              </a:cxn>
              <a:cxn ang="0">
                <a:pos x="connsiteX1" y="connsiteY1"/>
              </a:cxn>
            </a:cxnLst>
            <a:rect l="l" t="t" r="r" b="b"/>
            <a:pathLst>
              <a:path w="762963" h="148976">
                <a:moveTo>
                  <a:pt x="762963" y="0"/>
                </a:moveTo>
                <a:cubicBezTo>
                  <a:pt x="552232" y="198635"/>
                  <a:pt x="210732" y="198635"/>
                  <a:pt x="0" y="0"/>
                </a:cubicBezTo>
              </a:path>
            </a:pathLst>
          </a:custGeom>
          <a:noFill/>
          <a:ln w="50919" cap="flat">
            <a:solidFill>
              <a:srgbClr val="95C93D"/>
            </a:solidFill>
            <a:prstDash val="solid"/>
            <a:miter/>
          </a:ln>
        </p:spPr>
        <p:txBody>
          <a:bodyPr rtlCol="0" anchor="ctr"/>
          <a:lstStyle/>
          <a:p>
            <a:endParaRPr lang="en-US"/>
          </a:p>
        </p:txBody>
      </p:sp>
    </p:spTree>
    <p:extLst>
      <p:ext uri="{BB962C8B-B14F-4D97-AF65-F5344CB8AC3E}">
        <p14:creationId xmlns:p14="http://schemas.microsoft.com/office/powerpoint/2010/main" val="27249836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am Slide - 6 Members">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772DD-7002-F2A1-C348-A0C46F31C739}"/>
              </a:ext>
            </a:extLst>
          </p:cNvPr>
          <p:cNvSpPr>
            <a:spLocks noGrp="1"/>
          </p:cNvSpPr>
          <p:nvPr>
            <p:ph type="title"/>
          </p:nvPr>
        </p:nvSpPr>
        <p:spPr/>
        <p:txBody>
          <a:bodyPr/>
          <a:lstStyle/>
          <a:p>
            <a:r>
              <a:rPr lang="en-US"/>
              <a:t>Click to edit Master title style</a:t>
            </a:r>
          </a:p>
        </p:txBody>
      </p:sp>
      <p:sp>
        <p:nvSpPr>
          <p:cNvPr id="33" name="Text Placeholder 3">
            <a:extLst>
              <a:ext uri="{FF2B5EF4-FFF2-40B4-BE49-F238E27FC236}">
                <a16:creationId xmlns:a16="http://schemas.microsoft.com/office/drawing/2014/main" id="{FED28113-7C82-17C7-BA44-13930C355893}"/>
              </a:ext>
            </a:extLst>
          </p:cNvPr>
          <p:cNvSpPr>
            <a:spLocks noGrp="1"/>
          </p:cNvSpPr>
          <p:nvPr>
            <p:ph type="body" sz="quarter" idx="13" hasCustomPrompt="1"/>
          </p:nvPr>
        </p:nvSpPr>
        <p:spPr>
          <a:xfrm>
            <a:off x="609600" y="1371912"/>
            <a:ext cx="10972800" cy="307777"/>
          </a:xfrm>
        </p:spPr>
        <p:txBody>
          <a:bodyPr>
            <a:spAutoFit/>
          </a:bodyPr>
          <a:lstStyle>
            <a:lvl1pPr>
              <a:defRPr>
                <a:solidFill>
                  <a:schemeClr val="tx1">
                    <a:lumMod val="75000"/>
                    <a:lumOff val="25000"/>
                  </a:schemeClr>
                </a:solidFill>
              </a:defRPr>
            </a:lvl1pPr>
          </a:lstStyle>
          <a:p>
            <a:pPr lvl="0"/>
            <a:r>
              <a:rPr lang="en-US"/>
              <a:t>Subtitle</a:t>
            </a:r>
          </a:p>
        </p:txBody>
      </p:sp>
      <p:sp>
        <p:nvSpPr>
          <p:cNvPr id="74" name="Picture Placeholder 17">
            <a:extLst>
              <a:ext uri="{FF2B5EF4-FFF2-40B4-BE49-F238E27FC236}">
                <a16:creationId xmlns:a16="http://schemas.microsoft.com/office/drawing/2014/main" id="{91443FC3-6EBF-129A-7CB0-2E46444145C2}"/>
              </a:ext>
            </a:extLst>
          </p:cNvPr>
          <p:cNvSpPr>
            <a:spLocks noGrp="1" noChangeAspect="1"/>
          </p:cNvSpPr>
          <p:nvPr>
            <p:ph type="pic" sz="quarter" idx="14" hasCustomPrompt="1"/>
          </p:nvPr>
        </p:nvSpPr>
        <p:spPr>
          <a:xfrm>
            <a:off x="608243" y="1863727"/>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75" name="Text Placeholder 35">
            <a:extLst>
              <a:ext uri="{FF2B5EF4-FFF2-40B4-BE49-F238E27FC236}">
                <a16:creationId xmlns:a16="http://schemas.microsoft.com/office/drawing/2014/main" id="{E222FD77-B00D-14C1-128B-AF209F40E593}"/>
              </a:ext>
            </a:extLst>
          </p:cNvPr>
          <p:cNvSpPr>
            <a:spLocks noGrp="1"/>
          </p:cNvSpPr>
          <p:nvPr>
            <p:ph type="body" sz="quarter" idx="15" hasCustomPrompt="1"/>
          </p:nvPr>
        </p:nvSpPr>
        <p:spPr>
          <a:xfrm>
            <a:off x="1666368" y="1999692"/>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76" name="Text Placeholder 37">
            <a:extLst>
              <a:ext uri="{FF2B5EF4-FFF2-40B4-BE49-F238E27FC236}">
                <a16:creationId xmlns:a16="http://schemas.microsoft.com/office/drawing/2014/main" id="{EEB76F13-B749-A78B-DC39-0D7AB9482088}"/>
              </a:ext>
            </a:extLst>
          </p:cNvPr>
          <p:cNvSpPr>
            <a:spLocks noGrp="1"/>
          </p:cNvSpPr>
          <p:nvPr>
            <p:ph type="body" sz="quarter" idx="16"/>
          </p:nvPr>
        </p:nvSpPr>
        <p:spPr>
          <a:xfrm>
            <a:off x="605321" y="3018191"/>
            <a:ext cx="3337560" cy="649224"/>
          </a:xfrm>
        </p:spPr>
        <p:txBody>
          <a:bodyPr/>
          <a:lstStyle>
            <a:lvl1pPr>
              <a:defRPr sz="1400"/>
            </a:lvl1pPr>
            <a:lvl2pPr marL="0" indent="0">
              <a:buNone/>
              <a:defRPr/>
            </a:lvl2pPr>
          </a:lstStyle>
          <a:p>
            <a:pPr lvl="0"/>
            <a:r>
              <a:rPr lang="en-US"/>
              <a:t>Click to edit Master text styles</a:t>
            </a:r>
          </a:p>
        </p:txBody>
      </p:sp>
      <p:sp>
        <p:nvSpPr>
          <p:cNvPr id="80" name="Picture Placeholder 17">
            <a:extLst>
              <a:ext uri="{FF2B5EF4-FFF2-40B4-BE49-F238E27FC236}">
                <a16:creationId xmlns:a16="http://schemas.microsoft.com/office/drawing/2014/main" id="{B54E4C95-7221-9492-7471-0DCD6BCAB85A}"/>
              </a:ext>
            </a:extLst>
          </p:cNvPr>
          <p:cNvSpPr>
            <a:spLocks noGrp="1" noChangeAspect="1"/>
          </p:cNvSpPr>
          <p:nvPr>
            <p:ph type="pic" sz="quarter" idx="29" hasCustomPrompt="1"/>
          </p:nvPr>
        </p:nvSpPr>
        <p:spPr>
          <a:xfrm>
            <a:off x="4429360" y="1863727"/>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82" name="Text Placeholder 37">
            <a:extLst>
              <a:ext uri="{FF2B5EF4-FFF2-40B4-BE49-F238E27FC236}">
                <a16:creationId xmlns:a16="http://schemas.microsoft.com/office/drawing/2014/main" id="{107F5CCE-2B3E-F9A1-56F1-2C122EFF3B46}"/>
              </a:ext>
            </a:extLst>
          </p:cNvPr>
          <p:cNvSpPr>
            <a:spLocks noGrp="1"/>
          </p:cNvSpPr>
          <p:nvPr>
            <p:ph type="body" sz="quarter" idx="31"/>
          </p:nvPr>
        </p:nvSpPr>
        <p:spPr>
          <a:xfrm>
            <a:off x="4429360" y="3018191"/>
            <a:ext cx="3337560" cy="649224"/>
          </a:xfrm>
        </p:spPr>
        <p:txBody>
          <a:bodyPr/>
          <a:lstStyle>
            <a:lvl1pPr>
              <a:defRPr sz="1400"/>
            </a:lvl1pPr>
            <a:lvl2pPr marL="0" indent="0">
              <a:buNone/>
              <a:defRPr/>
            </a:lvl2pPr>
          </a:lstStyle>
          <a:p>
            <a:pPr lvl="0"/>
            <a:r>
              <a:rPr lang="en-US"/>
              <a:t>Click to edit Master text styles</a:t>
            </a:r>
          </a:p>
        </p:txBody>
      </p:sp>
      <p:sp>
        <p:nvSpPr>
          <p:cNvPr id="86" name="Picture Placeholder 17">
            <a:extLst>
              <a:ext uri="{FF2B5EF4-FFF2-40B4-BE49-F238E27FC236}">
                <a16:creationId xmlns:a16="http://schemas.microsoft.com/office/drawing/2014/main" id="{0A54798C-9DDB-236B-75D5-1741208259E8}"/>
              </a:ext>
            </a:extLst>
          </p:cNvPr>
          <p:cNvSpPr>
            <a:spLocks noGrp="1" noChangeAspect="1"/>
          </p:cNvSpPr>
          <p:nvPr>
            <p:ph type="pic" sz="quarter" idx="32" hasCustomPrompt="1"/>
          </p:nvPr>
        </p:nvSpPr>
        <p:spPr>
          <a:xfrm>
            <a:off x="8249119" y="1863727"/>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88" name="Text Placeholder 37">
            <a:extLst>
              <a:ext uri="{FF2B5EF4-FFF2-40B4-BE49-F238E27FC236}">
                <a16:creationId xmlns:a16="http://schemas.microsoft.com/office/drawing/2014/main" id="{1FE98170-90C5-865C-F4D2-6AA60FA00F0E}"/>
              </a:ext>
            </a:extLst>
          </p:cNvPr>
          <p:cNvSpPr>
            <a:spLocks noGrp="1"/>
          </p:cNvSpPr>
          <p:nvPr>
            <p:ph type="body" sz="quarter" idx="34"/>
          </p:nvPr>
        </p:nvSpPr>
        <p:spPr>
          <a:xfrm>
            <a:off x="8249119" y="3018191"/>
            <a:ext cx="3337560" cy="649224"/>
          </a:xfrm>
        </p:spPr>
        <p:txBody>
          <a:bodyPr/>
          <a:lstStyle>
            <a:lvl1pPr>
              <a:defRPr sz="1400"/>
            </a:lvl1pPr>
            <a:lvl2pPr marL="0" indent="0">
              <a:buNone/>
              <a:defRPr/>
            </a:lvl2pPr>
          </a:lstStyle>
          <a:p>
            <a:pPr lvl="0"/>
            <a:r>
              <a:rPr lang="en-US"/>
              <a:t>Click to edit Master text styles</a:t>
            </a:r>
          </a:p>
        </p:txBody>
      </p:sp>
      <p:sp>
        <p:nvSpPr>
          <p:cNvPr id="130" name="Picture Placeholder 17">
            <a:extLst>
              <a:ext uri="{FF2B5EF4-FFF2-40B4-BE49-F238E27FC236}">
                <a16:creationId xmlns:a16="http://schemas.microsoft.com/office/drawing/2014/main" id="{8FFBB970-B4BB-3F4B-4628-902C42B0224B}"/>
              </a:ext>
            </a:extLst>
          </p:cNvPr>
          <p:cNvSpPr>
            <a:spLocks noGrp="1" noChangeAspect="1"/>
          </p:cNvSpPr>
          <p:nvPr>
            <p:ph type="pic" sz="quarter" idx="35" hasCustomPrompt="1"/>
          </p:nvPr>
        </p:nvSpPr>
        <p:spPr>
          <a:xfrm>
            <a:off x="608243" y="4112412"/>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132" name="Text Placeholder 37">
            <a:extLst>
              <a:ext uri="{FF2B5EF4-FFF2-40B4-BE49-F238E27FC236}">
                <a16:creationId xmlns:a16="http://schemas.microsoft.com/office/drawing/2014/main" id="{DC0DB422-2E2E-C593-A777-B77F87AC670E}"/>
              </a:ext>
            </a:extLst>
          </p:cNvPr>
          <p:cNvSpPr>
            <a:spLocks noGrp="1"/>
          </p:cNvSpPr>
          <p:nvPr>
            <p:ph type="body" sz="quarter" idx="37"/>
          </p:nvPr>
        </p:nvSpPr>
        <p:spPr>
          <a:xfrm>
            <a:off x="605321" y="5266876"/>
            <a:ext cx="3337560" cy="649224"/>
          </a:xfrm>
        </p:spPr>
        <p:txBody>
          <a:bodyPr/>
          <a:lstStyle>
            <a:lvl1pPr>
              <a:defRPr sz="1400"/>
            </a:lvl1pPr>
            <a:lvl2pPr marL="0" indent="0">
              <a:buNone/>
              <a:defRPr/>
            </a:lvl2pPr>
          </a:lstStyle>
          <a:p>
            <a:pPr lvl="0"/>
            <a:r>
              <a:rPr lang="en-US"/>
              <a:t>Click to edit Master text styles</a:t>
            </a:r>
          </a:p>
        </p:txBody>
      </p:sp>
      <p:sp>
        <p:nvSpPr>
          <p:cNvPr id="136" name="Picture Placeholder 17">
            <a:extLst>
              <a:ext uri="{FF2B5EF4-FFF2-40B4-BE49-F238E27FC236}">
                <a16:creationId xmlns:a16="http://schemas.microsoft.com/office/drawing/2014/main" id="{35080CE4-9FA2-2A30-26BC-A6026EB3B207}"/>
              </a:ext>
            </a:extLst>
          </p:cNvPr>
          <p:cNvSpPr>
            <a:spLocks noGrp="1" noChangeAspect="1"/>
          </p:cNvSpPr>
          <p:nvPr>
            <p:ph type="pic" sz="quarter" idx="38" hasCustomPrompt="1"/>
          </p:nvPr>
        </p:nvSpPr>
        <p:spPr>
          <a:xfrm>
            <a:off x="4429360" y="4112412"/>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138" name="Text Placeholder 37">
            <a:extLst>
              <a:ext uri="{FF2B5EF4-FFF2-40B4-BE49-F238E27FC236}">
                <a16:creationId xmlns:a16="http://schemas.microsoft.com/office/drawing/2014/main" id="{9484FE72-56CA-7CD1-BD23-C4B8863BE91D}"/>
              </a:ext>
            </a:extLst>
          </p:cNvPr>
          <p:cNvSpPr>
            <a:spLocks noGrp="1"/>
          </p:cNvSpPr>
          <p:nvPr>
            <p:ph type="body" sz="quarter" idx="40"/>
          </p:nvPr>
        </p:nvSpPr>
        <p:spPr>
          <a:xfrm>
            <a:off x="4429360" y="5266876"/>
            <a:ext cx="3337560" cy="649224"/>
          </a:xfrm>
        </p:spPr>
        <p:txBody>
          <a:bodyPr/>
          <a:lstStyle>
            <a:lvl1pPr>
              <a:defRPr sz="1400"/>
            </a:lvl1pPr>
            <a:lvl2pPr marL="0" indent="0">
              <a:buNone/>
              <a:defRPr/>
            </a:lvl2pPr>
          </a:lstStyle>
          <a:p>
            <a:pPr lvl="0"/>
            <a:r>
              <a:rPr lang="en-US"/>
              <a:t>Click to edit Master text styles</a:t>
            </a:r>
          </a:p>
        </p:txBody>
      </p:sp>
      <p:sp>
        <p:nvSpPr>
          <p:cNvPr id="142" name="Picture Placeholder 17">
            <a:extLst>
              <a:ext uri="{FF2B5EF4-FFF2-40B4-BE49-F238E27FC236}">
                <a16:creationId xmlns:a16="http://schemas.microsoft.com/office/drawing/2014/main" id="{BEE2F446-F2BA-DFA2-5703-091C5680895A}"/>
              </a:ext>
            </a:extLst>
          </p:cNvPr>
          <p:cNvSpPr>
            <a:spLocks noGrp="1" noChangeAspect="1"/>
          </p:cNvSpPr>
          <p:nvPr>
            <p:ph type="pic" sz="quarter" idx="41" hasCustomPrompt="1"/>
          </p:nvPr>
        </p:nvSpPr>
        <p:spPr>
          <a:xfrm>
            <a:off x="8249119" y="4112412"/>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144" name="Text Placeholder 37">
            <a:extLst>
              <a:ext uri="{FF2B5EF4-FFF2-40B4-BE49-F238E27FC236}">
                <a16:creationId xmlns:a16="http://schemas.microsoft.com/office/drawing/2014/main" id="{59AF7998-B0E5-06F3-A8BA-A17DB3F8A7FA}"/>
              </a:ext>
            </a:extLst>
          </p:cNvPr>
          <p:cNvSpPr>
            <a:spLocks noGrp="1"/>
          </p:cNvSpPr>
          <p:nvPr>
            <p:ph type="body" sz="quarter" idx="43"/>
          </p:nvPr>
        </p:nvSpPr>
        <p:spPr>
          <a:xfrm>
            <a:off x="8249119" y="5266876"/>
            <a:ext cx="3337560" cy="649224"/>
          </a:xfrm>
        </p:spPr>
        <p:txBody>
          <a:bodyPr/>
          <a:lstStyle>
            <a:lvl1pPr>
              <a:defRPr sz="1400"/>
            </a:lvl1pPr>
            <a:lvl2pPr marL="0" indent="0">
              <a:buNone/>
              <a:defRPr/>
            </a:lvl2pPr>
          </a:lstStyle>
          <a:p>
            <a:pPr lvl="0"/>
            <a:r>
              <a:rPr lang="en-US"/>
              <a:t>Click to edit Master text styles</a:t>
            </a:r>
          </a:p>
        </p:txBody>
      </p:sp>
      <p:sp>
        <p:nvSpPr>
          <p:cNvPr id="8" name="Date Placeholder 49">
            <a:extLst>
              <a:ext uri="{FF2B5EF4-FFF2-40B4-BE49-F238E27FC236}">
                <a16:creationId xmlns:a16="http://schemas.microsoft.com/office/drawing/2014/main" id="{AD882E8D-86CF-78F5-CFB2-2C2A909487A0}"/>
              </a:ext>
            </a:extLst>
          </p:cNvPr>
          <p:cNvSpPr>
            <a:spLocks noGrp="1"/>
          </p:cNvSpPr>
          <p:nvPr>
            <p:ph type="dt" sz="half" idx="26"/>
          </p:nvPr>
        </p:nvSpPr>
        <p:spPr>
          <a:xfrm>
            <a:off x="10236555" y="136647"/>
            <a:ext cx="1345845" cy="153888"/>
          </a:xfrm>
        </p:spPr>
        <p:txBody>
          <a:bodyPr/>
          <a:lstStyle>
            <a:lvl1pPr>
              <a:defRPr>
                <a:solidFill>
                  <a:schemeClr val="tx1">
                    <a:lumMod val="75000"/>
                    <a:lumOff val="25000"/>
                  </a:schemeClr>
                </a:solidFill>
              </a:defRPr>
            </a:lvl1pPr>
          </a:lstStyle>
          <a:p>
            <a:fld id="{35F677CC-96DB-441D-A14D-E6AC55F48714}" type="datetime4">
              <a:rPr lang="en-US" smtClean="0"/>
              <a:t>May 17, 2025</a:t>
            </a:fld>
            <a:endParaRPr lang="en-US"/>
          </a:p>
        </p:txBody>
      </p:sp>
      <p:sp>
        <p:nvSpPr>
          <p:cNvPr id="9" name="Text Placeholder 7">
            <a:extLst>
              <a:ext uri="{FF2B5EF4-FFF2-40B4-BE49-F238E27FC236}">
                <a16:creationId xmlns:a16="http://schemas.microsoft.com/office/drawing/2014/main" id="{CFD098C1-330C-AFAE-FA3D-112B70BA725F}"/>
              </a:ext>
            </a:extLst>
          </p:cNvPr>
          <p:cNvSpPr>
            <a:spLocks noGrp="1"/>
          </p:cNvSpPr>
          <p:nvPr>
            <p:ph type="body" sz="quarter" idx="28" hasCustomPrompt="1"/>
          </p:nvPr>
        </p:nvSpPr>
        <p:spPr>
          <a:xfrm>
            <a:off x="609600" y="136647"/>
            <a:ext cx="4076700" cy="153888"/>
          </a:xfrm>
        </p:spPr>
        <p:txBody>
          <a:bodyPr anchor="ctr">
            <a:sp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0" name="Footer Placeholder 4">
            <a:extLst>
              <a:ext uri="{FF2B5EF4-FFF2-40B4-BE49-F238E27FC236}">
                <a16:creationId xmlns:a16="http://schemas.microsoft.com/office/drawing/2014/main" id="{4FCD77E7-40BA-46DE-2B5C-42D596278BE0}"/>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11" name="Slide Number Placeholder 5">
            <a:extLst>
              <a:ext uri="{FF2B5EF4-FFF2-40B4-BE49-F238E27FC236}">
                <a16:creationId xmlns:a16="http://schemas.microsoft.com/office/drawing/2014/main" id="{2C933E16-9A69-6F57-B99A-CDFA86546FB6}"/>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4" name="Text Placeholder 35">
            <a:extLst>
              <a:ext uri="{FF2B5EF4-FFF2-40B4-BE49-F238E27FC236}">
                <a16:creationId xmlns:a16="http://schemas.microsoft.com/office/drawing/2014/main" id="{12857EE3-1A8E-26A6-2E7D-216BF994943A}"/>
              </a:ext>
            </a:extLst>
          </p:cNvPr>
          <p:cNvSpPr>
            <a:spLocks noGrp="1"/>
          </p:cNvSpPr>
          <p:nvPr>
            <p:ph type="body" sz="quarter" idx="45" hasCustomPrompt="1"/>
          </p:nvPr>
        </p:nvSpPr>
        <p:spPr>
          <a:xfrm>
            <a:off x="5508352" y="1999692"/>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6" name="Text Placeholder 35">
            <a:extLst>
              <a:ext uri="{FF2B5EF4-FFF2-40B4-BE49-F238E27FC236}">
                <a16:creationId xmlns:a16="http://schemas.microsoft.com/office/drawing/2014/main" id="{AE9ABF98-E432-CF37-C130-5B701B67AA95}"/>
              </a:ext>
            </a:extLst>
          </p:cNvPr>
          <p:cNvSpPr>
            <a:spLocks noGrp="1"/>
          </p:cNvSpPr>
          <p:nvPr>
            <p:ph type="body" sz="quarter" idx="47" hasCustomPrompt="1"/>
          </p:nvPr>
        </p:nvSpPr>
        <p:spPr>
          <a:xfrm>
            <a:off x="9328111" y="1999692"/>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12" name="Text Placeholder 35">
            <a:extLst>
              <a:ext uri="{FF2B5EF4-FFF2-40B4-BE49-F238E27FC236}">
                <a16:creationId xmlns:a16="http://schemas.microsoft.com/office/drawing/2014/main" id="{EBE4D164-8760-6682-DBED-856A9C8586A0}"/>
              </a:ext>
            </a:extLst>
          </p:cNvPr>
          <p:cNvSpPr>
            <a:spLocks noGrp="1"/>
          </p:cNvSpPr>
          <p:nvPr>
            <p:ph type="body" sz="quarter" idx="49" hasCustomPrompt="1"/>
          </p:nvPr>
        </p:nvSpPr>
        <p:spPr>
          <a:xfrm>
            <a:off x="1666368" y="4248376"/>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17" name="Text Placeholder 35">
            <a:extLst>
              <a:ext uri="{FF2B5EF4-FFF2-40B4-BE49-F238E27FC236}">
                <a16:creationId xmlns:a16="http://schemas.microsoft.com/office/drawing/2014/main" id="{A22D8366-7D6F-6124-A789-D967335764CF}"/>
              </a:ext>
            </a:extLst>
          </p:cNvPr>
          <p:cNvSpPr>
            <a:spLocks noGrp="1"/>
          </p:cNvSpPr>
          <p:nvPr>
            <p:ph type="body" sz="quarter" idx="51" hasCustomPrompt="1"/>
          </p:nvPr>
        </p:nvSpPr>
        <p:spPr>
          <a:xfrm>
            <a:off x="5508352" y="4248376"/>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19" name="Text Placeholder 35">
            <a:extLst>
              <a:ext uri="{FF2B5EF4-FFF2-40B4-BE49-F238E27FC236}">
                <a16:creationId xmlns:a16="http://schemas.microsoft.com/office/drawing/2014/main" id="{9A7B8620-5D0F-B93D-347D-F9FA577E85D6}"/>
              </a:ext>
            </a:extLst>
          </p:cNvPr>
          <p:cNvSpPr>
            <a:spLocks noGrp="1"/>
          </p:cNvSpPr>
          <p:nvPr>
            <p:ph type="body" sz="quarter" idx="53" hasCustomPrompt="1"/>
          </p:nvPr>
        </p:nvSpPr>
        <p:spPr>
          <a:xfrm>
            <a:off x="9323832" y="4248376"/>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22" name="Text Placeholder 21">
            <a:extLst>
              <a:ext uri="{FF2B5EF4-FFF2-40B4-BE49-F238E27FC236}">
                <a16:creationId xmlns:a16="http://schemas.microsoft.com/office/drawing/2014/main" id="{B80C70E4-0DB3-B925-043D-FF0992B52952}"/>
              </a:ext>
            </a:extLst>
          </p:cNvPr>
          <p:cNvSpPr>
            <a:spLocks noGrp="1"/>
          </p:cNvSpPr>
          <p:nvPr>
            <p:ph type="body" sz="quarter" idx="54" hasCustomPrompt="1"/>
          </p:nvPr>
        </p:nvSpPr>
        <p:spPr>
          <a:xfrm>
            <a:off x="5508625" y="2276475"/>
            <a:ext cx="2259013" cy="219456"/>
          </a:xfrm>
        </p:spPr>
        <p:txBody>
          <a:bodyPr anchor="t">
            <a:noAutofit/>
          </a:bodyPr>
          <a:lstStyle>
            <a:lvl1pPr>
              <a:defRPr sz="1400"/>
            </a:lvl1pPr>
          </a:lstStyle>
          <a:p>
            <a:pPr lvl="0"/>
            <a:r>
              <a:rPr lang="en-US"/>
              <a:t>Title/Position</a:t>
            </a:r>
          </a:p>
        </p:txBody>
      </p:sp>
      <p:sp>
        <p:nvSpPr>
          <p:cNvPr id="23" name="Text Placeholder 21">
            <a:extLst>
              <a:ext uri="{FF2B5EF4-FFF2-40B4-BE49-F238E27FC236}">
                <a16:creationId xmlns:a16="http://schemas.microsoft.com/office/drawing/2014/main" id="{AFCE4D44-D986-984D-7105-AE704E89122B}"/>
              </a:ext>
            </a:extLst>
          </p:cNvPr>
          <p:cNvSpPr>
            <a:spLocks noGrp="1"/>
          </p:cNvSpPr>
          <p:nvPr>
            <p:ph type="body" sz="quarter" idx="55" hasCustomPrompt="1"/>
          </p:nvPr>
        </p:nvSpPr>
        <p:spPr>
          <a:xfrm>
            <a:off x="1666368" y="2276475"/>
            <a:ext cx="2259013" cy="219456"/>
          </a:xfrm>
        </p:spPr>
        <p:txBody>
          <a:bodyPr anchor="t">
            <a:noAutofit/>
          </a:bodyPr>
          <a:lstStyle>
            <a:lvl1pPr>
              <a:defRPr sz="1400"/>
            </a:lvl1pPr>
          </a:lstStyle>
          <a:p>
            <a:pPr lvl="0"/>
            <a:r>
              <a:rPr lang="en-US"/>
              <a:t>Title/Position</a:t>
            </a:r>
          </a:p>
        </p:txBody>
      </p:sp>
      <p:sp>
        <p:nvSpPr>
          <p:cNvPr id="24" name="Text Placeholder 21">
            <a:extLst>
              <a:ext uri="{FF2B5EF4-FFF2-40B4-BE49-F238E27FC236}">
                <a16:creationId xmlns:a16="http://schemas.microsoft.com/office/drawing/2014/main" id="{7D7F42DC-8362-83F9-2DF8-863C89D9102B}"/>
              </a:ext>
            </a:extLst>
          </p:cNvPr>
          <p:cNvSpPr>
            <a:spLocks noGrp="1"/>
          </p:cNvSpPr>
          <p:nvPr>
            <p:ph type="body" sz="quarter" idx="56" hasCustomPrompt="1"/>
          </p:nvPr>
        </p:nvSpPr>
        <p:spPr>
          <a:xfrm>
            <a:off x="9327666" y="2276475"/>
            <a:ext cx="2259013" cy="219456"/>
          </a:xfrm>
        </p:spPr>
        <p:txBody>
          <a:bodyPr anchor="t">
            <a:noAutofit/>
          </a:bodyPr>
          <a:lstStyle>
            <a:lvl1pPr>
              <a:defRPr sz="1400"/>
            </a:lvl1pPr>
          </a:lstStyle>
          <a:p>
            <a:pPr lvl="0"/>
            <a:r>
              <a:rPr lang="en-US"/>
              <a:t>Title/Position</a:t>
            </a:r>
          </a:p>
        </p:txBody>
      </p:sp>
      <p:sp>
        <p:nvSpPr>
          <p:cNvPr id="25" name="Text Placeholder 21">
            <a:extLst>
              <a:ext uri="{FF2B5EF4-FFF2-40B4-BE49-F238E27FC236}">
                <a16:creationId xmlns:a16="http://schemas.microsoft.com/office/drawing/2014/main" id="{C40132AE-91BF-5CCD-3601-9C0D1DEA30BF}"/>
              </a:ext>
            </a:extLst>
          </p:cNvPr>
          <p:cNvSpPr>
            <a:spLocks noGrp="1"/>
          </p:cNvSpPr>
          <p:nvPr>
            <p:ph type="body" sz="quarter" idx="57" hasCustomPrompt="1"/>
          </p:nvPr>
        </p:nvSpPr>
        <p:spPr>
          <a:xfrm>
            <a:off x="5508625" y="4526850"/>
            <a:ext cx="2259013" cy="219456"/>
          </a:xfrm>
        </p:spPr>
        <p:txBody>
          <a:bodyPr anchor="t">
            <a:noAutofit/>
          </a:bodyPr>
          <a:lstStyle>
            <a:lvl1pPr>
              <a:defRPr sz="1400"/>
            </a:lvl1pPr>
          </a:lstStyle>
          <a:p>
            <a:pPr lvl="0"/>
            <a:r>
              <a:rPr lang="en-US"/>
              <a:t>Title/Position</a:t>
            </a:r>
          </a:p>
        </p:txBody>
      </p:sp>
      <p:sp>
        <p:nvSpPr>
          <p:cNvPr id="26" name="Text Placeholder 21">
            <a:extLst>
              <a:ext uri="{FF2B5EF4-FFF2-40B4-BE49-F238E27FC236}">
                <a16:creationId xmlns:a16="http://schemas.microsoft.com/office/drawing/2014/main" id="{EDD10FF7-3E05-9472-485D-A039372EE4DD}"/>
              </a:ext>
            </a:extLst>
          </p:cNvPr>
          <p:cNvSpPr>
            <a:spLocks noGrp="1"/>
          </p:cNvSpPr>
          <p:nvPr>
            <p:ph type="body" sz="quarter" idx="58" hasCustomPrompt="1"/>
          </p:nvPr>
        </p:nvSpPr>
        <p:spPr>
          <a:xfrm>
            <a:off x="9323832" y="4526850"/>
            <a:ext cx="2259013" cy="219456"/>
          </a:xfrm>
        </p:spPr>
        <p:txBody>
          <a:bodyPr anchor="t">
            <a:noAutofit/>
          </a:bodyPr>
          <a:lstStyle>
            <a:lvl1pPr>
              <a:defRPr sz="1400"/>
            </a:lvl1pPr>
          </a:lstStyle>
          <a:p>
            <a:pPr lvl="0"/>
            <a:r>
              <a:rPr lang="en-US"/>
              <a:t>Title/Position</a:t>
            </a:r>
          </a:p>
        </p:txBody>
      </p:sp>
      <p:sp>
        <p:nvSpPr>
          <p:cNvPr id="27" name="Text Placeholder 21">
            <a:extLst>
              <a:ext uri="{FF2B5EF4-FFF2-40B4-BE49-F238E27FC236}">
                <a16:creationId xmlns:a16="http://schemas.microsoft.com/office/drawing/2014/main" id="{FB022C9F-C583-A483-CD36-A8DB7561F9A2}"/>
              </a:ext>
            </a:extLst>
          </p:cNvPr>
          <p:cNvSpPr>
            <a:spLocks noGrp="1"/>
          </p:cNvSpPr>
          <p:nvPr>
            <p:ph type="body" sz="quarter" idx="59" hasCustomPrompt="1"/>
          </p:nvPr>
        </p:nvSpPr>
        <p:spPr>
          <a:xfrm>
            <a:off x="1666368" y="4526850"/>
            <a:ext cx="2259013" cy="219456"/>
          </a:xfrm>
        </p:spPr>
        <p:txBody>
          <a:bodyPr anchor="t">
            <a:noAutofit/>
          </a:bodyPr>
          <a:lstStyle>
            <a:lvl1pPr>
              <a:defRPr sz="1400"/>
            </a:lvl1pPr>
          </a:lstStyle>
          <a:p>
            <a:pPr lvl="0"/>
            <a:r>
              <a:rPr lang="en-US"/>
              <a:t>Title/Position</a:t>
            </a:r>
          </a:p>
        </p:txBody>
      </p:sp>
    </p:spTree>
    <p:extLst>
      <p:ext uri="{BB962C8B-B14F-4D97-AF65-F5344CB8AC3E}">
        <p14:creationId xmlns:p14="http://schemas.microsoft.com/office/powerpoint/2010/main" val="21484097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am Slide - 8 Members">
    <p:bg>
      <p:bgPr>
        <a:solidFill>
          <a:srgbClr val="F3F3F3"/>
        </a:solidFill>
        <a:effectLst/>
      </p:bgPr>
    </p:bg>
    <p:spTree>
      <p:nvGrpSpPr>
        <p:cNvPr id="1" name=""/>
        <p:cNvGrpSpPr/>
        <p:nvPr/>
      </p:nvGrpSpPr>
      <p:grpSpPr>
        <a:xfrm>
          <a:off x="0" y="0"/>
          <a:ext cx="0" cy="0"/>
          <a:chOff x="0" y="0"/>
          <a:chExt cx="0" cy="0"/>
        </a:xfrm>
      </p:grpSpPr>
      <p:sp>
        <p:nvSpPr>
          <p:cNvPr id="59" name="Picture Placeholder 17">
            <a:extLst>
              <a:ext uri="{FF2B5EF4-FFF2-40B4-BE49-F238E27FC236}">
                <a16:creationId xmlns:a16="http://schemas.microsoft.com/office/drawing/2014/main" id="{A6808325-F953-D3D6-B006-441B38CF8EEE}"/>
              </a:ext>
            </a:extLst>
          </p:cNvPr>
          <p:cNvSpPr>
            <a:spLocks noGrp="1" noChangeAspect="1"/>
          </p:cNvSpPr>
          <p:nvPr>
            <p:ph type="pic" sz="quarter" idx="14" hasCustomPrompt="1"/>
          </p:nvPr>
        </p:nvSpPr>
        <p:spPr>
          <a:xfrm>
            <a:off x="608243" y="1863727"/>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2" name="Title 1">
            <a:extLst>
              <a:ext uri="{FF2B5EF4-FFF2-40B4-BE49-F238E27FC236}">
                <a16:creationId xmlns:a16="http://schemas.microsoft.com/office/drawing/2014/main" id="{94E772DD-7002-F2A1-C348-A0C46F31C739}"/>
              </a:ext>
            </a:extLst>
          </p:cNvPr>
          <p:cNvSpPr>
            <a:spLocks noGrp="1"/>
          </p:cNvSpPr>
          <p:nvPr>
            <p:ph type="title"/>
          </p:nvPr>
        </p:nvSpPr>
        <p:spPr/>
        <p:txBody>
          <a:bodyPr>
            <a:noAutofit/>
          </a:bodyPr>
          <a:lstStyle/>
          <a:p>
            <a:r>
              <a:rPr lang="en-US"/>
              <a:t>Click to edit Master title style</a:t>
            </a:r>
          </a:p>
        </p:txBody>
      </p:sp>
      <p:sp>
        <p:nvSpPr>
          <p:cNvPr id="33" name="Text Placeholder 3">
            <a:extLst>
              <a:ext uri="{FF2B5EF4-FFF2-40B4-BE49-F238E27FC236}">
                <a16:creationId xmlns:a16="http://schemas.microsoft.com/office/drawing/2014/main" id="{FED28113-7C82-17C7-BA44-13930C355893}"/>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61" name="Text Placeholder 37">
            <a:extLst>
              <a:ext uri="{FF2B5EF4-FFF2-40B4-BE49-F238E27FC236}">
                <a16:creationId xmlns:a16="http://schemas.microsoft.com/office/drawing/2014/main" id="{884BC13A-5EAB-B07C-AD46-80083B8D2EFB}"/>
              </a:ext>
            </a:extLst>
          </p:cNvPr>
          <p:cNvSpPr>
            <a:spLocks noGrp="1"/>
          </p:cNvSpPr>
          <p:nvPr>
            <p:ph type="body" sz="quarter" idx="16"/>
          </p:nvPr>
        </p:nvSpPr>
        <p:spPr>
          <a:xfrm>
            <a:off x="609601" y="3016191"/>
            <a:ext cx="2468880" cy="740664"/>
          </a:xfrm>
        </p:spPr>
        <p:txBody>
          <a:bodyPr>
            <a:noAutofit/>
          </a:bodyPr>
          <a:lstStyle>
            <a:lvl1pPr>
              <a:defRPr sz="1200"/>
            </a:lvl1pPr>
            <a:lvl2pPr marL="0" indent="0">
              <a:buNone/>
              <a:defRPr/>
            </a:lvl2pPr>
          </a:lstStyle>
          <a:p>
            <a:pPr lvl="0"/>
            <a:r>
              <a:rPr lang="en-US"/>
              <a:t>Click to edit Master text styles</a:t>
            </a:r>
          </a:p>
        </p:txBody>
      </p:sp>
      <p:sp>
        <p:nvSpPr>
          <p:cNvPr id="65" name="Picture Placeholder 17">
            <a:extLst>
              <a:ext uri="{FF2B5EF4-FFF2-40B4-BE49-F238E27FC236}">
                <a16:creationId xmlns:a16="http://schemas.microsoft.com/office/drawing/2014/main" id="{F3898552-3A28-9276-B1B2-300B2D000858}"/>
              </a:ext>
            </a:extLst>
          </p:cNvPr>
          <p:cNvSpPr>
            <a:spLocks noGrp="1" noChangeAspect="1"/>
          </p:cNvSpPr>
          <p:nvPr>
            <p:ph type="pic" sz="quarter" idx="29" hasCustomPrompt="1"/>
          </p:nvPr>
        </p:nvSpPr>
        <p:spPr>
          <a:xfrm>
            <a:off x="3441283" y="1870872"/>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67" name="Text Placeholder 37">
            <a:extLst>
              <a:ext uri="{FF2B5EF4-FFF2-40B4-BE49-F238E27FC236}">
                <a16:creationId xmlns:a16="http://schemas.microsoft.com/office/drawing/2014/main" id="{C27B05CE-BFA3-0CCE-302D-4232E19962A0}"/>
              </a:ext>
            </a:extLst>
          </p:cNvPr>
          <p:cNvSpPr>
            <a:spLocks noGrp="1"/>
          </p:cNvSpPr>
          <p:nvPr>
            <p:ph type="body" sz="quarter" idx="31"/>
          </p:nvPr>
        </p:nvSpPr>
        <p:spPr>
          <a:xfrm>
            <a:off x="3445221" y="3016191"/>
            <a:ext cx="2468880" cy="740664"/>
          </a:xfrm>
        </p:spPr>
        <p:txBody>
          <a:bodyPr>
            <a:noAutofit/>
          </a:bodyPr>
          <a:lstStyle>
            <a:lvl1pPr>
              <a:defRPr sz="1200"/>
            </a:lvl1pPr>
            <a:lvl2pPr marL="0" indent="0">
              <a:buNone/>
              <a:defRPr/>
            </a:lvl2pPr>
          </a:lstStyle>
          <a:p>
            <a:pPr lvl="0"/>
            <a:r>
              <a:rPr lang="en-US"/>
              <a:t>Click to edit Master text styles</a:t>
            </a:r>
          </a:p>
        </p:txBody>
      </p:sp>
      <p:sp>
        <p:nvSpPr>
          <p:cNvPr id="71" name="Picture Placeholder 17">
            <a:extLst>
              <a:ext uri="{FF2B5EF4-FFF2-40B4-BE49-F238E27FC236}">
                <a16:creationId xmlns:a16="http://schemas.microsoft.com/office/drawing/2014/main" id="{E4672307-788D-1DDD-3D4E-4D23409D7217}"/>
              </a:ext>
            </a:extLst>
          </p:cNvPr>
          <p:cNvSpPr>
            <a:spLocks noGrp="1" noChangeAspect="1"/>
          </p:cNvSpPr>
          <p:nvPr>
            <p:ph type="pic" sz="quarter" idx="32" hasCustomPrompt="1"/>
          </p:nvPr>
        </p:nvSpPr>
        <p:spPr>
          <a:xfrm>
            <a:off x="6274323" y="1863727"/>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73" name="Text Placeholder 37">
            <a:extLst>
              <a:ext uri="{FF2B5EF4-FFF2-40B4-BE49-F238E27FC236}">
                <a16:creationId xmlns:a16="http://schemas.microsoft.com/office/drawing/2014/main" id="{0E6DF668-EA51-C05E-4712-15DD3AEAA498}"/>
              </a:ext>
            </a:extLst>
          </p:cNvPr>
          <p:cNvSpPr>
            <a:spLocks noGrp="1"/>
          </p:cNvSpPr>
          <p:nvPr>
            <p:ph type="body" sz="quarter" idx="34"/>
          </p:nvPr>
        </p:nvSpPr>
        <p:spPr>
          <a:xfrm>
            <a:off x="6278127" y="3016191"/>
            <a:ext cx="2468880" cy="740664"/>
          </a:xfrm>
        </p:spPr>
        <p:txBody>
          <a:bodyPr>
            <a:noAutofit/>
          </a:bodyPr>
          <a:lstStyle>
            <a:lvl1pPr>
              <a:defRPr sz="1200"/>
            </a:lvl1pPr>
            <a:lvl2pPr marL="0" indent="0">
              <a:buNone/>
              <a:defRPr/>
            </a:lvl2pPr>
          </a:lstStyle>
          <a:p>
            <a:pPr lvl="0"/>
            <a:r>
              <a:rPr lang="en-US"/>
              <a:t>Click to edit Master text styles</a:t>
            </a:r>
          </a:p>
        </p:txBody>
      </p:sp>
      <p:sp>
        <p:nvSpPr>
          <p:cNvPr id="92" name="Picture Placeholder 17">
            <a:extLst>
              <a:ext uri="{FF2B5EF4-FFF2-40B4-BE49-F238E27FC236}">
                <a16:creationId xmlns:a16="http://schemas.microsoft.com/office/drawing/2014/main" id="{84226C9B-295D-1EFE-2728-F8D6EFAD0A44}"/>
              </a:ext>
            </a:extLst>
          </p:cNvPr>
          <p:cNvSpPr>
            <a:spLocks noGrp="1" noChangeAspect="1"/>
          </p:cNvSpPr>
          <p:nvPr>
            <p:ph type="pic" sz="quarter" idx="35" hasCustomPrompt="1"/>
          </p:nvPr>
        </p:nvSpPr>
        <p:spPr>
          <a:xfrm>
            <a:off x="9111031" y="1870872"/>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94" name="Text Placeholder 37">
            <a:extLst>
              <a:ext uri="{FF2B5EF4-FFF2-40B4-BE49-F238E27FC236}">
                <a16:creationId xmlns:a16="http://schemas.microsoft.com/office/drawing/2014/main" id="{486E55A6-26AA-A3DF-84FE-8D113C5AB900}"/>
              </a:ext>
            </a:extLst>
          </p:cNvPr>
          <p:cNvSpPr>
            <a:spLocks noGrp="1"/>
          </p:cNvSpPr>
          <p:nvPr>
            <p:ph type="body" sz="quarter" idx="37"/>
          </p:nvPr>
        </p:nvSpPr>
        <p:spPr>
          <a:xfrm>
            <a:off x="9112389" y="3016191"/>
            <a:ext cx="2468880" cy="740664"/>
          </a:xfrm>
        </p:spPr>
        <p:txBody>
          <a:bodyPr>
            <a:noAutofit/>
          </a:bodyPr>
          <a:lstStyle>
            <a:lvl1pPr>
              <a:defRPr sz="1200"/>
            </a:lvl1pPr>
            <a:lvl2pPr marL="0" indent="0">
              <a:buNone/>
              <a:defRPr/>
            </a:lvl2pPr>
          </a:lstStyle>
          <a:p>
            <a:pPr lvl="0"/>
            <a:r>
              <a:rPr lang="en-US"/>
              <a:t>Click to edit Master text styles</a:t>
            </a:r>
          </a:p>
        </p:txBody>
      </p:sp>
      <p:sp>
        <p:nvSpPr>
          <p:cNvPr id="101" name="Picture Placeholder 17">
            <a:extLst>
              <a:ext uri="{FF2B5EF4-FFF2-40B4-BE49-F238E27FC236}">
                <a16:creationId xmlns:a16="http://schemas.microsoft.com/office/drawing/2014/main" id="{0CA6C3D4-A3F4-EDAB-6F67-3BFABE4DD119}"/>
              </a:ext>
            </a:extLst>
          </p:cNvPr>
          <p:cNvSpPr>
            <a:spLocks noGrp="1" noChangeAspect="1"/>
          </p:cNvSpPr>
          <p:nvPr>
            <p:ph type="pic" sz="quarter" idx="38" hasCustomPrompt="1"/>
          </p:nvPr>
        </p:nvSpPr>
        <p:spPr>
          <a:xfrm>
            <a:off x="608243" y="4017930"/>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103" name="Text Placeholder 37">
            <a:extLst>
              <a:ext uri="{FF2B5EF4-FFF2-40B4-BE49-F238E27FC236}">
                <a16:creationId xmlns:a16="http://schemas.microsoft.com/office/drawing/2014/main" id="{E9A9A3AE-754D-6F58-CDA0-3FA9EDD0160B}"/>
              </a:ext>
            </a:extLst>
          </p:cNvPr>
          <p:cNvSpPr>
            <a:spLocks noGrp="1"/>
          </p:cNvSpPr>
          <p:nvPr>
            <p:ph type="body" sz="quarter" idx="40"/>
          </p:nvPr>
        </p:nvSpPr>
        <p:spPr>
          <a:xfrm>
            <a:off x="609601" y="5164836"/>
            <a:ext cx="2468880" cy="740664"/>
          </a:xfrm>
        </p:spPr>
        <p:txBody>
          <a:bodyPr>
            <a:noAutofit/>
          </a:bodyPr>
          <a:lstStyle>
            <a:lvl1pPr>
              <a:defRPr sz="1200"/>
            </a:lvl1pPr>
            <a:lvl2pPr marL="0" indent="0">
              <a:buNone/>
              <a:defRPr/>
            </a:lvl2pPr>
          </a:lstStyle>
          <a:p>
            <a:pPr lvl="0"/>
            <a:r>
              <a:rPr lang="en-US"/>
              <a:t>Click to edit Master text styles</a:t>
            </a:r>
          </a:p>
        </p:txBody>
      </p:sp>
      <p:sp>
        <p:nvSpPr>
          <p:cNvPr id="107" name="Picture Placeholder 17">
            <a:extLst>
              <a:ext uri="{FF2B5EF4-FFF2-40B4-BE49-F238E27FC236}">
                <a16:creationId xmlns:a16="http://schemas.microsoft.com/office/drawing/2014/main" id="{F4C4141A-B4E7-EA6D-428C-470130F5E769}"/>
              </a:ext>
            </a:extLst>
          </p:cNvPr>
          <p:cNvSpPr>
            <a:spLocks noGrp="1" noChangeAspect="1"/>
          </p:cNvSpPr>
          <p:nvPr>
            <p:ph type="pic" sz="quarter" idx="41" hasCustomPrompt="1"/>
          </p:nvPr>
        </p:nvSpPr>
        <p:spPr>
          <a:xfrm>
            <a:off x="3441283" y="4017930"/>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109" name="Text Placeholder 37">
            <a:extLst>
              <a:ext uri="{FF2B5EF4-FFF2-40B4-BE49-F238E27FC236}">
                <a16:creationId xmlns:a16="http://schemas.microsoft.com/office/drawing/2014/main" id="{B9901CFF-8604-823F-B592-51A701B39CDE}"/>
              </a:ext>
            </a:extLst>
          </p:cNvPr>
          <p:cNvSpPr>
            <a:spLocks noGrp="1"/>
          </p:cNvSpPr>
          <p:nvPr>
            <p:ph type="body" sz="quarter" idx="43"/>
          </p:nvPr>
        </p:nvSpPr>
        <p:spPr>
          <a:xfrm>
            <a:off x="3445221" y="5164836"/>
            <a:ext cx="2468880" cy="740664"/>
          </a:xfrm>
        </p:spPr>
        <p:txBody>
          <a:bodyPr>
            <a:noAutofit/>
          </a:bodyPr>
          <a:lstStyle>
            <a:lvl1pPr>
              <a:defRPr sz="1200"/>
            </a:lvl1pPr>
            <a:lvl2pPr marL="0" indent="0">
              <a:buNone/>
              <a:defRPr/>
            </a:lvl2pPr>
          </a:lstStyle>
          <a:p>
            <a:pPr lvl="0"/>
            <a:r>
              <a:rPr lang="en-US"/>
              <a:t>Click to edit Master text styles</a:t>
            </a:r>
          </a:p>
        </p:txBody>
      </p:sp>
      <p:sp>
        <p:nvSpPr>
          <p:cNvPr id="113" name="Picture Placeholder 17">
            <a:extLst>
              <a:ext uri="{FF2B5EF4-FFF2-40B4-BE49-F238E27FC236}">
                <a16:creationId xmlns:a16="http://schemas.microsoft.com/office/drawing/2014/main" id="{86A0951C-5B41-D0C0-3F70-0EE1792F1784}"/>
              </a:ext>
            </a:extLst>
          </p:cNvPr>
          <p:cNvSpPr>
            <a:spLocks noGrp="1" noChangeAspect="1"/>
          </p:cNvSpPr>
          <p:nvPr>
            <p:ph type="pic" sz="quarter" idx="44" hasCustomPrompt="1"/>
          </p:nvPr>
        </p:nvSpPr>
        <p:spPr>
          <a:xfrm>
            <a:off x="6274323" y="4017930"/>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115" name="Text Placeholder 37">
            <a:extLst>
              <a:ext uri="{FF2B5EF4-FFF2-40B4-BE49-F238E27FC236}">
                <a16:creationId xmlns:a16="http://schemas.microsoft.com/office/drawing/2014/main" id="{4458F044-7215-58F3-4E7C-9A5F6EBB075C}"/>
              </a:ext>
            </a:extLst>
          </p:cNvPr>
          <p:cNvSpPr>
            <a:spLocks noGrp="1"/>
          </p:cNvSpPr>
          <p:nvPr>
            <p:ph type="body" sz="quarter" idx="46"/>
          </p:nvPr>
        </p:nvSpPr>
        <p:spPr>
          <a:xfrm>
            <a:off x="6278127" y="5164836"/>
            <a:ext cx="2468880" cy="740664"/>
          </a:xfrm>
        </p:spPr>
        <p:txBody>
          <a:bodyPr>
            <a:noAutofit/>
          </a:bodyPr>
          <a:lstStyle>
            <a:lvl1pPr>
              <a:defRPr sz="1200"/>
            </a:lvl1pPr>
            <a:lvl2pPr marL="0" indent="0">
              <a:buNone/>
              <a:defRPr/>
            </a:lvl2pPr>
          </a:lstStyle>
          <a:p>
            <a:pPr lvl="0"/>
            <a:r>
              <a:rPr lang="en-US"/>
              <a:t>Click to edit Master text styles</a:t>
            </a:r>
          </a:p>
        </p:txBody>
      </p:sp>
      <p:sp>
        <p:nvSpPr>
          <p:cNvPr id="119" name="Picture Placeholder 17">
            <a:extLst>
              <a:ext uri="{FF2B5EF4-FFF2-40B4-BE49-F238E27FC236}">
                <a16:creationId xmlns:a16="http://schemas.microsoft.com/office/drawing/2014/main" id="{2A6D5DF4-AE65-FD7E-FAF2-2D8B416A5C77}"/>
              </a:ext>
            </a:extLst>
          </p:cNvPr>
          <p:cNvSpPr>
            <a:spLocks noGrp="1" noChangeAspect="1"/>
          </p:cNvSpPr>
          <p:nvPr>
            <p:ph type="pic" sz="quarter" idx="47" hasCustomPrompt="1"/>
          </p:nvPr>
        </p:nvSpPr>
        <p:spPr>
          <a:xfrm>
            <a:off x="9111031" y="4017931"/>
            <a:ext cx="768096" cy="768096"/>
          </a:xfrm>
          <a:prstGeom prst="ellipse">
            <a:avLst/>
          </a:prstGeom>
          <a:solidFill>
            <a:schemeClr val="bg1">
              <a:lumMod val="75000"/>
            </a:schemeClr>
          </a:solidFill>
        </p:spPr>
        <p:txBody>
          <a:bodyPr anchor="ctr"/>
          <a:lstStyle>
            <a:lvl1pPr algn="ctr">
              <a:defRPr sz="1000"/>
            </a:lvl1pPr>
          </a:lstStyle>
          <a:p>
            <a:r>
              <a:rPr lang="en-US"/>
              <a:t>Headshot</a:t>
            </a:r>
          </a:p>
        </p:txBody>
      </p:sp>
      <p:sp>
        <p:nvSpPr>
          <p:cNvPr id="121" name="Text Placeholder 37">
            <a:extLst>
              <a:ext uri="{FF2B5EF4-FFF2-40B4-BE49-F238E27FC236}">
                <a16:creationId xmlns:a16="http://schemas.microsoft.com/office/drawing/2014/main" id="{4F66CE7F-817C-CB08-DE9C-0CF140EC583B}"/>
              </a:ext>
            </a:extLst>
          </p:cNvPr>
          <p:cNvSpPr>
            <a:spLocks noGrp="1"/>
          </p:cNvSpPr>
          <p:nvPr>
            <p:ph type="body" sz="quarter" idx="49"/>
          </p:nvPr>
        </p:nvSpPr>
        <p:spPr>
          <a:xfrm>
            <a:off x="9112389" y="5164836"/>
            <a:ext cx="2468880" cy="740664"/>
          </a:xfrm>
        </p:spPr>
        <p:txBody>
          <a:bodyPr>
            <a:noAutofit/>
          </a:bodyPr>
          <a:lstStyle>
            <a:lvl1pPr>
              <a:defRPr sz="1200"/>
            </a:lvl1pPr>
            <a:lvl2pPr marL="0" indent="0">
              <a:buNone/>
              <a:defRPr/>
            </a:lvl2pPr>
          </a:lstStyle>
          <a:p>
            <a:pPr lvl="0"/>
            <a:r>
              <a:rPr lang="en-US"/>
              <a:t>Click to edit Master text styles</a:t>
            </a:r>
          </a:p>
        </p:txBody>
      </p:sp>
      <p:sp>
        <p:nvSpPr>
          <p:cNvPr id="3" name="Date Placeholder 49">
            <a:extLst>
              <a:ext uri="{FF2B5EF4-FFF2-40B4-BE49-F238E27FC236}">
                <a16:creationId xmlns:a16="http://schemas.microsoft.com/office/drawing/2014/main" id="{E036F814-8460-0516-6471-21CEF37F23AA}"/>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844AF8A9-1A98-4506-8DE7-08BE63BF7320}" type="datetime4">
              <a:rPr lang="en-US" smtClean="0"/>
              <a:t>May 17, 2025</a:t>
            </a:fld>
            <a:endParaRPr lang="en-US"/>
          </a:p>
        </p:txBody>
      </p:sp>
      <p:sp>
        <p:nvSpPr>
          <p:cNvPr id="8" name="Text Placeholder 7">
            <a:extLst>
              <a:ext uri="{FF2B5EF4-FFF2-40B4-BE49-F238E27FC236}">
                <a16:creationId xmlns:a16="http://schemas.microsoft.com/office/drawing/2014/main" id="{83571DCB-691D-2E98-03B7-27439597A708}"/>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9" name="Footer Placeholder 4">
            <a:extLst>
              <a:ext uri="{FF2B5EF4-FFF2-40B4-BE49-F238E27FC236}">
                <a16:creationId xmlns:a16="http://schemas.microsoft.com/office/drawing/2014/main" id="{7DB57542-777D-DE54-4113-940D7E3AF39E}"/>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13" name="Slide Number Placeholder 5">
            <a:extLst>
              <a:ext uri="{FF2B5EF4-FFF2-40B4-BE49-F238E27FC236}">
                <a16:creationId xmlns:a16="http://schemas.microsoft.com/office/drawing/2014/main" id="{D13B8B4A-1921-8AA2-C8C5-D940D7E01E2F}"/>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17" name="Text Placeholder 35">
            <a:extLst>
              <a:ext uri="{FF2B5EF4-FFF2-40B4-BE49-F238E27FC236}">
                <a16:creationId xmlns:a16="http://schemas.microsoft.com/office/drawing/2014/main" id="{7ECA782E-6E58-3164-E695-4F0D3D9662D6}"/>
              </a:ext>
            </a:extLst>
          </p:cNvPr>
          <p:cNvSpPr>
            <a:spLocks noGrp="1"/>
          </p:cNvSpPr>
          <p:nvPr>
            <p:ph type="body" sz="quarter" idx="50" hasCustomPrompt="1"/>
          </p:nvPr>
        </p:nvSpPr>
        <p:spPr>
          <a:xfrm>
            <a:off x="1589141" y="1958079"/>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19" name="Text Placeholder 35">
            <a:extLst>
              <a:ext uri="{FF2B5EF4-FFF2-40B4-BE49-F238E27FC236}">
                <a16:creationId xmlns:a16="http://schemas.microsoft.com/office/drawing/2014/main" id="{46CD7EEA-1286-4021-E3BA-D5488DD97C43}"/>
              </a:ext>
            </a:extLst>
          </p:cNvPr>
          <p:cNvSpPr>
            <a:spLocks noGrp="1"/>
          </p:cNvSpPr>
          <p:nvPr>
            <p:ph type="body" sz="quarter" idx="52" hasCustomPrompt="1"/>
          </p:nvPr>
        </p:nvSpPr>
        <p:spPr>
          <a:xfrm>
            <a:off x="4424363" y="1958079"/>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1" name="Text Placeholder 35">
            <a:extLst>
              <a:ext uri="{FF2B5EF4-FFF2-40B4-BE49-F238E27FC236}">
                <a16:creationId xmlns:a16="http://schemas.microsoft.com/office/drawing/2014/main" id="{EB775BD5-95D1-3684-FEDB-958E3E1DBBA9}"/>
              </a:ext>
            </a:extLst>
          </p:cNvPr>
          <p:cNvSpPr>
            <a:spLocks noGrp="1"/>
          </p:cNvSpPr>
          <p:nvPr>
            <p:ph type="body" sz="quarter" idx="54" hasCustomPrompt="1"/>
          </p:nvPr>
        </p:nvSpPr>
        <p:spPr>
          <a:xfrm>
            <a:off x="7257667" y="1958079"/>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3" name="Text Placeholder 35">
            <a:extLst>
              <a:ext uri="{FF2B5EF4-FFF2-40B4-BE49-F238E27FC236}">
                <a16:creationId xmlns:a16="http://schemas.microsoft.com/office/drawing/2014/main" id="{01748B9B-0F0F-48D3-EFEC-6AB701ED4F3B}"/>
              </a:ext>
            </a:extLst>
          </p:cNvPr>
          <p:cNvSpPr>
            <a:spLocks noGrp="1"/>
          </p:cNvSpPr>
          <p:nvPr>
            <p:ph type="body" sz="quarter" idx="56" hasCustomPrompt="1"/>
          </p:nvPr>
        </p:nvSpPr>
        <p:spPr>
          <a:xfrm>
            <a:off x="10093061" y="1958079"/>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5" name="Text Placeholder 35">
            <a:extLst>
              <a:ext uri="{FF2B5EF4-FFF2-40B4-BE49-F238E27FC236}">
                <a16:creationId xmlns:a16="http://schemas.microsoft.com/office/drawing/2014/main" id="{1A4CD9BC-0A62-47BA-63EA-D598B4D49DEA}"/>
              </a:ext>
            </a:extLst>
          </p:cNvPr>
          <p:cNvSpPr>
            <a:spLocks noGrp="1"/>
          </p:cNvSpPr>
          <p:nvPr>
            <p:ph type="body" sz="quarter" idx="58" hasCustomPrompt="1"/>
          </p:nvPr>
        </p:nvSpPr>
        <p:spPr>
          <a:xfrm>
            <a:off x="1589141" y="4081730"/>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7" name="Text Placeholder 35">
            <a:extLst>
              <a:ext uri="{FF2B5EF4-FFF2-40B4-BE49-F238E27FC236}">
                <a16:creationId xmlns:a16="http://schemas.microsoft.com/office/drawing/2014/main" id="{6FEE9610-6239-4FE5-DE2C-067280B1385D}"/>
              </a:ext>
            </a:extLst>
          </p:cNvPr>
          <p:cNvSpPr>
            <a:spLocks noGrp="1"/>
          </p:cNvSpPr>
          <p:nvPr>
            <p:ph type="body" sz="quarter" idx="60" hasCustomPrompt="1"/>
          </p:nvPr>
        </p:nvSpPr>
        <p:spPr>
          <a:xfrm>
            <a:off x="4424761" y="4081730"/>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9" name="Text Placeholder 35">
            <a:extLst>
              <a:ext uri="{FF2B5EF4-FFF2-40B4-BE49-F238E27FC236}">
                <a16:creationId xmlns:a16="http://schemas.microsoft.com/office/drawing/2014/main" id="{4F885BB1-B714-CD77-8E6F-D9F18879B87C}"/>
              </a:ext>
            </a:extLst>
          </p:cNvPr>
          <p:cNvSpPr>
            <a:spLocks noGrp="1"/>
          </p:cNvSpPr>
          <p:nvPr>
            <p:ph type="body" sz="quarter" idx="62" hasCustomPrompt="1"/>
          </p:nvPr>
        </p:nvSpPr>
        <p:spPr>
          <a:xfrm>
            <a:off x="7257667" y="4081730"/>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31" name="Text Placeholder 35">
            <a:extLst>
              <a:ext uri="{FF2B5EF4-FFF2-40B4-BE49-F238E27FC236}">
                <a16:creationId xmlns:a16="http://schemas.microsoft.com/office/drawing/2014/main" id="{C25AF511-F056-D130-A181-0921FD8412AE}"/>
              </a:ext>
            </a:extLst>
          </p:cNvPr>
          <p:cNvSpPr>
            <a:spLocks noGrp="1"/>
          </p:cNvSpPr>
          <p:nvPr>
            <p:ph type="body" sz="quarter" idx="64" hasCustomPrompt="1"/>
          </p:nvPr>
        </p:nvSpPr>
        <p:spPr>
          <a:xfrm>
            <a:off x="10091929" y="4081730"/>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35" name="Text Placeholder 34">
            <a:extLst>
              <a:ext uri="{FF2B5EF4-FFF2-40B4-BE49-F238E27FC236}">
                <a16:creationId xmlns:a16="http://schemas.microsoft.com/office/drawing/2014/main" id="{E236A97F-6227-1285-13E5-B562717B919E}"/>
              </a:ext>
            </a:extLst>
          </p:cNvPr>
          <p:cNvSpPr>
            <a:spLocks noGrp="1"/>
          </p:cNvSpPr>
          <p:nvPr>
            <p:ph type="body" sz="quarter" idx="65" hasCustomPrompt="1"/>
          </p:nvPr>
        </p:nvSpPr>
        <p:spPr>
          <a:xfrm>
            <a:off x="4424363" y="2408210"/>
            <a:ext cx="1489075" cy="182880"/>
          </a:xfrm>
        </p:spPr>
        <p:txBody>
          <a:bodyPr/>
          <a:lstStyle>
            <a:lvl1pPr>
              <a:defRPr sz="1200"/>
            </a:lvl1pPr>
            <a:lvl5pPr>
              <a:defRPr/>
            </a:lvl5pPr>
          </a:lstStyle>
          <a:p>
            <a:pPr lvl="0"/>
            <a:r>
              <a:rPr lang="en-US"/>
              <a:t>Title/Position</a:t>
            </a:r>
          </a:p>
        </p:txBody>
      </p:sp>
      <p:sp>
        <p:nvSpPr>
          <p:cNvPr id="36" name="Text Placeholder 34">
            <a:extLst>
              <a:ext uri="{FF2B5EF4-FFF2-40B4-BE49-F238E27FC236}">
                <a16:creationId xmlns:a16="http://schemas.microsoft.com/office/drawing/2014/main" id="{25FFC300-B300-AE9C-9A35-721F8EFF9C35}"/>
              </a:ext>
            </a:extLst>
          </p:cNvPr>
          <p:cNvSpPr>
            <a:spLocks noGrp="1"/>
          </p:cNvSpPr>
          <p:nvPr>
            <p:ph type="body" sz="quarter" idx="66" hasCustomPrompt="1"/>
          </p:nvPr>
        </p:nvSpPr>
        <p:spPr>
          <a:xfrm>
            <a:off x="1589141" y="2408210"/>
            <a:ext cx="1489075" cy="182880"/>
          </a:xfrm>
        </p:spPr>
        <p:txBody>
          <a:bodyPr/>
          <a:lstStyle>
            <a:lvl1pPr>
              <a:defRPr sz="1200"/>
            </a:lvl1pPr>
            <a:lvl5pPr>
              <a:defRPr/>
            </a:lvl5pPr>
          </a:lstStyle>
          <a:p>
            <a:pPr lvl="0"/>
            <a:r>
              <a:rPr lang="en-US"/>
              <a:t>Title/Position</a:t>
            </a:r>
          </a:p>
        </p:txBody>
      </p:sp>
      <p:sp>
        <p:nvSpPr>
          <p:cNvPr id="37" name="Text Placeholder 34">
            <a:extLst>
              <a:ext uri="{FF2B5EF4-FFF2-40B4-BE49-F238E27FC236}">
                <a16:creationId xmlns:a16="http://schemas.microsoft.com/office/drawing/2014/main" id="{24D20157-C335-0214-6B38-5139D43A530E}"/>
              </a:ext>
            </a:extLst>
          </p:cNvPr>
          <p:cNvSpPr>
            <a:spLocks noGrp="1"/>
          </p:cNvSpPr>
          <p:nvPr>
            <p:ph type="body" sz="quarter" idx="67" hasCustomPrompt="1"/>
          </p:nvPr>
        </p:nvSpPr>
        <p:spPr>
          <a:xfrm>
            <a:off x="7257931" y="2408210"/>
            <a:ext cx="1489075" cy="182880"/>
          </a:xfrm>
        </p:spPr>
        <p:txBody>
          <a:bodyPr/>
          <a:lstStyle>
            <a:lvl1pPr>
              <a:defRPr sz="1200"/>
            </a:lvl1pPr>
            <a:lvl5pPr>
              <a:defRPr/>
            </a:lvl5pPr>
          </a:lstStyle>
          <a:p>
            <a:pPr lvl="0"/>
            <a:r>
              <a:rPr lang="en-US"/>
              <a:t>Title/Position</a:t>
            </a:r>
          </a:p>
        </p:txBody>
      </p:sp>
      <p:sp>
        <p:nvSpPr>
          <p:cNvPr id="38" name="Text Placeholder 34">
            <a:extLst>
              <a:ext uri="{FF2B5EF4-FFF2-40B4-BE49-F238E27FC236}">
                <a16:creationId xmlns:a16="http://schemas.microsoft.com/office/drawing/2014/main" id="{EE6BDADF-6B4D-DAD9-59FB-6F7777BF9345}"/>
              </a:ext>
            </a:extLst>
          </p:cNvPr>
          <p:cNvSpPr>
            <a:spLocks noGrp="1"/>
          </p:cNvSpPr>
          <p:nvPr>
            <p:ph type="body" sz="quarter" idx="68" hasCustomPrompt="1"/>
          </p:nvPr>
        </p:nvSpPr>
        <p:spPr>
          <a:xfrm>
            <a:off x="10092193" y="2408210"/>
            <a:ext cx="1489075" cy="182880"/>
          </a:xfrm>
        </p:spPr>
        <p:txBody>
          <a:bodyPr/>
          <a:lstStyle>
            <a:lvl1pPr>
              <a:defRPr sz="1200"/>
            </a:lvl1pPr>
            <a:lvl5pPr>
              <a:defRPr/>
            </a:lvl5pPr>
          </a:lstStyle>
          <a:p>
            <a:pPr lvl="0"/>
            <a:r>
              <a:rPr lang="en-US"/>
              <a:t>Title/Position</a:t>
            </a:r>
          </a:p>
        </p:txBody>
      </p:sp>
      <p:sp>
        <p:nvSpPr>
          <p:cNvPr id="39" name="Text Placeholder 34">
            <a:extLst>
              <a:ext uri="{FF2B5EF4-FFF2-40B4-BE49-F238E27FC236}">
                <a16:creationId xmlns:a16="http://schemas.microsoft.com/office/drawing/2014/main" id="{A90FB390-6352-B76E-9584-6FAA43F3BE80}"/>
              </a:ext>
            </a:extLst>
          </p:cNvPr>
          <p:cNvSpPr>
            <a:spLocks noGrp="1"/>
          </p:cNvSpPr>
          <p:nvPr>
            <p:ph type="body" sz="quarter" idx="69" hasCustomPrompt="1"/>
          </p:nvPr>
        </p:nvSpPr>
        <p:spPr>
          <a:xfrm>
            <a:off x="4424363" y="4531861"/>
            <a:ext cx="1489075" cy="182880"/>
          </a:xfrm>
        </p:spPr>
        <p:txBody>
          <a:bodyPr/>
          <a:lstStyle>
            <a:lvl1pPr>
              <a:defRPr sz="1200"/>
            </a:lvl1pPr>
            <a:lvl5pPr>
              <a:defRPr/>
            </a:lvl5pPr>
          </a:lstStyle>
          <a:p>
            <a:pPr lvl="0"/>
            <a:r>
              <a:rPr lang="en-US"/>
              <a:t>Title/Position</a:t>
            </a:r>
          </a:p>
        </p:txBody>
      </p:sp>
      <p:sp>
        <p:nvSpPr>
          <p:cNvPr id="40" name="Text Placeholder 34">
            <a:extLst>
              <a:ext uri="{FF2B5EF4-FFF2-40B4-BE49-F238E27FC236}">
                <a16:creationId xmlns:a16="http://schemas.microsoft.com/office/drawing/2014/main" id="{8FE54586-0FF1-181A-CED2-DA8BD5029A2B}"/>
              </a:ext>
            </a:extLst>
          </p:cNvPr>
          <p:cNvSpPr>
            <a:spLocks noGrp="1"/>
          </p:cNvSpPr>
          <p:nvPr>
            <p:ph type="body" sz="quarter" idx="70" hasCustomPrompt="1"/>
          </p:nvPr>
        </p:nvSpPr>
        <p:spPr>
          <a:xfrm>
            <a:off x="7257931" y="4531861"/>
            <a:ext cx="1489075" cy="182880"/>
          </a:xfrm>
        </p:spPr>
        <p:txBody>
          <a:bodyPr/>
          <a:lstStyle>
            <a:lvl1pPr>
              <a:defRPr sz="1200"/>
            </a:lvl1pPr>
            <a:lvl5pPr>
              <a:defRPr/>
            </a:lvl5pPr>
          </a:lstStyle>
          <a:p>
            <a:pPr lvl="0"/>
            <a:r>
              <a:rPr lang="en-US"/>
              <a:t>Title/Position</a:t>
            </a:r>
          </a:p>
        </p:txBody>
      </p:sp>
      <p:sp>
        <p:nvSpPr>
          <p:cNvPr id="41" name="Text Placeholder 34">
            <a:extLst>
              <a:ext uri="{FF2B5EF4-FFF2-40B4-BE49-F238E27FC236}">
                <a16:creationId xmlns:a16="http://schemas.microsoft.com/office/drawing/2014/main" id="{B31094E1-C0CA-F5B0-3843-DAF847159934}"/>
              </a:ext>
            </a:extLst>
          </p:cNvPr>
          <p:cNvSpPr>
            <a:spLocks noGrp="1"/>
          </p:cNvSpPr>
          <p:nvPr>
            <p:ph type="body" sz="quarter" idx="71" hasCustomPrompt="1"/>
          </p:nvPr>
        </p:nvSpPr>
        <p:spPr>
          <a:xfrm>
            <a:off x="10092193" y="4531861"/>
            <a:ext cx="1489075" cy="182880"/>
          </a:xfrm>
        </p:spPr>
        <p:txBody>
          <a:bodyPr/>
          <a:lstStyle>
            <a:lvl1pPr>
              <a:defRPr sz="1200"/>
            </a:lvl1pPr>
            <a:lvl5pPr>
              <a:defRPr/>
            </a:lvl5pPr>
          </a:lstStyle>
          <a:p>
            <a:pPr lvl="0"/>
            <a:r>
              <a:rPr lang="en-US"/>
              <a:t>Title/Position</a:t>
            </a:r>
          </a:p>
        </p:txBody>
      </p:sp>
      <p:sp>
        <p:nvSpPr>
          <p:cNvPr id="42" name="Text Placeholder 34">
            <a:extLst>
              <a:ext uri="{FF2B5EF4-FFF2-40B4-BE49-F238E27FC236}">
                <a16:creationId xmlns:a16="http://schemas.microsoft.com/office/drawing/2014/main" id="{7C3E3D7F-0F82-3FE9-DF1F-3F6F1C63178A}"/>
              </a:ext>
            </a:extLst>
          </p:cNvPr>
          <p:cNvSpPr>
            <a:spLocks noGrp="1"/>
          </p:cNvSpPr>
          <p:nvPr>
            <p:ph type="body" sz="quarter" idx="72" hasCustomPrompt="1"/>
          </p:nvPr>
        </p:nvSpPr>
        <p:spPr>
          <a:xfrm>
            <a:off x="1589141" y="4531861"/>
            <a:ext cx="1489075" cy="182880"/>
          </a:xfrm>
        </p:spPr>
        <p:txBody>
          <a:bodyPr/>
          <a:lstStyle>
            <a:lvl1pPr>
              <a:defRPr sz="1200"/>
            </a:lvl1pPr>
            <a:lvl5pPr>
              <a:defRPr/>
            </a:lvl5pPr>
          </a:lstStyle>
          <a:p>
            <a:pPr lvl="0"/>
            <a:r>
              <a:rPr lang="en-US"/>
              <a:t>Title/Position</a:t>
            </a:r>
          </a:p>
        </p:txBody>
      </p:sp>
    </p:spTree>
    <p:extLst>
      <p:ext uri="{BB962C8B-B14F-4D97-AF65-F5344CB8AC3E}">
        <p14:creationId xmlns:p14="http://schemas.microsoft.com/office/powerpoint/2010/main" val="149279038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low Chart">
    <p:bg>
      <p:bgPr>
        <a:solidFill>
          <a:srgbClr val="F3F3F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5CED7064-E79D-96CC-BCD5-91C093F5AB7D}"/>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7" name="Text Placeholder 3">
            <a:extLst>
              <a:ext uri="{FF2B5EF4-FFF2-40B4-BE49-F238E27FC236}">
                <a16:creationId xmlns:a16="http://schemas.microsoft.com/office/drawing/2014/main" id="{B8360DF4-7B74-45B1-DF30-A89B8E1303F5}"/>
              </a:ext>
            </a:extLst>
          </p:cNvPr>
          <p:cNvSpPr>
            <a:spLocks noGrp="1"/>
          </p:cNvSpPr>
          <p:nvPr>
            <p:ph type="body" sz="quarter" idx="25"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a:t>© 2024 Guidehouse</a:t>
            </a:r>
          </a:p>
        </p:txBody>
      </p:sp>
      <p:sp>
        <p:nvSpPr>
          <p:cNvPr id="12" name="Date Placeholder 12">
            <a:extLst>
              <a:ext uri="{FF2B5EF4-FFF2-40B4-BE49-F238E27FC236}">
                <a16:creationId xmlns:a16="http://schemas.microsoft.com/office/drawing/2014/main" id="{9343F3EF-079D-EB6A-A42B-37599862F4A1}"/>
              </a:ext>
            </a:extLst>
          </p:cNvPr>
          <p:cNvSpPr>
            <a:spLocks noGrp="1"/>
          </p:cNvSpPr>
          <p:nvPr>
            <p:ph type="dt" sz="half" idx="15"/>
          </p:nvPr>
        </p:nvSpPr>
        <p:spPr>
          <a:xfrm>
            <a:off x="10236555" y="136647"/>
            <a:ext cx="1345845" cy="153888"/>
          </a:xfrm>
        </p:spPr>
        <p:txBody>
          <a:bodyPr>
            <a:noAutofit/>
          </a:bodyPr>
          <a:lstStyle>
            <a:lvl1pPr>
              <a:defRPr>
                <a:solidFill>
                  <a:schemeClr val="tx1">
                    <a:lumMod val="75000"/>
                    <a:lumOff val="25000"/>
                  </a:schemeClr>
                </a:solidFill>
              </a:defRPr>
            </a:lvl1pPr>
          </a:lstStyle>
          <a:p>
            <a:fld id="{86464B3D-EA1B-42ED-A932-DBB8DB286B58}" type="datetime4">
              <a:rPr lang="en-US" smtClean="0"/>
              <a:t>May 17, 2025</a:t>
            </a:fld>
            <a:endParaRPr lang="en-US"/>
          </a:p>
        </p:txBody>
      </p:sp>
      <p:grpSp>
        <p:nvGrpSpPr>
          <p:cNvPr id="2" name="Group 1">
            <a:extLst>
              <a:ext uri="{FF2B5EF4-FFF2-40B4-BE49-F238E27FC236}">
                <a16:creationId xmlns:a16="http://schemas.microsoft.com/office/drawing/2014/main" id="{9DB05CD1-4CCC-4FEB-DD04-DF2D61F0BD95}"/>
              </a:ext>
            </a:extLst>
          </p:cNvPr>
          <p:cNvGrpSpPr/>
          <p:nvPr userDrawn="1"/>
        </p:nvGrpSpPr>
        <p:grpSpPr>
          <a:xfrm>
            <a:off x="4686300" y="1713329"/>
            <a:ext cx="3120511" cy="567755"/>
            <a:chOff x="4686300" y="1713329"/>
            <a:chExt cx="3120511" cy="567755"/>
          </a:xfrm>
        </p:grpSpPr>
        <p:sp>
          <p:nvSpPr>
            <p:cNvPr id="11" name="Rectangle 10">
              <a:extLst>
                <a:ext uri="{FF2B5EF4-FFF2-40B4-BE49-F238E27FC236}">
                  <a16:creationId xmlns:a16="http://schemas.microsoft.com/office/drawing/2014/main" id="{0D5F7246-50E3-64DF-B9D8-58E257BCA8DF}"/>
                </a:ext>
              </a:extLst>
            </p:cNvPr>
            <p:cNvSpPr/>
            <p:nvPr/>
          </p:nvSpPr>
          <p:spPr>
            <a:xfrm>
              <a:off x="4686300" y="1713329"/>
              <a:ext cx="3120511"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b="1">
                <a:solidFill>
                  <a:schemeClr val="tx2"/>
                </a:solidFill>
                <a:latin typeface="+mj-lt"/>
              </a:endParaRPr>
            </a:p>
          </p:txBody>
        </p:sp>
        <p:cxnSp>
          <p:nvCxnSpPr>
            <p:cNvPr id="13" name="Straight Connector 12">
              <a:extLst>
                <a:ext uri="{FF2B5EF4-FFF2-40B4-BE49-F238E27FC236}">
                  <a16:creationId xmlns:a16="http://schemas.microsoft.com/office/drawing/2014/main" id="{57E58353-3B6A-EAB0-24D4-8BC570418A38}"/>
                </a:ext>
              </a:extLst>
            </p:cNvPr>
            <p:cNvCxnSpPr>
              <a:cxnSpLocks/>
            </p:cNvCxnSpPr>
            <p:nvPr/>
          </p:nvCxnSpPr>
          <p:spPr>
            <a:xfrm>
              <a:off x="5328057" y="2281084"/>
              <a:ext cx="602431"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B9C1735-EA75-8592-225D-ECD548932D88}"/>
              </a:ext>
            </a:extLst>
          </p:cNvPr>
          <p:cNvGrpSpPr/>
          <p:nvPr userDrawn="1"/>
        </p:nvGrpSpPr>
        <p:grpSpPr>
          <a:xfrm>
            <a:off x="8461888" y="2921468"/>
            <a:ext cx="3120511" cy="567755"/>
            <a:chOff x="8461888" y="2921468"/>
            <a:chExt cx="3120511" cy="567755"/>
          </a:xfrm>
        </p:grpSpPr>
        <p:sp>
          <p:nvSpPr>
            <p:cNvPr id="15" name="Rectangle 14">
              <a:extLst>
                <a:ext uri="{FF2B5EF4-FFF2-40B4-BE49-F238E27FC236}">
                  <a16:creationId xmlns:a16="http://schemas.microsoft.com/office/drawing/2014/main" id="{745981C0-31B7-556D-4E32-3B2DAAD60612}"/>
                </a:ext>
              </a:extLst>
            </p:cNvPr>
            <p:cNvSpPr/>
            <p:nvPr/>
          </p:nvSpPr>
          <p:spPr>
            <a:xfrm>
              <a:off x="8461888" y="2921468"/>
              <a:ext cx="3120511"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r>
                <a:rPr lang="en-US" sz="1600">
                  <a:solidFill>
                    <a:schemeClr val="tx2"/>
                  </a:solidFill>
                </a:rPr>
                <a:t>First, Last</a:t>
              </a:r>
            </a:p>
            <a:p>
              <a:r>
                <a:rPr lang="en-US" sz="1200">
                  <a:solidFill>
                    <a:schemeClr val="tx2"/>
                  </a:solidFill>
                </a:rPr>
                <a:t>Title</a:t>
              </a:r>
            </a:p>
          </p:txBody>
        </p:sp>
        <p:cxnSp>
          <p:nvCxnSpPr>
            <p:cNvPr id="16" name="Straight Connector 15">
              <a:extLst>
                <a:ext uri="{FF2B5EF4-FFF2-40B4-BE49-F238E27FC236}">
                  <a16:creationId xmlns:a16="http://schemas.microsoft.com/office/drawing/2014/main" id="{8E700BAA-9251-4230-7810-75414315594E}"/>
                </a:ext>
              </a:extLst>
            </p:cNvPr>
            <p:cNvCxnSpPr>
              <a:cxnSpLocks/>
            </p:cNvCxnSpPr>
            <p:nvPr/>
          </p:nvCxnSpPr>
          <p:spPr>
            <a:xfrm>
              <a:off x="9103644" y="3489223"/>
              <a:ext cx="602431"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365ACF25-7131-4E32-0775-6166EBB274AE}"/>
              </a:ext>
            </a:extLst>
          </p:cNvPr>
          <p:cNvGrpSpPr/>
          <p:nvPr userDrawn="1"/>
        </p:nvGrpSpPr>
        <p:grpSpPr>
          <a:xfrm>
            <a:off x="4686302" y="4129607"/>
            <a:ext cx="3120512" cy="567755"/>
            <a:chOff x="4686302" y="4129607"/>
            <a:chExt cx="3120512" cy="567755"/>
          </a:xfrm>
        </p:grpSpPr>
        <p:sp>
          <p:nvSpPr>
            <p:cNvPr id="28" name="Rectangle 27">
              <a:extLst>
                <a:ext uri="{FF2B5EF4-FFF2-40B4-BE49-F238E27FC236}">
                  <a16:creationId xmlns:a16="http://schemas.microsoft.com/office/drawing/2014/main" id="{4B26E197-82A8-6744-B447-A08395B394DE}"/>
                </a:ext>
              </a:extLst>
            </p:cNvPr>
            <p:cNvSpPr/>
            <p:nvPr/>
          </p:nvSpPr>
          <p:spPr>
            <a:xfrm>
              <a:off x="4686302" y="4129607"/>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a:solidFill>
                  <a:schemeClr val="tx2"/>
                </a:solidFill>
              </a:endParaRPr>
            </a:p>
          </p:txBody>
        </p:sp>
        <p:cxnSp>
          <p:nvCxnSpPr>
            <p:cNvPr id="29" name="Straight Connector 28">
              <a:extLst>
                <a:ext uri="{FF2B5EF4-FFF2-40B4-BE49-F238E27FC236}">
                  <a16:creationId xmlns:a16="http://schemas.microsoft.com/office/drawing/2014/main" id="{06AAFF47-D7D4-197B-93A1-7A5E1F06DEDE}"/>
                </a:ext>
              </a:extLst>
            </p:cNvPr>
            <p:cNvCxnSpPr>
              <a:cxnSpLocks/>
            </p:cNvCxnSpPr>
            <p:nvPr/>
          </p:nvCxnSpPr>
          <p:spPr>
            <a:xfrm>
              <a:off x="5328059" y="4697362"/>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4F6F87E1-ED35-40B0-AFCC-23E19B1FD056}"/>
              </a:ext>
            </a:extLst>
          </p:cNvPr>
          <p:cNvGrpSpPr/>
          <p:nvPr userDrawn="1"/>
        </p:nvGrpSpPr>
        <p:grpSpPr>
          <a:xfrm>
            <a:off x="8461889" y="4129607"/>
            <a:ext cx="3120512" cy="567755"/>
            <a:chOff x="8461889" y="4129607"/>
            <a:chExt cx="3120512" cy="567755"/>
          </a:xfrm>
        </p:grpSpPr>
        <p:sp>
          <p:nvSpPr>
            <p:cNvPr id="31" name="Rectangle 30">
              <a:extLst>
                <a:ext uri="{FF2B5EF4-FFF2-40B4-BE49-F238E27FC236}">
                  <a16:creationId xmlns:a16="http://schemas.microsoft.com/office/drawing/2014/main" id="{96AE6C5A-F717-B7AD-D70C-B2BE525001B9}"/>
                </a:ext>
              </a:extLst>
            </p:cNvPr>
            <p:cNvSpPr/>
            <p:nvPr/>
          </p:nvSpPr>
          <p:spPr>
            <a:xfrm>
              <a:off x="8461889" y="4129607"/>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a:solidFill>
                  <a:schemeClr val="tx2"/>
                </a:solidFill>
              </a:endParaRPr>
            </a:p>
          </p:txBody>
        </p:sp>
        <p:cxnSp>
          <p:nvCxnSpPr>
            <p:cNvPr id="32" name="Straight Connector 31">
              <a:extLst>
                <a:ext uri="{FF2B5EF4-FFF2-40B4-BE49-F238E27FC236}">
                  <a16:creationId xmlns:a16="http://schemas.microsoft.com/office/drawing/2014/main" id="{8D89A840-CA99-3707-E49A-509D4D7596B5}"/>
                </a:ext>
              </a:extLst>
            </p:cNvPr>
            <p:cNvCxnSpPr>
              <a:cxnSpLocks/>
            </p:cNvCxnSpPr>
            <p:nvPr/>
          </p:nvCxnSpPr>
          <p:spPr>
            <a:xfrm>
              <a:off x="9103646" y="4697362"/>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6B26946F-6840-5A59-F60C-19F988490DC8}"/>
              </a:ext>
            </a:extLst>
          </p:cNvPr>
          <p:cNvGrpSpPr/>
          <p:nvPr userDrawn="1"/>
        </p:nvGrpSpPr>
        <p:grpSpPr>
          <a:xfrm>
            <a:off x="910715" y="4129607"/>
            <a:ext cx="3120512" cy="567755"/>
            <a:chOff x="910715" y="4129607"/>
            <a:chExt cx="3120512" cy="567755"/>
          </a:xfrm>
        </p:grpSpPr>
        <p:sp>
          <p:nvSpPr>
            <p:cNvPr id="34" name="Rectangle 33">
              <a:extLst>
                <a:ext uri="{FF2B5EF4-FFF2-40B4-BE49-F238E27FC236}">
                  <a16:creationId xmlns:a16="http://schemas.microsoft.com/office/drawing/2014/main" id="{57042A98-3581-B047-EB2B-E42CB8CBAFD4}"/>
                </a:ext>
              </a:extLst>
            </p:cNvPr>
            <p:cNvSpPr/>
            <p:nvPr/>
          </p:nvSpPr>
          <p:spPr>
            <a:xfrm>
              <a:off x="910715" y="4129607"/>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a:solidFill>
                  <a:schemeClr val="tx2"/>
                </a:solidFill>
              </a:endParaRPr>
            </a:p>
          </p:txBody>
        </p:sp>
        <p:cxnSp>
          <p:nvCxnSpPr>
            <p:cNvPr id="35" name="Straight Connector 34">
              <a:extLst>
                <a:ext uri="{FF2B5EF4-FFF2-40B4-BE49-F238E27FC236}">
                  <a16:creationId xmlns:a16="http://schemas.microsoft.com/office/drawing/2014/main" id="{9D65630B-07FE-4697-B2CF-05032F71B59C}"/>
                </a:ext>
              </a:extLst>
            </p:cNvPr>
            <p:cNvCxnSpPr>
              <a:cxnSpLocks/>
            </p:cNvCxnSpPr>
            <p:nvPr/>
          </p:nvCxnSpPr>
          <p:spPr>
            <a:xfrm>
              <a:off x="1552472" y="4697362"/>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E1EBB607-53EC-151B-C7F5-B576E2C3DBDE}"/>
              </a:ext>
            </a:extLst>
          </p:cNvPr>
          <p:cNvGrpSpPr/>
          <p:nvPr userDrawn="1"/>
        </p:nvGrpSpPr>
        <p:grpSpPr>
          <a:xfrm>
            <a:off x="4686302" y="5337745"/>
            <a:ext cx="3120512" cy="567755"/>
            <a:chOff x="4686302" y="5337745"/>
            <a:chExt cx="3120512" cy="567755"/>
          </a:xfrm>
        </p:grpSpPr>
        <p:sp>
          <p:nvSpPr>
            <p:cNvPr id="37" name="Rectangle 36">
              <a:extLst>
                <a:ext uri="{FF2B5EF4-FFF2-40B4-BE49-F238E27FC236}">
                  <a16:creationId xmlns:a16="http://schemas.microsoft.com/office/drawing/2014/main" id="{1D5E070D-8539-292C-BA26-58C88962DBA4}"/>
                </a:ext>
              </a:extLst>
            </p:cNvPr>
            <p:cNvSpPr/>
            <p:nvPr/>
          </p:nvSpPr>
          <p:spPr>
            <a:xfrm>
              <a:off x="4686302" y="5337745"/>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a:solidFill>
                  <a:schemeClr val="tx2"/>
                </a:solidFill>
              </a:endParaRPr>
            </a:p>
          </p:txBody>
        </p:sp>
        <p:cxnSp>
          <p:nvCxnSpPr>
            <p:cNvPr id="38" name="Straight Connector 37">
              <a:extLst>
                <a:ext uri="{FF2B5EF4-FFF2-40B4-BE49-F238E27FC236}">
                  <a16:creationId xmlns:a16="http://schemas.microsoft.com/office/drawing/2014/main" id="{35A8CAFD-F4DA-52B3-5018-E8F8E4F6D18B}"/>
                </a:ext>
              </a:extLst>
            </p:cNvPr>
            <p:cNvCxnSpPr>
              <a:cxnSpLocks/>
            </p:cNvCxnSpPr>
            <p:nvPr/>
          </p:nvCxnSpPr>
          <p:spPr>
            <a:xfrm>
              <a:off x="5328058" y="5905500"/>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6D577176-A4ED-A77F-E360-1D73B530AA25}"/>
              </a:ext>
            </a:extLst>
          </p:cNvPr>
          <p:cNvGrpSpPr/>
          <p:nvPr userDrawn="1"/>
        </p:nvGrpSpPr>
        <p:grpSpPr>
          <a:xfrm>
            <a:off x="8461889" y="5337745"/>
            <a:ext cx="3120512" cy="567755"/>
            <a:chOff x="8461889" y="5337745"/>
            <a:chExt cx="3120512" cy="567755"/>
          </a:xfrm>
        </p:grpSpPr>
        <p:sp>
          <p:nvSpPr>
            <p:cNvPr id="40" name="Rectangle 39">
              <a:extLst>
                <a:ext uri="{FF2B5EF4-FFF2-40B4-BE49-F238E27FC236}">
                  <a16:creationId xmlns:a16="http://schemas.microsoft.com/office/drawing/2014/main" id="{9105BC11-C621-0FF5-5503-173C8AFA37DF}"/>
                </a:ext>
              </a:extLst>
            </p:cNvPr>
            <p:cNvSpPr/>
            <p:nvPr/>
          </p:nvSpPr>
          <p:spPr>
            <a:xfrm>
              <a:off x="8461889" y="5337745"/>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a:solidFill>
                  <a:schemeClr val="tx2"/>
                </a:solidFill>
              </a:endParaRPr>
            </a:p>
          </p:txBody>
        </p:sp>
        <p:cxnSp>
          <p:nvCxnSpPr>
            <p:cNvPr id="41" name="Straight Connector 40">
              <a:extLst>
                <a:ext uri="{FF2B5EF4-FFF2-40B4-BE49-F238E27FC236}">
                  <a16:creationId xmlns:a16="http://schemas.microsoft.com/office/drawing/2014/main" id="{A5EE80AE-8B0C-DD10-ABB9-388E1D661B0A}"/>
                </a:ext>
              </a:extLst>
            </p:cNvPr>
            <p:cNvCxnSpPr>
              <a:cxnSpLocks/>
            </p:cNvCxnSpPr>
            <p:nvPr/>
          </p:nvCxnSpPr>
          <p:spPr>
            <a:xfrm>
              <a:off x="9103645" y="5905500"/>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5F4D42E5-D0D6-B3DC-CD23-A3207EAD1A92}"/>
              </a:ext>
            </a:extLst>
          </p:cNvPr>
          <p:cNvGrpSpPr/>
          <p:nvPr userDrawn="1"/>
        </p:nvGrpSpPr>
        <p:grpSpPr>
          <a:xfrm>
            <a:off x="910715" y="5337745"/>
            <a:ext cx="3120512" cy="567755"/>
            <a:chOff x="910715" y="5337745"/>
            <a:chExt cx="3120512" cy="567755"/>
          </a:xfrm>
        </p:grpSpPr>
        <p:sp>
          <p:nvSpPr>
            <p:cNvPr id="43" name="Rectangle 42">
              <a:extLst>
                <a:ext uri="{FF2B5EF4-FFF2-40B4-BE49-F238E27FC236}">
                  <a16:creationId xmlns:a16="http://schemas.microsoft.com/office/drawing/2014/main" id="{7ED666DB-1575-9602-89B5-AC06D21D6193}"/>
                </a:ext>
              </a:extLst>
            </p:cNvPr>
            <p:cNvSpPr/>
            <p:nvPr/>
          </p:nvSpPr>
          <p:spPr>
            <a:xfrm>
              <a:off x="910715" y="5337745"/>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a:solidFill>
                  <a:schemeClr val="tx2"/>
                </a:solidFill>
              </a:endParaRPr>
            </a:p>
          </p:txBody>
        </p:sp>
        <p:cxnSp>
          <p:nvCxnSpPr>
            <p:cNvPr id="44" name="Straight Connector 43">
              <a:extLst>
                <a:ext uri="{FF2B5EF4-FFF2-40B4-BE49-F238E27FC236}">
                  <a16:creationId xmlns:a16="http://schemas.microsoft.com/office/drawing/2014/main" id="{3A8644E7-FC5D-E6DE-802C-C1F83C228380}"/>
                </a:ext>
              </a:extLst>
            </p:cNvPr>
            <p:cNvCxnSpPr>
              <a:cxnSpLocks/>
            </p:cNvCxnSpPr>
            <p:nvPr/>
          </p:nvCxnSpPr>
          <p:spPr>
            <a:xfrm>
              <a:off x="1552471" y="5905500"/>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168915B4-826B-BE22-1085-630D605773D4}"/>
              </a:ext>
            </a:extLst>
          </p:cNvPr>
          <p:cNvGrpSpPr/>
          <p:nvPr userDrawn="1"/>
        </p:nvGrpSpPr>
        <p:grpSpPr>
          <a:xfrm>
            <a:off x="4686301" y="2921468"/>
            <a:ext cx="3120511" cy="567755"/>
            <a:chOff x="4686301" y="2921468"/>
            <a:chExt cx="3120511" cy="567755"/>
          </a:xfrm>
        </p:grpSpPr>
        <p:sp>
          <p:nvSpPr>
            <p:cNvPr id="46" name="Rectangle 45">
              <a:extLst>
                <a:ext uri="{FF2B5EF4-FFF2-40B4-BE49-F238E27FC236}">
                  <a16:creationId xmlns:a16="http://schemas.microsoft.com/office/drawing/2014/main" id="{47AD9448-5ED4-8375-B324-BB404F19624F}"/>
                </a:ext>
              </a:extLst>
            </p:cNvPr>
            <p:cNvSpPr/>
            <p:nvPr/>
          </p:nvSpPr>
          <p:spPr>
            <a:xfrm>
              <a:off x="4686301" y="2921468"/>
              <a:ext cx="3120511"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a:solidFill>
                  <a:schemeClr val="tx2"/>
                </a:solidFill>
              </a:endParaRPr>
            </a:p>
          </p:txBody>
        </p:sp>
        <p:cxnSp>
          <p:nvCxnSpPr>
            <p:cNvPr id="47" name="Straight Connector 46">
              <a:extLst>
                <a:ext uri="{FF2B5EF4-FFF2-40B4-BE49-F238E27FC236}">
                  <a16:creationId xmlns:a16="http://schemas.microsoft.com/office/drawing/2014/main" id="{BF64A9D3-C868-212C-139B-CC1E91CC3DCE}"/>
                </a:ext>
              </a:extLst>
            </p:cNvPr>
            <p:cNvCxnSpPr>
              <a:cxnSpLocks/>
            </p:cNvCxnSpPr>
            <p:nvPr/>
          </p:nvCxnSpPr>
          <p:spPr>
            <a:xfrm>
              <a:off x="5328057" y="3489223"/>
              <a:ext cx="602431"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ADB436BE-B2E6-CA84-E983-9D56B904115F}"/>
              </a:ext>
            </a:extLst>
          </p:cNvPr>
          <p:cNvGrpSpPr/>
          <p:nvPr userDrawn="1"/>
        </p:nvGrpSpPr>
        <p:grpSpPr>
          <a:xfrm>
            <a:off x="910714" y="2921468"/>
            <a:ext cx="3120511" cy="567755"/>
            <a:chOff x="910714" y="2921468"/>
            <a:chExt cx="3120511" cy="567755"/>
          </a:xfrm>
        </p:grpSpPr>
        <p:sp>
          <p:nvSpPr>
            <p:cNvPr id="49" name="Rectangle 48">
              <a:extLst>
                <a:ext uri="{FF2B5EF4-FFF2-40B4-BE49-F238E27FC236}">
                  <a16:creationId xmlns:a16="http://schemas.microsoft.com/office/drawing/2014/main" id="{1268E5EE-9EEA-2515-1E5D-47749EC5C5DE}"/>
                </a:ext>
              </a:extLst>
            </p:cNvPr>
            <p:cNvSpPr/>
            <p:nvPr/>
          </p:nvSpPr>
          <p:spPr>
            <a:xfrm>
              <a:off x="910714" y="2921468"/>
              <a:ext cx="3120511"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a:solidFill>
                  <a:schemeClr val="tx2"/>
                </a:solidFill>
              </a:endParaRPr>
            </a:p>
          </p:txBody>
        </p:sp>
        <p:cxnSp>
          <p:nvCxnSpPr>
            <p:cNvPr id="50" name="Straight Connector 49">
              <a:extLst>
                <a:ext uri="{FF2B5EF4-FFF2-40B4-BE49-F238E27FC236}">
                  <a16:creationId xmlns:a16="http://schemas.microsoft.com/office/drawing/2014/main" id="{096A3727-BA71-6D8E-B5F6-F5B582A5DD7C}"/>
                </a:ext>
              </a:extLst>
            </p:cNvPr>
            <p:cNvCxnSpPr>
              <a:cxnSpLocks/>
            </p:cNvCxnSpPr>
            <p:nvPr/>
          </p:nvCxnSpPr>
          <p:spPr>
            <a:xfrm>
              <a:off x="1552470" y="3489223"/>
              <a:ext cx="602431"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51" name="Straight Connector 50">
            <a:extLst>
              <a:ext uri="{FF2B5EF4-FFF2-40B4-BE49-F238E27FC236}">
                <a16:creationId xmlns:a16="http://schemas.microsoft.com/office/drawing/2014/main" id="{76B82481-7C33-3FFB-1477-9B89890022E2}"/>
              </a:ext>
            </a:extLst>
          </p:cNvPr>
          <p:cNvCxnSpPr>
            <a:cxnSpLocks/>
          </p:cNvCxnSpPr>
          <p:nvPr userDrawn="1"/>
        </p:nvCxnSpPr>
        <p:spPr>
          <a:xfrm flipH="1">
            <a:off x="1005963" y="2601276"/>
            <a:ext cx="755117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8EBBC1E9-BA64-5E26-1B46-7BD60E3D0791}"/>
              </a:ext>
            </a:extLst>
          </p:cNvPr>
          <p:cNvGrpSpPr/>
          <p:nvPr userDrawn="1"/>
        </p:nvGrpSpPr>
        <p:grpSpPr>
          <a:xfrm>
            <a:off x="1005426" y="2601276"/>
            <a:ext cx="538" cy="2736470"/>
            <a:chOff x="1005426" y="2601276"/>
            <a:chExt cx="538" cy="2736470"/>
          </a:xfrm>
        </p:grpSpPr>
        <p:cxnSp>
          <p:nvCxnSpPr>
            <p:cNvPr id="53" name="Straight Connector 52">
              <a:extLst>
                <a:ext uri="{FF2B5EF4-FFF2-40B4-BE49-F238E27FC236}">
                  <a16:creationId xmlns:a16="http://schemas.microsoft.com/office/drawing/2014/main" id="{B96FCE50-A837-B919-3CDE-F9C3C7D37EBA}"/>
                </a:ext>
              </a:extLst>
            </p:cNvPr>
            <p:cNvCxnSpPr>
              <a:cxnSpLocks/>
            </p:cNvCxnSpPr>
            <p:nvPr/>
          </p:nvCxnSpPr>
          <p:spPr>
            <a:xfrm flipV="1">
              <a:off x="1005963" y="2601276"/>
              <a:ext cx="0" cy="32019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689F768-7902-083D-9833-459EE31E80BD}"/>
                </a:ext>
              </a:extLst>
            </p:cNvPr>
            <p:cNvCxnSpPr>
              <a:cxnSpLocks/>
            </p:cNvCxnSpPr>
            <p:nvPr/>
          </p:nvCxnSpPr>
          <p:spPr>
            <a:xfrm flipV="1">
              <a:off x="1005426" y="3489223"/>
              <a:ext cx="538" cy="640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3FB124C-C842-B682-C4F0-A7A6623F0A98}"/>
                </a:ext>
              </a:extLst>
            </p:cNvPr>
            <p:cNvCxnSpPr>
              <a:cxnSpLocks/>
            </p:cNvCxnSpPr>
            <p:nvPr/>
          </p:nvCxnSpPr>
          <p:spPr>
            <a:xfrm flipV="1">
              <a:off x="1005963" y="4697362"/>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BBE7F86D-71D2-C5AD-3280-EA3759CD0D6F}"/>
              </a:ext>
            </a:extLst>
          </p:cNvPr>
          <p:cNvGrpSpPr/>
          <p:nvPr userDrawn="1"/>
        </p:nvGrpSpPr>
        <p:grpSpPr>
          <a:xfrm>
            <a:off x="4762395" y="2281084"/>
            <a:ext cx="19155" cy="3056662"/>
            <a:chOff x="4762395" y="2281084"/>
            <a:chExt cx="19155" cy="3056662"/>
          </a:xfrm>
        </p:grpSpPr>
        <p:cxnSp>
          <p:nvCxnSpPr>
            <p:cNvPr id="57" name="Straight Connector 56">
              <a:extLst>
                <a:ext uri="{FF2B5EF4-FFF2-40B4-BE49-F238E27FC236}">
                  <a16:creationId xmlns:a16="http://schemas.microsoft.com/office/drawing/2014/main" id="{78CEE1B7-A1EE-31F2-9A78-C46D3EBDE196}"/>
                </a:ext>
              </a:extLst>
            </p:cNvPr>
            <p:cNvCxnSpPr>
              <a:cxnSpLocks/>
            </p:cNvCxnSpPr>
            <p:nvPr/>
          </p:nvCxnSpPr>
          <p:spPr>
            <a:xfrm flipH="1" flipV="1">
              <a:off x="4762395" y="2281084"/>
              <a:ext cx="1"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E29F869-C5DE-A5AC-9567-42B297312961}"/>
                </a:ext>
              </a:extLst>
            </p:cNvPr>
            <p:cNvCxnSpPr>
              <a:cxnSpLocks/>
            </p:cNvCxnSpPr>
            <p:nvPr/>
          </p:nvCxnSpPr>
          <p:spPr>
            <a:xfrm flipV="1">
              <a:off x="4781550" y="3489223"/>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2285D4-4F13-D5B3-518F-A0437B5E56EB}"/>
                </a:ext>
              </a:extLst>
            </p:cNvPr>
            <p:cNvCxnSpPr>
              <a:cxnSpLocks/>
            </p:cNvCxnSpPr>
            <p:nvPr/>
          </p:nvCxnSpPr>
          <p:spPr>
            <a:xfrm flipV="1">
              <a:off x="4781550" y="4697362"/>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66B9EF4F-FEAA-E96C-6F02-067982130884}"/>
              </a:ext>
            </a:extLst>
          </p:cNvPr>
          <p:cNvGrpSpPr/>
          <p:nvPr userDrawn="1"/>
        </p:nvGrpSpPr>
        <p:grpSpPr>
          <a:xfrm>
            <a:off x="8557137" y="2601276"/>
            <a:ext cx="0" cy="2736470"/>
            <a:chOff x="8557137" y="2601276"/>
            <a:chExt cx="0" cy="2736470"/>
          </a:xfrm>
        </p:grpSpPr>
        <p:cxnSp>
          <p:nvCxnSpPr>
            <p:cNvPr id="61" name="Straight Connector 60">
              <a:extLst>
                <a:ext uri="{FF2B5EF4-FFF2-40B4-BE49-F238E27FC236}">
                  <a16:creationId xmlns:a16="http://schemas.microsoft.com/office/drawing/2014/main" id="{82A43772-77DA-30E2-1228-DFA36AC216A9}"/>
                </a:ext>
              </a:extLst>
            </p:cNvPr>
            <p:cNvCxnSpPr>
              <a:cxnSpLocks/>
            </p:cNvCxnSpPr>
            <p:nvPr/>
          </p:nvCxnSpPr>
          <p:spPr>
            <a:xfrm flipV="1">
              <a:off x="8557137" y="2601276"/>
              <a:ext cx="0" cy="32019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4EBCEF3-518E-4E64-537C-E6D716715EA1}"/>
                </a:ext>
              </a:extLst>
            </p:cNvPr>
            <p:cNvCxnSpPr>
              <a:cxnSpLocks/>
            </p:cNvCxnSpPr>
            <p:nvPr/>
          </p:nvCxnSpPr>
          <p:spPr>
            <a:xfrm flipV="1">
              <a:off x="8557137" y="3489223"/>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CE1FD3-6018-83D1-ECEC-07F2A2E793AD}"/>
                </a:ext>
              </a:extLst>
            </p:cNvPr>
            <p:cNvCxnSpPr>
              <a:cxnSpLocks/>
            </p:cNvCxnSpPr>
            <p:nvPr/>
          </p:nvCxnSpPr>
          <p:spPr>
            <a:xfrm flipV="1">
              <a:off x="8557137" y="4697362"/>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8" name="Picture Placeholder 17">
            <a:extLst>
              <a:ext uri="{FF2B5EF4-FFF2-40B4-BE49-F238E27FC236}">
                <a16:creationId xmlns:a16="http://schemas.microsoft.com/office/drawing/2014/main" id="{FEBA8699-B13D-5A8F-802D-BEE7DF975695}"/>
              </a:ext>
            </a:extLst>
          </p:cNvPr>
          <p:cNvSpPr>
            <a:spLocks noGrp="1"/>
          </p:cNvSpPr>
          <p:nvPr>
            <p:ph type="pic" sz="quarter" idx="13" hasCustomPrompt="1"/>
          </p:nvPr>
        </p:nvSpPr>
        <p:spPr>
          <a:xfrm>
            <a:off x="4384648" y="1619119"/>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19" name="Picture Placeholder 17">
            <a:extLst>
              <a:ext uri="{FF2B5EF4-FFF2-40B4-BE49-F238E27FC236}">
                <a16:creationId xmlns:a16="http://schemas.microsoft.com/office/drawing/2014/main" id="{AB77C8B4-D0BE-8099-AC47-9ABB08336977}"/>
              </a:ext>
            </a:extLst>
          </p:cNvPr>
          <p:cNvSpPr>
            <a:spLocks noGrp="1"/>
          </p:cNvSpPr>
          <p:nvPr>
            <p:ph type="pic" sz="quarter" idx="16" hasCustomPrompt="1"/>
          </p:nvPr>
        </p:nvSpPr>
        <p:spPr>
          <a:xfrm>
            <a:off x="616106" y="2827598"/>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20" name="Picture Placeholder 17">
            <a:extLst>
              <a:ext uri="{FF2B5EF4-FFF2-40B4-BE49-F238E27FC236}">
                <a16:creationId xmlns:a16="http://schemas.microsoft.com/office/drawing/2014/main" id="{455620EE-917A-52FB-C242-DED1E434D33D}"/>
              </a:ext>
            </a:extLst>
          </p:cNvPr>
          <p:cNvSpPr>
            <a:spLocks noGrp="1"/>
          </p:cNvSpPr>
          <p:nvPr>
            <p:ph type="pic" sz="quarter" idx="17" hasCustomPrompt="1"/>
          </p:nvPr>
        </p:nvSpPr>
        <p:spPr>
          <a:xfrm>
            <a:off x="616106" y="4032619"/>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21" name="Picture Placeholder 17">
            <a:extLst>
              <a:ext uri="{FF2B5EF4-FFF2-40B4-BE49-F238E27FC236}">
                <a16:creationId xmlns:a16="http://schemas.microsoft.com/office/drawing/2014/main" id="{7CFB2292-9DA1-300A-7D5F-8FCC69DF6487}"/>
              </a:ext>
            </a:extLst>
          </p:cNvPr>
          <p:cNvSpPr>
            <a:spLocks noGrp="1"/>
          </p:cNvSpPr>
          <p:nvPr>
            <p:ph type="pic" sz="quarter" idx="18" hasCustomPrompt="1"/>
          </p:nvPr>
        </p:nvSpPr>
        <p:spPr>
          <a:xfrm>
            <a:off x="616106" y="5240758"/>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22" name="Picture Placeholder 17">
            <a:extLst>
              <a:ext uri="{FF2B5EF4-FFF2-40B4-BE49-F238E27FC236}">
                <a16:creationId xmlns:a16="http://schemas.microsoft.com/office/drawing/2014/main" id="{EFF2039F-74E3-8F53-E4E8-366EB293C026}"/>
              </a:ext>
            </a:extLst>
          </p:cNvPr>
          <p:cNvSpPr>
            <a:spLocks noGrp="1"/>
          </p:cNvSpPr>
          <p:nvPr>
            <p:ph type="pic" sz="quarter" idx="19" hasCustomPrompt="1"/>
          </p:nvPr>
        </p:nvSpPr>
        <p:spPr>
          <a:xfrm>
            <a:off x="4381190" y="2827598"/>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23" name="Picture Placeholder 17">
            <a:extLst>
              <a:ext uri="{FF2B5EF4-FFF2-40B4-BE49-F238E27FC236}">
                <a16:creationId xmlns:a16="http://schemas.microsoft.com/office/drawing/2014/main" id="{5F0684BB-81B1-0B97-B0E4-27D281EF57D4}"/>
              </a:ext>
            </a:extLst>
          </p:cNvPr>
          <p:cNvSpPr>
            <a:spLocks noGrp="1"/>
          </p:cNvSpPr>
          <p:nvPr>
            <p:ph type="pic" sz="quarter" idx="20" hasCustomPrompt="1"/>
          </p:nvPr>
        </p:nvSpPr>
        <p:spPr>
          <a:xfrm>
            <a:off x="4381190" y="4032619"/>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24" name="Picture Placeholder 17">
            <a:extLst>
              <a:ext uri="{FF2B5EF4-FFF2-40B4-BE49-F238E27FC236}">
                <a16:creationId xmlns:a16="http://schemas.microsoft.com/office/drawing/2014/main" id="{320C316A-E0D3-E4DD-03B5-1AE601366291}"/>
              </a:ext>
            </a:extLst>
          </p:cNvPr>
          <p:cNvSpPr>
            <a:spLocks noGrp="1"/>
          </p:cNvSpPr>
          <p:nvPr>
            <p:ph type="pic" sz="quarter" idx="21" hasCustomPrompt="1"/>
          </p:nvPr>
        </p:nvSpPr>
        <p:spPr>
          <a:xfrm>
            <a:off x="4381190" y="5240758"/>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25" name="Picture Placeholder 17">
            <a:extLst>
              <a:ext uri="{FF2B5EF4-FFF2-40B4-BE49-F238E27FC236}">
                <a16:creationId xmlns:a16="http://schemas.microsoft.com/office/drawing/2014/main" id="{7B5C94A9-FDAF-9ACA-B392-FBAF6BA7CEC5}"/>
              </a:ext>
            </a:extLst>
          </p:cNvPr>
          <p:cNvSpPr>
            <a:spLocks noGrp="1"/>
          </p:cNvSpPr>
          <p:nvPr>
            <p:ph type="pic" sz="quarter" idx="22" hasCustomPrompt="1"/>
          </p:nvPr>
        </p:nvSpPr>
        <p:spPr>
          <a:xfrm>
            <a:off x="8146274" y="2827598"/>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26" name="Picture Placeholder 17">
            <a:extLst>
              <a:ext uri="{FF2B5EF4-FFF2-40B4-BE49-F238E27FC236}">
                <a16:creationId xmlns:a16="http://schemas.microsoft.com/office/drawing/2014/main" id="{850529AC-6277-DCF8-007A-9D609A1063AF}"/>
              </a:ext>
            </a:extLst>
          </p:cNvPr>
          <p:cNvSpPr>
            <a:spLocks noGrp="1"/>
          </p:cNvSpPr>
          <p:nvPr>
            <p:ph type="pic" sz="quarter" idx="23" hasCustomPrompt="1"/>
          </p:nvPr>
        </p:nvSpPr>
        <p:spPr>
          <a:xfrm>
            <a:off x="8146274" y="4032619"/>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27" name="Picture Placeholder 17">
            <a:extLst>
              <a:ext uri="{FF2B5EF4-FFF2-40B4-BE49-F238E27FC236}">
                <a16:creationId xmlns:a16="http://schemas.microsoft.com/office/drawing/2014/main" id="{BB477941-B318-7A15-3BC6-243AB603438D}"/>
              </a:ext>
            </a:extLst>
          </p:cNvPr>
          <p:cNvSpPr>
            <a:spLocks noGrp="1"/>
          </p:cNvSpPr>
          <p:nvPr>
            <p:ph type="pic" sz="quarter" idx="24" hasCustomPrompt="1"/>
          </p:nvPr>
        </p:nvSpPr>
        <p:spPr>
          <a:xfrm>
            <a:off x="8146274" y="5240758"/>
            <a:ext cx="758952" cy="758952"/>
          </a:xfrm>
          <a:prstGeom prst="ellipse">
            <a:avLst/>
          </a:prstGeom>
          <a:solidFill>
            <a:schemeClr val="bg1">
              <a:lumMod val="75000"/>
            </a:schemeClr>
          </a:solidFill>
        </p:spPr>
        <p:txBody>
          <a:bodyPr anchor="ctr"/>
          <a:lstStyle>
            <a:lvl1pPr algn="ctr">
              <a:defRPr sz="1000"/>
            </a:lvl1pPr>
          </a:lstStyle>
          <a:p>
            <a:r>
              <a:rPr lang="en-US"/>
              <a:t>Headshot</a:t>
            </a:r>
          </a:p>
        </p:txBody>
      </p:sp>
      <p:sp>
        <p:nvSpPr>
          <p:cNvPr id="65" name="Text Placeholder 64">
            <a:extLst>
              <a:ext uri="{FF2B5EF4-FFF2-40B4-BE49-F238E27FC236}">
                <a16:creationId xmlns:a16="http://schemas.microsoft.com/office/drawing/2014/main" id="{A6F6F5FD-7462-984C-CB9D-A6BEE8CFD3B4}"/>
              </a:ext>
            </a:extLst>
          </p:cNvPr>
          <p:cNvSpPr>
            <a:spLocks noGrp="1"/>
          </p:cNvSpPr>
          <p:nvPr>
            <p:ph type="body" sz="quarter" idx="26" hasCustomPrompt="1"/>
          </p:nvPr>
        </p:nvSpPr>
        <p:spPr>
          <a:xfrm>
            <a:off x="5326063" y="1768701"/>
            <a:ext cx="2480659" cy="258762"/>
          </a:xfrm>
        </p:spPr>
        <p:txBody>
          <a:bodyPr/>
          <a:lstStyle>
            <a:lvl1pPr marL="0" indent="0">
              <a:buFont typeface="Arial" panose="020B0604020202020204" pitchFamily="34" charset="0"/>
              <a:buNone/>
              <a:defRPr sz="1800" b="1">
                <a:latin typeface="+mj-lt"/>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First, Last</a:t>
            </a:r>
          </a:p>
        </p:txBody>
      </p:sp>
      <p:sp>
        <p:nvSpPr>
          <p:cNvPr id="66" name="Text Placeholder 64">
            <a:extLst>
              <a:ext uri="{FF2B5EF4-FFF2-40B4-BE49-F238E27FC236}">
                <a16:creationId xmlns:a16="http://schemas.microsoft.com/office/drawing/2014/main" id="{4D4DDB3C-2B38-0270-97ED-52BDA9A66617}"/>
              </a:ext>
            </a:extLst>
          </p:cNvPr>
          <p:cNvSpPr>
            <a:spLocks noGrp="1"/>
          </p:cNvSpPr>
          <p:nvPr>
            <p:ph type="body" sz="quarter" idx="27" hasCustomPrompt="1"/>
          </p:nvPr>
        </p:nvSpPr>
        <p:spPr>
          <a:xfrm>
            <a:off x="5326152" y="2042651"/>
            <a:ext cx="2480659" cy="208017"/>
          </a:xfrm>
        </p:spPr>
        <p:txBody>
          <a:bodyPr/>
          <a:lstStyle>
            <a:lvl1pPr marL="0" indent="0">
              <a:buFont typeface="Arial" panose="020B0604020202020204" pitchFamily="34" charset="0"/>
              <a:buNone/>
              <a:defRPr sz="1200" b="1">
                <a:latin typeface="+mj-lt"/>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Title</a:t>
            </a:r>
          </a:p>
        </p:txBody>
      </p:sp>
      <p:sp>
        <p:nvSpPr>
          <p:cNvPr id="73" name="Text Placeholder 72">
            <a:extLst>
              <a:ext uri="{FF2B5EF4-FFF2-40B4-BE49-F238E27FC236}">
                <a16:creationId xmlns:a16="http://schemas.microsoft.com/office/drawing/2014/main" id="{C2C254D9-E83A-0C10-96C4-876267383FB6}"/>
              </a:ext>
            </a:extLst>
          </p:cNvPr>
          <p:cNvSpPr>
            <a:spLocks noGrp="1"/>
          </p:cNvSpPr>
          <p:nvPr>
            <p:ph type="body" sz="quarter" idx="28" hasCustomPrompt="1"/>
          </p:nvPr>
        </p:nvSpPr>
        <p:spPr>
          <a:xfrm>
            <a:off x="5326063" y="299301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74" name="Text Placeholder 72">
            <a:extLst>
              <a:ext uri="{FF2B5EF4-FFF2-40B4-BE49-F238E27FC236}">
                <a16:creationId xmlns:a16="http://schemas.microsoft.com/office/drawing/2014/main" id="{97113C6E-76FF-6DE6-CB48-1F3DFAEE38AF}"/>
              </a:ext>
            </a:extLst>
          </p:cNvPr>
          <p:cNvSpPr>
            <a:spLocks noGrp="1"/>
          </p:cNvSpPr>
          <p:nvPr>
            <p:ph type="body" sz="quarter" idx="29" hasCustomPrompt="1"/>
          </p:nvPr>
        </p:nvSpPr>
        <p:spPr>
          <a:xfrm>
            <a:off x="5326063" y="323479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75" name="Text Placeholder 72">
            <a:extLst>
              <a:ext uri="{FF2B5EF4-FFF2-40B4-BE49-F238E27FC236}">
                <a16:creationId xmlns:a16="http://schemas.microsoft.com/office/drawing/2014/main" id="{951FA22E-4F66-A887-C3F3-64D0F3D21EC9}"/>
              </a:ext>
            </a:extLst>
          </p:cNvPr>
          <p:cNvSpPr>
            <a:spLocks noGrp="1"/>
          </p:cNvSpPr>
          <p:nvPr>
            <p:ph type="body" sz="quarter" idx="30" hasCustomPrompt="1"/>
          </p:nvPr>
        </p:nvSpPr>
        <p:spPr>
          <a:xfrm>
            <a:off x="1550565" y="299301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76" name="Text Placeholder 72">
            <a:extLst>
              <a:ext uri="{FF2B5EF4-FFF2-40B4-BE49-F238E27FC236}">
                <a16:creationId xmlns:a16="http://schemas.microsoft.com/office/drawing/2014/main" id="{47DA4178-F5FF-BE1B-862C-2C392A0B2DF2}"/>
              </a:ext>
            </a:extLst>
          </p:cNvPr>
          <p:cNvSpPr>
            <a:spLocks noGrp="1"/>
          </p:cNvSpPr>
          <p:nvPr>
            <p:ph type="body" sz="quarter" idx="31" hasCustomPrompt="1"/>
          </p:nvPr>
        </p:nvSpPr>
        <p:spPr>
          <a:xfrm>
            <a:off x="1550565" y="323479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77" name="Text Placeholder 72">
            <a:extLst>
              <a:ext uri="{FF2B5EF4-FFF2-40B4-BE49-F238E27FC236}">
                <a16:creationId xmlns:a16="http://schemas.microsoft.com/office/drawing/2014/main" id="{95D1E208-9E5D-C3B9-8A64-E1FA2002DB79}"/>
              </a:ext>
            </a:extLst>
          </p:cNvPr>
          <p:cNvSpPr>
            <a:spLocks noGrp="1"/>
          </p:cNvSpPr>
          <p:nvPr>
            <p:ph type="body" sz="quarter" idx="32" hasCustomPrompt="1"/>
          </p:nvPr>
        </p:nvSpPr>
        <p:spPr>
          <a:xfrm>
            <a:off x="9102252" y="299301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78" name="Text Placeholder 72">
            <a:extLst>
              <a:ext uri="{FF2B5EF4-FFF2-40B4-BE49-F238E27FC236}">
                <a16:creationId xmlns:a16="http://schemas.microsoft.com/office/drawing/2014/main" id="{24F0B4F5-C723-9DEC-0011-B6DBA3974169}"/>
              </a:ext>
            </a:extLst>
          </p:cNvPr>
          <p:cNvSpPr>
            <a:spLocks noGrp="1"/>
          </p:cNvSpPr>
          <p:nvPr>
            <p:ph type="body" sz="quarter" idx="33" hasCustomPrompt="1"/>
          </p:nvPr>
        </p:nvSpPr>
        <p:spPr>
          <a:xfrm>
            <a:off x="9102252" y="323479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79" name="Text Placeholder 72">
            <a:extLst>
              <a:ext uri="{FF2B5EF4-FFF2-40B4-BE49-F238E27FC236}">
                <a16:creationId xmlns:a16="http://schemas.microsoft.com/office/drawing/2014/main" id="{0E38AE43-AB55-D472-1190-D4D85958CBD0}"/>
              </a:ext>
            </a:extLst>
          </p:cNvPr>
          <p:cNvSpPr>
            <a:spLocks noGrp="1"/>
          </p:cNvSpPr>
          <p:nvPr>
            <p:ph type="body" sz="quarter" idx="34" hasCustomPrompt="1"/>
          </p:nvPr>
        </p:nvSpPr>
        <p:spPr>
          <a:xfrm>
            <a:off x="5326063" y="420020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0" name="Text Placeholder 72">
            <a:extLst>
              <a:ext uri="{FF2B5EF4-FFF2-40B4-BE49-F238E27FC236}">
                <a16:creationId xmlns:a16="http://schemas.microsoft.com/office/drawing/2014/main" id="{D33ED81F-A469-B7F7-5AF3-CED0DCCC9171}"/>
              </a:ext>
            </a:extLst>
          </p:cNvPr>
          <p:cNvSpPr>
            <a:spLocks noGrp="1"/>
          </p:cNvSpPr>
          <p:nvPr>
            <p:ph type="body" sz="quarter" idx="35" hasCustomPrompt="1"/>
          </p:nvPr>
        </p:nvSpPr>
        <p:spPr>
          <a:xfrm>
            <a:off x="5326063" y="444198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1" name="Text Placeholder 72">
            <a:extLst>
              <a:ext uri="{FF2B5EF4-FFF2-40B4-BE49-F238E27FC236}">
                <a16:creationId xmlns:a16="http://schemas.microsoft.com/office/drawing/2014/main" id="{607B5E31-C058-D5A0-68BC-1679B2CEE3D7}"/>
              </a:ext>
            </a:extLst>
          </p:cNvPr>
          <p:cNvSpPr>
            <a:spLocks noGrp="1"/>
          </p:cNvSpPr>
          <p:nvPr>
            <p:ph type="body" sz="quarter" idx="36" hasCustomPrompt="1"/>
          </p:nvPr>
        </p:nvSpPr>
        <p:spPr>
          <a:xfrm>
            <a:off x="1550565" y="420020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2" name="Text Placeholder 72">
            <a:extLst>
              <a:ext uri="{FF2B5EF4-FFF2-40B4-BE49-F238E27FC236}">
                <a16:creationId xmlns:a16="http://schemas.microsoft.com/office/drawing/2014/main" id="{509B5C83-E172-DE6C-EAFC-EF4AEC58B85E}"/>
              </a:ext>
            </a:extLst>
          </p:cNvPr>
          <p:cNvSpPr>
            <a:spLocks noGrp="1"/>
          </p:cNvSpPr>
          <p:nvPr>
            <p:ph type="body" sz="quarter" idx="37" hasCustomPrompt="1"/>
          </p:nvPr>
        </p:nvSpPr>
        <p:spPr>
          <a:xfrm>
            <a:off x="1550565" y="444198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3" name="Text Placeholder 72">
            <a:extLst>
              <a:ext uri="{FF2B5EF4-FFF2-40B4-BE49-F238E27FC236}">
                <a16:creationId xmlns:a16="http://schemas.microsoft.com/office/drawing/2014/main" id="{737FC36E-AE40-EF8B-09CA-D652D31F18E7}"/>
              </a:ext>
            </a:extLst>
          </p:cNvPr>
          <p:cNvSpPr>
            <a:spLocks noGrp="1"/>
          </p:cNvSpPr>
          <p:nvPr>
            <p:ph type="body" sz="quarter" idx="38" hasCustomPrompt="1"/>
          </p:nvPr>
        </p:nvSpPr>
        <p:spPr>
          <a:xfrm>
            <a:off x="9102252" y="420020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4" name="Text Placeholder 72">
            <a:extLst>
              <a:ext uri="{FF2B5EF4-FFF2-40B4-BE49-F238E27FC236}">
                <a16:creationId xmlns:a16="http://schemas.microsoft.com/office/drawing/2014/main" id="{22B649BA-07AE-B174-D89F-66AFF4F413A4}"/>
              </a:ext>
            </a:extLst>
          </p:cNvPr>
          <p:cNvSpPr>
            <a:spLocks noGrp="1"/>
          </p:cNvSpPr>
          <p:nvPr>
            <p:ph type="body" sz="quarter" idx="39" hasCustomPrompt="1"/>
          </p:nvPr>
        </p:nvSpPr>
        <p:spPr>
          <a:xfrm>
            <a:off x="9102252" y="444198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5" name="Text Placeholder 72">
            <a:extLst>
              <a:ext uri="{FF2B5EF4-FFF2-40B4-BE49-F238E27FC236}">
                <a16:creationId xmlns:a16="http://schemas.microsoft.com/office/drawing/2014/main" id="{8C0D8B0F-C437-1044-C79E-3AD0DDC3A21C}"/>
              </a:ext>
            </a:extLst>
          </p:cNvPr>
          <p:cNvSpPr>
            <a:spLocks noGrp="1"/>
          </p:cNvSpPr>
          <p:nvPr>
            <p:ph type="body" sz="quarter" idx="40" hasCustomPrompt="1"/>
          </p:nvPr>
        </p:nvSpPr>
        <p:spPr>
          <a:xfrm>
            <a:off x="5326063" y="540765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6" name="Text Placeholder 72">
            <a:extLst>
              <a:ext uri="{FF2B5EF4-FFF2-40B4-BE49-F238E27FC236}">
                <a16:creationId xmlns:a16="http://schemas.microsoft.com/office/drawing/2014/main" id="{C84556CB-9283-9F9D-2255-527985AEC05F}"/>
              </a:ext>
            </a:extLst>
          </p:cNvPr>
          <p:cNvSpPr>
            <a:spLocks noGrp="1"/>
          </p:cNvSpPr>
          <p:nvPr>
            <p:ph type="body" sz="quarter" idx="41" hasCustomPrompt="1"/>
          </p:nvPr>
        </p:nvSpPr>
        <p:spPr>
          <a:xfrm>
            <a:off x="5326063" y="564943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7" name="Text Placeholder 72">
            <a:extLst>
              <a:ext uri="{FF2B5EF4-FFF2-40B4-BE49-F238E27FC236}">
                <a16:creationId xmlns:a16="http://schemas.microsoft.com/office/drawing/2014/main" id="{8588CC8F-4E91-A733-2E50-9A1FFA4FD829}"/>
              </a:ext>
            </a:extLst>
          </p:cNvPr>
          <p:cNvSpPr>
            <a:spLocks noGrp="1"/>
          </p:cNvSpPr>
          <p:nvPr>
            <p:ph type="body" sz="quarter" idx="42" hasCustomPrompt="1"/>
          </p:nvPr>
        </p:nvSpPr>
        <p:spPr>
          <a:xfrm>
            <a:off x="1550565" y="540765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8" name="Text Placeholder 72">
            <a:extLst>
              <a:ext uri="{FF2B5EF4-FFF2-40B4-BE49-F238E27FC236}">
                <a16:creationId xmlns:a16="http://schemas.microsoft.com/office/drawing/2014/main" id="{85A6B987-0A27-657E-043A-11A99E131F8B}"/>
              </a:ext>
            </a:extLst>
          </p:cNvPr>
          <p:cNvSpPr>
            <a:spLocks noGrp="1"/>
          </p:cNvSpPr>
          <p:nvPr>
            <p:ph type="body" sz="quarter" idx="43" hasCustomPrompt="1"/>
          </p:nvPr>
        </p:nvSpPr>
        <p:spPr>
          <a:xfrm>
            <a:off x="1550565" y="564943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9" name="Text Placeholder 72">
            <a:extLst>
              <a:ext uri="{FF2B5EF4-FFF2-40B4-BE49-F238E27FC236}">
                <a16:creationId xmlns:a16="http://schemas.microsoft.com/office/drawing/2014/main" id="{A3370798-4EB5-B38A-5404-062FE6DB2A3E}"/>
              </a:ext>
            </a:extLst>
          </p:cNvPr>
          <p:cNvSpPr>
            <a:spLocks noGrp="1"/>
          </p:cNvSpPr>
          <p:nvPr>
            <p:ph type="body" sz="quarter" idx="44" hasCustomPrompt="1"/>
          </p:nvPr>
        </p:nvSpPr>
        <p:spPr>
          <a:xfrm>
            <a:off x="9102252" y="540765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90" name="Text Placeholder 72">
            <a:extLst>
              <a:ext uri="{FF2B5EF4-FFF2-40B4-BE49-F238E27FC236}">
                <a16:creationId xmlns:a16="http://schemas.microsoft.com/office/drawing/2014/main" id="{82515C80-E15B-493B-3079-6281AFC34283}"/>
              </a:ext>
            </a:extLst>
          </p:cNvPr>
          <p:cNvSpPr>
            <a:spLocks noGrp="1"/>
          </p:cNvSpPr>
          <p:nvPr>
            <p:ph type="body" sz="quarter" idx="45" hasCustomPrompt="1"/>
          </p:nvPr>
        </p:nvSpPr>
        <p:spPr>
          <a:xfrm>
            <a:off x="9102252" y="564943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Tree>
    <p:extLst>
      <p:ext uri="{BB962C8B-B14F-4D97-AF65-F5344CB8AC3E}">
        <p14:creationId xmlns:p14="http://schemas.microsoft.com/office/powerpoint/2010/main" val="7290460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ntent and Chart">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9A01A5ED-7D9E-57FB-3E55-9747F9B2FF02}"/>
              </a:ext>
            </a:extLst>
          </p:cNvPr>
          <p:cNvCxnSpPr>
            <a:cxnSpLocks/>
          </p:cNvCxnSpPr>
          <p:nvPr/>
        </p:nvCxnSpPr>
        <p:spPr>
          <a:xfrm>
            <a:off x="0" y="426998"/>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1F3E768-1BC9-4DFC-7E42-D61CF03C920E}"/>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2556BBD-E905-984B-4075-604E21C91A06}"/>
              </a:ext>
            </a:extLst>
          </p:cNvPr>
          <p:cNvSpPr>
            <a:spLocks noGrp="1"/>
          </p:cNvSpPr>
          <p:nvPr userDrawn="1">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22" name="Text Placeholder 35">
            <a:extLst>
              <a:ext uri="{FF2B5EF4-FFF2-40B4-BE49-F238E27FC236}">
                <a16:creationId xmlns:a16="http://schemas.microsoft.com/office/drawing/2014/main" id="{6411CE3E-CF5E-1A4F-C684-DD36FC30311C}"/>
              </a:ext>
            </a:extLst>
          </p:cNvPr>
          <p:cNvSpPr>
            <a:spLocks noGrp="1"/>
          </p:cNvSpPr>
          <p:nvPr userDrawn="1">
            <p:ph type="body" sz="quarter" idx="15" hasCustomPrompt="1"/>
          </p:nvPr>
        </p:nvSpPr>
        <p:spPr>
          <a:xfrm>
            <a:off x="609599" y="2476502"/>
            <a:ext cx="2843783" cy="292608"/>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24" name="Chart Placeholder 23">
            <a:extLst>
              <a:ext uri="{FF2B5EF4-FFF2-40B4-BE49-F238E27FC236}">
                <a16:creationId xmlns:a16="http://schemas.microsoft.com/office/drawing/2014/main" id="{7048E6E3-973C-DC77-BAA0-77D8C159B580}"/>
              </a:ext>
            </a:extLst>
          </p:cNvPr>
          <p:cNvSpPr>
            <a:spLocks noGrp="1"/>
          </p:cNvSpPr>
          <p:nvPr userDrawn="1">
            <p:ph type="chart" sz="quarter" idx="16"/>
          </p:nvPr>
        </p:nvSpPr>
        <p:spPr>
          <a:xfrm>
            <a:off x="4673598" y="1389115"/>
            <a:ext cx="6908801" cy="4972636"/>
          </a:xfrm>
        </p:spPr>
        <p:txBody>
          <a:bodyPr/>
          <a:lstStyle/>
          <a:p>
            <a:r>
              <a:rPr lang="en-US"/>
              <a:t>Click icon to add chart</a:t>
            </a:r>
          </a:p>
        </p:txBody>
      </p:sp>
      <p:sp>
        <p:nvSpPr>
          <p:cNvPr id="26" name="Text Placeholder 35">
            <a:extLst>
              <a:ext uri="{FF2B5EF4-FFF2-40B4-BE49-F238E27FC236}">
                <a16:creationId xmlns:a16="http://schemas.microsoft.com/office/drawing/2014/main" id="{8C70CCB2-147C-C3A5-8880-72CCE0F38C54}"/>
              </a:ext>
            </a:extLst>
          </p:cNvPr>
          <p:cNvSpPr>
            <a:spLocks noGrp="1"/>
          </p:cNvSpPr>
          <p:nvPr userDrawn="1">
            <p:ph type="body" sz="quarter" idx="17" hasCustomPrompt="1"/>
          </p:nvPr>
        </p:nvSpPr>
        <p:spPr>
          <a:xfrm>
            <a:off x="4673598" y="496249"/>
            <a:ext cx="6908799" cy="276999"/>
          </a:xfrm>
        </p:spPr>
        <p:txBody>
          <a:bodyPr wrap="square" anchor="t">
            <a:noAutofit/>
          </a:bodyPr>
          <a:lstStyle>
            <a:lvl1pPr>
              <a:spcAft>
                <a:spcPts val="0"/>
              </a:spcAft>
              <a:defRPr sz="1800" b="1">
                <a:latin typeface="+mj-lt"/>
              </a:defRPr>
            </a:lvl1pPr>
            <a:lvl2pPr marL="0" indent="0">
              <a:spcAft>
                <a:spcPts val="0"/>
              </a:spcAft>
              <a:buNone/>
              <a:defRPr sz="1600"/>
            </a:lvl2pPr>
          </a:lstStyle>
          <a:p>
            <a:pPr lvl="0"/>
            <a:r>
              <a:rPr lang="en-US"/>
              <a:t>Chart Title</a:t>
            </a:r>
          </a:p>
        </p:txBody>
      </p:sp>
      <p:sp>
        <p:nvSpPr>
          <p:cNvPr id="8" name="Text Placeholder 7">
            <a:extLst>
              <a:ext uri="{FF2B5EF4-FFF2-40B4-BE49-F238E27FC236}">
                <a16:creationId xmlns:a16="http://schemas.microsoft.com/office/drawing/2014/main" id="{E38BCFED-C663-CF81-5722-85F8F5262212}"/>
              </a:ext>
            </a:extLst>
          </p:cNvPr>
          <p:cNvSpPr>
            <a:spLocks noGrp="1"/>
          </p:cNvSpPr>
          <p:nvPr userDrawn="1">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12" name="Footer Placeholder 13">
            <a:extLst>
              <a:ext uri="{FF2B5EF4-FFF2-40B4-BE49-F238E27FC236}">
                <a16:creationId xmlns:a16="http://schemas.microsoft.com/office/drawing/2014/main" id="{741A0437-17F9-350E-A11B-4636A2924C44}"/>
              </a:ext>
            </a:extLst>
          </p:cNvPr>
          <p:cNvSpPr>
            <a:spLocks noGrp="1"/>
          </p:cNvSpPr>
          <p:nvPr userDrawn="1">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a:t>© 2024 Guidehouse</a:t>
            </a:r>
          </a:p>
        </p:txBody>
      </p:sp>
      <p:sp>
        <p:nvSpPr>
          <p:cNvPr id="13" name="Slide Number Placeholder 14">
            <a:extLst>
              <a:ext uri="{FF2B5EF4-FFF2-40B4-BE49-F238E27FC236}">
                <a16:creationId xmlns:a16="http://schemas.microsoft.com/office/drawing/2014/main" id="{AB3EBCA2-1DEC-8D2F-1555-FFA5AE9B0615}"/>
              </a:ext>
            </a:extLst>
          </p:cNvPr>
          <p:cNvSpPr>
            <a:spLocks noGrp="1"/>
          </p:cNvSpPr>
          <p:nvPr userDrawn="1">
            <p:ph type="sldNum" sz="quarter" idx="28"/>
          </p:nvPr>
        </p:nvSpPr>
        <p:spPr>
          <a:xfrm>
            <a:off x="11248008" y="656608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4" name="Date Placeholder 49">
            <a:extLst>
              <a:ext uri="{FF2B5EF4-FFF2-40B4-BE49-F238E27FC236}">
                <a16:creationId xmlns:a16="http://schemas.microsoft.com/office/drawing/2014/main" id="{5C2866BB-378C-088E-630E-602A3FF05825}"/>
              </a:ext>
            </a:extLst>
          </p:cNvPr>
          <p:cNvSpPr>
            <a:spLocks noGrp="1"/>
          </p:cNvSpPr>
          <p:nvPr userDrawn="1">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15148B0A-1AAA-4B39-B561-564E677A3782}" type="datetime4">
              <a:rPr lang="en-US" smtClean="0"/>
              <a:t>May 17, 2025</a:t>
            </a:fld>
            <a:endParaRPr lang="en-US"/>
          </a:p>
        </p:txBody>
      </p:sp>
      <p:sp>
        <p:nvSpPr>
          <p:cNvPr id="29" name="Text Placeholder 28">
            <a:extLst>
              <a:ext uri="{FF2B5EF4-FFF2-40B4-BE49-F238E27FC236}">
                <a16:creationId xmlns:a16="http://schemas.microsoft.com/office/drawing/2014/main" id="{BA504353-D4CA-4259-8F4D-F5ED2E99CB46}"/>
              </a:ext>
            </a:extLst>
          </p:cNvPr>
          <p:cNvSpPr>
            <a:spLocks noGrp="1"/>
          </p:cNvSpPr>
          <p:nvPr userDrawn="1">
            <p:ph type="body" sz="quarter" idx="29"/>
          </p:nvPr>
        </p:nvSpPr>
        <p:spPr>
          <a:xfrm>
            <a:off x="609597" y="2861071"/>
            <a:ext cx="2843783" cy="2139696"/>
          </a:xfrm>
        </p:spPr>
        <p:txBody>
          <a:bodyPr>
            <a:noAutofit/>
          </a:bodyPr>
          <a:lstStyle>
            <a:lvl1pPr marL="0" indent="0">
              <a:buFont typeface="Arial" panose="020B0604020202020204" pitchFamily="34" charset="0"/>
              <a:buNone/>
              <a:defRPr lang="en-US" sz="1600" dirty="0" smtClean="0">
                <a:solidFill>
                  <a:schemeClr val="bg1"/>
                </a:solidFill>
              </a:defRPr>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p:txBody>
      </p:sp>
      <p:sp>
        <p:nvSpPr>
          <p:cNvPr id="6" name="Text Placeholder 35">
            <a:extLst>
              <a:ext uri="{FF2B5EF4-FFF2-40B4-BE49-F238E27FC236}">
                <a16:creationId xmlns:a16="http://schemas.microsoft.com/office/drawing/2014/main" id="{CAA17021-CEBE-574C-5443-C3021D89FF4A}"/>
              </a:ext>
            </a:extLst>
          </p:cNvPr>
          <p:cNvSpPr>
            <a:spLocks noGrp="1"/>
          </p:cNvSpPr>
          <p:nvPr userDrawn="1">
            <p:ph type="body" sz="quarter" idx="30" hasCustomPrompt="1"/>
          </p:nvPr>
        </p:nvSpPr>
        <p:spPr>
          <a:xfrm>
            <a:off x="4673597" y="786391"/>
            <a:ext cx="6908799" cy="246221"/>
          </a:xfrm>
        </p:spPr>
        <p:txBody>
          <a:bodyPr wrap="square" anchor="t">
            <a:noAutofit/>
          </a:bodyPr>
          <a:lstStyle>
            <a:lvl1pPr>
              <a:spcAft>
                <a:spcPts val="0"/>
              </a:spcAft>
              <a:defRPr sz="1600" b="0">
                <a:latin typeface="+mn-lt"/>
              </a:defRPr>
            </a:lvl1pPr>
            <a:lvl2pPr marL="0" indent="0">
              <a:spcAft>
                <a:spcPts val="0"/>
              </a:spcAft>
              <a:buNone/>
              <a:defRPr sz="1600"/>
            </a:lvl2pPr>
          </a:lstStyle>
          <a:p>
            <a:pPr lvl="0"/>
            <a:r>
              <a:rPr lang="en-US"/>
              <a:t>Subtitle</a:t>
            </a:r>
          </a:p>
        </p:txBody>
      </p:sp>
      <p:sp>
        <p:nvSpPr>
          <p:cNvPr id="11" name="Text Placeholder 3">
            <a:extLst>
              <a:ext uri="{FF2B5EF4-FFF2-40B4-BE49-F238E27FC236}">
                <a16:creationId xmlns:a16="http://schemas.microsoft.com/office/drawing/2014/main" id="{EE3A549B-E934-F6A8-2BA9-CE6DFF255D0A}"/>
              </a:ext>
            </a:extLst>
          </p:cNvPr>
          <p:cNvSpPr>
            <a:spLocks noGrp="1"/>
          </p:cNvSpPr>
          <p:nvPr userDrawn="1">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Tree>
    <p:extLst>
      <p:ext uri="{BB962C8B-B14F-4D97-AF65-F5344CB8AC3E}">
        <p14:creationId xmlns:p14="http://schemas.microsoft.com/office/powerpoint/2010/main" val="25367529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ata Callouts - Light">
    <p:bg>
      <p:bgPr>
        <a:solidFill>
          <a:srgbClr val="F3F3F3"/>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11F2AC4-4CDC-2C50-1F85-6A0BB78D2083}"/>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cxnSp>
        <p:nvCxnSpPr>
          <p:cNvPr id="9" name="Straight Connector 8">
            <a:extLst>
              <a:ext uri="{FF2B5EF4-FFF2-40B4-BE49-F238E27FC236}">
                <a16:creationId xmlns:a16="http://schemas.microsoft.com/office/drawing/2014/main" id="{D047FEEB-518A-8ED4-B190-89AB72E00D7E}"/>
              </a:ext>
            </a:extLst>
          </p:cNvPr>
          <p:cNvCxnSpPr>
            <a:cxnSpLocks/>
          </p:cNvCxnSpPr>
          <p:nvPr/>
        </p:nvCxnSpPr>
        <p:spPr>
          <a:xfrm flipH="1">
            <a:off x="4673600" y="2220382"/>
            <a:ext cx="690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E536A8F-77E4-2060-8067-D9F8A5BBD7FE}"/>
              </a:ext>
            </a:extLst>
          </p:cNvPr>
          <p:cNvCxnSpPr>
            <a:cxnSpLocks/>
          </p:cNvCxnSpPr>
          <p:nvPr/>
        </p:nvCxnSpPr>
        <p:spPr>
          <a:xfrm flipH="1">
            <a:off x="4673600" y="4338573"/>
            <a:ext cx="690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 Placeholder 35">
            <a:extLst>
              <a:ext uri="{FF2B5EF4-FFF2-40B4-BE49-F238E27FC236}">
                <a16:creationId xmlns:a16="http://schemas.microsoft.com/office/drawing/2014/main" id="{0780DDAB-A716-E44B-8B3F-D1AFC69E96B1}"/>
              </a:ext>
            </a:extLst>
          </p:cNvPr>
          <p:cNvSpPr>
            <a:spLocks noGrp="1"/>
          </p:cNvSpPr>
          <p:nvPr>
            <p:ph type="body" sz="quarter" idx="16" hasCustomPrompt="1"/>
          </p:nvPr>
        </p:nvSpPr>
        <p:spPr>
          <a:xfrm>
            <a:off x="4673600" y="653455"/>
            <a:ext cx="2313432" cy="1015663"/>
          </a:xfrm>
        </p:spPr>
        <p:txBody>
          <a:bodyPr anchor="b">
            <a:noAutofit/>
          </a:bodyPr>
          <a:lstStyle>
            <a:lvl1pPr>
              <a:spcAft>
                <a:spcPts val="0"/>
              </a:spcAft>
              <a:defRPr sz="6600" b="0">
                <a:solidFill>
                  <a:schemeClr val="tx2"/>
                </a:solidFill>
                <a:latin typeface="+mj-lt"/>
              </a:defRPr>
            </a:lvl1pPr>
            <a:lvl2pPr marL="0" indent="0">
              <a:spcAft>
                <a:spcPts val="0"/>
              </a:spcAft>
              <a:buNone/>
              <a:defRPr sz="1600"/>
            </a:lvl2pPr>
          </a:lstStyle>
          <a:p>
            <a:pPr lvl="0"/>
            <a:r>
              <a:rPr lang="en-US"/>
              <a:t>XXX</a:t>
            </a:r>
          </a:p>
        </p:txBody>
      </p:sp>
      <p:sp>
        <p:nvSpPr>
          <p:cNvPr id="27" name="Text Placeholder 35">
            <a:extLst>
              <a:ext uri="{FF2B5EF4-FFF2-40B4-BE49-F238E27FC236}">
                <a16:creationId xmlns:a16="http://schemas.microsoft.com/office/drawing/2014/main" id="{6F975B03-F7CD-D8A4-0E18-19A70027DC31}"/>
              </a:ext>
            </a:extLst>
          </p:cNvPr>
          <p:cNvSpPr>
            <a:spLocks noGrp="1"/>
          </p:cNvSpPr>
          <p:nvPr>
            <p:ph type="body" sz="quarter" idx="17" hasCustomPrompt="1"/>
          </p:nvPr>
        </p:nvSpPr>
        <p:spPr>
          <a:xfrm>
            <a:off x="4673600" y="2771646"/>
            <a:ext cx="2313432" cy="1015663"/>
          </a:xfrm>
        </p:spPr>
        <p:txBody>
          <a:bodyPr anchor="b">
            <a:noAutofit/>
          </a:bodyPr>
          <a:lstStyle>
            <a:lvl1pPr>
              <a:spcAft>
                <a:spcPts val="0"/>
              </a:spcAft>
              <a:defRPr sz="6600" b="0">
                <a:solidFill>
                  <a:schemeClr val="tx2"/>
                </a:solidFill>
                <a:latin typeface="+mj-lt"/>
              </a:defRPr>
            </a:lvl1pPr>
            <a:lvl2pPr marL="0" indent="0">
              <a:spcAft>
                <a:spcPts val="0"/>
              </a:spcAft>
              <a:buNone/>
              <a:defRPr sz="1600"/>
            </a:lvl2pPr>
          </a:lstStyle>
          <a:p>
            <a:pPr lvl="0"/>
            <a:r>
              <a:rPr lang="en-US"/>
              <a:t>XXX</a:t>
            </a:r>
          </a:p>
        </p:txBody>
      </p:sp>
      <p:sp>
        <p:nvSpPr>
          <p:cNvPr id="28" name="Text Placeholder 35">
            <a:extLst>
              <a:ext uri="{FF2B5EF4-FFF2-40B4-BE49-F238E27FC236}">
                <a16:creationId xmlns:a16="http://schemas.microsoft.com/office/drawing/2014/main" id="{29105BCB-9491-B028-4CDE-AFF15ACE57AD}"/>
              </a:ext>
            </a:extLst>
          </p:cNvPr>
          <p:cNvSpPr>
            <a:spLocks noGrp="1"/>
          </p:cNvSpPr>
          <p:nvPr>
            <p:ph type="body" sz="quarter" idx="18" hasCustomPrompt="1"/>
          </p:nvPr>
        </p:nvSpPr>
        <p:spPr>
          <a:xfrm>
            <a:off x="4673600" y="4889837"/>
            <a:ext cx="2313432" cy="1015663"/>
          </a:xfrm>
        </p:spPr>
        <p:txBody>
          <a:bodyPr anchor="b">
            <a:noAutofit/>
          </a:bodyPr>
          <a:lstStyle>
            <a:lvl1pPr>
              <a:spcAft>
                <a:spcPts val="0"/>
              </a:spcAft>
              <a:defRPr sz="6600" b="0">
                <a:solidFill>
                  <a:schemeClr val="tx2"/>
                </a:solidFill>
                <a:latin typeface="+mj-lt"/>
              </a:defRPr>
            </a:lvl1pPr>
            <a:lvl2pPr marL="0" indent="0">
              <a:spcAft>
                <a:spcPts val="0"/>
              </a:spcAft>
              <a:buNone/>
              <a:defRPr sz="1600"/>
            </a:lvl2pPr>
          </a:lstStyle>
          <a:p>
            <a:pPr lvl="0"/>
            <a:r>
              <a:rPr lang="en-US"/>
              <a:t>XXX</a:t>
            </a:r>
          </a:p>
        </p:txBody>
      </p:sp>
      <p:sp>
        <p:nvSpPr>
          <p:cNvPr id="29" name="Text Placeholder 35">
            <a:extLst>
              <a:ext uri="{FF2B5EF4-FFF2-40B4-BE49-F238E27FC236}">
                <a16:creationId xmlns:a16="http://schemas.microsoft.com/office/drawing/2014/main" id="{8E051EED-DBA8-D571-CF36-C1A1CDB17435}"/>
              </a:ext>
            </a:extLst>
          </p:cNvPr>
          <p:cNvSpPr>
            <a:spLocks noGrp="1"/>
          </p:cNvSpPr>
          <p:nvPr>
            <p:ph type="body" sz="quarter" idx="19" hasCustomPrompt="1"/>
          </p:nvPr>
        </p:nvSpPr>
        <p:spPr>
          <a:xfrm>
            <a:off x="7558406" y="653455"/>
            <a:ext cx="4023994" cy="1014984"/>
          </a:xfrm>
        </p:spPr>
        <p:txBody>
          <a:bodyPr anchor="ctr">
            <a:noAutofit/>
          </a:bodyPr>
          <a:lstStyle>
            <a:lvl1pPr>
              <a:spcAft>
                <a:spcPts val="0"/>
              </a:spcAft>
              <a:defRPr sz="2800" b="0">
                <a:solidFill>
                  <a:schemeClr val="tx2"/>
                </a:solidFill>
                <a:latin typeface="+mn-lt"/>
              </a:defRPr>
            </a:lvl1pPr>
            <a:lvl2pPr marL="0" indent="0">
              <a:spcAft>
                <a:spcPts val="0"/>
              </a:spcAft>
              <a:buNone/>
              <a:defRPr sz="1600"/>
            </a:lvl2pPr>
          </a:lstStyle>
          <a:p>
            <a:pPr lvl="0"/>
            <a:r>
              <a:rPr lang="en-US"/>
              <a:t>Category name</a:t>
            </a:r>
          </a:p>
        </p:txBody>
      </p:sp>
      <p:sp>
        <p:nvSpPr>
          <p:cNvPr id="31" name="Text Placeholder 35">
            <a:extLst>
              <a:ext uri="{FF2B5EF4-FFF2-40B4-BE49-F238E27FC236}">
                <a16:creationId xmlns:a16="http://schemas.microsoft.com/office/drawing/2014/main" id="{EFA2068F-D955-25B7-99A8-9CF50683A4CA}"/>
              </a:ext>
            </a:extLst>
          </p:cNvPr>
          <p:cNvSpPr>
            <a:spLocks noGrp="1"/>
          </p:cNvSpPr>
          <p:nvPr>
            <p:ph type="body" sz="quarter" idx="20" hasCustomPrompt="1"/>
          </p:nvPr>
        </p:nvSpPr>
        <p:spPr>
          <a:xfrm>
            <a:off x="7558406" y="2772325"/>
            <a:ext cx="4023994" cy="1014984"/>
          </a:xfrm>
        </p:spPr>
        <p:txBody>
          <a:bodyPr anchor="ctr">
            <a:noAutofit/>
          </a:bodyPr>
          <a:lstStyle>
            <a:lvl1pPr>
              <a:spcAft>
                <a:spcPts val="0"/>
              </a:spcAft>
              <a:defRPr sz="2800" b="0">
                <a:solidFill>
                  <a:schemeClr val="tx2"/>
                </a:solidFill>
                <a:latin typeface="+mn-lt"/>
              </a:defRPr>
            </a:lvl1pPr>
            <a:lvl2pPr marL="0" indent="0">
              <a:spcAft>
                <a:spcPts val="0"/>
              </a:spcAft>
              <a:buNone/>
              <a:defRPr sz="1600"/>
            </a:lvl2pPr>
          </a:lstStyle>
          <a:p>
            <a:pPr lvl="0"/>
            <a:r>
              <a:rPr lang="en-US"/>
              <a:t>Category name</a:t>
            </a:r>
          </a:p>
        </p:txBody>
      </p:sp>
      <p:sp>
        <p:nvSpPr>
          <p:cNvPr id="32" name="Text Placeholder 35">
            <a:extLst>
              <a:ext uri="{FF2B5EF4-FFF2-40B4-BE49-F238E27FC236}">
                <a16:creationId xmlns:a16="http://schemas.microsoft.com/office/drawing/2014/main" id="{F3AAD773-5C24-9AC0-2752-DA13DC958E70}"/>
              </a:ext>
            </a:extLst>
          </p:cNvPr>
          <p:cNvSpPr>
            <a:spLocks noGrp="1"/>
          </p:cNvSpPr>
          <p:nvPr>
            <p:ph type="body" sz="quarter" idx="21" hasCustomPrompt="1"/>
          </p:nvPr>
        </p:nvSpPr>
        <p:spPr>
          <a:xfrm>
            <a:off x="7558406" y="4890516"/>
            <a:ext cx="4023994" cy="1014984"/>
          </a:xfrm>
        </p:spPr>
        <p:txBody>
          <a:bodyPr anchor="ctr">
            <a:noAutofit/>
          </a:bodyPr>
          <a:lstStyle>
            <a:lvl1pPr>
              <a:spcAft>
                <a:spcPts val="0"/>
              </a:spcAft>
              <a:defRPr sz="2800" b="0">
                <a:solidFill>
                  <a:schemeClr val="tx2"/>
                </a:solidFill>
                <a:latin typeface="+mn-lt"/>
              </a:defRPr>
            </a:lvl1pPr>
            <a:lvl2pPr marL="0" indent="0">
              <a:spcAft>
                <a:spcPts val="0"/>
              </a:spcAft>
              <a:buNone/>
              <a:defRPr sz="1600"/>
            </a:lvl2pPr>
          </a:lstStyle>
          <a:p>
            <a:pPr lvl="0"/>
            <a:r>
              <a:rPr lang="en-US"/>
              <a:t>Category name</a:t>
            </a:r>
          </a:p>
        </p:txBody>
      </p:sp>
      <p:sp>
        <p:nvSpPr>
          <p:cNvPr id="6" name="Rectangle 5">
            <a:extLst>
              <a:ext uri="{FF2B5EF4-FFF2-40B4-BE49-F238E27FC236}">
                <a16:creationId xmlns:a16="http://schemas.microsoft.com/office/drawing/2014/main" id="{9ECF6B3C-FC00-5EB7-7C22-55ADD18344A5}"/>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A697812B-22E9-49AF-206B-89480FC52516}"/>
              </a:ext>
            </a:extLst>
          </p:cNvPr>
          <p:cNvSpPr>
            <a:spLocks noGrp="1"/>
          </p:cNvSpPr>
          <p:nvPr>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3FFB35EB-C70D-E42F-3CD3-660192097D84}"/>
              </a:ext>
            </a:extLst>
          </p:cNvPr>
          <p:cNvSpPr>
            <a:spLocks noGrp="1"/>
          </p:cNvSpPr>
          <p:nvPr>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
        <p:nvSpPr>
          <p:cNvPr id="11" name="Text Placeholder 35">
            <a:extLst>
              <a:ext uri="{FF2B5EF4-FFF2-40B4-BE49-F238E27FC236}">
                <a16:creationId xmlns:a16="http://schemas.microsoft.com/office/drawing/2014/main" id="{15DFBE8A-8C17-F2F1-B093-69576955B25E}"/>
              </a:ext>
            </a:extLst>
          </p:cNvPr>
          <p:cNvSpPr>
            <a:spLocks noGrp="1"/>
          </p:cNvSpPr>
          <p:nvPr>
            <p:ph type="body" sz="quarter" idx="15" hasCustomPrompt="1"/>
          </p:nvPr>
        </p:nvSpPr>
        <p:spPr>
          <a:xfrm>
            <a:off x="609599" y="2476503"/>
            <a:ext cx="2843783" cy="295142"/>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2" name="Text Placeholder 7">
            <a:extLst>
              <a:ext uri="{FF2B5EF4-FFF2-40B4-BE49-F238E27FC236}">
                <a16:creationId xmlns:a16="http://schemas.microsoft.com/office/drawing/2014/main" id="{1B191817-16E1-D054-A2BF-E5437C6A210F}"/>
              </a:ext>
            </a:extLst>
          </p:cNvPr>
          <p:cNvSpPr>
            <a:spLocks noGrp="1"/>
          </p:cNvSpPr>
          <p:nvPr>
            <p:ph type="body" sz="quarter" idx="25" hasCustomPrompt="1"/>
          </p:nvPr>
        </p:nvSpPr>
        <p:spPr>
          <a:xfrm>
            <a:off x="609600" y="138027"/>
            <a:ext cx="2843782" cy="153888"/>
          </a:xfrm>
        </p:spPr>
        <p:txBody>
          <a:bodyPr wrap="square" anchor="ctr">
            <a:spAutoFit/>
          </a:bodyPr>
          <a:lstStyle>
            <a:lvl1pPr>
              <a:spcAft>
                <a:spcPts val="0"/>
              </a:spcAft>
              <a:defRPr sz="1000" b="0" cap="all" spc="0" baseline="0">
                <a:solidFill>
                  <a:schemeClr val="accent1"/>
                </a:solidFill>
                <a:latin typeface="+mj-lt"/>
              </a:defRPr>
            </a:lvl1pPr>
          </a:lstStyle>
          <a:p>
            <a:pPr lvl="0"/>
            <a:r>
              <a:rPr lang="en-US"/>
              <a:t>Industry Name / Section Title</a:t>
            </a:r>
          </a:p>
        </p:txBody>
      </p:sp>
      <p:cxnSp>
        <p:nvCxnSpPr>
          <p:cNvPr id="3" name="Straight Connector 2">
            <a:extLst>
              <a:ext uri="{FF2B5EF4-FFF2-40B4-BE49-F238E27FC236}">
                <a16:creationId xmlns:a16="http://schemas.microsoft.com/office/drawing/2014/main" id="{085D6DC0-B751-F104-558A-2CF533B9BE0F}"/>
              </a:ext>
            </a:extLst>
          </p:cNvPr>
          <p:cNvCxnSpPr>
            <a:cxnSpLocks/>
          </p:cNvCxnSpPr>
          <p:nvPr/>
        </p:nvCxnSpPr>
        <p:spPr>
          <a:xfrm>
            <a:off x="0" y="426998"/>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13">
            <a:extLst>
              <a:ext uri="{FF2B5EF4-FFF2-40B4-BE49-F238E27FC236}">
                <a16:creationId xmlns:a16="http://schemas.microsoft.com/office/drawing/2014/main" id="{F337DF17-7F97-2221-1EA6-AE47CFFA12A1}"/>
              </a:ext>
            </a:extLst>
          </p:cNvPr>
          <p:cNvSpPr>
            <a:spLocks noGrp="1"/>
          </p:cNvSpPr>
          <p:nvPr>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a:t>© 2024 Guidehouse</a:t>
            </a:r>
          </a:p>
        </p:txBody>
      </p:sp>
      <p:cxnSp>
        <p:nvCxnSpPr>
          <p:cNvPr id="8" name="Straight Connector 7">
            <a:extLst>
              <a:ext uri="{FF2B5EF4-FFF2-40B4-BE49-F238E27FC236}">
                <a16:creationId xmlns:a16="http://schemas.microsoft.com/office/drawing/2014/main" id="{5E3AD8B8-FC1F-35CF-FD03-9E3947B1CFFD}"/>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2" name="Date Placeholder 49">
            <a:extLst>
              <a:ext uri="{FF2B5EF4-FFF2-40B4-BE49-F238E27FC236}">
                <a16:creationId xmlns:a16="http://schemas.microsoft.com/office/drawing/2014/main" id="{8020E8BF-1299-4166-DFC7-34CF6757ED55}"/>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ABB39132-01AE-4489-B5A5-99BD96A00C93}" type="datetime4">
              <a:rPr lang="en-US" smtClean="0"/>
              <a:t>May 17, 2025</a:t>
            </a:fld>
            <a:endParaRPr lang="en-US"/>
          </a:p>
        </p:txBody>
      </p:sp>
      <p:sp>
        <p:nvSpPr>
          <p:cNvPr id="16" name="Text Placeholder 15">
            <a:extLst>
              <a:ext uri="{FF2B5EF4-FFF2-40B4-BE49-F238E27FC236}">
                <a16:creationId xmlns:a16="http://schemas.microsoft.com/office/drawing/2014/main" id="{3DC231E2-1393-4B54-D6AB-39B8F6F3A1D5}"/>
              </a:ext>
            </a:extLst>
          </p:cNvPr>
          <p:cNvSpPr>
            <a:spLocks noGrp="1"/>
          </p:cNvSpPr>
          <p:nvPr>
            <p:ph type="body" sz="quarter" idx="28"/>
          </p:nvPr>
        </p:nvSpPr>
        <p:spPr>
          <a:xfrm>
            <a:off x="609600" y="2862072"/>
            <a:ext cx="2843213" cy="2139696"/>
          </a:xfrm>
        </p:spPr>
        <p:txBody>
          <a:bodyPr/>
          <a:lstStyle>
            <a:lvl1pPr marL="0" indent="0">
              <a:buFont typeface="Arial" panose="020B0604020202020204" pitchFamily="34" charset="0"/>
              <a:buNone/>
              <a:defRPr sz="1600">
                <a:solidFill>
                  <a:schemeClr val="bg1"/>
                </a:solidFill>
              </a:defRPr>
            </a:lvl1pPr>
            <a:lvl2pPr marL="0" indent="0">
              <a:buNone/>
              <a:defRPr sz="1600">
                <a:solidFill>
                  <a:schemeClr val="bg1"/>
                </a:solidFill>
              </a:defRPr>
            </a:lvl2pPr>
            <a:lvl3pPr marL="182880" indent="0">
              <a:buNone/>
              <a:defRPr sz="1600">
                <a:solidFill>
                  <a:schemeClr val="bg1"/>
                </a:solidFill>
              </a:defRPr>
            </a:lvl3pPr>
            <a:lvl4pPr marL="365760" indent="0">
              <a:buNone/>
              <a:defRPr sz="1600">
                <a:solidFill>
                  <a:schemeClr val="bg1"/>
                </a:solidFill>
              </a:defRPr>
            </a:lvl4pPr>
            <a:lvl5pPr marL="548640" indent="0">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558670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2 - Dark">
    <p:bg>
      <p:bgPr>
        <a:solidFill>
          <a:schemeClr val="tx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2AFFFE6-9509-4010-7DBE-B101C66BE8E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52527" y="426278"/>
            <a:ext cx="1799617" cy="457200"/>
          </a:xfrm>
          <a:prstGeom prst="rect">
            <a:avLst/>
          </a:prstGeom>
        </p:spPr>
      </p:pic>
      <p:pic>
        <p:nvPicPr>
          <p:cNvPr id="11" name="Graphic 10">
            <a:extLst>
              <a:ext uri="{FF2B5EF4-FFF2-40B4-BE49-F238E27FC236}">
                <a16:creationId xmlns:a16="http://schemas.microsoft.com/office/drawing/2014/main" id="{C115252C-FF39-2E61-6A45-48C699481F4F}"/>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7579" t="20639" r="1500" b="7525"/>
          <a:stretch/>
        </p:blipFill>
        <p:spPr>
          <a:xfrm>
            <a:off x="0" y="0"/>
            <a:ext cx="5486401" cy="6857999"/>
          </a:xfrm>
          <a:prstGeom prst="rect">
            <a:avLst/>
          </a:prstGeom>
        </p:spPr>
      </p:pic>
      <p:cxnSp>
        <p:nvCxnSpPr>
          <p:cNvPr id="48" name="Straight Connector 47">
            <a:extLst>
              <a:ext uri="{FF2B5EF4-FFF2-40B4-BE49-F238E27FC236}">
                <a16:creationId xmlns:a16="http://schemas.microsoft.com/office/drawing/2014/main" id="{215BE539-8AC2-9053-6A0F-892165433E6C}"/>
              </a:ext>
            </a:extLst>
          </p:cNvPr>
          <p:cNvCxnSpPr>
            <a:cxnSpLocks/>
          </p:cNvCxnSpPr>
          <p:nvPr/>
        </p:nvCxnSpPr>
        <p:spPr>
          <a:xfrm>
            <a:off x="6022043" y="4674590"/>
            <a:ext cx="5549059"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9" name="Text Placeholder 14">
            <a:extLst>
              <a:ext uri="{FF2B5EF4-FFF2-40B4-BE49-F238E27FC236}">
                <a16:creationId xmlns:a16="http://schemas.microsoft.com/office/drawing/2014/main" id="{DF9F4C41-B8FC-527A-5C20-40AFD1C4A1AA}"/>
              </a:ext>
            </a:extLst>
          </p:cNvPr>
          <p:cNvSpPr>
            <a:spLocks noGrp="1"/>
          </p:cNvSpPr>
          <p:nvPr>
            <p:ph type="body" sz="quarter" idx="13" hasCustomPrompt="1"/>
          </p:nvPr>
        </p:nvSpPr>
        <p:spPr>
          <a:xfrm>
            <a:off x="6022042" y="1843100"/>
            <a:ext cx="5549059" cy="2468881"/>
          </a:xfrm>
        </p:spPr>
        <p:txBody>
          <a:bodyPr wrap="square" anchor="b">
            <a:noAutofit/>
          </a:bodyPr>
          <a:lstStyle>
            <a:lvl1pPr>
              <a:lnSpc>
                <a:spcPct val="80000"/>
              </a:lnSpc>
              <a:spcAft>
                <a:spcPts val="0"/>
              </a:spcAft>
              <a:defRPr sz="6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up to 3 lines</a:t>
            </a:r>
          </a:p>
        </p:txBody>
      </p:sp>
      <p:sp>
        <p:nvSpPr>
          <p:cNvPr id="52" name="Text Placeholder 16">
            <a:extLst>
              <a:ext uri="{FF2B5EF4-FFF2-40B4-BE49-F238E27FC236}">
                <a16:creationId xmlns:a16="http://schemas.microsoft.com/office/drawing/2014/main" id="{9D48456B-E50F-89D0-9198-667795E8F53F}"/>
              </a:ext>
            </a:extLst>
          </p:cNvPr>
          <p:cNvSpPr>
            <a:spLocks noGrp="1"/>
          </p:cNvSpPr>
          <p:nvPr>
            <p:ph type="body" sz="quarter" idx="12" hasCustomPrompt="1"/>
          </p:nvPr>
        </p:nvSpPr>
        <p:spPr>
          <a:xfrm>
            <a:off x="6045992" y="1257550"/>
            <a:ext cx="2468880" cy="223908"/>
          </a:xfrm>
        </p:spPr>
        <p:txBody>
          <a:bodyPr wrap="square">
            <a:noAutofit/>
          </a:bodyPr>
          <a:lstStyle>
            <a:lvl1pPr algn="l">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 name="Graphic 1">
            <a:extLst>
              <a:ext uri="{FF2B5EF4-FFF2-40B4-BE49-F238E27FC236}">
                <a16:creationId xmlns:a16="http://schemas.microsoft.com/office/drawing/2014/main" id="{8A7BBF87-F8B7-07C3-057A-BFF9022ABA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48011" y="6275411"/>
            <a:ext cx="1834388" cy="210312"/>
          </a:xfrm>
          <a:prstGeom prst="rect">
            <a:avLst/>
          </a:prstGeom>
        </p:spPr>
      </p:pic>
      <p:sp>
        <p:nvSpPr>
          <p:cNvPr id="3" name="Text Placeholder 33">
            <a:extLst>
              <a:ext uri="{FF2B5EF4-FFF2-40B4-BE49-F238E27FC236}">
                <a16:creationId xmlns:a16="http://schemas.microsoft.com/office/drawing/2014/main" id="{013984AB-1E83-4B6D-17F1-4FBBA4C42229}"/>
              </a:ext>
            </a:extLst>
          </p:cNvPr>
          <p:cNvSpPr>
            <a:spLocks noGrp="1"/>
          </p:cNvSpPr>
          <p:nvPr>
            <p:ph type="body" sz="quarter" idx="17" hasCustomPrompt="1"/>
          </p:nvPr>
        </p:nvSpPr>
        <p:spPr>
          <a:xfrm>
            <a:off x="6012807" y="5084002"/>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4" name="Text Placeholder 33">
            <a:extLst>
              <a:ext uri="{FF2B5EF4-FFF2-40B4-BE49-F238E27FC236}">
                <a16:creationId xmlns:a16="http://schemas.microsoft.com/office/drawing/2014/main" id="{42C6B7E9-FD29-3038-05E7-30F86A25E087}"/>
              </a:ext>
            </a:extLst>
          </p:cNvPr>
          <p:cNvSpPr>
            <a:spLocks noGrp="1"/>
          </p:cNvSpPr>
          <p:nvPr>
            <p:ph type="body" sz="quarter" idx="18" hasCustomPrompt="1"/>
          </p:nvPr>
        </p:nvSpPr>
        <p:spPr>
          <a:xfrm>
            <a:off x="6023555" y="5424291"/>
            <a:ext cx="5387082" cy="276999"/>
          </a:xfrm>
        </p:spPr>
        <p:txBody>
          <a:bodyPr wrap="square">
            <a:noAutofit/>
          </a:bodyPr>
          <a:lstStyle>
            <a:lvl1pPr marL="0" indent="0">
              <a:spcAft>
                <a:spcPts val="300"/>
              </a:spcAft>
              <a:buFont typeface="Arial" panose="020B0604020202020204" pitchFamily="34" charset="0"/>
              <a:buNone/>
              <a:defRPr sz="18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58382824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ata Callouts - Dark">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flipH="1">
            <a:off x="4064000" y="0"/>
            <a:ext cx="8128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5">
            <a:extLst>
              <a:ext uri="{FF2B5EF4-FFF2-40B4-BE49-F238E27FC236}">
                <a16:creationId xmlns:a16="http://schemas.microsoft.com/office/drawing/2014/main" id="{0780DDAB-A716-E44B-8B3F-D1AFC69E96B1}"/>
              </a:ext>
            </a:extLst>
          </p:cNvPr>
          <p:cNvSpPr>
            <a:spLocks noGrp="1"/>
          </p:cNvSpPr>
          <p:nvPr>
            <p:ph type="body" sz="quarter" idx="16" hasCustomPrompt="1"/>
          </p:nvPr>
        </p:nvSpPr>
        <p:spPr>
          <a:xfrm>
            <a:off x="4673600" y="742698"/>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7" name="Text Placeholder 35">
            <a:extLst>
              <a:ext uri="{FF2B5EF4-FFF2-40B4-BE49-F238E27FC236}">
                <a16:creationId xmlns:a16="http://schemas.microsoft.com/office/drawing/2014/main" id="{6F975B03-F7CD-D8A4-0E18-19A70027DC31}"/>
              </a:ext>
            </a:extLst>
          </p:cNvPr>
          <p:cNvSpPr>
            <a:spLocks noGrp="1"/>
          </p:cNvSpPr>
          <p:nvPr>
            <p:ph type="body" sz="quarter" idx="17" hasCustomPrompt="1"/>
          </p:nvPr>
        </p:nvSpPr>
        <p:spPr>
          <a:xfrm>
            <a:off x="4673600" y="2860889"/>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8" name="Text Placeholder 35">
            <a:extLst>
              <a:ext uri="{FF2B5EF4-FFF2-40B4-BE49-F238E27FC236}">
                <a16:creationId xmlns:a16="http://schemas.microsoft.com/office/drawing/2014/main" id="{29105BCB-9491-B028-4CDE-AFF15ACE57AD}"/>
              </a:ext>
            </a:extLst>
          </p:cNvPr>
          <p:cNvSpPr>
            <a:spLocks noGrp="1"/>
          </p:cNvSpPr>
          <p:nvPr>
            <p:ph type="body" sz="quarter" idx="18" hasCustomPrompt="1"/>
          </p:nvPr>
        </p:nvSpPr>
        <p:spPr>
          <a:xfrm>
            <a:off x="4673600" y="4979080"/>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9" name="Text Placeholder 35">
            <a:extLst>
              <a:ext uri="{FF2B5EF4-FFF2-40B4-BE49-F238E27FC236}">
                <a16:creationId xmlns:a16="http://schemas.microsoft.com/office/drawing/2014/main" id="{8E051EED-DBA8-D571-CF36-C1A1CDB17435}"/>
              </a:ext>
            </a:extLst>
          </p:cNvPr>
          <p:cNvSpPr>
            <a:spLocks noGrp="1"/>
          </p:cNvSpPr>
          <p:nvPr>
            <p:ph type="body" sz="quarter" idx="19" hasCustomPrompt="1"/>
          </p:nvPr>
        </p:nvSpPr>
        <p:spPr>
          <a:xfrm>
            <a:off x="7558406" y="742698"/>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sp>
        <p:nvSpPr>
          <p:cNvPr id="31" name="Text Placeholder 35">
            <a:extLst>
              <a:ext uri="{FF2B5EF4-FFF2-40B4-BE49-F238E27FC236}">
                <a16:creationId xmlns:a16="http://schemas.microsoft.com/office/drawing/2014/main" id="{EFA2068F-D955-25B7-99A8-9CF50683A4CA}"/>
              </a:ext>
            </a:extLst>
          </p:cNvPr>
          <p:cNvSpPr>
            <a:spLocks noGrp="1"/>
          </p:cNvSpPr>
          <p:nvPr>
            <p:ph type="body" sz="quarter" idx="20" hasCustomPrompt="1"/>
          </p:nvPr>
        </p:nvSpPr>
        <p:spPr>
          <a:xfrm>
            <a:off x="7558406" y="2861568"/>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sp>
        <p:nvSpPr>
          <p:cNvPr id="32" name="Text Placeholder 35">
            <a:extLst>
              <a:ext uri="{FF2B5EF4-FFF2-40B4-BE49-F238E27FC236}">
                <a16:creationId xmlns:a16="http://schemas.microsoft.com/office/drawing/2014/main" id="{F3AAD773-5C24-9AC0-2752-DA13DC958E70}"/>
              </a:ext>
            </a:extLst>
          </p:cNvPr>
          <p:cNvSpPr>
            <a:spLocks noGrp="1"/>
          </p:cNvSpPr>
          <p:nvPr>
            <p:ph type="body" sz="quarter" idx="21" hasCustomPrompt="1"/>
          </p:nvPr>
        </p:nvSpPr>
        <p:spPr>
          <a:xfrm>
            <a:off x="7558406" y="4979759"/>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cxnSp>
        <p:nvCxnSpPr>
          <p:cNvPr id="9" name="Straight Connector 8">
            <a:extLst>
              <a:ext uri="{FF2B5EF4-FFF2-40B4-BE49-F238E27FC236}">
                <a16:creationId xmlns:a16="http://schemas.microsoft.com/office/drawing/2014/main" id="{D047FEEB-518A-8ED4-B190-89AB72E00D7E}"/>
              </a:ext>
            </a:extLst>
          </p:cNvPr>
          <p:cNvCxnSpPr>
            <a:cxnSpLocks/>
          </p:cNvCxnSpPr>
          <p:nvPr/>
        </p:nvCxnSpPr>
        <p:spPr>
          <a:xfrm flipH="1">
            <a:off x="4673600" y="2309625"/>
            <a:ext cx="69088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E536A8F-77E4-2060-8067-D9F8A5BBD7FE}"/>
              </a:ext>
            </a:extLst>
          </p:cNvPr>
          <p:cNvCxnSpPr>
            <a:cxnSpLocks/>
          </p:cNvCxnSpPr>
          <p:nvPr/>
        </p:nvCxnSpPr>
        <p:spPr>
          <a:xfrm flipH="1">
            <a:off x="4673600" y="4427816"/>
            <a:ext cx="69088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5754DDD-4564-A9EB-8E1A-7FCA5F9D6A51}"/>
              </a:ext>
            </a:extLst>
          </p:cNvPr>
          <p:cNvSpPr>
            <a:spLocks noGrp="1"/>
          </p:cNvSpPr>
          <p:nvPr>
            <p:ph type="title"/>
          </p:nvPr>
        </p:nvSpPr>
        <p:spPr>
          <a:xfrm>
            <a:off x="609600" y="800754"/>
            <a:ext cx="2844800" cy="1000402"/>
          </a:xfrm>
        </p:spPr>
        <p:txBody>
          <a:bodyPr>
            <a:noAutofit/>
          </a:bodyPr>
          <a:lstStyle>
            <a:lvl1pPr>
              <a:lnSpc>
                <a:spcPct val="90000"/>
              </a:lnSpc>
              <a:defRPr>
                <a:solidFill>
                  <a:schemeClr val="tx2"/>
                </a:solidFill>
              </a:defRPr>
            </a:lvl1pPr>
          </a:lstStyle>
          <a:p>
            <a:r>
              <a:rPr lang="en-US"/>
              <a:t>Click to edit Master title style</a:t>
            </a:r>
          </a:p>
        </p:txBody>
      </p:sp>
      <p:sp>
        <p:nvSpPr>
          <p:cNvPr id="15" name="Text Placeholder 3">
            <a:extLst>
              <a:ext uri="{FF2B5EF4-FFF2-40B4-BE49-F238E27FC236}">
                <a16:creationId xmlns:a16="http://schemas.microsoft.com/office/drawing/2014/main" id="{E7EA713E-01BE-BF01-9F34-76521E92853F}"/>
              </a:ext>
            </a:extLst>
          </p:cNvPr>
          <p:cNvSpPr>
            <a:spLocks noGrp="1"/>
          </p:cNvSpPr>
          <p:nvPr>
            <p:ph type="body" sz="quarter" idx="13" hasCustomPrompt="1"/>
          </p:nvPr>
        </p:nvSpPr>
        <p:spPr>
          <a:xfrm>
            <a:off x="609600" y="1813242"/>
            <a:ext cx="2843784" cy="307777"/>
          </a:xfrm>
        </p:spPr>
        <p:txBody>
          <a:bodyPr>
            <a:noAutofit/>
          </a:bodyPr>
          <a:lstStyle>
            <a:lvl1pPr>
              <a:defRPr>
                <a:solidFill>
                  <a:schemeClr val="tx1">
                    <a:lumMod val="75000"/>
                    <a:lumOff val="25000"/>
                  </a:schemeClr>
                </a:solidFill>
              </a:defRPr>
            </a:lvl1pPr>
          </a:lstStyle>
          <a:p>
            <a:pPr lvl="0"/>
            <a:r>
              <a:rPr lang="en-US"/>
              <a:t>Subtitle</a:t>
            </a:r>
          </a:p>
        </p:txBody>
      </p:sp>
      <p:sp>
        <p:nvSpPr>
          <p:cNvPr id="16" name="Text Placeholder 35">
            <a:extLst>
              <a:ext uri="{FF2B5EF4-FFF2-40B4-BE49-F238E27FC236}">
                <a16:creationId xmlns:a16="http://schemas.microsoft.com/office/drawing/2014/main" id="{208C13BF-5B90-D470-A4B5-3DCD3545EB9E}"/>
              </a:ext>
            </a:extLst>
          </p:cNvPr>
          <p:cNvSpPr>
            <a:spLocks noGrp="1"/>
          </p:cNvSpPr>
          <p:nvPr>
            <p:ph type="body" sz="quarter" idx="15" hasCustomPrompt="1"/>
          </p:nvPr>
        </p:nvSpPr>
        <p:spPr>
          <a:xfrm>
            <a:off x="609599" y="2476503"/>
            <a:ext cx="2843783" cy="292608"/>
          </a:xfrm>
        </p:spPr>
        <p:txBody>
          <a:bodyPr anchor="t">
            <a:noAutofit/>
          </a:bodyPr>
          <a:lstStyle>
            <a:lvl1pPr>
              <a:spcAft>
                <a:spcPts val="1200"/>
              </a:spcAft>
              <a:defRPr sz="1400" b="1" cap="all" spc="300" baseline="0">
                <a:solidFill>
                  <a:schemeClr val="tx2"/>
                </a:solidFill>
                <a:latin typeface="+mj-lt"/>
              </a:defRPr>
            </a:lvl1pPr>
            <a:lvl2pPr marL="0" indent="0">
              <a:spcAft>
                <a:spcPts val="1200"/>
              </a:spcAft>
              <a:buNone/>
              <a:defRPr lang="en-US" sz="1600" kern="1200" dirty="0" smtClean="0">
                <a:solidFill>
                  <a:schemeClr val="tx2"/>
                </a:solidFill>
                <a:latin typeface="+mn-lt"/>
                <a:ea typeface="+mn-ea"/>
                <a:cs typeface="+mn-cs"/>
              </a:defRPr>
            </a:lvl2pPr>
          </a:lstStyle>
          <a:p>
            <a:pPr lvl="0"/>
            <a:r>
              <a:rPr lang="en-US"/>
              <a:t>Header</a:t>
            </a:r>
          </a:p>
        </p:txBody>
      </p:sp>
      <p:cxnSp>
        <p:nvCxnSpPr>
          <p:cNvPr id="2" name="Straight Connector 1">
            <a:extLst>
              <a:ext uri="{FF2B5EF4-FFF2-40B4-BE49-F238E27FC236}">
                <a16:creationId xmlns:a16="http://schemas.microsoft.com/office/drawing/2014/main" id="{78FDEB99-4784-B972-251E-0E3474B67D5D}"/>
              </a:ext>
            </a:extLst>
          </p:cNvPr>
          <p:cNvCxnSpPr>
            <a:cxnSpLocks/>
          </p:cNvCxnSpPr>
          <p:nvPr/>
        </p:nvCxnSpPr>
        <p:spPr>
          <a:xfrm>
            <a:off x="0" y="426998"/>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74D925A-9D6D-4A25-E178-1FE9D77E72F8}"/>
              </a:ext>
            </a:extLst>
          </p:cNvPr>
          <p:cNvCxnSpPr>
            <a:cxnSpLocks/>
          </p:cNvCxnSpPr>
          <p:nvPr/>
        </p:nvCxnSpPr>
        <p:spPr>
          <a:xfrm>
            <a:off x="0" y="6431003"/>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Date Placeholder 12">
            <a:extLst>
              <a:ext uri="{FF2B5EF4-FFF2-40B4-BE49-F238E27FC236}">
                <a16:creationId xmlns:a16="http://schemas.microsoft.com/office/drawing/2014/main" id="{53577F8E-3815-6002-2762-4915D87EA291}"/>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26D3A883-4524-43DF-8C88-CCCABA5D8FAF}" type="datetime4">
              <a:rPr lang="en-US" smtClean="0"/>
              <a:t>May 17, 2025</a:t>
            </a:fld>
            <a:endParaRPr lang="en-US"/>
          </a:p>
        </p:txBody>
      </p:sp>
      <p:sp>
        <p:nvSpPr>
          <p:cNvPr id="14" name="Slide Number Placeholder 14">
            <a:extLst>
              <a:ext uri="{FF2B5EF4-FFF2-40B4-BE49-F238E27FC236}">
                <a16:creationId xmlns:a16="http://schemas.microsoft.com/office/drawing/2014/main" id="{FA10D52E-46F2-DFEC-06E7-6C106D7B1B94}"/>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a:p>
        </p:txBody>
      </p:sp>
      <p:sp>
        <p:nvSpPr>
          <p:cNvPr id="19" name="Text Placeholder 7">
            <a:extLst>
              <a:ext uri="{FF2B5EF4-FFF2-40B4-BE49-F238E27FC236}">
                <a16:creationId xmlns:a16="http://schemas.microsoft.com/office/drawing/2014/main" id="{23557860-BBEB-3C14-21FC-4FA8790767A1}"/>
              </a:ext>
            </a:extLst>
          </p:cNvPr>
          <p:cNvSpPr>
            <a:spLocks noGrp="1"/>
          </p:cNvSpPr>
          <p:nvPr>
            <p:ph type="body" sz="quarter" idx="29" hasCustomPrompt="1"/>
          </p:nvPr>
        </p:nvSpPr>
        <p:spPr>
          <a:xfrm>
            <a:off x="609600" y="136647"/>
            <a:ext cx="2843782" cy="153888"/>
          </a:xfrm>
        </p:spPr>
        <p:txBody>
          <a:bodyPr wrap="square"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1" name="Footer Placeholder 4">
            <a:extLst>
              <a:ext uri="{FF2B5EF4-FFF2-40B4-BE49-F238E27FC236}">
                <a16:creationId xmlns:a16="http://schemas.microsoft.com/office/drawing/2014/main" id="{34DE172C-87DA-3D2B-97EB-424DA18EDC55}"/>
              </a:ext>
            </a:extLst>
          </p:cNvPr>
          <p:cNvSpPr>
            <a:spLocks noGrp="1"/>
          </p:cNvSpPr>
          <p:nvPr>
            <p:ph type="ftr" sz="quarter" idx="11"/>
          </p:nvPr>
        </p:nvSpPr>
        <p:spPr>
          <a:xfrm>
            <a:off x="609600" y="6567465"/>
            <a:ext cx="2843782"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6" name="Text Placeholder 5">
            <a:extLst>
              <a:ext uri="{FF2B5EF4-FFF2-40B4-BE49-F238E27FC236}">
                <a16:creationId xmlns:a16="http://schemas.microsoft.com/office/drawing/2014/main" id="{22C83E66-FF88-61D6-BC16-4730794EB097}"/>
              </a:ext>
            </a:extLst>
          </p:cNvPr>
          <p:cNvSpPr>
            <a:spLocks noGrp="1"/>
          </p:cNvSpPr>
          <p:nvPr>
            <p:ph type="body" sz="quarter" idx="30"/>
          </p:nvPr>
        </p:nvSpPr>
        <p:spPr>
          <a:xfrm>
            <a:off x="609600" y="2862072"/>
            <a:ext cx="2843213" cy="2139696"/>
          </a:xfrm>
        </p:spPr>
        <p:txBody>
          <a:bodyPr/>
          <a:lstStyle>
            <a:lvl2pPr marL="0" indent="0">
              <a:buNone/>
              <a:defRPr sz="1600"/>
            </a:lvl2pPr>
          </a:lstStyle>
          <a:p>
            <a:pPr lvl="0"/>
            <a:r>
              <a:rPr lang="en-US"/>
              <a:t>Click to edit Master text styles</a:t>
            </a:r>
          </a:p>
        </p:txBody>
      </p:sp>
    </p:spTree>
    <p:extLst>
      <p:ext uri="{BB962C8B-B14F-4D97-AF65-F5344CB8AC3E}">
        <p14:creationId xmlns:p14="http://schemas.microsoft.com/office/powerpoint/2010/main" val="61125564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ata Callouts - Dark 2">
    <p:bg>
      <p:bgPr>
        <a:solidFill>
          <a:schemeClr val="tx2"/>
        </a:solidFill>
        <a:effectLst/>
      </p:bgPr>
    </p:bg>
    <p:spTree>
      <p:nvGrpSpPr>
        <p:cNvPr id="1" name=""/>
        <p:cNvGrpSpPr/>
        <p:nvPr/>
      </p:nvGrpSpPr>
      <p:grpSpPr>
        <a:xfrm>
          <a:off x="0" y="0"/>
          <a:ext cx="0" cy="0"/>
          <a:chOff x="0" y="0"/>
          <a:chExt cx="0" cy="0"/>
        </a:xfrm>
      </p:grpSpPr>
      <p:sp>
        <p:nvSpPr>
          <p:cNvPr id="23" name="Text Placeholder 35">
            <a:extLst>
              <a:ext uri="{FF2B5EF4-FFF2-40B4-BE49-F238E27FC236}">
                <a16:creationId xmlns:a16="http://schemas.microsoft.com/office/drawing/2014/main" id="{0780DDAB-A716-E44B-8B3F-D1AFC69E96B1}"/>
              </a:ext>
            </a:extLst>
          </p:cNvPr>
          <p:cNvSpPr>
            <a:spLocks noGrp="1"/>
          </p:cNvSpPr>
          <p:nvPr>
            <p:ph type="body" sz="quarter" idx="16" hasCustomPrompt="1"/>
          </p:nvPr>
        </p:nvSpPr>
        <p:spPr>
          <a:xfrm>
            <a:off x="4673600" y="884204"/>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7" name="Text Placeholder 35">
            <a:extLst>
              <a:ext uri="{FF2B5EF4-FFF2-40B4-BE49-F238E27FC236}">
                <a16:creationId xmlns:a16="http://schemas.microsoft.com/office/drawing/2014/main" id="{6F975B03-F7CD-D8A4-0E18-19A70027DC31}"/>
              </a:ext>
            </a:extLst>
          </p:cNvPr>
          <p:cNvSpPr>
            <a:spLocks noGrp="1"/>
          </p:cNvSpPr>
          <p:nvPr>
            <p:ph type="body" sz="quarter" idx="17" hasCustomPrompt="1"/>
          </p:nvPr>
        </p:nvSpPr>
        <p:spPr>
          <a:xfrm>
            <a:off x="4673600" y="2804205"/>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8" name="Text Placeholder 35">
            <a:extLst>
              <a:ext uri="{FF2B5EF4-FFF2-40B4-BE49-F238E27FC236}">
                <a16:creationId xmlns:a16="http://schemas.microsoft.com/office/drawing/2014/main" id="{29105BCB-9491-B028-4CDE-AFF15ACE57AD}"/>
              </a:ext>
            </a:extLst>
          </p:cNvPr>
          <p:cNvSpPr>
            <a:spLocks noGrp="1"/>
          </p:cNvSpPr>
          <p:nvPr>
            <p:ph type="body" sz="quarter" idx="18" hasCustomPrompt="1"/>
          </p:nvPr>
        </p:nvSpPr>
        <p:spPr>
          <a:xfrm>
            <a:off x="4673600" y="4724204"/>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9" name="Text Placeholder 35">
            <a:extLst>
              <a:ext uri="{FF2B5EF4-FFF2-40B4-BE49-F238E27FC236}">
                <a16:creationId xmlns:a16="http://schemas.microsoft.com/office/drawing/2014/main" id="{8E051EED-DBA8-D571-CF36-C1A1CDB17435}"/>
              </a:ext>
            </a:extLst>
          </p:cNvPr>
          <p:cNvSpPr>
            <a:spLocks noGrp="1"/>
          </p:cNvSpPr>
          <p:nvPr>
            <p:ph type="body" sz="quarter" idx="19" hasCustomPrompt="1"/>
          </p:nvPr>
        </p:nvSpPr>
        <p:spPr>
          <a:xfrm>
            <a:off x="7558406" y="884204"/>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sp>
        <p:nvSpPr>
          <p:cNvPr id="31" name="Text Placeholder 35">
            <a:extLst>
              <a:ext uri="{FF2B5EF4-FFF2-40B4-BE49-F238E27FC236}">
                <a16:creationId xmlns:a16="http://schemas.microsoft.com/office/drawing/2014/main" id="{EFA2068F-D955-25B7-99A8-9CF50683A4CA}"/>
              </a:ext>
            </a:extLst>
          </p:cNvPr>
          <p:cNvSpPr>
            <a:spLocks noGrp="1"/>
          </p:cNvSpPr>
          <p:nvPr>
            <p:ph type="body" sz="quarter" idx="20" hasCustomPrompt="1"/>
          </p:nvPr>
        </p:nvSpPr>
        <p:spPr>
          <a:xfrm>
            <a:off x="7558406" y="2804884"/>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sp>
        <p:nvSpPr>
          <p:cNvPr id="32" name="Text Placeholder 35">
            <a:extLst>
              <a:ext uri="{FF2B5EF4-FFF2-40B4-BE49-F238E27FC236}">
                <a16:creationId xmlns:a16="http://schemas.microsoft.com/office/drawing/2014/main" id="{F3AAD773-5C24-9AC0-2752-DA13DC958E70}"/>
              </a:ext>
            </a:extLst>
          </p:cNvPr>
          <p:cNvSpPr>
            <a:spLocks noGrp="1"/>
          </p:cNvSpPr>
          <p:nvPr>
            <p:ph type="body" sz="quarter" idx="21" hasCustomPrompt="1"/>
          </p:nvPr>
        </p:nvSpPr>
        <p:spPr>
          <a:xfrm>
            <a:off x="7558406" y="4724883"/>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cxnSp>
        <p:nvCxnSpPr>
          <p:cNvPr id="9" name="Straight Connector 8">
            <a:extLst>
              <a:ext uri="{FF2B5EF4-FFF2-40B4-BE49-F238E27FC236}">
                <a16:creationId xmlns:a16="http://schemas.microsoft.com/office/drawing/2014/main" id="{D047FEEB-518A-8ED4-B190-89AB72E00D7E}"/>
              </a:ext>
            </a:extLst>
          </p:cNvPr>
          <p:cNvCxnSpPr>
            <a:cxnSpLocks/>
          </p:cNvCxnSpPr>
          <p:nvPr/>
        </p:nvCxnSpPr>
        <p:spPr>
          <a:xfrm flipH="1">
            <a:off x="4673600" y="2352036"/>
            <a:ext cx="69088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E536A8F-77E4-2060-8067-D9F8A5BBD7FE}"/>
              </a:ext>
            </a:extLst>
          </p:cNvPr>
          <p:cNvCxnSpPr>
            <a:cxnSpLocks/>
          </p:cNvCxnSpPr>
          <p:nvPr/>
        </p:nvCxnSpPr>
        <p:spPr>
          <a:xfrm flipH="1">
            <a:off x="4673600" y="4272037"/>
            <a:ext cx="69088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077CD39D-FBC2-F67A-6ABF-7388633EE604}"/>
              </a:ext>
            </a:extLst>
          </p:cNvPr>
          <p:cNvSpPr>
            <a:spLocks noGrp="1"/>
          </p:cNvSpPr>
          <p:nvPr>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18" name="Text Placeholder 3">
            <a:extLst>
              <a:ext uri="{FF2B5EF4-FFF2-40B4-BE49-F238E27FC236}">
                <a16:creationId xmlns:a16="http://schemas.microsoft.com/office/drawing/2014/main" id="{2F4A5E10-6528-5317-6FC7-84D246855DA7}"/>
              </a:ext>
            </a:extLst>
          </p:cNvPr>
          <p:cNvSpPr>
            <a:spLocks noGrp="1"/>
          </p:cNvSpPr>
          <p:nvPr>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
        <p:nvSpPr>
          <p:cNvPr id="19" name="Text Placeholder 35">
            <a:extLst>
              <a:ext uri="{FF2B5EF4-FFF2-40B4-BE49-F238E27FC236}">
                <a16:creationId xmlns:a16="http://schemas.microsoft.com/office/drawing/2014/main" id="{1B85DF85-C453-E835-0D48-26D1A5DDD81F}"/>
              </a:ext>
            </a:extLst>
          </p:cNvPr>
          <p:cNvSpPr>
            <a:spLocks noGrp="1"/>
          </p:cNvSpPr>
          <p:nvPr>
            <p:ph type="body" sz="quarter" idx="15" hasCustomPrompt="1"/>
          </p:nvPr>
        </p:nvSpPr>
        <p:spPr>
          <a:xfrm>
            <a:off x="609599" y="2476503"/>
            <a:ext cx="2843783" cy="292608"/>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2" name="Text Placeholder 7">
            <a:extLst>
              <a:ext uri="{FF2B5EF4-FFF2-40B4-BE49-F238E27FC236}">
                <a16:creationId xmlns:a16="http://schemas.microsoft.com/office/drawing/2014/main" id="{4FFAD1B4-2BD9-0113-10B5-AE6570A8774E}"/>
              </a:ext>
            </a:extLst>
          </p:cNvPr>
          <p:cNvSpPr>
            <a:spLocks noGrp="1"/>
          </p:cNvSpPr>
          <p:nvPr>
            <p:ph type="body" sz="quarter" idx="25"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3" name="Date Placeholder 12">
            <a:extLst>
              <a:ext uri="{FF2B5EF4-FFF2-40B4-BE49-F238E27FC236}">
                <a16:creationId xmlns:a16="http://schemas.microsoft.com/office/drawing/2014/main" id="{52A6576F-6CE7-0F44-3DBD-A5056EB97BA4}"/>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21EC9463-8211-4A09-92F6-061FB202B684}" type="datetime4">
              <a:rPr lang="en-US" smtClean="0"/>
              <a:t>May 17, 2025</a:t>
            </a:fld>
            <a:endParaRPr lang="en-US"/>
          </a:p>
        </p:txBody>
      </p:sp>
      <p:sp>
        <p:nvSpPr>
          <p:cNvPr id="4" name="Footer Placeholder 13">
            <a:extLst>
              <a:ext uri="{FF2B5EF4-FFF2-40B4-BE49-F238E27FC236}">
                <a16:creationId xmlns:a16="http://schemas.microsoft.com/office/drawing/2014/main" id="{A200D087-44D9-A485-ACDB-C083442B1568}"/>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a:t>© 2024 Guidehouse</a:t>
            </a:r>
          </a:p>
        </p:txBody>
      </p:sp>
      <p:sp>
        <p:nvSpPr>
          <p:cNvPr id="11" name="Slide Number Placeholder 14">
            <a:extLst>
              <a:ext uri="{FF2B5EF4-FFF2-40B4-BE49-F238E27FC236}">
                <a16:creationId xmlns:a16="http://schemas.microsoft.com/office/drawing/2014/main" id="{27D25F20-E66E-4286-A051-A211725D55FD}"/>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a:p>
        </p:txBody>
      </p:sp>
      <p:pic>
        <p:nvPicPr>
          <p:cNvPr id="12" name="Graphic 11">
            <a:extLst>
              <a:ext uri="{FF2B5EF4-FFF2-40B4-BE49-F238E27FC236}">
                <a16:creationId xmlns:a16="http://schemas.microsoft.com/office/drawing/2014/main" id="{26424F9E-E7F8-5B7C-FFAF-3ADCBD43B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13" name="Straight Connector 12">
            <a:extLst>
              <a:ext uri="{FF2B5EF4-FFF2-40B4-BE49-F238E27FC236}">
                <a16:creationId xmlns:a16="http://schemas.microsoft.com/office/drawing/2014/main" id="{03BB773C-EFC8-8BEA-A798-6903B9FE666D}"/>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97412D3-B7AD-6E8D-AD6D-72684880C9A0}"/>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C421E67-F862-2E50-47D7-635F4FDE0AD7}"/>
              </a:ext>
            </a:extLst>
          </p:cNvPr>
          <p:cNvSpPr>
            <a:spLocks noGrp="1"/>
          </p:cNvSpPr>
          <p:nvPr>
            <p:ph type="body" sz="quarter" idx="29"/>
          </p:nvPr>
        </p:nvSpPr>
        <p:spPr>
          <a:xfrm>
            <a:off x="609600" y="2862072"/>
            <a:ext cx="2843213" cy="2139696"/>
          </a:xfrm>
        </p:spPr>
        <p:txBody>
          <a:bodyPr/>
          <a:lstStyle>
            <a:lvl1pPr marL="0" indent="0">
              <a:buFont typeface="Arial" panose="020B0604020202020204" pitchFamily="34" charset="0"/>
              <a:buNone/>
              <a:defRPr sz="1600">
                <a:solidFill>
                  <a:schemeClr val="bg1"/>
                </a:solidFill>
              </a:defRPr>
            </a:lvl1pPr>
            <a:lvl2pPr marL="0" indent="0">
              <a:buNone/>
              <a:defRPr sz="1600">
                <a:solidFill>
                  <a:schemeClr val="bg1"/>
                </a:solidFill>
              </a:defRPr>
            </a:lvl2pPr>
            <a:lvl3pPr marL="182880" indent="0">
              <a:buNone/>
              <a:defRPr sz="1600">
                <a:solidFill>
                  <a:schemeClr val="bg1"/>
                </a:solidFill>
              </a:defRPr>
            </a:lvl3pPr>
            <a:lvl4pPr marL="365760" indent="0">
              <a:buNone/>
              <a:defRPr sz="1600">
                <a:solidFill>
                  <a:schemeClr val="bg1"/>
                </a:solidFill>
              </a:defRPr>
            </a:lvl4pPr>
            <a:lvl5pPr marL="548640" indent="0">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014530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One-column - Dark">
    <p:bg>
      <p:bgPr>
        <a:solidFill>
          <a:srgbClr val="F3F3F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0A254F-BDD5-C9AF-1DD7-05ACB129B577}"/>
              </a:ext>
            </a:extLst>
          </p:cNvPr>
          <p:cNvSpPr/>
          <p:nvPr/>
        </p:nvSpPr>
        <p:spPr>
          <a:xfrm>
            <a:off x="7019925" y="431800"/>
            <a:ext cx="5172075" cy="59967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486400" cy="553998"/>
          </a:xfrm>
        </p:spPr>
        <p:txBody>
          <a:bodyPr>
            <a:noAutofit/>
          </a:body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4864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486400"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486400" cy="1481328"/>
          </a:xfrm>
        </p:spPr>
        <p:txBody>
          <a:bodyPr anchor="b">
            <a:noAutofit/>
          </a:bodyPr>
          <a:lstStyle>
            <a:lvl1pPr>
              <a:defRPr sz="3200"/>
            </a:lvl1pPr>
          </a:lstStyle>
          <a:p>
            <a:pPr lvl="0"/>
            <a:r>
              <a:rPr lang="en-US"/>
              <a:t>Click to edit Master text styles</a:t>
            </a:r>
          </a:p>
        </p:txBody>
      </p:sp>
      <p:sp>
        <p:nvSpPr>
          <p:cNvPr id="6" name="Date Placeholder 49">
            <a:extLst>
              <a:ext uri="{FF2B5EF4-FFF2-40B4-BE49-F238E27FC236}">
                <a16:creationId xmlns:a16="http://schemas.microsoft.com/office/drawing/2014/main" id="{5F217281-3A4E-E1DA-0ABE-80B7AC4FF1B8}"/>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916DF86A-30B1-4B44-A04E-9B307D9D54ED}" type="datetime4">
              <a:rPr lang="en-US" smtClean="0"/>
              <a:t>May 17, 2025</a:t>
            </a:fld>
            <a:endParaRPr lang="en-US"/>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13" name="Slide Number Placeholder 5">
            <a:extLst>
              <a:ext uri="{FF2B5EF4-FFF2-40B4-BE49-F238E27FC236}">
                <a16:creationId xmlns:a16="http://schemas.microsoft.com/office/drawing/2014/main" id="{44B1F0BD-22AE-6975-1D8F-0E77C97E263B}"/>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pic>
        <p:nvPicPr>
          <p:cNvPr id="5" name="Picture 4">
            <a:extLst>
              <a:ext uri="{FF2B5EF4-FFF2-40B4-BE49-F238E27FC236}">
                <a16:creationId xmlns:a16="http://schemas.microsoft.com/office/drawing/2014/main" id="{815BECC8-7D1B-6FCC-F690-CE812AE63D4C}"/>
              </a:ext>
            </a:extLst>
          </p:cNvPr>
          <p:cNvPicPr/>
          <p:nvPr userDrawn="1"/>
        </p:nvPicPr>
        <p:blipFill>
          <a:blip r:embed="rId2"/>
          <a:stretch>
            <a:fillRect/>
          </a:stretch>
        </p:blipFill>
        <p:spPr>
          <a:xfrm>
            <a:off x="7630516" y="1377621"/>
            <a:ext cx="3950550" cy="4121253"/>
          </a:xfrm>
          <a:prstGeom prst="rect">
            <a:avLst/>
          </a:prstGeom>
        </p:spPr>
      </p:pic>
    </p:spTree>
    <p:extLst>
      <p:ext uri="{BB962C8B-B14F-4D97-AF65-F5344CB8AC3E}">
        <p14:creationId xmlns:p14="http://schemas.microsoft.com/office/powerpoint/2010/main" val="38211726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ne-column - Light">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48640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9B4DFF45-2DB6-69E3-0747-CC4006B44542}"/>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6141C210-892D-24A5-E574-B59C507782C4}"/>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5" name="Date Placeholder 4">
            <a:extLst>
              <a:ext uri="{FF2B5EF4-FFF2-40B4-BE49-F238E27FC236}">
                <a16:creationId xmlns:a16="http://schemas.microsoft.com/office/drawing/2014/main" id="{A84C8C42-24E6-26F9-5E38-271AAD2DC690}"/>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B8C9EC5C-466E-4248-8A44-5AD6DAE3617F}" type="datetime4">
              <a:rPr lang="en-US" smtClean="0"/>
              <a:t>May 17, 2025</a:t>
            </a:fld>
            <a:endParaRPr lang="en-US"/>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4864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486400"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3" name="Text Placeholder 7">
            <a:extLst>
              <a:ext uri="{FF2B5EF4-FFF2-40B4-BE49-F238E27FC236}">
                <a16:creationId xmlns:a16="http://schemas.microsoft.com/office/drawing/2014/main" id="{42D5A6F2-908D-2D67-A69F-7F8AC3E161A6}"/>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486400" cy="1481328"/>
          </a:xfrm>
        </p:spPr>
        <p:txBody>
          <a:bodyPr anchor="b">
            <a:noAutofit/>
          </a:bodyPr>
          <a:lstStyle>
            <a:lvl1pPr>
              <a:defRPr sz="3200"/>
            </a:lvl1pPr>
          </a:lstStyle>
          <a:p>
            <a:pPr lvl="0"/>
            <a:r>
              <a:rPr lang="en-US"/>
              <a:t>Click to edit Master text styles</a:t>
            </a:r>
          </a:p>
        </p:txBody>
      </p:sp>
      <p:pic>
        <p:nvPicPr>
          <p:cNvPr id="40" name="Picture 39">
            <a:extLst>
              <a:ext uri="{FF2B5EF4-FFF2-40B4-BE49-F238E27FC236}">
                <a16:creationId xmlns:a16="http://schemas.microsoft.com/office/drawing/2014/main" id="{32E9A54D-899E-AB52-26FF-B640B41CD336}"/>
              </a:ext>
            </a:extLst>
          </p:cNvPr>
          <p:cNvPicPr/>
          <p:nvPr userDrawn="1"/>
        </p:nvPicPr>
        <p:blipFill>
          <a:blip r:embed="rId2"/>
          <a:stretch>
            <a:fillRect/>
          </a:stretch>
        </p:blipFill>
        <p:spPr>
          <a:xfrm>
            <a:off x="7629672" y="1419268"/>
            <a:ext cx="3950550" cy="4048095"/>
          </a:xfrm>
          <a:prstGeom prst="rect">
            <a:avLst/>
          </a:prstGeom>
        </p:spPr>
      </p:pic>
    </p:spTree>
    <p:extLst>
      <p:ext uri="{BB962C8B-B14F-4D97-AF65-F5344CB8AC3E}">
        <p14:creationId xmlns:p14="http://schemas.microsoft.com/office/powerpoint/2010/main" val="27612873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One-column + Image - Light">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978524" cy="553998"/>
          </a:xfrm>
        </p:spPr>
        <p:txBody>
          <a:bodyPr>
            <a:noAutofit/>
          </a:body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978524" cy="307777"/>
          </a:xfrm>
        </p:spPr>
        <p:txBody>
          <a:bodyPr wrap="square">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978524"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978524" cy="1481328"/>
          </a:xfrm>
        </p:spPr>
        <p:txBody>
          <a:bodyPr anchor="b">
            <a:noAutofit/>
          </a:bodyPr>
          <a:lstStyle>
            <a:lvl1pPr>
              <a:defRPr sz="3200"/>
            </a:lvl1pPr>
          </a:lstStyle>
          <a:p>
            <a:pPr lvl="0"/>
            <a:r>
              <a:rPr lang="en-US"/>
              <a:t>Click to edit Master text styles</a:t>
            </a:r>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7197724" y="0"/>
            <a:ext cx="4994276" cy="6858000"/>
          </a:xfrm>
          <a:solidFill>
            <a:schemeClr val="bg1">
              <a:lumMod val="75000"/>
            </a:schemeClr>
          </a:solidFill>
        </p:spPr>
        <p:txBody>
          <a:bodyPr anchor="ctr"/>
          <a:lstStyle>
            <a:lvl1pPr algn="ctr">
              <a:defRPr sz="1000" b="0"/>
            </a:lvl1pPr>
          </a:lstStyle>
          <a:p>
            <a:r>
              <a:rPr lang="en-US"/>
              <a:t>Insert Photo</a:t>
            </a:r>
          </a:p>
        </p:txBody>
      </p:sp>
    </p:spTree>
    <p:extLst>
      <p:ext uri="{BB962C8B-B14F-4D97-AF65-F5344CB8AC3E}">
        <p14:creationId xmlns:p14="http://schemas.microsoft.com/office/powerpoint/2010/main" val="2574703316"/>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One-column + Image - Light">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5603874" y="800754"/>
            <a:ext cx="5978525" cy="553998"/>
          </a:xfrm>
        </p:spPr>
        <p:txBody>
          <a:bodyPr>
            <a:noAutofit/>
          </a:body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5603874" y="1371912"/>
            <a:ext cx="5978525" cy="307777"/>
          </a:xfrm>
        </p:spPr>
        <p:txBody>
          <a:bodyPr wrap="square">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5603875" y="4225518"/>
            <a:ext cx="5978525"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5603875" y="2111664"/>
            <a:ext cx="5978525" cy="1481328"/>
          </a:xfrm>
        </p:spPr>
        <p:txBody>
          <a:bodyPr anchor="b">
            <a:noAutofit/>
          </a:bodyPr>
          <a:lstStyle>
            <a:lvl1pPr>
              <a:defRPr sz="3200"/>
            </a:lvl1pPr>
          </a:lstStyle>
          <a:p>
            <a:pPr lvl="0"/>
            <a:r>
              <a:rPr lang="en-US"/>
              <a:t>Click to edit Master text styles</a:t>
            </a:r>
          </a:p>
        </p:txBody>
      </p: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0" y="0"/>
            <a:ext cx="4994272" cy="6858000"/>
          </a:xfrm>
          <a:solidFill>
            <a:schemeClr val="bg1">
              <a:lumMod val="75000"/>
            </a:schemeClr>
          </a:solidFill>
        </p:spPr>
        <p:txBody>
          <a:bodyPr anchor="ctr"/>
          <a:lstStyle>
            <a:lvl1pPr algn="ctr">
              <a:defRPr sz="1000" b="0"/>
            </a:lvl1pPr>
          </a:lstStyle>
          <a:p>
            <a:r>
              <a:rPr lang="en-US"/>
              <a:t>Insert Photo</a:t>
            </a:r>
          </a:p>
        </p:txBody>
      </p:sp>
      <p:sp>
        <p:nvSpPr>
          <p:cNvPr id="4" name="Date Placeholder 49">
            <a:extLst>
              <a:ext uri="{FF2B5EF4-FFF2-40B4-BE49-F238E27FC236}">
                <a16:creationId xmlns:a16="http://schemas.microsoft.com/office/drawing/2014/main" id="{EAE3F246-F4BA-D296-9A9E-F72A3B7D2B97}"/>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10FA273E-61F0-4C9C-BD24-C2959672C88E}" type="datetime4">
              <a:rPr lang="en-US" smtClean="0"/>
              <a:t>May 17, 2025</a:t>
            </a:fld>
            <a:endParaRPr lang="en-US"/>
          </a:p>
        </p:txBody>
      </p:sp>
      <p:sp>
        <p:nvSpPr>
          <p:cNvPr id="5" name="Slide Number Placeholder 3">
            <a:extLst>
              <a:ext uri="{FF2B5EF4-FFF2-40B4-BE49-F238E27FC236}">
                <a16:creationId xmlns:a16="http://schemas.microsoft.com/office/drawing/2014/main" id="{42050F09-2097-9548-BAAE-6D4AC254B2C0}"/>
              </a:ext>
            </a:extLst>
          </p:cNvPr>
          <p:cNvSpPr>
            <a:spLocks noGrp="1"/>
          </p:cNvSpPr>
          <p:nvPr>
            <p:ph type="sldNum" sz="quarter" idx="3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Tree>
    <p:extLst>
      <p:ext uri="{BB962C8B-B14F-4D97-AF65-F5344CB8AC3E}">
        <p14:creationId xmlns:p14="http://schemas.microsoft.com/office/powerpoint/2010/main" val="133250981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2_One-column + Image - Dark">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978524" cy="553998"/>
          </a:xfrm>
        </p:spPr>
        <p:txBody>
          <a:bodyPr>
            <a:noAutofit/>
          </a:bodyPr>
          <a:lstStyle>
            <a:lvl1pPr>
              <a:defRPr>
                <a:solidFill>
                  <a:schemeClr val="bg1"/>
                </a:solidFill>
              </a:defRPr>
            </a:lvl1p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978524" cy="307777"/>
          </a:xfrm>
        </p:spPr>
        <p:txBody>
          <a:bodyPr wrap="square">
            <a:noAutofit/>
          </a:bodyPr>
          <a:lstStyle>
            <a:lvl1pPr>
              <a:defRPr>
                <a:solidFill>
                  <a:schemeClr val="bg1"/>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978524" cy="1389888"/>
          </a:xfrm>
        </p:spPr>
        <p:txBody>
          <a:bodyPr>
            <a:noAutofit/>
          </a:bodyPr>
          <a:lstStyle>
            <a:lvl1pPr>
              <a:defRPr sz="1800">
                <a:solidFill>
                  <a:schemeClr val="bg1"/>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978524" cy="1481328"/>
          </a:xfrm>
        </p:spPr>
        <p:txBody>
          <a:bodyPr anchor="b">
            <a:noAutofit/>
          </a:bodyPr>
          <a:lstStyle>
            <a:lvl1pPr>
              <a:defRPr sz="3200">
                <a:solidFill>
                  <a:schemeClr val="bg1"/>
                </a:solidFill>
              </a:defRPr>
            </a:lvl1pPr>
          </a:lstStyle>
          <a:p>
            <a:pPr lvl="0"/>
            <a:r>
              <a:rPr lang="en-US"/>
              <a:t>Click to edit Master text styles</a:t>
            </a:r>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bg1">
                    <a:lumMod val="65000"/>
                  </a:schemeClr>
                </a:solidFill>
              </a:defRPr>
            </a:lvl1pPr>
          </a:lstStyle>
          <a:p>
            <a:r>
              <a:rPr lang="en-US"/>
              <a:t>© 2024 Guidehouse</a:t>
            </a:r>
          </a:p>
        </p:txBody>
      </p:sp>
      <p:pic>
        <p:nvPicPr>
          <p:cNvPr id="4" name="Graphic 3">
            <a:extLst>
              <a:ext uri="{FF2B5EF4-FFF2-40B4-BE49-F238E27FC236}">
                <a16:creationId xmlns:a16="http://schemas.microsoft.com/office/drawing/2014/main" id="{2E38C83F-FE77-B0B1-618B-39EACC5CBE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6" name="Straight Connector 5">
            <a:extLst>
              <a:ext uri="{FF2B5EF4-FFF2-40B4-BE49-F238E27FC236}">
                <a16:creationId xmlns:a16="http://schemas.microsoft.com/office/drawing/2014/main" id="{1DCBA5D9-BC1F-6EFF-E8A4-8986DCEC862B}"/>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592204-2F9A-346C-21BD-84790B6413BA}"/>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7197724" y="0"/>
            <a:ext cx="4994276" cy="6858000"/>
          </a:xfrm>
          <a:solidFill>
            <a:schemeClr val="bg1">
              <a:lumMod val="75000"/>
            </a:schemeClr>
          </a:solidFill>
        </p:spPr>
        <p:txBody>
          <a:bodyPr anchor="ctr"/>
          <a:lstStyle>
            <a:lvl1pPr algn="ctr">
              <a:defRPr sz="1000" b="0"/>
            </a:lvl1pPr>
          </a:lstStyle>
          <a:p>
            <a:r>
              <a:rPr lang="en-US"/>
              <a:t>Insert Photo</a:t>
            </a:r>
          </a:p>
        </p:txBody>
      </p:sp>
    </p:spTree>
    <p:extLst>
      <p:ext uri="{BB962C8B-B14F-4D97-AF65-F5344CB8AC3E}">
        <p14:creationId xmlns:p14="http://schemas.microsoft.com/office/powerpoint/2010/main" val="46287059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3_One-column + Image - Dark">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5603875" y="800754"/>
            <a:ext cx="5986144" cy="553998"/>
          </a:xfrm>
        </p:spPr>
        <p:txBody>
          <a:bodyPr>
            <a:noAutofit/>
          </a:bodyPr>
          <a:lstStyle>
            <a:lvl1pPr>
              <a:defRPr>
                <a:solidFill>
                  <a:schemeClr val="bg1"/>
                </a:solidFill>
              </a:defRPr>
            </a:lvl1p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5603875" y="1371912"/>
            <a:ext cx="5986144" cy="307777"/>
          </a:xfrm>
        </p:spPr>
        <p:txBody>
          <a:bodyPr wrap="square">
            <a:noAutofit/>
          </a:bodyPr>
          <a:lstStyle>
            <a:lvl1pPr>
              <a:defRPr>
                <a:solidFill>
                  <a:schemeClr val="bg1"/>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5603876" y="4225518"/>
            <a:ext cx="5986144" cy="1389888"/>
          </a:xfrm>
        </p:spPr>
        <p:txBody>
          <a:bodyPr>
            <a:noAutofit/>
          </a:bodyPr>
          <a:lstStyle>
            <a:lvl1pPr>
              <a:defRPr sz="1800">
                <a:solidFill>
                  <a:schemeClr val="bg1"/>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5603876" y="2111664"/>
            <a:ext cx="5986144" cy="1481328"/>
          </a:xfrm>
        </p:spPr>
        <p:txBody>
          <a:bodyPr anchor="b">
            <a:noAutofit/>
          </a:bodyPr>
          <a:lstStyle>
            <a:lvl1pPr>
              <a:defRPr sz="3200">
                <a:solidFill>
                  <a:schemeClr val="bg1"/>
                </a:solidFill>
              </a:defRPr>
            </a:lvl1pPr>
          </a:lstStyle>
          <a:p>
            <a:pPr lvl="0"/>
            <a:r>
              <a:rPr lang="en-US"/>
              <a:t>Click to edit Master text styles</a:t>
            </a:r>
          </a:p>
        </p:txBody>
      </p:sp>
      <p:pic>
        <p:nvPicPr>
          <p:cNvPr id="4" name="Graphic 3">
            <a:extLst>
              <a:ext uri="{FF2B5EF4-FFF2-40B4-BE49-F238E27FC236}">
                <a16:creationId xmlns:a16="http://schemas.microsoft.com/office/drawing/2014/main" id="{2E38C83F-FE77-B0B1-618B-39EACC5CBE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6" name="Straight Connector 5">
            <a:extLst>
              <a:ext uri="{FF2B5EF4-FFF2-40B4-BE49-F238E27FC236}">
                <a16:creationId xmlns:a16="http://schemas.microsoft.com/office/drawing/2014/main" id="{1DCBA5D9-BC1F-6EFF-E8A4-8986DCEC862B}"/>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592204-2F9A-346C-21BD-84790B6413BA}"/>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0" y="0"/>
            <a:ext cx="4994274" cy="6858000"/>
          </a:xfrm>
          <a:solidFill>
            <a:schemeClr val="bg1">
              <a:lumMod val="75000"/>
            </a:schemeClr>
          </a:solidFill>
        </p:spPr>
        <p:txBody>
          <a:bodyPr anchor="ctr"/>
          <a:lstStyle>
            <a:lvl1pPr algn="ctr">
              <a:defRPr sz="1000" b="0"/>
            </a:lvl1pPr>
          </a:lstStyle>
          <a:p>
            <a:r>
              <a:rPr lang="en-US"/>
              <a:t>Insert Photo</a:t>
            </a:r>
          </a:p>
        </p:txBody>
      </p:sp>
      <p:sp>
        <p:nvSpPr>
          <p:cNvPr id="5" name="Date Placeholder 12">
            <a:extLst>
              <a:ext uri="{FF2B5EF4-FFF2-40B4-BE49-F238E27FC236}">
                <a16:creationId xmlns:a16="http://schemas.microsoft.com/office/drawing/2014/main" id="{F9CCB3FD-099F-8950-BA2E-03EDE47757CD}"/>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60834FE0-6810-4852-ABA9-A12629BD71E8}" type="datetime4">
              <a:rPr lang="en-US" smtClean="0"/>
              <a:t>May 17, 2025</a:t>
            </a:fld>
            <a:endParaRPr lang="en-US"/>
          </a:p>
        </p:txBody>
      </p:sp>
      <p:sp>
        <p:nvSpPr>
          <p:cNvPr id="13" name="Slide Number Placeholder 14">
            <a:extLst>
              <a:ext uri="{FF2B5EF4-FFF2-40B4-BE49-F238E27FC236}">
                <a16:creationId xmlns:a16="http://schemas.microsoft.com/office/drawing/2014/main" id="{939BDB0E-7404-3E9E-E16A-F935BB2D2E92}"/>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a:p>
        </p:txBody>
      </p:sp>
    </p:spTree>
    <p:extLst>
      <p:ext uri="{BB962C8B-B14F-4D97-AF65-F5344CB8AC3E}">
        <p14:creationId xmlns:p14="http://schemas.microsoft.com/office/powerpoint/2010/main" val="36140301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column">
    <p:bg>
      <p:bgPr>
        <a:solidFill>
          <a:srgbClr val="F3F3F3"/>
        </a:solidFill>
        <a:effectLst/>
      </p:bgPr>
    </p:bg>
    <p:spTree>
      <p:nvGrpSpPr>
        <p:cNvPr id="1" name=""/>
        <p:cNvGrpSpPr/>
        <p:nvPr/>
      </p:nvGrpSpPr>
      <p:grpSpPr>
        <a:xfrm>
          <a:off x="0" y="0"/>
          <a:ext cx="0" cy="0"/>
          <a:chOff x="0" y="0"/>
          <a:chExt cx="0" cy="0"/>
        </a:xfrm>
      </p:grpSpPr>
      <p:sp>
        <p:nvSpPr>
          <p:cNvPr id="12" name="Picture Placeholder 44">
            <a:extLst>
              <a:ext uri="{FF2B5EF4-FFF2-40B4-BE49-F238E27FC236}">
                <a16:creationId xmlns:a16="http://schemas.microsoft.com/office/drawing/2014/main" id="{731DA744-1DEE-2501-A42E-C2E0191A1F5C}"/>
              </a:ext>
            </a:extLst>
          </p:cNvPr>
          <p:cNvSpPr>
            <a:spLocks noGrp="1"/>
          </p:cNvSpPr>
          <p:nvPr>
            <p:ph type="pic" sz="quarter" idx="29"/>
          </p:nvPr>
        </p:nvSpPr>
        <p:spPr>
          <a:xfrm>
            <a:off x="577701" y="1992598"/>
            <a:ext cx="521208" cy="521208"/>
          </a:xfrm>
          <a:noFill/>
        </p:spPr>
        <p:txBody>
          <a:bodyPr/>
          <a:lstStyle>
            <a:lvl1pPr>
              <a:defRPr sz="1100"/>
            </a:lvl1pPr>
          </a:lstStyle>
          <a:p>
            <a:r>
              <a:rPr lang="en-US"/>
              <a:t>Click icon to add picture</a:t>
            </a:r>
          </a:p>
        </p:txBody>
      </p:sp>
      <p:sp>
        <p:nvSpPr>
          <p:cNvPr id="13" name="Picture Placeholder 44">
            <a:extLst>
              <a:ext uri="{FF2B5EF4-FFF2-40B4-BE49-F238E27FC236}">
                <a16:creationId xmlns:a16="http://schemas.microsoft.com/office/drawing/2014/main" id="{19BC14CE-CCB2-79A2-11D9-159C8593E990}"/>
              </a:ext>
            </a:extLst>
          </p:cNvPr>
          <p:cNvSpPr>
            <a:spLocks noGrp="1"/>
          </p:cNvSpPr>
          <p:nvPr>
            <p:ph type="pic" sz="quarter" idx="36"/>
          </p:nvPr>
        </p:nvSpPr>
        <p:spPr>
          <a:xfrm>
            <a:off x="6510668" y="1992598"/>
            <a:ext cx="521208" cy="521208"/>
          </a:xfrm>
          <a:noFill/>
        </p:spPr>
        <p:txBody>
          <a:bodyPr/>
          <a:lstStyle>
            <a:lvl1pPr>
              <a:defRPr sz="1100"/>
            </a:lvl1pPr>
          </a:lstStyle>
          <a:p>
            <a:r>
              <a:rPr lang="en-US"/>
              <a:t>Click icon to add picture</a:t>
            </a:r>
          </a:p>
        </p:txBody>
      </p:sp>
      <p:sp>
        <p:nvSpPr>
          <p:cNvPr id="2" name="Title 1">
            <a:extLst>
              <a:ext uri="{FF2B5EF4-FFF2-40B4-BE49-F238E27FC236}">
                <a16:creationId xmlns:a16="http://schemas.microsoft.com/office/drawing/2014/main" id="{A2E17896-30F6-FC7D-2FDC-B08B42A37007}"/>
              </a:ext>
            </a:extLst>
          </p:cNvPr>
          <p:cNvSpPr>
            <a:spLocks noGrp="1"/>
          </p:cNvSpPr>
          <p:nvPr>
            <p:ph type="title"/>
          </p:nvPr>
        </p:nvSpPr>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D46FEE47-0D8C-10E2-E380-268C0F614F0E}"/>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EB4A29D8-E2A7-4760-696D-BA510B3288B3}"/>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5" name="Date Placeholder 4">
            <a:extLst>
              <a:ext uri="{FF2B5EF4-FFF2-40B4-BE49-F238E27FC236}">
                <a16:creationId xmlns:a16="http://schemas.microsoft.com/office/drawing/2014/main" id="{80D5025F-0C14-FCA7-8BC6-FC398093DACB}"/>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895E1F94-52C5-4023-B100-78DBF9BF45C5}" type="datetime4">
              <a:rPr lang="en-US" smtClean="0"/>
              <a:t>May 17, 2025</a:t>
            </a:fld>
            <a:endParaRPr lang="en-US"/>
          </a:p>
        </p:txBody>
      </p:sp>
      <p:sp>
        <p:nvSpPr>
          <p:cNvPr id="18" name="Text Placeholder 3">
            <a:extLst>
              <a:ext uri="{FF2B5EF4-FFF2-40B4-BE49-F238E27FC236}">
                <a16:creationId xmlns:a16="http://schemas.microsoft.com/office/drawing/2014/main" id="{D46404F1-817B-B4C5-A2D8-0EA4F8F6B9C1}"/>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19" name="Text Placeholder 7">
            <a:extLst>
              <a:ext uri="{FF2B5EF4-FFF2-40B4-BE49-F238E27FC236}">
                <a16:creationId xmlns:a16="http://schemas.microsoft.com/office/drawing/2014/main" id="{76E1075F-48DF-8680-82D4-28A2AB5E975E}"/>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1" name="Text Placeholder 46">
            <a:extLst>
              <a:ext uri="{FF2B5EF4-FFF2-40B4-BE49-F238E27FC236}">
                <a16:creationId xmlns:a16="http://schemas.microsoft.com/office/drawing/2014/main" id="{D06C7405-BD90-5CFE-376E-9A501B188D09}"/>
              </a:ext>
            </a:extLst>
          </p:cNvPr>
          <p:cNvSpPr>
            <a:spLocks noGrp="1"/>
          </p:cNvSpPr>
          <p:nvPr>
            <p:ph type="body" sz="quarter" idx="30" hasCustomPrompt="1"/>
          </p:nvPr>
        </p:nvSpPr>
        <p:spPr>
          <a:xfrm>
            <a:off x="609600" y="2715854"/>
            <a:ext cx="5029200" cy="1289304"/>
          </a:xfrm>
        </p:spPr>
        <p:txBody>
          <a:bodyPr anchor="b">
            <a:noAutofit/>
          </a:bodyPr>
          <a:lstStyle>
            <a:lvl1pPr>
              <a:defRPr sz="2800"/>
            </a:lvl1pPr>
          </a:lstStyle>
          <a:p>
            <a:pPr lvl="0"/>
            <a:r>
              <a:rPr lang="en-US"/>
              <a:t>Click to edit </a:t>
            </a:r>
            <a:br>
              <a:rPr lang="en-US"/>
            </a:br>
            <a:r>
              <a:rPr lang="en-US"/>
              <a:t>Master text styles</a:t>
            </a:r>
          </a:p>
        </p:txBody>
      </p:sp>
      <p:sp>
        <p:nvSpPr>
          <p:cNvPr id="25" name="Text Placeholder 24">
            <a:extLst>
              <a:ext uri="{FF2B5EF4-FFF2-40B4-BE49-F238E27FC236}">
                <a16:creationId xmlns:a16="http://schemas.microsoft.com/office/drawing/2014/main" id="{F2DAA9A1-270F-18D4-0C67-FA0B17504AB3}"/>
              </a:ext>
            </a:extLst>
          </p:cNvPr>
          <p:cNvSpPr>
            <a:spLocks noGrp="1"/>
          </p:cNvSpPr>
          <p:nvPr>
            <p:ph type="body" sz="quarter" idx="33"/>
          </p:nvPr>
        </p:nvSpPr>
        <p:spPr>
          <a:xfrm>
            <a:off x="609600" y="4515696"/>
            <a:ext cx="5029200" cy="987552"/>
          </a:xfrm>
        </p:spPr>
        <p:txBody>
          <a:bodyPr>
            <a:noAutofit/>
          </a:bodyPr>
          <a:lstStyle>
            <a:lvl1pPr>
              <a:defRPr sz="1600"/>
            </a:lvl1pPr>
          </a:lstStyle>
          <a:p>
            <a:pPr lvl="0"/>
            <a:r>
              <a:rPr lang="en-US"/>
              <a:t>Click to edit Master text styles</a:t>
            </a:r>
          </a:p>
        </p:txBody>
      </p:sp>
      <p:sp>
        <p:nvSpPr>
          <p:cNvPr id="26" name="Text Placeholder 24">
            <a:extLst>
              <a:ext uri="{FF2B5EF4-FFF2-40B4-BE49-F238E27FC236}">
                <a16:creationId xmlns:a16="http://schemas.microsoft.com/office/drawing/2014/main" id="{3156739F-9BE8-571A-60C4-8A5C113558E8}"/>
              </a:ext>
            </a:extLst>
          </p:cNvPr>
          <p:cNvSpPr>
            <a:spLocks noGrp="1"/>
          </p:cNvSpPr>
          <p:nvPr>
            <p:ph type="body" sz="quarter" idx="34"/>
          </p:nvPr>
        </p:nvSpPr>
        <p:spPr>
          <a:xfrm>
            <a:off x="6553200" y="4515696"/>
            <a:ext cx="5029200" cy="987552"/>
          </a:xfrm>
        </p:spPr>
        <p:txBody>
          <a:bodyPr>
            <a:noAutofit/>
          </a:bodyPr>
          <a:lstStyle>
            <a:lvl1pPr>
              <a:defRPr sz="1600"/>
            </a:lvl1pPr>
          </a:lstStyle>
          <a:p>
            <a:pPr lvl="0"/>
            <a:r>
              <a:rPr lang="en-US"/>
              <a:t>Click to edit Master text styles</a:t>
            </a:r>
          </a:p>
        </p:txBody>
      </p:sp>
      <p:sp>
        <p:nvSpPr>
          <p:cNvPr id="27" name="Text Placeholder 46">
            <a:extLst>
              <a:ext uri="{FF2B5EF4-FFF2-40B4-BE49-F238E27FC236}">
                <a16:creationId xmlns:a16="http://schemas.microsoft.com/office/drawing/2014/main" id="{09AFE9A2-0ECF-A163-6A84-0E25CBC3D40A}"/>
              </a:ext>
            </a:extLst>
          </p:cNvPr>
          <p:cNvSpPr>
            <a:spLocks noGrp="1"/>
          </p:cNvSpPr>
          <p:nvPr>
            <p:ph type="body" sz="quarter" idx="35" hasCustomPrompt="1"/>
          </p:nvPr>
        </p:nvSpPr>
        <p:spPr>
          <a:xfrm>
            <a:off x="6553200" y="2715854"/>
            <a:ext cx="5029200" cy="1289304"/>
          </a:xfrm>
        </p:spPr>
        <p:txBody>
          <a:bodyPr anchor="b">
            <a:noAutofit/>
          </a:bodyPr>
          <a:lstStyle>
            <a:lvl1pPr>
              <a:defRPr sz="2800"/>
            </a:lvl1pPr>
          </a:lstStyle>
          <a:p>
            <a:pPr lvl="0"/>
            <a:r>
              <a:rPr lang="en-US"/>
              <a:t>Click to edit </a:t>
            </a:r>
            <a:br>
              <a:rPr lang="en-US"/>
            </a:br>
            <a:r>
              <a:rPr lang="en-US"/>
              <a:t>Master text styles</a:t>
            </a:r>
          </a:p>
        </p:txBody>
      </p:sp>
    </p:spTree>
    <p:extLst>
      <p:ext uri="{BB962C8B-B14F-4D97-AF65-F5344CB8AC3E}">
        <p14:creationId xmlns:p14="http://schemas.microsoft.com/office/powerpoint/2010/main" val="251197174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column">
    <p:bg>
      <p:bgPr>
        <a:solidFill>
          <a:srgbClr val="F3F3F3"/>
        </a:solidFill>
        <a:effectLst/>
      </p:bgPr>
    </p:bg>
    <p:spTree>
      <p:nvGrpSpPr>
        <p:cNvPr id="1" name=""/>
        <p:cNvGrpSpPr/>
        <p:nvPr/>
      </p:nvGrpSpPr>
      <p:grpSpPr>
        <a:xfrm>
          <a:off x="0" y="0"/>
          <a:ext cx="0" cy="0"/>
          <a:chOff x="0" y="0"/>
          <a:chExt cx="0" cy="0"/>
        </a:xfrm>
      </p:grpSpPr>
      <p:sp>
        <p:nvSpPr>
          <p:cNvPr id="22" name="Picture Placeholder 44">
            <a:extLst>
              <a:ext uri="{FF2B5EF4-FFF2-40B4-BE49-F238E27FC236}">
                <a16:creationId xmlns:a16="http://schemas.microsoft.com/office/drawing/2014/main" id="{9B92BB0C-06A1-B7EC-9ED0-D272996F08E1}"/>
              </a:ext>
            </a:extLst>
          </p:cNvPr>
          <p:cNvSpPr>
            <a:spLocks noGrp="1"/>
          </p:cNvSpPr>
          <p:nvPr>
            <p:ph type="pic" sz="quarter" idx="35"/>
          </p:nvPr>
        </p:nvSpPr>
        <p:spPr>
          <a:xfrm>
            <a:off x="567068" y="1992598"/>
            <a:ext cx="521208" cy="521208"/>
          </a:xfrm>
          <a:noFill/>
        </p:spPr>
        <p:txBody>
          <a:bodyPr/>
          <a:lstStyle>
            <a:lvl1pPr>
              <a:defRPr sz="1100"/>
            </a:lvl1pPr>
          </a:lstStyle>
          <a:p>
            <a:r>
              <a:rPr lang="en-US"/>
              <a:t>Click icon to add picture</a:t>
            </a:r>
          </a:p>
        </p:txBody>
      </p:sp>
      <p:sp>
        <p:nvSpPr>
          <p:cNvPr id="28" name="Picture Placeholder 44">
            <a:extLst>
              <a:ext uri="{FF2B5EF4-FFF2-40B4-BE49-F238E27FC236}">
                <a16:creationId xmlns:a16="http://schemas.microsoft.com/office/drawing/2014/main" id="{CBDA006F-0322-06FE-CC00-072AFCB20129}"/>
              </a:ext>
            </a:extLst>
          </p:cNvPr>
          <p:cNvSpPr>
            <a:spLocks noGrp="1"/>
          </p:cNvSpPr>
          <p:nvPr>
            <p:ph type="pic" sz="quarter" idx="36"/>
          </p:nvPr>
        </p:nvSpPr>
        <p:spPr>
          <a:xfrm>
            <a:off x="8477697" y="1992598"/>
            <a:ext cx="521208" cy="521208"/>
          </a:xfrm>
          <a:noFill/>
        </p:spPr>
        <p:txBody>
          <a:bodyPr/>
          <a:lstStyle>
            <a:lvl1pPr>
              <a:defRPr sz="1100"/>
            </a:lvl1pPr>
          </a:lstStyle>
          <a:p>
            <a:r>
              <a:rPr lang="en-US"/>
              <a:t>Click icon to add picture</a:t>
            </a:r>
          </a:p>
        </p:txBody>
      </p:sp>
      <p:sp>
        <p:nvSpPr>
          <p:cNvPr id="29" name="Picture Placeholder 44">
            <a:extLst>
              <a:ext uri="{FF2B5EF4-FFF2-40B4-BE49-F238E27FC236}">
                <a16:creationId xmlns:a16="http://schemas.microsoft.com/office/drawing/2014/main" id="{5D3C83FF-F9BE-5ACE-923A-191F644A4B81}"/>
              </a:ext>
            </a:extLst>
          </p:cNvPr>
          <p:cNvSpPr>
            <a:spLocks noGrp="1"/>
          </p:cNvSpPr>
          <p:nvPr>
            <p:ph type="pic" sz="quarter" idx="37"/>
          </p:nvPr>
        </p:nvSpPr>
        <p:spPr>
          <a:xfrm>
            <a:off x="4501115" y="1992598"/>
            <a:ext cx="521208" cy="521208"/>
          </a:xfrm>
          <a:noFill/>
        </p:spPr>
        <p:txBody>
          <a:bodyPr/>
          <a:lstStyle>
            <a:lvl1pPr>
              <a:defRPr sz="1100"/>
            </a:lvl1pPr>
          </a:lstStyle>
          <a:p>
            <a:r>
              <a:rPr lang="en-US"/>
              <a:t>Click icon to add picture</a:t>
            </a:r>
          </a:p>
        </p:txBody>
      </p:sp>
      <p:sp>
        <p:nvSpPr>
          <p:cNvPr id="2" name="Title 1">
            <a:extLst>
              <a:ext uri="{FF2B5EF4-FFF2-40B4-BE49-F238E27FC236}">
                <a16:creationId xmlns:a16="http://schemas.microsoft.com/office/drawing/2014/main" id="{2424CD20-5516-7DC5-C33D-FEC81A57BF0E}"/>
              </a:ext>
            </a:extLst>
          </p:cNvPr>
          <p:cNvSpPr>
            <a:spLocks noGrp="1"/>
          </p:cNvSpPr>
          <p:nvPr>
            <p:ph type="title"/>
          </p:nvPr>
        </p:nvSpPr>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476B3B0D-3559-99F8-077B-940302BF51AF}"/>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32710ACD-357C-D3F8-AFC4-B9909D8E326C}"/>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5" name="Date Placeholder 4">
            <a:extLst>
              <a:ext uri="{FF2B5EF4-FFF2-40B4-BE49-F238E27FC236}">
                <a16:creationId xmlns:a16="http://schemas.microsoft.com/office/drawing/2014/main" id="{2FCF0CAB-4713-83C7-28F8-0DB75DB26EBF}"/>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085E7157-9A69-4C00-8DC2-A825B4264B10}" type="datetime4">
              <a:rPr lang="en-US" smtClean="0"/>
              <a:t>May 17, 2025</a:t>
            </a:fld>
            <a:endParaRPr lang="en-US"/>
          </a:p>
        </p:txBody>
      </p:sp>
      <p:sp>
        <p:nvSpPr>
          <p:cNvPr id="18" name="Text Placeholder 3">
            <a:extLst>
              <a:ext uri="{FF2B5EF4-FFF2-40B4-BE49-F238E27FC236}">
                <a16:creationId xmlns:a16="http://schemas.microsoft.com/office/drawing/2014/main" id="{CFF9B5B2-AFF3-F577-FA6F-C489CB3AA65F}"/>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19" name="Text Placeholder 7">
            <a:extLst>
              <a:ext uri="{FF2B5EF4-FFF2-40B4-BE49-F238E27FC236}">
                <a16:creationId xmlns:a16="http://schemas.microsoft.com/office/drawing/2014/main" id="{C93F1CC1-A1A5-8BDC-DE12-111548DAB9BC}"/>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1" name="Text Placeholder 20">
            <a:extLst>
              <a:ext uri="{FF2B5EF4-FFF2-40B4-BE49-F238E27FC236}">
                <a16:creationId xmlns:a16="http://schemas.microsoft.com/office/drawing/2014/main" id="{D194AD06-F4DA-BD6D-FAFC-B444C31568F5}"/>
              </a:ext>
            </a:extLst>
          </p:cNvPr>
          <p:cNvSpPr>
            <a:spLocks noGrp="1"/>
          </p:cNvSpPr>
          <p:nvPr>
            <p:ph type="body" sz="quarter" idx="29"/>
          </p:nvPr>
        </p:nvSpPr>
        <p:spPr>
          <a:xfrm>
            <a:off x="608584" y="2748438"/>
            <a:ext cx="3099816" cy="923544"/>
          </a:xfrm>
        </p:spPr>
        <p:txBody>
          <a:bodyPr anchor="b">
            <a:noAutofit/>
          </a:bodyPr>
          <a:lstStyle>
            <a:lvl1pPr>
              <a:defRPr>
                <a:latin typeface="+mn-lt"/>
              </a:defRPr>
            </a:lvl1pPr>
          </a:lstStyle>
          <a:p>
            <a:pPr lvl="0"/>
            <a:r>
              <a:rPr lang="en-US"/>
              <a:t>Click to edit Master text styles</a:t>
            </a:r>
          </a:p>
        </p:txBody>
      </p:sp>
      <p:sp>
        <p:nvSpPr>
          <p:cNvPr id="23" name="Text Placeholder 22">
            <a:extLst>
              <a:ext uri="{FF2B5EF4-FFF2-40B4-BE49-F238E27FC236}">
                <a16:creationId xmlns:a16="http://schemas.microsoft.com/office/drawing/2014/main" id="{D31D0F84-196A-D07B-028F-08F39BEB0A65}"/>
              </a:ext>
            </a:extLst>
          </p:cNvPr>
          <p:cNvSpPr>
            <a:spLocks noGrp="1"/>
          </p:cNvSpPr>
          <p:nvPr>
            <p:ph type="body" sz="quarter" idx="30"/>
          </p:nvPr>
        </p:nvSpPr>
        <p:spPr>
          <a:xfrm>
            <a:off x="608584" y="4185186"/>
            <a:ext cx="3099816" cy="128930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24" name="Text Placeholder 20">
            <a:extLst>
              <a:ext uri="{FF2B5EF4-FFF2-40B4-BE49-F238E27FC236}">
                <a16:creationId xmlns:a16="http://schemas.microsoft.com/office/drawing/2014/main" id="{7881F15A-C59A-E4E8-FC0E-FE9792F2ECAD}"/>
              </a:ext>
            </a:extLst>
          </p:cNvPr>
          <p:cNvSpPr>
            <a:spLocks noGrp="1"/>
          </p:cNvSpPr>
          <p:nvPr>
            <p:ph type="body" sz="quarter" idx="31"/>
          </p:nvPr>
        </p:nvSpPr>
        <p:spPr>
          <a:xfrm>
            <a:off x="4545584" y="2748438"/>
            <a:ext cx="3099816" cy="923544"/>
          </a:xfrm>
        </p:spPr>
        <p:txBody>
          <a:bodyPr anchor="b">
            <a:noAutofit/>
          </a:bodyPr>
          <a:lstStyle>
            <a:lvl1pPr>
              <a:defRPr>
                <a:latin typeface="+mn-lt"/>
              </a:defRPr>
            </a:lvl1pPr>
          </a:lstStyle>
          <a:p>
            <a:pPr lvl="0"/>
            <a:r>
              <a:rPr lang="en-US"/>
              <a:t>Click to edit Master text styles</a:t>
            </a:r>
          </a:p>
        </p:txBody>
      </p:sp>
      <p:sp>
        <p:nvSpPr>
          <p:cNvPr id="25" name="Text Placeholder 22">
            <a:extLst>
              <a:ext uri="{FF2B5EF4-FFF2-40B4-BE49-F238E27FC236}">
                <a16:creationId xmlns:a16="http://schemas.microsoft.com/office/drawing/2014/main" id="{05C2575A-267E-CB78-E7D3-0A82086DF69F}"/>
              </a:ext>
            </a:extLst>
          </p:cNvPr>
          <p:cNvSpPr>
            <a:spLocks noGrp="1"/>
          </p:cNvSpPr>
          <p:nvPr>
            <p:ph type="body" sz="quarter" idx="32"/>
          </p:nvPr>
        </p:nvSpPr>
        <p:spPr>
          <a:xfrm>
            <a:off x="4545584" y="4185186"/>
            <a:ext cx="3099816" cy="128930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26" name="Text Placeholder 20">
            <a:extLst>
              <a:ext uri="{FF2B5EF4-FFF2-40B4-BE49-F238E27FC236}">
                <a16:creationId xmlns:a16="http://schemas.microsoft.com/office/drawing/2014/main" id="{D1253B36-5212-1DA8-01E7-81750827B17F}"/>
              </a:ext>
            </a:extLst>
          </p:cNvPr>
          <p:cNvSpPr>
            <a:spLocks noGrp="1"/>
          </p:cNvSpPr>
          <p:nvPr>
            <p:ph type="body" sz="quarter" idx="33"/>
          </p:nvPr>
        </p:nvSpPr>
        <p:spPr>
          <a:xfrm>
            <a:off x="8482583" y="2748438"/>
            <a:ext cx="3099816" cy="923544"/>
          </a:xfrm>
        </p:spPr>
        <p:txBody>
          <a:bodyPr anchor="b">
            <a:noAutofit/>
          </a:bodyPr>
          <a:lstStyle>
            <a:lvl1pPr>
              <a:defRPr>
                <a:latin typeface="+mn-lt"/>
              </a:defRPr>
            </a:lvl1pPr>
          </a:lstStyle>
          <a:p>
            <a:pPr lvl="0"/>
            <a:r>
              <a:rPr lang="en-US"/>
              <a:t>Click to edit Master text styles</a:t>
            </a:r>
          </a:p>
        </p:txBody>
      </p:sp>
      <p:sp>
        <p:nvSpPr>
          <p:cNvPr id="27" name="Text Placeholder 22">
            <a:extLst>
              <a:ext uri="{FF2B5EF4-FFF2-40B4-BE49-F238E27FC236}">
                <a16:creationId xmlns:a16="http://schemas.microsoft.com/office/drawing/2014/main" id="{DB009249-FD49-BBAC-D4A3-BCAEB78F276E}"/>
              </a:ext>
            </a:extLst>
          </p:cNvPr>
          <p:cNvSpPr>
            <a:spLocks noGrp="1"/>
          </p:cNvSpPr>
          <p:nvPr>
            <p:ph type="body" sz="quarter" idx="34"/>
          </p:nvPr>
        </p:nvSpPr>
        <p:spPr>
          <a:xfrm>
            <a:off x="8482583" y="4185186"/>
            <a:ext cx="3099816" cy="128930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8962983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2 - Light">
    <p:bg>
      <p:bgPr>
        <a:solidFill>
          <a:srgbClr val="F3F3F3"/>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D1804CB4-5557-9973-F2E2-067CE83E70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54436" y="424766"/>
            <a:ext cx="1783555" cy="453120"/>
          </a:xfrm>
          <a:prstGeom prst="rect">
            <a:avLst/>
          </a:prstGeom>
        </p:spPr>
      </p:pic>
      <p:cxnSp>
        <p:nvCxnSpPr>
          <p:cNvPr id="26" name="Straight Connector 25">
            <a:extLst>
              <a:ext uri="{FF2B5EF4-FFF2-40B4-BE49-F238E27FC236}">
                <a16:creationId xmlns:a16="http://schemas.microsoft.com/office/drawing/2014/main" id="{8270E44F-1E2D-F8B5-FD8F-60B5E3E8E9C9}"/>
              </a:ext>
            </a:extLst>
          </p:cNvPr>
          <p:cNvCxnSpPr>
            <a:cxnSpLocks/>
          </p:cNvCxnSpPr>
          <p:nvPr/>
        </p:nvCxnSpPr>
        <p:spPr>
          <a:xfrm>
            <a:off x="6022043" y="4674590"/>
            <a:ext cx="5549059"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7" name="Text Placeholder 14">
            <a:extLst>
              <a:ext uri="{FF2B5EF4-FFF2-40B4-BE49-F238E27FC236}">
                <a16:creationId xmlns:a16="http://schemas.microsoft.com/office/drawing/2014/main" id="{6AB97320-06D6-C577-0ABE-885AFB5AE276}"/>
              </a:ext>
            </a:extLst>
          </p:cNvPr>
          <p:cNvSpPr>
            <a:spLocks noGrp="1"/>
          </p:cNvSpPr>
          <p:nvPr>
            <p:ph type="body" sz="quarter" idx="13" hasCustomPrompt="1"/>
          </p:nvPr>
        </p:nvSpPr>
        <p:spPr>
          <a:xfrm>
            <a:off x="6022042" y="1843100"/>
            <a:ext cx="5549059" cy="2468881"/>
          </a:xfrm>
        </p:spPr>
        <p:txBody>
          <a:bodyPr wrap="square" anchor="b">
            <a:noAutofit/>
          </a:bodyPr>
          <a:lstStyle>
            <a:lvl1pPr>
              <a:lnSpc>
                <a:spcPct val="80000"/>
              </a:lnSpc>
              <a:spcAft>
                <a:spcPts val="0"/>
              </a:spcAft>
              <a:defRPr sz="6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up to 3 lines</a:t>
            </a:r>
          </a:p>
        </p:txBody>
      </p:sp>
      <p:sp>
        <p:nvSpPr>
          <p:cNvPr id="29" name="Text Placeholder 16">
            <a:extLst>
              <a:ext uri="{FF2B5EF4-FFF2-40B4-BE49-F238E27FC236}">
                <a16:creationId xmlns:a16="http://schemas.microsoft.com/office/drawing/2014/main" id="{71D30944-DF77-7E86-9FD0-8DBF26C43A1C}"/>
              </a:ext>
            </a:extLst>
          </p:cNvPr>
          <p:cNvSpPr>
            <a:spLocks noGrp="1"/>
          </p:cNvSpPr>
          <p:nvPr>
            <p:ph type="body" sz="quarter" idx="12" hasCustomPrompt="1"/>
          </p:nvPr>
        </p:nvSpPr>
        <p:spPr>
          <a:xfrm>
            <a:off x="6050618" y="1259866"/>
            <a:ext cx="2468880" cy="223908"/>
          </a:xfrm>
        </p:spPr>
        <p:txBody>
          <a:bodyPr wrap="square">
            <a:noAutofit/>
          </a:bodyPr>
          <a:lstStyle>
            <a:lvl1pPr algn="l">
              <a:spcAft>
                <a:spcPts val="0"/>
              </a:spcAft>
              <a:defRPr sz="14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4" name="Graphic 3">
            <a:extLst>
              <a:ext uri="{FF2B5EF4-FFF2-40B4-BE49-F238E27FC236}">
                <a16:creationId xmlns:a16="http://schemas.microsoft.com/office/drawing/2014/main" id="{A8D2E7B1-6DAB-E708-9A1B-7D88594DA1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48011" y="6275411"/>
            <a:ext cx="1834388" cy="210312"/>
          </a:xfrm>
          <a:prstGeom prst="rect">
            <a:avLst/>
          </a:prstGeom>
        </p:spPr>
      </p:pic>
      <p:pic>
        <p:nvPicPr>
          <p:cNvPr id="3" name="Graphic 2">
            <a:extLst>
              <a:ext uri="{FF2B5EF4-FFF2-40B4-BE49-F238E27FC236}">
                <a16:creationId xmlns:a16="http://schemas.microsoft.com/office/drawing/2014/main" id="{59960BED-8E9E-EA6F-5CAD-39178DD5B8FC}"/>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27579" t="20639" r="1500" b="7525"/>
          <a:stretch/>
        </p:blipFill>
        <p:spPr>
          <a:xfrm>
            <a:off x="0" y="0"/>
            <a:ext cx="5486401" cy="6857999"/>
          </a:xfrm>
          <a:prstGeom prst="rect">
            <a:avLst/>
          </a:prstGeom>
        </p:spPr>
      </p:pic>
      <p:sp>
        <p:nvSpPr>
          <p:cNvPr id="5" name="Text Placeholder 33">
            <a:extLst>
              <a:ext uri="{FF2B5EF4-FFF2-40B4-BE49-F238E27FC236}">
                <a16:creationId xmlns:a16="http://schemas.microsoft.com/office/drawing/2014/main" id="{FF7954BE-2255-0DBC-F7BC-EF115244935E}"/>
              </a:ext>
            </a:extLst>
          </p:cNvPr>
          <p:cNvSpPr>
            <a:spLocks noGrp="1"/>
          </p:cNvSpPr>
          <p:nvPr>
            <p:ph type="body" sz="quarter" idx="15" hasCustomPrompt="1"/>
          </p:nvPr>
        </p:nvSpPr>
        <p:spPr>
          <a:xfrm>
            <a:off x="6022042" y="5074889"/>
            <a:ext cx="5387082" cy="307777"/>
          </a:xfrm>
        </p:spPr>
        <p:txBody>
          <a:bodyPr wrap="square">
            <a:noAutofit/>
          </a:bodyPr>
          <a:lstStyle>
            <a:lvl1pPr marL="0" indent="0">
              <a:spcAft>
                <a:spcPts val="300"/>
              </a:spcAft>
              <a:buFont typeface="Arial" panose="020B0604020202020204" pitchFamily="34" charset="0"/>
              <a:buNone/>
              <a:defRPr b="1">
                <a:solidFill>
                  <a:schemeClr val="tx2"/>
                </a:solidFill>
                <a:latin typeface="+mj-lt"/>
              </a:defRPr>
            </a:lvl1pPr>
            <a:lvl2pPr marL="0" indent="0">
              <a:spcAft>
                <a:spcPts val="300"/>
              </a:spcAft>
              <a:buNone/>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6" name="Text Placeholder 33">
            <a:extLst>
              <a:ext uri="{FF2B5EF4-FFF2-40B4-BE49-F238E27FC236}">
                <a16:creationId xmlns:a16="http://schemas.microsoft.com/office/drawing/2014/main" id="{A395564A-B155-2EB1-E045-5B5D052E7E18}"/>
              </a:ext>
            </a:extLst>
          </p:cNvPr>
          <p:cNvSpPr>
            <a:spLocks noGrp="1"/>
          </p:cNvSpPr>
          <p:nvPr>
            <p:ph type="body" sz="quarter" idx="17" hasCustomPrompt="1"/>
          </p:nvPr>
        </p:nvSpPr>
        <p:spPr>
          <a:xfrm>
            <a:off x="6032790" y="5415178"/>
            <a:ext cx="5387082" cy="276999"/>
          </a:xfrm>
        </p:spPr>
        <p:txBody>
          <a:bodyPr wrap="square">
            <a:noAutofit/>
          </a:bodyPr>
          <a:lstStyle>
            <a:lvl1pPr marL="0" indent="0">
              <a:spcAft>
                <a:spcPts val="300"/>
              </a:spcAft>
              <a:buFont typeface="Arial" panose="020B0604020202020204" pitchFamily="34" charset="0"/>
              <a:buNone/>
              <a:defRPr sz="18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8910175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ur-column">
    <p:bg>
      <p:bgPr>
        <a:solidFill>
          <a:srgbClr val="F3F3F3"/>
        </a:solidFill>
        <a:effectLst/>
      </p:bgPr>
    </p:bg>
    <p:spTree>
      <p:nvGrpSpPr>
        <p:cNvPr id="1" name=""/>
        <p:cNvGrpSpPr/>
        <p:nvPr/>
      </p:nvGrpSpPr>
      <p:grpSpPr>
        <a:xfrm>
          <a:off x="0" y="0"/>
          <a:ext cx="0" cy="0"/>
          <a:chOff x="0" y="0"/>
          <a:chExt cx="0" cy="0"/>
        </a:xfrm>
      </p:grpSpPr>
      <p:sp>
        <p:nvSpPr>
          <p:cNvPr id="38" name="Picture Placeholder 44">
            <a:extLst>
              <a:ext uri="{FF2B5EF4-FFF2-40B4-BE49-F238E27FC236}">
                <a16:creationId xmlns:a16="http://schemas.microsoft.com/office/drawing/2014/main" id="{89769F5D-1EE4-9650-C101-9BA367A72865}"/>
              </a:ext>
            </a:extLst>
          </p:cNvPr>
          <p:cNvSpPr>
            <a:spLocks noGrp="1"/>
          </p:cNvSpPr>
          <p:nvPr>
            <p:ph type="pic" sz="quarter" idx="37"/>
          </p:nvPr>
        </p:nvSpPr>
        <p:spPr>
          <a:xfrm>
            <a:off x="567068" y="1992598"/>
            <a:ext cx="521208" cy="521208"/>
          </a:xfrm>
          <a:noFill/>
        </p:spPr>
        <p:txBody>
          <a:bodyPr/>
          <a:lstStyle>
            <a:lvl1pPr>
              <a:defRPr sz="1100"/>
            </a:lvl1pPr>
          </a:lstStyle>
          <a:p>
            <a:r>
              <a:rPr lang="en-US"/>
              <a:t>Click icon to add picture</a:t>
            </a:r>
          </a:p>
        </p:txBody>
      </p:sp>
      <p:sp>
        <p:nvSpPr>
          <p:cNvPr id="39" name="Picture Placeholder 44">
            <a:extLst>
              <a:ext uri="{FF2B5EF4-FFF2-40B4-BE49-F238E27FC236}">
                <a16:creationId xmlns:a16="http://schemas.microsoft.com/office/drawing/2014/main" id="{672A93A6-7142-4A8E-6BE9-C934050E0B26}"/>
              </a:ext>
            </a:extLst>
          </p:cNvPr>
          <p:cNvSpPr>
            <a:spLocks noGrp="1"/>
          </p:cNvSpPr>
          <p:nvPr>
            <p:ph type="pic" sz="quarter" idx="38"/>
          </p:nvPr>
        </p:nvSpPr>
        <p:spPr>
          <a:xfrm>
            <a:off x="3427226" y="1992598"/>
            <a:ext cx="521208" cy="521208"/>
          </a:xfrm>
          <a:noFill/>
        </p:spPr>
        <p:txBody>
          <a:bodyPr/>
          <a:lstStyle>
            <a:lvl1pPr>
              <a:defRPr sz="1100"/>
            </a:lvl1pPr>
          </a:lstStyle>
          <a:p>
            <a:r>
              <a:rPr lang="en-US"/>
              <a:t>Click icon to add picture</a:t>
            </a:r>
          </a:p>
        </p:txBody>
      </p:sp>
      <p:sp>
        <p:nvSpPr>
          <p:cNvPr id="40" name="Picture Placeholder 44">
            <a:extLst>
              <a:ext uri="{FF2B5EF4-FFF2-40B4-BE49-F238E27FC236}">
                <a16:creationId xmlns:a16="http://schemas.microsoft.com/office/drawing/2014/main" id="{F055298F-0647-AD6D-DB65-6EFF4D715DA4}"/>
              </a:ext>
            </a:extLst>
          </p:cNvPr>
          <p:cNvSpPr>
            <a:spLocks noGrp="1"/>
          </p:cNvSpPr>
          <p:nvPr>
            <p:ph type="pic" sz="quarter" idx="39"/>
          </p:nvPr>
        </p:nvSpPr>
        <p:spPr>
          <a:xfrm>
            <a:off x="6319282" y="1992598"/>
            <a:ext cx="521208" cy="521208"/>
          </a:xfrm>
          <a:noFill/>
        </p:spPr>
        <p:txBody>
          <a:bodyPr/>
          <a:lstStyle>
            <a:lvl1pPr>
              <a:defRPr sz="1100"/>
            </a:lvl1pPr>
          </a:lstStyle>
          <a:p>
            <a:r>
              <a:rPr lang="en-US"/>
              <a:t>Click icon to add picture</a:t>
            </a:r>
          </a:p>
        </p:txBody>
      </p:sp>
      <p:sp>
        <p:nvSpPr>
          <p:cNvPr id="41" name="Picture Placeholder 44">
            <a:extLst>
              <a:ext uri="{FF2B5EF4-FFF2-40B4-BE49-F238E27FC236}">
                <a16:creationId xmlns:a16="http://schemas.microsoft.com/office/drawing/2014/main" id="{D17283F2-B533-508F-96A7-9A4AAFB4DF2A}"/>
              </a:ext>
            </a:extLst>
          </p:cNvPr>
          <p:cNvSpPr>
            <a:spLocks noGrp="1"/>
          </p:cNvSpPr>
          <p:nvPr>
            <p:ph type="pic" sz="quarter" idx="40"/>
          </p:nvPr>
        </p:nvSpPr>
        <p:spPr>
          <a:xfrm>
            <a:off x="9211339" y="1992598"/>
            <a:ext cx="521208" cy="521208"/>
          </a:xfrm>
          <a:noFill/>
        </p:spPr>
        <p:txBody>
          <a:bodyPr/>
          <a:lstStyle>
            <a:lvl1pPr>
              <a:defRPr sz="1100"/>
            </a:lvl1pPr>
          </a:lstStyle>
          <a:p>
            <a:r>
              <a:rPr lang="en-US"/>
              <a:t>Click icon to add picture</a:t>
            </a:r>
          </a:p>
        </p:txBody>
      </p:sp>
      <p:sp>
        <p:nvSpPr>
          <p:cNvPr id="2" name="Title 1">
            <a:extLst>
              <a:ext uri="{FF2B5EF4-FFF2-40B4-BE49-F238E27FC236}">
                <a16:creationId xmlns:a16="http://schemas.microsoft.com/office/drawing/2014/main" id="{2424CD20-5516-7DC5-C33D-FEC81A57BF0E}"/>
              </a:ext>
            </a:extLst>
          </p:cNvPr>
          <p:cNvSpPr>
            <a:spLocks noGrp="1"/>
          </p:cNvSpPr>
          <p:nvPr>
            <p:ph type="title"/>
          </p:nvPr>
        </p:nvSpPr>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476B3B0D-3559-99F8-077B-940302BF51AF}"/>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32710ACD-357C-D3F8-AFC4-B9909D8E326C}"/>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5" name="Date Placeholder 4">
            <a:extLst>
              <a:ext uri="{FF2B5EF4-FFF2-40B4-BE49-F238E27FC236}">
                <a16:creationId xmlns:a16="http://schemas.microsoft.com/office/drawing/2014/main" id="{2FCF0CAB-4713-83C7-28F8-0DB75DB26EBF}"/>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6CBEA0C4-9756-47E6-99B4-9C02C7FF2B77}" type="datetime4">
              <a:rPr lang="en-US" smtClean="0"/>
              <a:t>May 17, 2025</a:t>
            </a:fld>
            <a:endParaRPr lang="en-US"/>
          </a:p>
        </p:txBody>
      </p:sp>
      <p:sp>
        <p:nvSpPr>
          <p:cNvPr id="18" name="Text Placeholder 3">
            <a:extLst>
              <a:ext uri="{FF2B5EF4-FFF2-40B4-BE49-F238E27FC236}">
                <a16:creationId xmlns:a16="http://schemas.microsoft.com/office/drawing/2014/main" id="{CFF9B5B2-AFF3-F577-FA6F-C489CB3AA65F}"/>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19" name="Text Placeholder 7">
            <a:extLst>
              <a:ext uri="{FF2B5EF4-FFF2-40B4-BE49-F238E27FC236}">
                <a16:creationId xmlns:a16="http://schemas.microsoft.com/office/drawing/2014/main" id="{C93F1CC1-A1A5-8BDC-DE12-111548DAB9BC}"/>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1" name="Text Placeholder 20">
            <a:extLst>
              <a:ext uri="{FF2B5EF4-FFF2-40B4-BE49-F238E27FC236}">
                <a16:creationId xmlns:a16="http://schemas.microsoft.com/office/drawing/2014/main" id="{D194AD06-F4DA-BD6D-FAFC-B444C31568F5}"/>
              </a:ext>
            </a:extLst>
          </p:cNvPr>
          <p:cNvSpPr>
            <a:spLocks noGrp="1"/>
          </p:cNvSpPr>
          <p:nvPr>
            <p:ph type="body" sz="quarter" idx="29"/>
          </p:nvPr>
        </p:nvSpPr>
        <p:spPr>
          <a:xfrm>
            <a:off x="608584" y="2748438"/>
            <a:ext cx="2358830" cy="923544"/>
          </a:xfrm>
        </p:spPr>
        <p:txBody>
          <a:bodyPr anchor="b">
            <a:noAutofit/>
          </a:bodyPr>
          <a:lstStyle>
            <a:lvl1pPr>
              <a:defRPr>
                <a:latin typeface="+mn-lt"/>
              </a:defRPr>
            </a:lvl1pPr>
          </a:lstStyle>
          <a:p>
            <a:pPr lvl="0"/>
            <a:r>
              <a:rPr lang="en-US"/>
              <a:t>Click to edit Master text styles</a:t>
            </a:r>
          </a:p>
        </p:txBody>
      </p:sp>
      <p:sp>
        <p:nvSpPr>
          <p:cNvPr id="23" name="Text Placeholder 22">
            <a:extLst>
              <a:ext uri="{FF2B5EF4-FFF2-40B4-BE49-F238E27FC236}">
                <a16:creationId xmlns:a16="http://schemas.microsoft.com/office/drawing/2014/main" id="{D31D0F84-196A-D07B-028F-08F39BEB0A65}"/>
              </a:ext>
            </a:extLst>
          </p:cNvPr>
          <p:cNvSpPr>
            <a:spLocks noGrp="1"/>
          </p:cNvSpPr>
          <p:nvPr>
            <p:ph type="body" sz="quarter" idx="30"/>
          </p:nvPr>
        </p:nvSpPr>
        <p:spPr>
          <a:xfrm>
            <a:off x="608584" y="4185186"/>
            <a:ext cx="2358830" cy="1735690"/>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22" name="Text Placeholder 20">
            <a:extLst>
              <a:ext uri="{FF2B5EF4-FFF2-40B4-BE49-F238E27FC236}">
                <a16:creationId xmlns:a16="http://schemas.microsoft.com/office/drawing/2014/main" id="{2F984C37-EA47-C212-F04D-1F9B8FCA81C9}"/>
              </a:ext>
            </a:extLst>
          </p:cNvPr>
          <p:cNvSpPr>
            <a:spLocks noGrp="1"/>
          </p:cNvSpPr>
          <p:nvPr>
            <p:ph type="body" sz="quarter" idx="31"/>
          </p:nvPr>
        </p:nvSpPr>
        <p:spPr>
          <a:xfrm>
            <a:off x="3479907" y="2748438"/>
            <a:ext cx="2358830" cy="923544"/>
          </a:xfrm>
        </p:spPr>
        <p:txBody>
          <a:bodyPr anchor="b">
            <a:noAutofit/>
          </a:bodyPr>
          <a:lstStyle>
            <a:lvl1pPr>
              <a:defRPr>
                <a:latin typeface="+mn-lt"/>
              </a:defRPr>
            </a:lvl1pPr>
          </a:lstStyle>
          <a:p>
            <a:pPr lvl="0"/>
            <a:r>
              <a:rPr lang="en-US"/>
              <a:t>Click to edit Master text styles</a:t>
            </a:r>
          </a:p>
        </p:txBody>
      </p:sp>
      <p:sp>
        <p:nvSpPr>
          <p:cNvPr id="28" name="Text Placeholder 22">
            <a:extLst>
              <a:ext uri="{FF2B5EF4-FFF2-40B4-BE49-F238E27FC236}">
                <a16:creationId xmlns:a16="http://schemas.microsoft.com/office/drawing/2014/main" id="{156FF9F4-E1C1-A3BD-5282-9E0865EE337F}"/>
              </a:ext>
            </a:extLst>
          </p:cNvPr>
          <p:cNvSpPr>
            <a:spLocks noGrp="1"/>
          </p:cNvSpPr>
          <p:nvPr>
            <p:ph type="body" sz="quarter" idx="32"/>
          </p:nvPr>
        </p:nvSpPr>
        <p:spPr>
          <a:xfrm>
            <a:off x="3479907" y="4185186"/>
            <a:ext cx="2358830" cy="1735690"/>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31" name="Text Placeholder 20">
            <a:extLst>
              <a:ext uri="{FF2B5EF4-FFF2-40B4-BE49-F238E27FC236}">
                <a16:creationId xmlns:a16="http://schemas.microsoft.com/office/drawing/2014/main" id="{554334A6-9BBA-FA97-AA97-4DDDF2D4707A}"/>
              </a:ext>
            </a:extLst>
          </p:cNvPr>
          <p:cNvSpPr>
            <a:spLocks noGrp="1"/>
          </p:cNvSpPr>
          <p:nvPr>
            <p:ph type="body" sz="quarter" idx="33"/>
          </p:nvPr>
        </p:nvSpPr>
        <p:spPr>
          <a:xfrm>
            <a:off x="6351231" y="2748438"/>
            <a:ext cx="2358830" cy="923544"/>
          </a:xfrm>
        </p:spPr>
        <p:txBody>
          <a:bodyPr anchor="b">
            <a:noAutofit/>
          </a:bodyPr>
          <a:lstStyle>
            <a:lvl1pPr>
              <a:defRPr>
                <a:latin typeface="+mn-lt"/>
              </a:defRPr>
            </a:lvl1pPr>
          </a:lstStyle>
          <a:p>
            <a:pPr lvl="0"/>
            <a:r>
              <a:rPr lang="en-US"/>
              <a:t>Click to edit Master text styles</a:t>
            </a:r>
          </a:p>
        </p:txBody>
      </p:sp>
      <p:sp>
        <p:nvSpPr>
          <p:cNvPr id="32" name="Text Placeholder 22">
            <a:extLst>
              <a:ext uri="{FF2B5EF4-FFF2-40B4-BE49-F238E27FC236}">
                <a16:creationId xmlns:a16="http://schemas.microsoft.com/office/drawing/2014/main" id="{4830E38D-A113-06E0-E740-A6C3F6DDD6EC}"/>
              </a:ext>
            </a:extLst>
          </p:cNvPr>
          <p:cNvSpPr>
            <a:spLocks noGrp="1"/>
          </p:cNvSpPr>
          <p:nvPr>
            <p:ph type="body" sz="quarter" idx="34"/>
          </p:nvPr>
        </p:nvSpPr>
        <p:spPr>
          <a:xfrm>
            <a:off x="6351231" y="4185186"/>
            <a:ext cx="2358830" cy="1735690"/>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35" name="Text Placeholder 20">
            <a:extLst>
              <a:ext uri="{FF2B5EF4-FFF2-40B4-BE49-F238E27FC236}">
                <a16:creationId xmlns:a16="http://schemas.microsoft.com/office/drawing/2014/main" id="{15C3EF92-C5EE-05D2-2CD7-E2C1DFBE54A5}"/>
              </a:ext>
            </a:extLst>
          </p:cNvPr>
          <p:cNvSpPr>
            <a:spLocks noGrp="1"/>
          </p:cNvSpPr>
          <p:nvPr>
            <p:ph type="body" sz="quarter" idx="35"/>
          </p:nvPr>
        </p:nvSpPr>
        <p:spPr>
          <a:xfrm>
            <a:off x="9222554" y="2748438"/>
            <a:ext cx="2358830" cy="923544"/>
          </a:xfrm>
        </p:spPr>
        <p:txBody>
          <a:bodyPr anchor="b">
            <a:noAutofit/>
          </a:bodyPr>
          <a:lstStyle>
            <a:lvl1pPr>
              <a:defRPr>
                <a:latin typeface="+mn-lt"/>
              </a:defRPr>
            </a:lvl1pPr>
          </a:lstStyle>
          <a:p>
            <a:pPr lvl="0"/>
            <a:r>
              <a:rPr lang="en-US"/>
              <a:t>Click to edit Master text styles</a:t>
            </a:r>
          </a:p>
        </p:txBody>
      </p:sp>
      <p:sp>
        <p:nvSpPr>
          <p:cNvPr id="36" name="Text Placeholder 22">
            <a:extLst>
              <a:ext uri="{FF2B5EF4-FFF2-40B4-BE49-F238E27FC236}">
                <a16:creationId xmlns:a16="http://schemas.microsoft.com/office/drawing/2014/main" id="{57BAEA13-CFA9-38DC-DF38-AACD6D8FAFDE}"/>
              </a:ext>
            </a:extLst>
          </p:cNvPr>
          <p:cNvSpPr>
            <a:spLocks noGrp="1"/>
          </p:cNvSpPr>
          <p:nvPr>
            <p:ph type="body" sz="quarter" idx="36"/>
          </p:nvPr>
        </p:nvSpPr>
        <p:spPr>
          <a:xfrm>
            <a:off x="9222554" y="4185186"/>
            <a:ext cx="2358830" cy="1735690"/>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00733108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Column Slide - Light">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9855B-9E52-C109-BB22-81D9DEC99F5B}"/>
              </a:ext>
            </a:extLst>
          </p:cNvPr>
          <p:cNvSpPr>
            <a:spLocks noGrp="1"/>
          </p:cNvSpPr>
          <p:nvPr>
            <p:ph type="title"/>
          </p:nvPr>
        </p:nvSpPr>
        <p:spPr/>
        <p:txBody>
          <a:bodyPr>
            <a:noAutofit/>
          </a:bodyPr>
          <a:lstStyle/>
          <a:p>
            <a:r>
              <a:rPr lang="en-US"/>
              <a:t>Click to edit Master title style</a:t>
            </a:r>
          </a:p>
        </p:txBody>
      </p:sp>
      <p:sp>
        <p:nvSpPr>
          <p:cNvPr id="35" name="Text Placeholder 35">
            <a:extLst>
              <a:ext uri="{FF2B5EF4-FFF2-40B4-BE49-F238E27FC236}">
                <a16:creationId xmlns:a16="http://schemas.microsoft.com/office/drawing/2014/main" id="{17F8DA8A-8A83-2E82-D082-E4E4BF0C3593}"/>
              </a:ext>
            </a:extLst>
          </p:cNvPr>
          <p:cNvSpPr>
            <a:spLocks noGrp="1"/>
          </p:cNvSpPr>
          <p:nvPr>
            <p:ph type="body" sz="quarter" idx="15" hasCustomPrompt="1"/>
          </p:nvPr>
        </p:nvSpPr>
        <p:spPr>
          <a:xfrm>
            <a:off x="609600"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36" name="Text Placeholder 37">
            <a:extLst>
              <a:ext uri="{FF2B5EF4-FFF2-40B4-BE49-F238E27FC236}">
                <a16:creationId xmlns:a16="http://schemas.microsoft.com/office/drawing/2014/main" id="{E39C0855-30DA-35F6-A578-7BEC38F29FC0}"/>
              </a:ext>
            </a:extLst>
          </p:cNvPr>
          <p:cNvSpPr>
            <a:spLocks noGrp="1"/>
          </p:cNvSpPr>
          <p:nvPr>
            <p:ph type="body" sz="quarter" idx="16"/>
          </p:nvPr>
        </p:nvSpPr>
        <p:spPr>
          <a:xfrm>
            <a:off x="609600"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39" name="Text Placeholder 35">
            <a:extLst>
              <a:ext uri="{FF2B5EF4-FFF2-40B4-BE49-F238E27FC236}">
                <a16:creationId xmlns:a16="http://schemas.microsoft.com/office/drawing/2014/main" id="{8D6FA3CA-013B-6D3F-E406-40575493F284}"/>
              </a:ext>
            </a:extLst>
          </p:cNvPr>
          <p:cNvSpPr>
            <a:spLocks noGrp="1"/>
          </p:cNvSpPr>
          <p:nvPr>
            <p:ph type="body" sz="quarter" idx="17" hasCustomPrompt="1"/>
          </p:nvPr>
        </p:nvSpPr>
        <p:spPr>
          <a:xfrm>
            <a:off x="2884017"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40" name="Text Placeholder 37">
            <a:extLst>
              <a:ext uri="{FF2B5EF4-FFF2-40B4-BE49-F238E27FC236}">
                <a16:creationId xmlns:a16="http://schemas.microsoft.com/office/drawing/2014/main" id="{D7DA436C-CDB7-AF89-F0B6-17B79E2F370A}"/>
              </a:ext>
            </a:extLst>
          </p:cNvPr>
          <p:cNvSpPr>
            <a:spLocks noGrp="1"/>
          </p:cNvSpPr>
          <p:nvPr>
            <p:ph type="body" sz="quarter" idx="18"/>
          </p:nvPr>
        </p:nvSpPr>
        <p:spPr>
          <a:xfrm>
            <a:off x="2884017"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43" name="Text Placeholder 35">
            <a:extLst>
              <a:ext uri="{FF2B5EF4-FFF2-40B4-BE49-F238E27FC236}">
                <a16:creationId xmlns:a16="http://schemas.microsoft.com/office/drawing/2014/main" id="{F85FA32E-317C-3728-F052-86E0456C984F}"/>
              </a:ext>
            </a:extLst>
          </p:cNvPr>
          <p:cNvSpPr>
            <a:spLocks noGrp="1"/>
          </p:cNvSpPr>
          <p:nvPr>
            <p:ph type="body" sz="quarter" idx="19" hasCustomPrompt="1"/>
          </p:nvPr>
        </p:nvSpPr>
        <p:spPr>
          <a:xfrm>
            <a:off x="5155571"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44" name="Text Placeholder 37">
            <a:extLst>
              <a:ext uri="{FF2B5EF4-FFF2-40B4-BE49-F238E27FC236}">
                <a16:creationId xmlns:a16="http://schemas.microsoft.com/office/drawing/2014/main" id="{B8A6C3D4-FCE5-36CA-C2C3-2F5035AD3775}"/>
              </a:ext>
            </a:extLst>
          </p:cNvPr>
          <p:cNvSpPr>
            <a:spLocks noGrp="1"/>
          </p:cNvSpPr>
          <p:nvPr>
            <p:ph type="body" sz="quarter" idx="20"/>
          </p:nvPr>
        </p:nvSpPr>
        <p:spPr>
          <a:xfrm>
            <a:off x="5155571"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47" name="Text Placeholder 35">
            <a:extLst>
              <a:ext uri="{FF2B5EF4-FFF2-40B4-BE49-F238E27FC236}">
                <a16:creationId xmlns:a16="http://schemas.microsoft.com/office/drawing/2014/main" id="{645A059E-6755-4667-7A55-595DC3BA9D45}"/>
              </a:ext>
            </a:extLst>
          </p:cNvPr>
          <p:cNvSpPr>
            <a:spLocks noGrp="1"/>
          </p:cNvSpPr>
          <p:nvPr>
            <p:ph type="body" sz="quarter" idx="21" hasCustomPrompt="1"/>
          </p:nvPr>
        </p:nvSpPr>
        <p:spPr>
          <a:xfrm>
            <a:off x="7429988"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48" name="Text Placeholder 37">
            <a:extLst>
              <a:ext uri="{FF2B5EF4-FFF2-40B4-BE49-F238E27FC236}">
                <a16:creationId xmlns:a16="http://schemas.microsoft.com/office/drawing/2014/main" id="{FF1E85DF-94A0-E95A-E21C-3CCA97B6CD50}"/>
              </a:ext>
            </a:extLst>
          </p:cNvPr>
          <p:cNvSpPr>
            <a:spLocks noGrp="1"/>
          </p:cNvSpPr>
          <p:nvPr>
            <p:ph type="body" sz="quarter" idx="22"/>
          </p:nvPr>
        </p:nvSpPr>
        <p:spPr>
          <a:xfrm>
            <a:off x="7429988"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51" name="Text Placeholder 35">
            <a:extLst>
              <a:ext uri="{FF2B5EF4-FFF2-40B4-BE49-F238E27FC236}">
                <a16:creationId xmlns:a16="http://schemas.microsoft.com/office/drawing/2014/main" id="{B706580B-D0EC-DB84-AF34-412C13B5B155}"/>
              </a:ext>
            </a:extLst>
          </p:cNvPr>
          <p:cNvSpPr>
            <a:spLocks noGrp="1"/>
          </p:cNvSpPr>
          <p:nvPr>
            <p:ph type="body" sz="quarter" idx="23" hasCustomPrompt="1"/>
          </p:nvPr>
        </p:nvSpPr>
        <p:spPr>
          <a:xfrm>
            <a:off x="9709796"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52" name="Text Placeholder 37">
            <a:extLst>
              <a:ext uri="{FF2B5EF4-FFF2-40B4-BE49-F238E27FC236}">
                <a16:creationId xmlns:a16="http://schemas.microsoft.com/office/drawing/2014/main" id="{0EBCED8E-EB08-0B1B-43D9-1EF6B19BC0E1}"/>
              </a:ext>
            </a:extLst>
          </p:cNvPr>
          <p:cNvSpPr>
            <a:spLocks noGrp="1"/>
          </p:cNvSpPr>
          <p:nvPr>
            <p:ph type="body" sz="quarter" idx="24"/>
          </p:nvPr>
        </p:nvSpPr>
        <p:spPr>
          <a:xfrm>
            <a:off x="9709796"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53" name="Text Placeholder 3">
            <a:extLst>
              <a:ext uri="{FF2B5EF4-FFF2-40B4-BE49-F238E27FC236}">
                <a16:creationId xmlns:a16="http://schemas.microsoft.com/office/drawing/2014/main" id="{8EE55DB9-26FC-E53D-E41F-DC7CFF12732F}"/>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50000"/>
                    <a:lumOff val="50000"/>
                  </a:schemeClr>
                </a:solidFill>
              </a:defRPr>
            </a:lvl1pPr>
          </a:lstStyle>
          <a:p>
            <a:pPr lvl="0"/>
            <a:r>
              <a:rPr lang="en-US"/>
              <a:t>Subtitle</a:t>
            </a:r>
          </a:p>
        </p:txBody>
      </p:sp>
      <p:sp>
        <p:nvSpPr>
          <p:cNvPr id="3" name="Date Placeholder 49">
            <a:extLst>
              <a:ext uri="{FF2B5EF4-FFF2-40B4-BE49-F238E27FC236}">
                <a16:creationId xmlns:a16="http://schemas.microsoft.com/office/drawing/2014/main" id="{00167179-650B-E4CD-4B6C-C90D792F9EB5}"/>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6486C6F8-2C78-4FAB-B8FE-38F1BA981F1E}" type="datetime4">
              <a:rPr lang="en-US" smtClean="0"/>
              <a:t>May 17, 2025</a:t>
            </a:fld>
            <a:endParaRPr lang="en-US"/>
          </a:p>
        </p:txBody>
      </p:sp>
      <p:sp>
        <p:nvSpPr>
          <p:cNvPr id="10" name="Text Placeholder 7">
            <a:extLst>
              <a:ext uri="{FF2B5EF4-FFF2-40B4-BE49-F238E27FC236}">
                <a16:creationId xmlns:a16="http://schemas.microsoft.com/office/drawing/2014/main" id="{9A38227B-AA85-94A0-F87C-53F33910EF09}"/>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1" name="Footer Placeholder 4">
            <a:extLst>
              <a:ext uri="{FF2B5EF4-FFF2-40B4-BE49-F238E27FC236}">
                <a16:creationId xmlns:a16="http://schemas.microsoft.com/office/drawing/2014/main" id="{F5FA1229-D4C4-899E-5ACB-C07E219A9ED0}"/>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12" name="Slide Number Placeholder 5">
            <a:extLst>
              <a:ext uri="{FF2B5EF4-FFF2-40B4-BE49-F238E27FC236}">
                <a16:creationId xmlns:a16="http://schemas.microsoft.com/office/drawing/2014/main" id="{77D5AB0F-905C-0611-2B43-272D4492B44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16" name="Picture Placeholder 44">
            <a:extLst>
              <a:ext uri="{FF2B5EF4-FFF2-40B4-BE49-F238E27FC236}">
                <a16:creationId xmlns:a16="http://schemas.microsoft.com/office/drawing/2014/main" id="{3DB86532-7B42-6C5F-7210-B1AD1D8EFD48}"/>
              </a:ext>
            </a:extLst>
          </p:cNvPr>
          <p:cNvSpPr>
            <a:spLocks noGrp="1"/>
          </p:cNvSpPr>
          <p:nvPr>
            <p:ph type="pic" sz="quarter" idx="37"/>
          </p:nvPr>
        </p:nvSpPr>
        <p:spPr>
          <a:xfrm>
            <a:off x="567068" y="2152093"/>
            <a:ext cx="521208" cy="521208"/>
          </a:xfrm>
          <a:noFill/>
        </p:spPr>
        <p:txBody>
          <a:bodyPr/>
          <a:lstStyle>
            <a:lvl1pPr>
              <a:defRPr sz="1100">
                <a:solidFill>
                  <a:schemeClr val="tx1"/>
                </a:solidFill>
              </a:defRPr>
            </a:lvl1pPr>
          </a:lstStyle>
          <a:p>
            <a:r>
              <a:rPr lang="en-US"/>
              <a:t>Click icon to add picture</a:t>
            </a:r>
          </a:p>
        </p:txBody>
      </p:sp>
      <p:sp>
        <p:nvSpPr>
          <p:cNvPr id="17" name="Picture Placeholder 44">
            <a:extLst>
              <a:ext uri="{FF2B5EF4-FFF2-40B4-BE49-F238E27FC236}">
                <a16:creationId xmlns:a16="http://schemas.microsoft.com/office/drawing/2014/main" id="{615249C2-8716-C802-5DF2-890AA231FE68}"/>
              </a:ext>
            </a:extLst>
          </p:cNvPr>
          <p:cNvSpPr>
            <a:spLocks noGrp="1"/>
          </p:cNvSpPr>
          <p:nvPr>
            <p:ph type="pic" sz="quarter" idx="38"/>
          </p:nvPr>
        </p:nvSpPr>
        <p:spPr>
          <a:xfrm>
            <a:off x="2821168" y="2152093"/>
            <a:ext cx="521208" cy="521208"/>
          </a:xfrm>
          <a:noFill/>
        </p:spPr>
        <p:txBody>
          <a:bodyPr/>
          <a:lstStyle>
            <a:lvl1pPr>
              <a:defRPr sz="1100">
                <a:solidFill>
                  <a:schemeClr val="tx1"/>
                </a:solidFill>
              </a:defRPr>
            </a:lvl1pPr>
          </a:lstStyle>
          <a:p>
            <a:r>
              <a:rPr lang="en-US"/>
              <a:t>Click icon to add picture</a:t>
            </a:r>
          </a:p>
        </p:txBody>
      </p:sp>
      <p:sp>
        <p:nvSpPr>
          <p:cNvPr id="18" name="Picture Placeholder 44">
            <a:extLst>
              <a:ext uri="{FF2B5EF4-FFF2-40B4-BE49-F238E27FC236}">
                <a16:creationId xmlns:a16="http://schemas.microsoft.com/office/drawing/2014/main" id="{6DADB10F-3C0F-9A07-1512-1847FA653FEB}"/>
              </a:ext>
            </a:extLst>
          </p:cNvPr>
          <p:cNvSpPr>
            <a:spLocks noGrp="1"/>
          </p:cNvSpPr>
          <p:nvPr>
            <p:ph type="pic" sz="quarter" idx="39"/>
          </p:nvPr>
        </p:nvSpPr>
        <p:spPr>
          <a:xfrm>
            <a:off x="5128424" y="2152093"/>
            <a:ext cx="521208" cy="521208"/>
          </a:xfrm>
          <a:noFill/>
        </p:spPr>
        <p:txBody>
          <a:bodyPr/>
          <a:lstStyle>
            <a:lvl1pPr>
              <a:defRPr sz="1100">
                <a:solidFill>
                  <a:schemeClr val="tx1"/>
                </a:solidFill>
              </a:defRPr>
            </a:lvl1pPr>
          </a:lstStyle>
          <a:p>
            <a:r>
              <a:rPr lang="en-US"/>
              <a:t>Click icon to add picture</a:t>
            </a:r>
          </a:p>
        </p:txBody>
      </p:sp>
      <p:sp>
        <p:nvSpPr>
          <p:cNvPr id="19" name="Picture Placeholder 44">
            <a:extLst>
              <a:ext uri="{FF2B5EF4-FFF2-40B4-BE49-F238E27FC236}">
                <a16:creationId xmlns:a16="http://schemas.microsoft.com/office/drawing/2014/main" id="{F718D4CF-81B4-5AA5-CE52-6D7D7126E209}"/>
              </a:ext>
            </a:extLst>
          </p:cNvPr>
          <p:cNvSpPr>
            <a:spLocks noGrp="1"/>
          </p:cNvSpPr>
          <p:nvPr>
            <p:ph type="pic" sz="quarter" idx="40"/>
          </p:nvPr>
        </p:nvSpPr>
        <p:spPr>
          <a:xfrm>
            <a:off x="7382518" y="2152093"/>
            <a:ext cx="521208" cy="521208"/>
          </a:xfrm>
          <a:noFill/>
        </p:spPr>
        <p:txBody>
          <a:bodyPr/>
          <a:lstStyle>
            <a:lvl1pPr>
              <a:defRPr sz="1100">
                <a:solidFill>
                  <a:schemeClr val="tx1"/>
                </a:solidFill>
              </a:defRPr>
            </a:lvl1pPr>
          </a:lstStyle>
          <a:p>
            <a:r>
              <a:rPr lang="en-US"/>
              <a:t>Click icon to add picture</a:t>
            </a:r>
          </a:p>
        </p:txBody>
      </p:sp>
      <p:sp>
        <p:nvSpPr>
          <p:cNvPr id="20" name="Picture Placeholder 44">
            <a:extLst>
              <a:ext uri="{FF2B5EF4-FFF2-40B4-BE49-F238E27FC236}">
                <a16:creationId xmlns:a16="http://schemas.microsoft.com/office/drawing/2014/main" id="{7426D371-E5D0-3DF9-8D30-17B6F413B34D}"/>
              </a:ext>
            </a:extLst>
          </p:cNvPr>
          <p:cNvSpPr>
            <a:spLocks noGrp="1"/>
          </p:cNvSpPr>
          <p:nvPr>
            <p:ph type="pic" sz="quarter" idx="41"/>
          </p:nvPr>
        </p:nvSpPr>
        <p:spPr>
          <a:xfrm>
            <a:off x="9668518" y="2152093"/>
            <a:ext cx="521208" cy="521208"/>
          </a:xfrm>
          <a:noFill/>
        </p:spPr>
        <p:txBody>
          <a:bodyPr/>
          <a:lstStyle>
            <a:lvl1pPr>
              <a:defRPr sz="1100">
                <a:solidFill>
                  <a:schemeClr val="tx1"/>
                </a:solidFill>
              </a:defRPr>
            </a:lvl1pPr>
          </a:lstStyle>
          <a:p>
            <a:r>
              <a:rPr lang="en-US"/>
              <a:t>Click icon to add picture</a:t>
            </a:r>
          </a:p>
        </p:txBody>
      </p:sp>
    </p:spTree>
    <p:extLst>
      <p:ext uri="{BB962C8B-B14F-4D97-AF65-F5344CB8AC3E}">
        <p14:creationId xmlns:p14="http://schemas.microsoft.com/office/powerpoint/2010/main" val="21120582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5-Column Slide - Dark">
    <p:bg>
      <p:bgPr>
        <a:solidFill>
          <a:schemeClr val="tx2"/>
        </a:solidFill>
        <a:effectLst/>
      </p:bgPr>
    </p:bg>
    <p:spTree>
      <p:nvGrpSpPr>
        <p:cNvPr id="1" name=""/>
        <p:cNvGrpSpPr/>
        <p:nvPr/>
      </p:nvGrpSpPr>
      <p:grpSpPr>
        <a:xfrm>
          <a:off x="0" y="0"/>
          <a:ext cx="0" cy="0"/>
          <a:chOff x="0" y="0"/>
          <a:chExt cx="0" cy="0"/>
        </a:xfrm>
      </p:grpSpPr>
      <p:sp>
        <p:nvSpPr>
          <p:cNvPr id="29" name="Picture Placeholder 44">
            <a:extLst>
              <a:ext uri="{FF2B5EF4-FFF2-40B4-BE49-F238E27FC236}">
                <a16:creationId xmlns:a16="http://schemas.microsoft.com/office/drawing/2014/main" id="{13784C03-FBF4-1B5A-7C2E-B178574279A4}"/>
              </a:ext>
            </a:extLst>
          </p:cNvPr>
          <p:cNvSpPr>
            <a:spLocks noGrp="1"/>
          </p:cNvSpPr>
          <p:nvPr>
            <p:ph type="pic" sz="quarter" idx="37"/>
          </p:nvPr>
        </p:nvSpPr>
        <p:spPr>
          <a:xfrm>
            <a:off x="567068" y="2152093"/>
            <a:ext cx="521208" cy="521208"/>
          </a:xfrm>
          <a:noFill/>
        </p:spPr>
        <p:txBody>
          <a:bodyPr/>
          <a:lstStyle>
            <a:lvl1pPr>
              <a:defRPr sz="1100">
                <a:solidFill>
                  <a:schemeClr val="bg1"/>
                </a:solidFill>
              </a:defRPr>
            </a:lvl1pPr>
          </a:lstStyle>
          <a:p>
            <a:r>
              <a:rPr lang="en-US"/>
              <a:t>Click icon to add picture</a:t>
            </a:r>
          </a:p>
        </p:txBody>
      </p:sp>
      <p:sp>
        <p:nvSpPr>
          <p:cNvPr id="30" name="Picture Placeholder 44">
            <a:extLst>
              <a:ext uri="{FF2B5EF4-FFF2-40B4-BE49-F238E27FC236}">
                <a16:creationId xmlns:a16="http://schemas.microsoft.com/office/drawing/2014/main" id="{3CFF7CBB-4E9D-0B39-DA7A-FD8271833160}"/>
              </a:ext>
            </a:extLst>
          </p:cNvPr>
          <p:cNvSpPr>
            <a:spLocks noGrp="1"/>
          </p:cNvSpPr>
          <p:nvPr>
            <p:ph type="pic" sz="quarter" idx="38"/>
          </p:nvPr>
        </p:nvSpPr>
        <p:spPr>
          <a:xfrm>
            <a:off x="2821168" y="2152093"/>
            <a:ext cx="521208" cy="521208"/>
          </a:xfrm>
          <a:noFill/>
        </p:spPr>
        <p:txBody>
          <a:bodyPr/>
          <a:lstStyle>
            <a:lvl1pPr>
              <a:defRPr sz="1100">
                <a:solidFill>
                  <a:schemeClr val="bg1"/>
                </a:solidFill>
              </a:defRPr>
            </a:lvl1pPr>
          </a:lstStyle>
          <a:p>
            <a:r>
              <a:rPr lang="en-US"/>
              <a:t>Click icon to add picture</a:t>
            </a:r>
          </a:p>
        </p:txBody>
      </p:sp>
      <p:sp>
        <p:nvSpPr>
          <p:cNvPr id="31" name="Picture Placeholder 44">
            <a:extLst>
              <a:ext uri="{FF2B5EF4-FFF2-40B4-BE49-F238E27FC236}">
                <a16:creationId xmlns:a16="http://schemas.microsoft.com/office/drawing/2014/main" id="{76668B8C-4BF3-E7F5-C6F1-F1891A5295CA}"/>
              </a:ext>
            </a:extLst>
          </p:cNvPr>
          <p:cNvSpPr>
            <a:spLocks noGrp="1"/>
          </p:cNvSpPr>
          <p:nvPr>
            <p:ph type="pic" sz="quarter" idx="39"/>
          </p:nvPr>
        </p:nvSpPr>
        <p:spPr>
          <a:xfrm>
            <a:off x="5128424" y="2152093"/>
            <a:ext cx="521208" cy="521208"/>
          </a:xfrm>
          <a:noFill/>
        </p:spPr>
        <p:txBody>
          <a:bodyPr/>
          <a:lstStyle>
            <a:lvl1pPr>
              <a:defRPr sz="1100">
                <a:solidFill>
                  <a:schemeClr val="bg1"/>
                </a:solidFill>
              </a:defRPr>
            </a:lvl1pPr>
          </a:lstStyle>
          <a:p>
            <a:r>
              <a:rPr lang="en-US"/>
              <a:t>Click icon to add picture</a:t>
            </a:r>
          </a:p>
        </p:txBody>
      </p:sp>
      <p:sp>
        <p:nvSpPr>
          <p:cNvPr id="32" name="Picture Placeholder 44">
            <a:extLst>
              <a:ext uri="{FF2B5EF4-FFF2-40B4-BE49-F238E27FC236}">
                <a16:creationId xmlns:a16="http://schemas.microsoft.com/office/drawing/2014/main" id="{BFDC18ED-AC2D-C92F-27D7-7EB549D74B9A}"/>
              </a:ext>
            </a:extLst>
          </p:cNvPr>
          <p:cNvSpPr>
            <a:spLocks noGrp="1"/>
          </p:cNvSpPr>
          <p:nvPr>
            <p:ph type="pic" sz="quarter" idx="40"/>
          </p:nvPr>
        </p:nvSpPr>
        <p:spPr>
          <a:xfrm>
            <a:off x="7382518" y="2152093"/>
            <a:ext cx="521208" cy="521208"/>
          </a:xfrm>
          <a:noFill/>
        </p:spPr>
        <p:txBody>
          <a:bodyPr/>
          <a:lstStyle>
            <a:lvl1pPr>
              <a:defRPr sz="1100">
                <a:solidFill>
                  <a:schemeClr val="bg1"/>
                </a:solidFill>
              </a:defRPr>
            </a:lvl1pPr>
          </a:lstStyle>
          <a:p>
            <a:r>
              <a:rPr lang="en-US"/>
              <a:t>Click icon to add picture</a:t>
            </a:r>
          </a:p>
        </p:txBody>
      </p:sp>
      <p:sp>
        <p:nvSpPr>
          <p:cNvPr id="33" name="Picture Placeholder 44">
            <a:extLst>
              <a:ext uri="{FF2B5EF4-FFF2-40B4-BE49-F238E27FC236}">
                <a16:creationId xmlns:a16="http://schemas.microsoft.com/office/drawing/2014/main" id="{F2CCA429-706B-FCC9-0689-520F98CA52A6}"/>
              </a:ext>
            </a:extLst>
          </p:cNvPr>
          <p:cNvSpPr>
            <a:spLocks noGrp="1"/>
          </p:cNvSpPr>
          <p:nvPr>
            <p:ph type="pic" sz="quarter" idx="41"/>
          </p:nvPr>
        </p:nvSpPr>
        <p:spPr>
          <a:xfrm>
            <a:off x="9668518" y="2152093"/>
            <a:ext cx="521208" cy="521208"/>
          </a:xfrm>
          <a:noFill/>
        </p:spPr>
        <p:txBody>
          <a:bodyPr/>
          <a:lstStyle>
            <a:lvl1pPr>
              <a:defRPr sz="1100">
                <a:solidFill>
                  <a:schemeClr val="bg1"/>
                </a:solidFill>
              </a:defRPr>
            </a:lvl1pPr>
          </a:lstStyle>
          <a:p>
            <a:r>
              <a:rPr lang="en-US"/>
              <a:t>Click icon to add picture</a:t>
            </a:r>
          </a:p>
        </p:txBody>
      </p:sp>
      <p:sp>
        <p:nvSpPr>
          <p:cNvPr id="2" name="Title 1">
            <a:extLst>
              <a:ext uri="{FF2B5EF4-FFF2-40B4-BE49-F238E27FC236}">
                <a16:creationId xmlns:a16="http://schemas.microsoft.com/office/drawing/2014/main" id="{0949855B-9E52-C109-BB22-81D9DEC99F5B}"/>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
        <p:nvSpPr>
          <p:cNvPr id="35" name="Text Placeholder 35">
            <a:extLst>
              <a:ext uri="{FF2B5EF4-FFF2-40B4-BE49-F238E27FC236}">
                <a16:creationId xmlns:a16="http://schemas.microsoft.com/office/drawing/2014/main" id="{17F8DA8A-8A83-2E82-D082-E4E4BF0C3593}"/>
              </a:ext>
            </a:extLst>
          </p:cNvPr>
          <p:cNvSpPr>
            <a:spLocks noGrp="1"/>
          </p:cNvSpPr>
          <p:nvPr>
            <p:ph type="body" sz="quarter" idx="15" hasCustomPrompt="1"/>
          </p:nvPr>
        </p:nvSpPr>
        <p:spPr>
          <a:xfrm>
            <a:off x="609600"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36" name="Text Placeholder 37">
            <a:extLst>
              <a:ext uri="{FF2B5EF4-FFF2-40B4-BE49-F238E27FC236}">
                <a16:creationId xmlns:a16="http://schemas.microsoft.com/office/drawing/2014/main" id="{E39C0855-30DA-35F6-A578-7BEC38F29FC0}"/>
              </a:ext>
            </a:extLst>
          </p:cNvPr>
          <p:cNvSpPr>
            <a:spLocks noGrp="1"/>
          </p:cNvSpPr>
          <p:nvPr>
            <p:ph type="body" sz="quarter" idx="16"/>
          </p:nvPr>
        </p:nvSpPr>
        <p:spPr>
          <a:xfrm>
            <a:off x="609600"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39" name="Text Placeholder 35">
            <a:extLst>
              <a:ext uri="{FF2B5EF4-FFF2-40B4-BE49-F238E27FC236}">
                <a16:creationId xmlns:a16="http://schemas.microsoft.com/office/drawing/2014/main" id="{8D6FA3CA-013B-6D3F-E406-40575493F284}"/>
              </a:ext>
            </a:extLst>
          </p:cNvPr>
          <p:cNvSpPr>
            <a:spLocks noGrp="1"/>
          </p:cNvSpPr>
          <p:nvPr>
            <p:ph type="body" sz="quarter" idx="17" hasCustomPrompt="1"/>
          </p:nvPr>
        </p:nvSpPr>
        <p:spPr>
          <a:xfrm>
            <a:off x="2884017"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40" name="Text Placeholder 37">
            <a:extLst>
              <a:ext uri="{FF2B5EF4-FFF2-40B4-BE49-F238E27FC236}">
                <a16:creationId xmlns:a16="http://schemas.microsoft.com/office/drawing/2014/main" id="{D7DA436C-CDB7-AF89-F0B6-17B79E2F370A}"/>
              </a:ext>
            </a:extLst>
          </p:cNvPr>
          <p:cNvSpPr>
            <a:spLocks noGrp="1"/>
          </p:cNvSpPr>
          <p:nvPr>
            <p:ph type="body" sz="quarter" idx="18"/>
          </p:nvPr>
        </p:nvSpPr>
        <p:spPr>
          <a:xfrm>
            <a:off x="2884017"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43" name="Text Placeholder 35">
            <a:extLst>
              <a:ext uri="{FF2B5EF4-FFF2-40B4-BE49-F238E27FC236}">
                <a16:creationId xmlns:a16="http://schemas.microsoft.com/office/drawing/2014/main" id="{F85FA32E-317C-3728-F052-86E0456C984F}"/>
              </a:ext>
            </a:extLst>
          </p:cNvPr>
          <p:cNvSpPr>
            <a:spLocks noGrp="1"/>
          </p:cNvSpPr>
          <p:nvPr>
            <p:ph type="body" sz="quarter" idx="19" hasCustomPrompt="1"/>
          </p:nvPr>
        </p:nvSpPr>
        <p:spPr>
          <a:xfrm>
            <a:off x="5155571"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44" name="Text Placeholder 37">
            <a:extLst>
              <a:ext uri="{FF2B5EF4-FFF2-40B4-BE49-F238E27FC236}">
                <a16:creationId xmlns:a16="http://schemas.microsoft.com/office/drawing/2014/main" id="{B8A6C3D4-FCE5-36CA-C2C3-2F5035AD3775}"/>
              </a:ext>
            </a:extLst>
          </p:cNvPr>
          <p:cNvSpPr>
            <a:spLocks noGrp="1"/>
          </p:cNvSpPr>
          <p:nvPr>
            <p:ph type="body" sz="quarter" idx="20"/>
          </p:nvPr>
        </p:nvSpPr>
        <p:spPr>
          <a:xfrm>
            <a:off x="5155571"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47" name="Text Placeholder 35">
            <a:extLst>
              <a:ext uri="{FF2B5EF4-FFF2-40B4-BE49-F238E27FC236}">
                <a16:creationId xmlns:a16="http://schemas.microsoft.com/office/drawing/2014/main" id="{645A059E-6755-4667-7A55-595DC3BA9D45}"/>
              </a:ext>
            </a:extLst>
          </p:cNvPr>
          <p:cNvSpPr>
            <a:spLocks noGrp="1"/>
          </p:cNvSpPr>
          <p:nvPr>
            <p:ph type="body" sz="quarter" idx="21" hasCustomPrompt="1"/>
          </p:nvPr>
        </p:nvSpPr>
        <p:spPr>
          <a:xfrm>
            <a:off x="7429988"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48" name="Text Placeholder 37">
            <a:extLst>
              <a:ext uri="{FF2B5EF4-FFF2-40B4-BE49-F238E27FC236}">
                <a16:creationId xmlns:a16="http://schemas.microsoft.com/office/drawing/2014/main" id="{FF1E85DF-94A0-E95A-E21C-3CCA97B6CD50}"/>
              </a:ext>
            </a:extLst>
          </p:cNvPr>
          <p:cNvSpPr>
            <a:spLocks noGrp="1"/>
          </p:cNvSpPr>
          <p:nvPr>
            <p:ph type="body" sz="quarter" idx="22"/>
          </p:nvPr>
        </p:nvSpPr>
        <p:spPr>
          <a:xfrm>
            <a:off x="7429988"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51" name="Text Placeholder 35">
            <a:extLst>
              <a:ext uri="{FF2B5EF4-FFF2-40B4-BE49-F238E27FC236}">
                <a16:creationId xmlns:a16="http://schemas.microsoft.com/office/drawing/2014/main" id="{B706580B-D0EC-DB84-AF34-412C13B5B155}"/>
              </a:ext>
            </a:extLst>
          </p:cNvPr>
          <p:cNvSpPr>
            <a:spLocks noGrp="1"/>
          </p:cNvSpPr>
          <p:nvPr>
            <p:ph type="body" sz="quarter" idx="23" hasCustomPrompt="1"/>
          </p:nvPr>
        </p:nvSpPr>
        <p:spPr>
          <a:xfrm>
            <a:off x="9709796"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52" name="Text Placeholder 37">
            <a:extLst>
              <a:ext uri="{FF2B5EF4-FFF2-40B4-BE49-F238E27FC236}">
                <a16:creationId xmlns:a16="http://schemas.microsoft.com/office/drawing/2014/main" id="{0EBCED8E-EB08-0B1B-43D9-1EF6B19BC0E1}"/>
              </a:ext>
            </a:extLst>
          </p:cNvPr>
          <p:cNvSpPr>
            <a:spLocks noGrp="1"/>
          </p:cNvSpPr>
          <p:nvPr>
            <p:ph type="body" sz="quarter" idx="24"/>
          </p:nvPr>
        </p:nvSpPr>
        <p:spPr>
          <a:xfrm>
            <a:off x="9709796"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53" name="Text Placeholder 3">
            <a:extLst>
              <a:ext uri="{FF2B5EF4-FFF2-40B4-BE49-F238E27FC236}">
                <a16:creationId xmlns:a16="http://schemas.microsoft.com/office/drawing/2014/main" id="{8EE55DB9-26FC-E53D-E41F-DC7CFF12732F}"/>
              </a:ext>
            </a:extLst>
          </p:cNvPr>
          <p:cNvSpPr>
            <a:spLocks noGrp="1"/>
          </p:cNvSpPr>
          <p:nvPr>
            <p:ph type="body" sz="quarter" idx="13" hasCustomPrompt="1"/>
          </p:nvPr>
        </p:nvSpPr>
        <p:spPr>
          <a:xfrm>
            <a:off x="609600" y="1371912"/>
            <a:ext cx="10972800" cy="307777"/>
          </a:xfrm>
        </p:spPr>
        <p:txBody>
          <a:bodyPr>
            <a:noAutofit/>
          </a:bodyPr>
          <a:lstStyle>
            <a:lvl1pPr>
              <a:defRPr>
                <a:solidFill>
                  <a:schemeClr val="bg1"/>
                </a:solidFill>
              </a:defRPr>
            </a:lvl1pPr>
          </a:lstStyle>
          <a:p>
            <a:pPr lvl="0"/>
            <a:r>
              <a:rPr lang="en-US"/>
              <a:t>Subtitle</a:t>
            </a:r>
          </a:p>
        </p:txBody>
      </p:sp>
      <p:sp>
        <p:nvSpPr>
          <p:cNvPr id="3" name="Text Placeholder 7">
            <a:extLst>
              <a:ext uri="{FF2B5EF4-FFF2-40B4-BE49-F238E27FC236}">
                <a16:creationId xmlns:a16="http://schemas.microsoft.com/office/drawing/2014/main" id="{9CF81027-B92C-3715-B3B8-0AA5AEBC1A2C}"/>
              </a:ext>
            </a:extLst>
          </p:cNvPr>
          <p:cNvSpPr>
            <a:spLocks noGrp="1"/>
          </p:cNvSpPr>
          <p:nvPr>
            <p:ph type="body" sz="quarter" idx="25"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4" name="Date Placeholder 12">
            <a:extLst>
              <a:ext uri="{FF2B5EF4-FFF2-40B4-BE49-F238E27FC236}">
                <a16:creationId xmlns:a16="http://schemas.microsoft.com/office/drawing/2014/main" id="{68B22D36-3282-7602-31C9-EEE78DC5A22A}"/>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2E532ACB-1314-45C6-998F-CFCCA7A58407}" type="datetime4">
              <a:rPr lang="en-US" smtClean="0"/>
              <a:t>May 17, 2025</a:t>
            </a:fld>
            <a:endParaRPr lang="en-US"/>
          </a:p>
        </p:txBody>
      </p:sp>
      <p:sp>
        <p:nvSpPr>
          <p:cNvPr id="5" name="Footer Placeholder 13">
            <a:extLst>
              <a:ext uri="{FF2B5EF4-FFF2-40B4-BE49-F238E27FC236}">
                <a16:creationId xmlns:a16="http://schemas.microsoft.com/office/drawing/2014/main" id="{E9408875-4247-F6C9-BA4A-1C1255D2D0D5}"/>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a:t>© 2024 Guidehouse</a:t>
            </a:r>
          </a:p>
        </p:txBody>
      </p:sp>
      <p:sp>
        <p:nvSpPr>
          <p:cNvPr id="15" name="Slide Number Placeholder 14">
            <a:extLst>
              <a:ext uri="{FF2B5EF4-FFF2-40B4-BE49-F238E27FC236}">
                <a16:creationId xmlns:a16="http://schemas.microsoft.com/office/drawing/2014/main" id="{FE6C9A4D-DB20-F5D9-67E5-661A2E468791}"/>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a:p>
        </p:txBody>
      </p:sp>
      <p:pic>
        <p:nvPicPr>
          <p:cNvPr id="16" name="Graphic 15">
            <a:extLst>
              <a:ext uri="{FF2B5EF4-FFF2-40B4-BE49-F238E27FC236}">
                <a16:creationId xmlns:a16="http://schemas.microsoft.com/office/drawing/2014/main" id="{B44132BF-63D7-EDBB-8062-09CEDBF903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17" name="Straight Connector 16">
            <a:extLst>
              <a:ext uri="{FF2B5EF4-FFF2-40B4-BE49-F238E27FC236}">
                <a16:creationId xmlns:a16="http://schemas.microsoft.com/office/drawing/2014/main" id="{D9AA6A45-58A1-ECA9-622F-69F4D2BDCCEE}"/>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B36F4EB-7F41-9412-B8E4-4E989911B223}"/>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6DEDC02D-8AF2-C5AE-14D7-410BAC85D4EE}"/>
              </a:ext>
            </a:extLst>
          </p:cNvPr>
          <p:cNvGrpSpPr/>
          <p:nvPr userDrawn="1"/>
        </p:nvGrpSpPr>
        <p:grpSpPr>
          <a:xfrm>
            <a:off x="0" y="426998"/>
            <a:ext cx="12192000" cy="6004005"/>
            <a:chOff x="0" y="426998"/>
            <a:chExt cx="12192000" cy="6004005"/>
          </a:xfrm>
        </p:grpSpPr>
        <p:cxnSp>
          <p:nvCxnSpPr>
            <p:cNvPr id="24" name="Straight Connector 23">
              <a:extLst>
                <a:ext uri="{FF2B5EF4-FFF2-40B4-BE49-F238E27FC236}">
                  <a16:creationId xmlns:a16="http://schemas.microsoft.com/office/drawing/2014/main" id="{6A10C43D-9D28-CF07-F1C3-0188CC01673B}"/>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AF94324-3EC5-1E9A-9848-3AB33B32689D}"/>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6320459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Four-quadrant A">
    <p:bg>
      <p:bgPr>
        <a:solidFill>
          <a:srgbClr val="F3F3F3"/>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F51D2EF4-5001-F13C-F78E-C3CD30675C37}"/>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9F35C9-63E6-2126-5191-C8E8DE1823BD}"/>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5B575CD-A0F4-D05B-49D1-AAC0DA3F142F}"/>
              </a:ext>
            </a:extLst>
          </p:cNvPr>
          <p:cNvSpPr>
            <a:spLocks noGrp="1"/>
          </p:cNvSpPr>
          <p:nvPr userDrawn="1">
            <p:ph type="body" sz="quarter" idx="3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81" name="Title 1">
            <a:extLst>
              <a:ext uri="{FF2B5EF4-FFF2-40B4-BE49-F238E27FC236}">
                <a16:creationId xmlns:a16="http://schemas.microsoft.com/office/drawing/2014/main" id="{4D986523-65F7-CA58-BE9F-95D9B42E6D58}"/>
              </a:ext>
            </a:extLst>
          </p:cNvPr>
          <p:cNvSpPr>
            <a:spLocks noGrp="1"/>
          </p:cNvSpPr>
          <p:nvPr userDrawn="1">
            <p:ph type="title"/>
          </p:nvPr>
        </p:nvSpPr>
        <p:spPr>
          <a:xfrm>
            <a:off x="609600" y="800754"/>
            <a:ext cx="7078980" cy="553998"/>
          </a:xfrm>
        </p:spPr>
        <p:txBody>
          <a:bodyPr>
            <a:noAutofit/>
          </a:bodyPr>
          <a:lstStyle/>
          <a:p>
            <a:r>
              <a:rPr lang="en-US"/>
              <a:t>Click to edit Master title style</a:t>
            </a:r>
          </a:p>
        </p:txBody>
      </p:sp>
      <p:sp>
        <p:nvSpPr>
          <p:cNvPr id="82" name="Footer Placeholder 2">
            <a:extLst>
              <a:ext uri="{FF2B5EF4-FFF2-40B4-BE49-F238E27FC236}">
                <a16:creationId xmlns:a16="http://schemas.microsoft.com/office/drawing/2014/main" id="{E36D4873-2E50-8B23-FB19-DDF3582A4B90}"/>
              </a:ext>
            </a:extLst>
          </p:cNvPr>
          <p:cNvSpPr>
            <a:spLocks noGrp="1"/>
          </p:cNvSpPr>
          <p:nvPr userDrawn="1">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84" name="Text Placeholder 24">
            <a:extLst>
              <a:ext uri="{FF2B5EF4-FFF2-40B4-BE49-F238E27FC236}">
                <a16:creationId xmlns:a16="http://schemas.microsoft.com/office/drawing/2014/main" id="{0771B77D-36A1-4EBD-304A-B385904204BE}"/>
              </a:ext>
            </a:extLst>
          </p:cNvPr>
          <p:cNvSpPr>
            <a:spLocks noGrp="1"/>
          </p:cNvSpPr>
          <p:nvPr userDrawn="1">
            <p:ph type="body" sz="quarter" idx="29"/>
          </p:nvPr>
        </p:nvSpPr>
        <p:spPr>
          <a:xfrm>
            <a:off x="609600" y="2515283"/>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85" name="Text Placeholder 26">
            <a:extLst>
              <a:ext uri="{FF2B5EF4-FFF2-40B4-BE49-F238E27FC236}">
                <a16:creationId xmlns:a16="http://schemas.microsoft.com/office/drawing/2014/main" id="{EDD43944-89C8-A706-4272-8607BBCA2B02}"/>
              </a:ext>
            </a:extLst>
          </p:cNvPr>
          <p:cNvSpPr>
            <a:spLocks noGrp="1"/>
          </p:cNvSpPr>
          <p:nvPr userDrawn="1">
            <p:ph type="body" sz="quarter" idx="30" hasCustomPrompt="1"/>
          </p:nvPr>
        </p:nvSpPr>
        <p:spPr>
          <a:xfrm>
            <a:off x="609600" y="1795047"/>
            <a:ext cx="442911" cy="430887"/>
          </a:xfrm>
          <a:noFill/>
        </p:spPr>
        <p:txBody>
          <a:bodyPr anchor="b">
            <a:noAutofit/>
          </a:bodyPr>
          <a:lstStyle>
            <a:lvl1pPr algn="l">
              <a:defRPr sz="2800">
                <a:solidFill>
                  <a:schemeClr val="tx2"/>
                </a:solidFill>
              </a:defRPr>
            </a:lvl1pPr>
          </a:lstStyle>
          <a:p>
            <a:pPr lvl="0"/>
            <a:r>
              <a:rPr lang="en-US"/>
              <a:t>00</a:t>
            </a:r>
          </a:p>
        </p:txBody>
      </p:sp>
      <p:sp>
        <p:nvSpPr>
          <p:cNvPr id="87" name="Text Placeholder 24">
            <a:extLst>
              <a:ext uri="{FF2B5EF4-FFF2-40B4-BE49-F238E27FC236}">
                <a16:creationId xmlns:a16="http://schemas.microsoft.com/office/drawing/2014/main" id="{B662D300-DDAF-6F6B-8E39-A7418E15931D}"/>
              </a:ext>
            </a:extLst>
          </p:cNvPr>
          <p:cNvSpPr>
            <a:spLocks noGrp="1"/>
          </p:cNvSpPr>
          <p:nvPr userDrawn="1">
            <p:ph type="body" sz="quarter" idx="31"/>
          </p:nvPr>
        </p:nvSpPr>
        <p:spPr>
          <a:xfrm>
            <a:off x="4500880" y="2515283"/>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88" name="Text Placeholder 26">
            <a:extLst>
              <a:ext uri="{FF2B5EF4-FFF2-40B4-BE49-F238E27FC236}">
                <a16:creationId xmlns:a16="http://schemas.microsoft.com/office/drawing/2014/main" id="{16EEBDC3-7C5A-0C72-D3E0-741A60E0E06F}"/>
              </a:ext>
            </a:extLst>
          </p:cNvPr>
          <p:cNvSpPr>
            <a:spLocks noGrp="1"/>
          </p:cNvSpPr>
          <p:nvPr userDrawn="1">
            <p:ph type="body" sz="quarter" idx="32" hasCustomPrompt="1"/>
          </p:nvPr>
        </p:nvSpPr>
        <p:spPr>
          <a:xfrm>
            <a:off x="4500880" y="1795047"/>
            <a:ext cx="442911" cy="430887"/>
          </a:xfrm>
          <a:noFill/>
        </p:spPr>
        <p:txBody>
          <a:bodyPr anchor="b">
            <a:noAutofit/>
          </a:bodyPr>
          <a:lstStyle>
            <a:lvl1pPr algn="l">
              <a:defRPr sz="2800">
                <a:solidFill>
                  <a:schemeClr val="tx2"/>
                </a:solidFill>
              </a:defRPr>
            </a:lvl1pPr>
          </a:lstStyle>
          <a:p>
            <a:pPr lvl="0"/>
            <a:r>
              <a:rPr lang="en-US"/>
              <a:t>00</a:t>
            </a:r>
          </a:p>
        </p:txBody>
      </p:sp>
      <p:sp>
        <p:nvSpPr>
          <p:cNvPr id="90" name="Text Placeholder 24">
            <a:extLst>
              <a:ext uri="{FF2B5EF4-FFF2-40B4-BE49-F238E27FC236}">
                <a16:creationId xmlns:a16="http://schemas.microsoft.com/office/drawing/2014/main" id="{A24F53DB-EA07-419C-E02D-D0E94FD045F8}"/>
              </a:ext>
            </a:extLst>
          </p:cNvPr>
          <p:cNvSpPr>
            <a:spLocks noGrp="1"/>
          </p:cNvSpPr>
          <p:nvPr userDrawn="1">
            <p:ph type="body" sz="quarter" idx="33"/>
          </p:nvPr>
        </p:nvSpPr>
        <p:spPr>
          <a:xfrm>
            <a:off x="609600" y="4654479"/>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91" name="Text Placeholder 26">
            <a:extLst>
              <a:ext uri="{FF2B5EF4-FFF2-40B4-BE49-F238E27FC236}">
                <a16:creationId xmlns:a16="http://schemas.microsoft.com/office/drawing/2014/main" id="{3A78A5E1-A2A6-7C74-75F4-720FD2C10167}"/>
              </a:ext>
            </a:extLst>
          </p:cNvPr>
          <p:cNvSpPr>
            <a:spLocks noGrp="1"/>
          </p:cNvSpPr>
          <p:nvPr userDrawn="1">
            <p:ph type="body" sz="quarter" idx="34" hasCustomPrompt="1"/>
          </p:nvPr>
        </p:nvSpPr>
        <p:spPr>
          <a:xfrm>
            <a:off x="609600" y="3934243"/>
            <a:ext cx="442911" cy="430887"/>
          </a:xfrm>
          <a:noFill/>
        </p:spPr>
        <p:txBody>
          <a:bodyPr anchor="b">
            <a:noAutofit/>
          </a:bodyPr>
          <a:lstStyle>
            <a:lvl1pPr algn="l">
              <a:defRPr sz="2800">
                <a:solidFill>
                  <a:schemeClr val="tx2"/>
                </a:solidFill>
              </a:defRPr>
            </a:lvl1pPr>
          </a:lstStyle>
          <a:p>
            <a:pPr lvl="0"/>
            <a:r>
              <a:rPr lang="en-US"/>
              <a:t>00</a:t>
            </a:r>
          </a:p>
        </p:txBody>
      </p:sp>
      <p:sp>
        <p:nvSpPr>
          <p:cNvPr id="93" name="Text Placeholder 24">
            <a:extLst>
              <a:ext uri="{FF2B5EF4-FFF2-40B4-BE49-F238E27FC236}">
                <a16:creationId xmlns:a16="http://schemas.microsoft.com/office/drawing/2014/main" id="{299D343F-259D-AA0D-D7CC-4D2F2C059A3A}"/>
              </a:ext>
            </a:extLst>
          </p:cNvPr>
          <p:cNvSpPr>
            <a:spLocks noGrp="1"/>
          </p:cNvSpPr>
          <p:nvPr userDrawn="1">
            <p:ph type="body" sz="quarter" idx="35"/>
          </p:nvPr>
        </p:nvSpPr>
        <p:spPr>
          <a:xfrm>
            <a:off x="4500880" y="4654479"/>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94" name="Text Placeholder 26">
            <a:extLst>
              <a:ext uri="{FF2B5EF4-FFF2-40B4-BE49-F238E27FC236}">
                <a16:creationId xmlns:a16="http://schemas.microsoft.com/office/drawing/2014/main" id="{3AE29A0E-322A-0149-80CB-2224AB498D1E}"/>
              </a:ext>
            </a:extLst>
          </p:cNvPr>
          <p:cNvSpPr>
            <a:spLocks noGrp="1"/>
          </p:cNvSpPr>
          <p:nvPr userDrawn="1">
            <p:ph type="body" sz="quarter" idx="36" hasCustomPrompt="1"/>
          </p:nvPr>
        </p:nvSpPr>
        <p:spPr>
          <a:xfrm>
            <a:off x="4500880" y="3934243"/>
            <a:ext cx="442911" cy="430887"/>
          </a:xfrm>
          <a:noFill/>
        </p:spPr>
        <p:txBody>
          <a:bodyPr anchor="b">
            <a:noAutofit/>
          </a:bodyPr>
          <a:lstStyle>
            <a:lvl1pPr algn="l">
              <a:defRPr sz="2800">
                <a:solidFill>
                  <a:schemeClr val="tx2"/>
                </a:solidFill>
              </a:defRPr>
            </a:lvl1pPr>
          </a:lstStyle>
          <a:p>
            <a:pPr lvl="0"/>
            <a:r>
              <a:rPr lang="en-US"/>
              <a:t>00</a:t>
            </a:r>
          </a:p>
        </p:txBody>
      </p:sp>
      <p:sp>
        <p:nvSpPr>
          <p:cNvPr id="95" name="Text Placeholder 3">
            <a:extLst>
              <a:ext uri="{FF2B5EF4-FFF2-40B4-BE49-F238E27FC236}">
                <a16:creationId xmlns:a16="http://schemas.microsoft.com/office/drawing/2014/main" id="{E79CC756-FCC7-0E3C-8EE7-C039DC9CA4BE}"/>
              </a:ext>
            </a:extLst>
          </p:cNvPr>
          <p:cNvSpPr>
            <a:spLocks noGrp="1"/>
          </p:cNvSpPr>
          <p:nvPr userDrawn="1">
            <p:ph type="body" sz="quarter" idx="13" hasCustomPrompt="1"/>
          </p:nvPr>
        </p:nvSpPr>
        <p:spPr>
          <a:xfrm>
            <a:off x="609600" y="1371912"/>
            <a:ext cx="7078980" cy="307777"/>
          </a:xfrm>
        </p:spPr>
        <p:txBody>
          <a:bodyPr wrap="square">
            <a:noAutofit/>
          </a:bodyPr>
          <a:lstStyle>
            <a:lvl1pPr>
              <a:defRPr>
                <a:solidFill>
                  <a:schemeClr val="tx1">
                    <a:lumMod val="75000"/>
                    <a:lumOff val="25000"/>
                  </a:schemeClr>
                </a:solidFill>
              </a:defRPr>
            </a:lvl1pPr>
          </a:lstStyle>
          <a:p>
            <a:pPr lvl="0"/>
            <a:r>
              <a:rPr lang="en-US"/>
              <a:t>Subtitle</a:t>
            </a:r>
          </a:p>
        </p:txBody>
      </p:sp>
      <p:pic>
        <p:nvPicPr>
          <p:cNvPr id="121" name="Graphic 120">
            <a:extLst>
              <a:ext uri="{FF2B5EF4-FFF2-40B4-BE49-F238E27FC236}">
                <a16:creationId xmlns:a16="http://schemas.microsoft.com/office/drawing/2014/main" id="{6A763AC6-A1BF-3217-C428-6A96C5F278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5" y="88565"/>
            <a:ext cx="984250" cy="250052"/>
          </a:xfrm>
          <a:prstGeom prst="rect">
            <a:avLst/>
          </a:prstGeom>
        </p:spPr>
      </p:pic>
      <p:sp>
        <p:nvSpPr>
          <p:cNvPr id="10" name="Date Placeholder 49">
            <a:extLst>
              <a:ext uri="{FF2B5EF4-FFF2-40B4-BE49-F238E27FC236}">
                <a16:creationId xmlns:a16="http://schemas.microsoft.com/office/drawing/2014/main" id="{B6B4F7AA-D801-2536-6EE3-F4B99BF9D20C}"/>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ED734FD3-1022-4EF1-9EEE-DC71863AE71C}" type="datetime4">
              <a:rPr lang="en-US" smtClean="0"/>
              <a:t>May 17, 2025</a:t>
            </a:fld>
            <a:endParaRPr lang="en-US"/>
          </a:p>
        </p:txBody>
      </p:sp>
      <p:sp>
        <p:nvSpPr>
          <p:cNvPr id="11" name="Slide Number Placeholder 5">
            <a:extLst>
              <a:ext uri="{FF2B5EF4-FFF2-40B4-BE49-F238E27FC236}">
                <a16:creationId xmlns:a16="http://schemas.microsoft.com/office/drawing/2014/main" id="{A8FCD07A-5585-B12C-E039-0E70F1069B93}"/>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5" name="Text Placeholder 4">
            <a:extLst>
              <a:ext uri="{FF2B5EF4-FFF2-40B4-BE49-F238E27FC236}">
                <a16:creationId xmlns:a16="http://schemas.microsoft.com/office/drawing/2014/main" id="{A2CEBDD6-7A45-1DCB-6DD9-837A9D6953A6}"/>
              </a:ext>
            </a:extLst>
          </p:cNvPr>
          <p:cNvSpPr>
            <a:spLocks noGrp="1"/>
          </p:cNvSpPr>
          <p:nvPr>
            <p:ph type="body" sz="quarter" idx="38"/>
          </p:nvPr>
        </p:nvSpPr>
        <p:spPr>
          <a:xfrm>
            <a:off x="609600" y="3078123"/>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9" name="Text Placeholder 8">
            <a:extLst>
              <a:ext uri="{FF2B5EF4-FFF2-40B4-BE49-F238E27FC236}">
                <a16:creationId xmlns:a16="http://schemas.microsoft.com/office/drawing/2014/main" id="{01C9D9A6-A4A2-3FF9-B2A9-B6C7854452D7}"/>
              </a:ext>
            </a:extLst>
          </p:cNvPr>
          <p:cNvSpPr>
            <a:spLocks noGrp="1"/>
          </p:cNvSpPr>
          <p:nvPr>
            <p:ph type="body" sz="quarter" idx="39"/>
          </p:nvPr>
        </p:nvSpPr>
        <p:spPr>
          <a:xfrm>
            <a:off x="4500563" y="3081489"/>
            <a:ext cx="3187700" cy="731520"/>
          </a:xfrm>
        </p:spPr>
        <p:txBody>
          <a:bodyPr/>
          <a:lstStyle>
            <a:lvl1pPr marL="0" indent="0">
              <a:buFont typeface="Arial" panose="020B0604020202020204" pitchFamily="34" charset="0"/>
              <a:buNone/>
              <a:defRPr sz="14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4" name="Text Placeholder 13">
            <a:extLst>
              <a:ext uri="{FF2B5EF4-FFF2-40B4-BE49-F238E27FC236}">
                <a16:creationId xmlns:a16="http://schemas.microsoft.com/office/drawing/2014/main" id="{1ABE8072-909A-8BAD-8CA7-5013DF7F7234}"/>
              </a:ext>
            </a:extLst>
          </p:cNvPr>
          <p:cNvSpPr>
            <a:spLocks noGrp="1"/>
          </p:cNvSpPr>
          <p:nvPr>
            <p:ph type="body" sz="quarter" idx="40"/>
          </p:nvPr>
        </p:nvSpPr>
        <p:spPr>
          <a:xfrm>
            <a:off x="609600" y="5221224"/>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15" name="Text Placeholder 13">
            <a:extLst>
              <a:ext uri="{FF2B5EF4-FFF2-40B4-BE49-F238E27FC236}">
                <a16:creationId xmlns:a16="http://schemas.microsoft.com/office/drawing/2014/main" id="{177CCA37-B289-D95E-8C0E-BC5B98271196}"/>
              </a:ext>
            </a:extLst>
          </p:cNvPr>
          <p:cNvSpPr>
            <a:spLocks noGrp="1"/>
          </p:cNvSpPr>
          <p:nvPr>
            <p:ph type="body" sz="quarter" idx="41"/>
          </p:nvPr>
        </p:nvSpPr>
        <p:spPr>
          <a:xfrm>
            <a:off x="4505008" y="5221224"/>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pic>
        <p:nvPicPr>
          <p:cNvPr id="4" name="Picture 3" descr="A screenshot of a video game&#10;&#10;Description automatically generated">
            <a:extLst>
              <a:ext uri="{FF2B5EF4-FFF2-40B4-BE49-F238E27FC236}">
                <a16:creationId xmlns:a16="http://schemas.microsoft.com/office/drawing/2014/main" id="{37647DFC-6A3B-B517-AE8C-24502C125240}"/>
              </a:ext>
            </a:extLst>
          </p:cNvPr>
          <p:cNvPicPr/>
          <p:nvPr userDrawn="1"/>
        </p:nvPicPr>
        <p:blipFill rotWithShape="1">
          <a:blip r:embed="rId4">
            <a:extLst>
              <a:ext uri="{28A0092B-C50C-407E-A947-70E740481C1C}">
                <a14:useLocalDpi xmlns:a14="http://schemas.microsoft.com/office/drawing/2010/main" val="0"/>
              </a:ext>
            </a:extLst>
          </a:blip>
          <a:srcRect l="11677" t="34373" r="8007" b="2938"/>
          <a:stretch/>
        </p:blipFill>
        <p:spPr>
          <a:xfrm>
            <a:off x="8359253" y="539087"/>
            <a:ext cx="3261815" cy="5786650"/>
          </a:xfrm>
          <a:prstGeom prst="rect">
            <a:avLst/>
          </a:prstGeom>
        </p:spPr>
      </p:pic>
    </p:spTree>
    <p:extLst>
      <p:ext uri="{BB962C8B-B14F-4D97-AF65-F5344CB8AC3E}">
        <p14:creationId xmlns:p14="http://schemas.microsoft.com/office/powerpoint/2010/main" val="39582137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Four Quadrant A (Dark)">
    <p:bg>
      <p:bgPr>
        <a:solidFill>
          <a:schemeClr val="tx2"/>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35B575CD-A0F4-D05B-49D1-AAC0DA3F142F}"/>
              </a:ext>
            </a:extLst>
          </p:cNvPr>
          <p:cNvSpPr>
            <a:spLocks noGrp="1"/>
          </p:cNvSpPr>
          <p:nvPr userDrawn="1">
            <p:ph type="body" sz="quarter" idx="37" hasCustomPrompt="1"/>
          </p:nvPr>
        </p:nvSpPr>
        <p:spPr>
          <a:xfrm>
            <a:off x="609600" y="136647"/>
            <a:ext cx="4076700" cy="153888"/>
          </a:xfrm>
        </p:spPr>
        <p:txBody>
          <a:bodyPr vert="horz" wrap="square" lIns="0" tIns="0" rIns="0" bIns="0" rtlCol="0" anchor="ctr">
            <a:noAutofit/>
          </a:bodyPr>
          <a:lstStyle>
            <a:lvl1pPr>
              <a:defRPr lang="en-US" sz="1000" b="0" cap="all" spc="0" baseline="0" dirty="0">
                <a:solidFill>
                  <a:schemeClr val="accent1"/>
                </a:solidFill>
                <a:latin typeface="+mj-lt"/>
              </a:defRPr>
            </a:lvl1pPr>
          </a:lstStyle>
          <a:p>
            <a:pPr lvl="0">
              <a:spcAft>
                <a:spcPts val="0"/>
              </a:spcAft>
            </a:pPr>
            <a:r>
              <a:rPr lang="en-US"/>
              <a:t>Industry Name / Section Title</a:t>
            </a:r>
          </a:p>
        </p:txBody>
      </p:sp>
      <p:sp>
        <p:nvSpPr>
          <p:cNvPr id="81" name="Title 1">
            <a:extLst>
              <a:ext uri="{FF2B5EF4-FFF2-40B4-BE49-F238E27FC236}">
                <a16:creationId xmlns:a16="http://schemas.microsoft.com/office/drawing/2014/main" id="{4D986523-65F7-CA58-BE9F-95D9B42E6D58}"/>
              </a:ext>
            </a:extLst>
          </p:cNvPr>
          <p:cNvSpPr>
            <a:spLocks noGrp="1"/>
          </p:cNvSpPr>
          <p:nvPr>
            <p:ph type="title"/>
          </p:nvPr>
        </p:nvSpPr>
        <p:spPr>
          <a:xfrm>
            <a:off x="609600" y="800754"/>
            <a:ext cx="7078980" cy="553998"/>
          </a:xfrm>
        </p:spPr>
        <p:txBody>
          <a:bodyPr>
            <a:noAutofit/>
          </a:bodyPr>
          <a:lstStyle>
            <a:lvl1pPr>
              <a:defRPr>
                <a:solidFill>
                  <a:schemeClr val="bg1"/>
                </a:solidFill>
              </a:defRPr>
            </a:lvl1pPr>
          </a:lstStyle>
          <a:p>
            <a:r>
              <a:rPr lang="en-US"/>
              <a:t>Click to edit Master title style</a:t>
            </a:r>
          </a:p>
        </p:txBody>
      </p:sp>
      <p:sp>
        <p:nvSpPr>
          <p:cNvPr id="82" name="Footer Placeholder 2">
            <a:extLst>
              <a:ext uri="{FF2B5EF4-FFF2-40B4-BE49-F238E27FC236}">
                <a16:creationId xmlns:a16="http://schemas.microsoft.com/office/drawing/2014/main" id="{E36D4873-2E50-8B23-FB19-DDF3582A4B90}"/>
              </a:ext>
            </a:extLst>
          </p:cNvPr>
          <p:cNvSpPr>
            <a:spLocks noGrp="1"/>
          </p:cNvSpPr>
          <p:nvPr>
            <p:ph type="ftr" sz="quarter" idx="10"/>
          </p:nvPr>
        </p:nvSpPr>
        <p:spPr>
          <a:xfrm>
            <a:off x="609600" y="6567465"/>
            <a:ext cx="10083800" cy="153888"/>
          </a:xfrm>
          <a:prstGeom prst="rect">
            <a:avLst/>
          </a:prstGeom>
        </p:spPr>
        <p:txBody>
          <a:bodyPr vert="horz" lIns="0" tIns="0" rIns="0" bIns="0" rtlCol="0" anchor="ctr">
            <a:noAutofit/>
          </a:bodyPr>
          <a:lstStyle>
            <a:lvl1pPr>
              <a:defRPr lang="en-US" smtClean="0">
                <a:solidFill>
                  <a:schemeClr val="bg1">
                    <a:lumMod val="65000"/>
                  </a:schemeClr>
                </a:solidFill>
              </a:defRPr>
            </a:lvl1pPr>
          </a:lstStyle>
          <a:p>
            <a:r>
              <a:rPr lang="en-US"/>
              <a:t>© 2024 Guidehouse</a:t>
            </a:r>
          </a:p>
        </p:txBody>
      </p:sp>
      <p:sp>
        <p:nvSpPr>
          <p:cNvPr id="85" name="Text Placeholder 26">
            <a:extLst>
              <a:ext uri="{FF2B5EF4-FFF2-40B4-BE49-F238E27FC236}">
                <a16:creationId xmlns:a16="http://schemas.microsoft.com/office/drawing/2014/main" id="{EDD43944-89C8-A706-4272-8607BBCA2B02}"/>
              </a:ext>
            </a:extLst>
          </p:cNvPr>
          <p:cNvSpPr>
            <a:spLocks noGrp="1"/>
          </p:cNvSpPr>
          <p:nvPr>
            <p:ph type="body" sz="quarter" idx="30" hasCustomPrompt="1"/>
          </p:nvPr>
        </p:nvSpPr>
        <p:spPr>
          <a:xfrm>
            <a:off x="609600" y="1795047"/>
            <a:ext cx="442911" cy="430887"/>
          </a:xfrm>
          <a:noFill/>
        </p:spPr>
        <p:txBody>
          <a:bodyPr anchor="b">
            <a:noAutofit/>
          </a:bodyPr>
          <a:lstStyle>
            <a:lvl1pPr algn="l">
              <a:defRPr sz="2800">
                <a:solidFill>
                  <a:schemeClr val="accent1"/>
                </a:solidFill>
              </a:defRPr>
            </a:lvl1pPr>
          </a:lstStyle>
          <a:p>
            <a:pPr lvl="0"/>
            <a:r>
              <a:rPr lang="en-US"/>
              <a:t>00</a:t>
            </a:r>
          </a:p>
        </p:txBody>
      </p:sp>
      <p:sp>
        <p:nvSpPr>
          <p:cNvPr id="88" name="Text Placeholder 26">
            <a:extLst>
              <a:ext uri="{FF2B5EF4-FFF2-40B4-BE49-F238E27FC236}">
                <a16:creationId xmlns:a16="http://schemas.microsoft.com/office/drawing/2014/main" id="{16EEBDC3-7C5A-0C72-D3E0-741A60E0E06F}"/>
              </a:ext>
            </a:extLst>
          </p:cNvPr>
          <p:cNvSpPr>
            <a:spLocks noGrp="1"/>
          </p:cNvSpPr>
          <p:nvPr>
            <p:ph type="body" sz="quarter" idx="32" hasCustomPrompt="1"/>
          </p:nvPr>
        </p:nvSpPr>
        <p:spPr>
          <a:xfrm>
            <a:off x="4500880" y="1795047"/>
            <a:ext cx="442911" cy="430887"/>
          </a:xfrm>
          <a:noFill/>
        </p:spPr>
        <p:txBody>
          <a:bodyPr anchor="b">
            <a:noAutofit/>
          </a:bodyPr>
          <a:lstStyle>
            <a:lvl1pPr algn="l">
              <a:defRPr sz="2800">
                <a:solidFill>
                  <a:schemeClr val="accent1"/>
                </a:solidFill>
              </a:defRPr>
            </a:lvl1pPr>
          </a:lstStyle>
          <a:p>
            <a:pPr lvl="0"/>
            <a:r>
              <a:rPr lang="en-US"/>
              <a:t>00</a:t>
            </a:r>
          </a:p>
        </p:txBody>
      </p:sp>
      <p:sp>
        <p:nvSpPr>
          <p:cNvPr id="91" name="Text Placeholder 26">
            <a:extLst>
              <a:ext uri="{FF2B5EF4-FFF2-40B4-BE49-F238E27FC236}">
                <a16:creationId xmlns:a16="http://schemas.microsoft.com/office/drawing/2014/main" id="{3A78A5E1-A2A6-7C74-75F4-720FD2C10167}"/>
              </a:ext>
            </a:extLst>
          </p:cNvPr>
          <p:cNvSpPr>
            <a:spLocks noGrp="1"/>
          </p:cNvSpPr>
          <p:nvPr>
            <p:ph type="body" sz="quarter" idx="34" hasCustomPrompt="1"/>
          </p:nvPr>
        </p:nvSpPr>
        <p:spPr>
          <a:xfrm>
            <a:off x="609600" y="3934243"/>
            <a:ext cx="442911" cy="430887"/>
          </a:xfrm>
          <a:noFill/>
        </p:spPr>
        <p:txBody>
          <a:bodyPr anchor="b">
            <a:noAutofit/>
          </a:bodyPr>
          <a:lstStyle>
            <a:lvl1pPr algn="l">
              <a:defRPr sz="2800">
                <a:solidFill>
                  <a:schemeClr val="accent1"/>
                </a:solidFill>
              </a:defRPr>
            </a:lvl1pPr>
          </a:lstStyle>
          <a:p>
            <a:pPr lvl="0"/>
            <a:r>
              <a:rPr lang="en-US"/>
              <a:t>00</a:t>
            </a:r>
          </a:p>
        </p:txBody>
      </p:sp>
      <p:sp>
        <p:nvSpPr>
          <p:cNvPr id="94" name="Text Placeholder 26">
            <a:extLst>
              <a:ext uri="{FF2B5EF4-FFF2-40B4-BE49-F238E27FC236}">
                <a16:creationId xmlns:a16="http://schemas.microsoft.com/office/drawing/2014/main" id="{3AE29A0E-322A-0149-80CB-2224AB498D1E}"/>
              </a:ext>
            </a:extLst>
          </p:cNvPr>
          <p:cNvSpPr>
            <a:spLocks noGrp="1"/>
          </p:cNvSpPr>
          <p:nvPr>
            <p:ph type="body" sz="quarter" idx="36" hasCustomPrompt="1"/>
          </p:nvPr>
        </p:nvSpPr>
        <p:spPr>
          <a:xfrm>
            <a:off x="4500880" y="3934243"/>
            <a:ext cx="442911" cy="430887"/>
          </a:xfrm>
          <a:noFill/>
        </p:spPr>
        <p:txBody>
          <a:bodyPr anchor="b">
            <a:noAutofit/>
          </a:bodyPr>
          <a:lstStyle>
            <a:lvl1pPr algn="l">
              <a:defRPr sz="2800">
                <a:solidFill>
                  <a:schemeClr val="accent1"/>
                </a:solidFill>
              </a:defRPr>
            </a:lvl1pPr>
          </a:lstStyle>
          <a:p>
            <a:pPr lvl="0"/>
            <a:r>
              <a:rPr lang="en-US"/>
              <a:t>00</a:t>
            </a:r>
          </a:p>
        </p:txBody>
      </p:sp>
      <p:sp>
        <p:nvSpPr>
          <p:cNvPr id="95" name="Text Placeholder 3">
            <a:extLst>
              <a:ext uri="{FF2B5EF4-FFF2-40B4-BE49-F238E27FC236}">
                <a16:creationId xmlns:a16="http://schemas.microsoft.com/office/drawing/2014/main" id="{E79CC756-FCC7-0E3C-8EE7-C039DC9CA4BE}"/>
              </a:ext>
            </a:extLst>
          </p:cNvPr>
          <p:cNvSpPr>
            <a:spLocks noGrp="1"/>
          </p:cNvSpPr>
          <p:nvPr>
            <p:ph type="body" sz="quarter" idx="13" hasCustomPrompt="1"/>
          </p:nvPr>
        </p:nvSpPr>
        <p:spPr>
          <a:xfrm>
            <a:off x="609600" y="1371912"/>
            <a:ext cx="7078980" cy="307777"/>
          </a:xfrm>
        </p:spPr>
        <p:txBody>
          <a:bodyPr wrap="square">
            <a:noAutofit/>
          </a:bodyPr>
          <a:lstStyle>
            <a:lvl1pPr>
              <a:defRPr>
                <a:solidFill>
                  <a:schemeClr val="bg1"/>
                </a:solidFill>
              </a:defRPr>
            </a:lvl1pPr>
          </a:lstStyle>
          <a:p>
            <a:pPr lvl="0"/>
            <a:r>
              <a:rPr lang="en-US"/>
              <a:t>Subtitle</a:t>
            </a:r>
          </a:p>
        </p:txBody>
      </p:sp>
      <p:pic>
        <p:nvPicPr>
          <p:cNvPr id="2" name="Graphic 1">
            <a:extLst>
              <a:ext uri="{FF2B5EF4-FFF2-40B4-BE49-F238E27FC236}">
                <a16:creationId xmlns:a16="http://schemas.microsoft.com/office/drawing/2014/main" id="{152800FE-FBF0-49F7-F7E8-1489412E6B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sp>
        <p:nvSpPr>
          <p:cNvPr id="12" name="Slide Number Placeholder 3">
            <a:extLst>
              <a:ext uri="{FF2B5EF4-FFF2-40B4-BE49-F238E27FC236}">
                <a16:creationId xmlns:a16="http://schemas.microsoft.com/office/drawing/2014/main" id="{46EB6B38-7D72-D320-6E8A-6DD383343B55}"/>
              </a:ext>
            </a:extLst>
          </p:cNvPr>
          <p:cNvSpPr>
            <a:spLocks noGrp="1"/>
          </p:cNvSpPr>
          <p:nvPr>
            <p:ph type="sldNum" sz="quarter" idx="11"/>
          </p:nvPr>
        </p:nvSpPr>
        <p:spPr>
          <a:xfrm>
            <a:off x="11248008" y="6567465"/>
            <a:ext cx="334392" cy="153888"/>
          </a:xfrm>
          <a:prstGeom prst="rect">
            <a:avLst/>
          </a:prstGeom>
        </p:spPr>
        <p:txBody>
          <a:bodyPr vert="horz" lIns="0" tIns="0" rIns="0" bIns="0" rtlCol="0" anchor="ctr">
            <a:noAutofit/>
          </a:bodyPr>
          <a:lstStyle>
            <a:lvl1pPr>
              <a:defRPr lang="en-US" smtClean="0">
                <a:solidFill>
                  <a:schemeClr val="bg1">
                    <a:lumMod val="65000"/>
                  </a:schemeClr>
                </a:solidFill>
              </a:defRPr>
            </a:lvl1pPr>
          </a:lstStyle>
          <a:p>
            <a:fld id="{FD814145-5B10-4F3F-A6BF-3641B91211CF}" type="slidenum">
              <a:rPr lang="en-US" smtClean="0"/>
              <a:pPr/>
              <a:t>‹#›</a:t>
            </a:fld>
            <a:endParaRPr lang="en-US"/>
          </a:p>
        </p:txBody>
      </p:sp>
      <p:sp>
        <p:nvSpPr>
          <p:cNvPr id="13" name="Date Placeholder 4">
            <a:extLst>
              <a:ext uri="{FF2B5EF4-FFF2-40B4-BE49-F238E27FC236}">
                <a16:creationId xmlns:a16="http://schemas.microsoft.com/office/drawing/2014/main" id="{8F1CC0A0-41F7-468C-8E0E-468227CB93D9}"/>
              </a:ext>
            </a:extLst>
          </p:cNvPr>
          <p:cNvSpPr>
            <a:spLocks noGrp="1"/>
          </p:cNvSpPr>
          <p:nvPr>
            <p:ph type="dt" sz="half" idx="12"/>
          </p:nvPr>
        </p:nvSpPr>
        <p:spPr>
          <a:xfrm>
            <a:off x="10236555" y="136647"/>
            <a:ext cx="1345845" cy="153888"/>
          </a:xfrm>
        </p:spPr>
        <p:txBody>
          <a:bodyPr vert="horz" wrap="square" lIns="0" tIns="0" rIns="0" bIns="0" rtlCol="0" anchor="ctr">
            <a:noAutofit/>
          </a:bodyPr>
          <a:lstStyle>
            <a:lvl1pPr>
              <a:defRPr lang="en-US" smtClean="0">
                <a:solidFill>
                  <a:schemeClr val="bg1">
                    <a:lumMod val="65000"/>
                  </a:schemeClr>
                </a:solidFill>
              </a:defRPr>
            </a:lvl1pPr>
          </a:lstStyle>
          <a:p>
            <a:fld id="{C3B46C02-003B-48AE-876D-3A7AE8CF956F}" type="datetime4">
              <a:rPr lang="en-US" smtClean="0"/>
              <a:t>May 17, 2025</a:t>
            </a:fld>
            <a:endParaRPr lang="en-US"/>
          </a:p>
        </p:txBody>
      </p:sp>
      <p:grpSp>
        <p:nvGrpSpPr>
          <p:cNvPr id="24" name="Group 23">
            <a:extLst>
              <a:ext uri="{FF2B5EF4-FFF2-40B4-BE49-F238E27FC236}">
                <a16:creationId xmlns:a16="http://schemas.microsoft.com/office/drawing/2014/main" id="{3A822572-CA27-14A6-5889-83EDE56BC82E}"/>
              </a:ext>
            </a:extLst>
          </p:cNvPr>
          <p:cNvGrpSpPr/>
          <p:nvPr userDrawn="1"/>
        </p:nvGrpSpPr>
        <p:grpSpPr>
          <a:xfrm>
            <a:off x="0" y="426998"/>
            <a:ext cx="12192000" cy="6004005"/>
            <a:chOff x="0" y="426998"/>
            <a:chExt cx="12192000" cy="6004005"/>
          </a:xfrm>
        </p:grpSpPr>
        <p:cxnSp>
          <p:nvCxnSpPr>
            <p:cNvPr id="22" name="Straight Connector 21">
              <a:extLst>
                <a:ext uri="{FF2B5EF4-FFF2-40B4-BE49-F238E27FC236}">
                  <a16:creationId xmlns:a16="http://schemas.microsoft.com/office/drawing/2014/main" id="{5CBBC9AB-1658-0BED-4B6F-984327C6AC9D}"/>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113BDAA-1D3C-579F-793D-B1665481C19B}"/>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sp>
        <p:nvSpPr>
          <p:cNvPr id="3" name="Text Placeholder 24">
            <a:extLst>
              <a:ext uri="{FF2B5EF4-FFF2-40B4-BE49-F238E27FC236}">
                <a16:creationId xmlns:a16="http://schemas.microsoft.com/office/drawing/2014/main" id="{45D52899-4691-F249-E334-9C8EEA6FB816}"/>
              </a:ext>
            </a:extLst>
          </p:cNvPr>
          <p:cNvSpPr>
            <a:spLocks noGrp="1"/>
          </p:cNvSpPr>
          <p:nvPr>
            <p:ph type="body" sz="quarter" idx="29"/>
          </p:nvPr>
        </p:nvSpPr>
        <p:spPr>
          <a:xfrm>
            <a:off x="609600" y="2515283"/>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6" name="Text Placeholder 24">
            <a:extLst>
              <a:ext uri="{FF2B5EF4-FFF2-40B4-BE49-F238E27FC236}">
                <a16:creationId xmlns:a16="http://schemas.microsoft.com/office/drawing/2014/main" id="{8F149C85-589D-6AE5-DB05-DB3C98D020AD}"/>
              </a:ext>
            </a:extLst>
          </p:cNvPr>
          <p:cNvSpPr>
            <a:spLocks noGrp="1"/>
          </p:cNvSpPr>
          <p:nvPr>
            <p:ph type="body" sz="quarter" idx="31"/>
          </p:nvPr>
        </p:nvSpPr>
        <p:spPr>
          <a:xfrm>
            <a:off x="4500880" y="2515283"/>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7" name="Text Placeholder 24">
            <a:extLst>
              <a:ext uri="{FF2B5EF4-FFF2-40B4-BE49-F238E27FC236}">
                <a16:creationId xmlns:a16="http://schemas.microsoft.com/office/drawing/2014/main" id="{DA8ED140-709E-CA2D-621B-29A679B246CD}"/>
              </a:ext>
            </a:extLst>
          </p:cNvPr>
          <p:cNvSpPr>
            <a:spLocks noGrp="1"/>
          </p:cNvSpPr>
          <p:nvPr>
            <p:ph type="body" sz="quarter" idx="33"/>
          </p:nvPr>
        </p:nvSpPr>
        <p:spPr>
          <a:xfrm>
            <a:off x="609600" y="4654479"/>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8" name="Text Placeholder 24">
            <a:extLst>
              <a:ext uri="{FF2B5EF4-FFF2-40B4-BE49-F238E27FC236}">
                <a16:creationId xmlns:a16="http://schemas.microsoft.com/office/drawing/2014/main" id="{04A8125B-0CA5-3DC6-8702-414763711E56}"/>
              </a:ext>
            </a:extLst>
          </p:cNvPr>
          <p:cNvSpPr>
            <a:spLocks noGrp="1"/>
          </p:cNvSpPr>
          <p:nvPr>
            <p:ph type="body" sz="quarter" idx="35"/>
          </p:nvPr>
        </p:nvSpPr>
        <p:spPr>
          <a:xfrm>
            <a:off x="4500880" y="4654479"/>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9" name="Text Placeholder 4">
            <a:extLst>
              <a:ext uri="{FF2B5EF4-FFF2-40B4-BE49-F238E27FC236}">
                <a16:creationId xmlns:a16="http://schemas.microsoft.com/office/drawing/2014/main" id="{886C5878-34C0-8518-3E55-9A63948F70C5}"/>
              </a:ext>
            </a:extLst>
          </p:cNvPr>
          <p:cNvSpPr>
            <a:spLocks noGrp="1"/>
          </p:cNvSpPr>
          <p:nvPr>
            <p:ph type="body" sz="quarter" idx="38"/>
          </p:nvPr>
        </p:nvSpPr>
        <p:spPr>
          <a:xfrm>
            <a:off x="609600" y="3078123"/>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10" name="Text Placeholder 8">
            <a:extLst>
              <a:ext uri="{FF2B5EF4-FFF2-40B4-BE49-F238E27FC236}">
                <a16:creationId xmlns:a16="http://schemas.microsoft.com/office/drawing/2014/main" id="{2753D67B-4715-32EA-D98B-1D06782D63AB}"/>
              </a:ext>
            </a:extLst>
          </p:cNvPr>
          <p:cNvSpPr>
            <a:spLocks noGrp="1"/>
          </p:cNvSpPr>
          <p:nvPr>
            <p:ph type="body" sz="quarter" idx="39"/>
          </p:nvPr>
        </p:nvSpPr>
        <p:spPr>
          <a:xfrm>
            <a:off x="4500563" y="3081489"/>
            <a:ext cx="3187700" cy="731520"/>
          </a:xfrm>
        </p:spPr>
        <p:txBody>
          <a:bodyPr/>
          <a:lstStyle>
            <a:lvl1pPr marL="0" indent="0">
              <a:buFont typeface="Arial" panose="020B0604020202020204" pitchFamily="34" charset="0"/>
              <a:buNone/>
              <a:defRPr sz="14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5" name="Text Placeholder 13">
            <a:extLst>
              <a:ext uri="{FF2B5EF4-FFF2-40B4-BE49-F238E27FC236}">
                <a16:creationId xmlns:a16="http://schemas.microsoft.com/office/drawing/2014/main" id="{8860125C-77DA-74AC-CBAD-8839DC140DBB}"/>
              </a:ext>
            </a:extLst>
          </p:cNvPr>
          <p:cNvSpPr>
            <a:spLocks noGrp="1"/>
          </p:cNvSpPr>
          <p:nvPr>
            <p:ph type="body" sz="quarter" idx="40"/>
          </p:nvPr>
        </p:nvSpPr>
        <p:spPr>
          <a:xfrm>
            <a:off x="609600" y="5221224"/>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17" name="Text Placeholder 13">
            <a:extLst>
              <a:ext uri="{FF2B5EF4-FFF2-40B4-BE49-F238E27FC236}">
                <a16:creationId xmlns:a16="http://schemas.microsoft.com/office/drawing/2014/main" id="{0A5D10B8-DCE6-EB63-E982-EB602BB12715}"/>
              </a:ext>
            </a:extLst>
          </p:cNvPr>
          <p:cNvSpPr>
            <a:spLocks noGrp="1"/>
          </p:cNvSpPr>
          <p:nvPr>
            <p:ph type="body" sz="quarter" idx="41"/>
          </p:nvPr>
        </p:nvSpPr>
        <p:spPr>
          <a:xfrm>
            <a:off x="4505008" y="5221224"/>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pic>
        <p:nvPicPr>
          <p:cNvPr id="16" name="Picture 15" descr="A green circles in a circle&#10;&#10;Description automatically generated">
            <a:extLst>
              <a:ext uri="{FF2B5EF4-FFF2-40B4-BE49-F238E27FC236}">
                <a16:creationId xmlns:a16="http://schemas.microsoft.com/office/drawing/2014/main" id="{5ED3FFB8-3733-52A8-213E-38BC8DFB5E12}"/>
              </a:ext>
            </a:extLst>
          </p:cNvPr>
          <p:cNvPicPr/>
          <p:nvPr userDrawn="1"/>
        </p:nvPicPr>
        <p:blipFill rotWithShape="1">
          <a:blip r:embed="rId4">
            <a:extLst>
              <a:ext uri="{28A0092B-C50C-407E-A947-70E740481C1C}">
                <a14:useLocalDpi xmlns:a14="http://schemas.microsoft.com/office/drawing/2010/main" val="0"/>
              </a:ext>
            </a:extLst>
          </a:blip>
          <a:srcRect l="7621" t="34126" r="5301" b="2732"/>
          <a:stretch/>
        </p:blipFill>
        <p:spPr>
          <a:xfrm>
            <a:off x="8352430" y="525439"/>
            <a:ext cx="3275463" cy="5800298"/>
          </a:xfrm>
          <a:prstGeom prst="rect">
            <a:avLst/>
          </a:prstGeom>
        </p:spPr>
      </p:pic>
    </p:spTree>
    <p:extLst>
      <p:ext uri="{BB962C8B-B14F-4D97-AF65-F5344CB8AC3E}">
        <p14:creationId xmlns:p14="http://schemas.microsoft.com/office/powerpoint/2010/main" val="422744283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our-quadrant B">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FB671-7288-F24D-B614-7485A1EB4769}"/>
              </a:ext>
            </a:extLst>
          </p:cNvPr>
          <p:cNvSpPr>
            <a:spLocks noGrp="1"/>
          </p:cNvSpPr>
          <p:nvPr>
            <p:ph type="title"/>
          </p:nvPr>
        </p:nvSpPr>
        <p:spPr>
          <a:xfrm>
            <a:off x="609600" y="800754"/>
            <a:ext cx="707898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4A06DE4C-2824-F86F-176F-D7CEE692CA7D}"/>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FD3D05B5-3984-8ED5-ECAF-B676C5833515}"/>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5" name="Date Placeholder 4">
            <a:extLst>
              <a:ext uri="{FF2B5EF4-FFF2-40B4-BE49-F238E27FC236}">
                <a16:creationId xmlns:a16="http://schemas.microsoft.com/office/drawing/2014/main" id="{F9A9FAB2-9497-583D-67D2-92656EBD96E1}"/>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3E8D147B-20B8-41F8-9C65-D6EE371733C4}" type="datetime4">
              <a:rPr lang="en-US" smtClean="0"/>
              <a:t>May 17, 2025</a:t>
            </a:fld>
            <a:endParaRPr lang="en-US"/>
          </a:p>
        </p:txBody>
      </p:sp>
      <p:sp>
        <p:nvSpPr>
          <p:cNvPr id="23" name="Text Placeholder 7">
            <a:extLst>
              <a:ext uri="{FF2B5EF4-FFF2-40B4-BE49-F238E27FC236}">
                <a16:creationId xmlns:a16="http://schemas.microsoft.com/office/drawing/2014/main" id="{1E90DC0E-D394-DFF1-20FF-E4F025C29CC4}"/>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7" name="Text Placeholder 26">
            <a:extLst>
              <a:ext uri="{FF2B5EF4-FFF2-40B4-BE49-F238E27FC236}">
                <a16:creationId xmlns:a16="http://schemas.microsoft.com/office/drawing/2014/main" id="{53C5C91F-539C-50A5-74CB-E57859E7C44B}"/>
              </a:ext>
            </a:extLst>
          </p:cNvPr>
          <p:cNvSpPr>
            <a:spLocks noGrp="1"/>
          </p:cNvSpPr>
          <p:nvPr>
            <p:ph type="body" sz="quarter" idx="30" hasCustomPrompt="1"/>
          </p:nvPr>
        </p:nvSpPr>
        <p:spPr>
          <a:xfrm>
            <a:off x="609600" y="1795047"/>
            <a:ext cx="442911" cy="430887"/>
          </a:xfrm>
          <a:noFill/>
        </p:spPr>
        <p:txBody>
          <a:bodyPr anchor="b">
            <a:noAutofit/>
          </a:bodyPr>
          <a:lstStyle>
            <a:lvl1pPr algn="l">
              <a:defRPr sz="2800">
                <a:solidFill>
                  <a:schemeClr val="tx2"/>
                </a:solidFill>
              </a:defRPr>
            </a:lvl1pPr>
          </a:lstStyle>
          <a:p>
            <a:pPr lvl="0"/>
            <a:r>
              <a:rPr lang="en-US"/>
              <a:t>00</a:t>
            </a:r>
          </a:p>
        </p:txBody>
      </p:sp>
      <p:sp>
        <p:nvSpPr>
          <p:cNvPr id="30" name="Text Placeholder 26">
            <a:extLst>
              <a:ext uri="{FF2B5EF4-FFF2-40B4-BE49-F238E27FC236}">
                <a16:creationId xmlns:a16="http://schemas.microsoft.com/office/drawing/2014/main" id="{3F52A92B-F518-04CD-762D-7E421D327B3D}"/>
              </a:ext>
            </a:extLst>
          </p:cNvPr>
          <p:cNvSpPr>
            <a:spLocks noGrp="1"/>
          </p:cNvSpPr>
          <p:nvPr>
            <p:ph type="body" sz="quarter" idx="32" hasCustomPrompt="1"/>
          </p:nvPr>
        </p:nvSpPr>
        <p:spPr>
          <a:xfrm>
            <a:off x="4500880" y="1795047"/>
            <a:ext cx="442911" cy="430887"/>
          </a:xfrm>
          <a:noFill/>
        </p:spPr>
        <p:txBody>
          <a:bodyPr anchor="b">
            <a:noAutofit/>
          </a:bodyPr>
          <a:lstStyle>
            <a:lvl1pPr algn="l">
              <a:defRPr sz="2800">
                <a:solidFill>
                  <a:schemeClr val="tx2"/>
                </a:solidFill>
              </a:defRPr>
            </a:lvl1pPr>
          </a:lstStyle>
          <a:p>
            <a:pPr lvl="0"/>
            <a:r>
              <a:rPr lang="en-US"/>
              <a:t>00</a:t>
            </a:r>
          </a:p>
        </p:txBody>
      </p:sp>
      <p:sp>
        <p:nvSpPr>
          <p:cNvPr id="33" name="Text Placeholder 26">
            <a:extLst>
              <a:ext uri="{FF2B5EF4-FFF2-40B4-BE49-F238E27FC236}">
                <a16:creationId xmlns:a16="http://schemas.microsoft.com/office/drawing/2014/main" id="{2E6139D6-5C1F-9984-933D-05C6245DDEE9}"/>
              </a:ext>
            </a:extLst>
          </p:cNvPr>
          <p:cNvSpPr>
            <a:spLocks noGrp="1"/>
          </p:cNvSpPr>
          <p:nvPr>
            <p:ph type="body" sz="quarter" idx="34" hasCustomPrompt="1"/>
          </p:nvPr>
        </p:nvSpPr>
        <p:spPr>
          <a:xfrm>
            <a:off x="609600" y="3934243"/>
            <a:ext cx="442911" cy="430887"/>
          </a:xfrm>
          <a:noFill/>
        </p:spPr>
        <p:txBody>
          <a:bodyPr anchor="b">
            <a:noAutofit/>
          </a:bodyPr>
          <a:lstStyle>
            <a:lvl1pPr algn="l">
              <a:defRPr sz="2800">
                <a:solidFill>
                  <a:schemeClr val="tx2"/>
                </a:solidFill>
              </a:defRPr>
            </a:lvl1pPr>
          </a:lstStyle>
          <a:p>
            <a:pPr lvl="0"/>
            <a:r>
              <a:rPr lang="en-US"/>
              <a:t>00</a:t>
            </a:r>
          </a:p>
        </p:txBody>
      </p:sp>
      <p:sp>
        <p:nvSpPr>
          <p:cNvPr id="36" name="Text Placeholder 26">
            <a:extLst>
              <a:ext uri="{FF2B5EF4-FFF2-40B4-BE49-F238E27FC236}">
                <a16:creationId xmlns:a16="http://schemas.microsoft.com/office/drawing/2014/main" id="{59081576-9853-F2AC-596D-5E4837628CC1}"/>
              </a:ext>
            </a:extLst>
          </p:cNvPr>
          <p:cNvSpPr>
            <a:spLocks noGrp="1"/>
          </p:cNvSpPr>
          <p:nvPr>
            <p:ph type="body" sz="quarter" idx="36" hasCustomPrompt="1"/>
          </p:nvPr>
        </p:nvSpPr>
        <p:spPr>
          <a:xfrm>
            <a:off x="4500880" y="3934243"/>
            <a:ext cx="442911" cy="430887"/>
          </a:xfrm>
          <a:noFill/>
        </p:spPr>
        <p:txBody>
          <a:bodyPr anchor="b">
            <a:noAutofit/>
          </a:bodyPr>
          <a:lstStyle>
            <a:lvl1pPr algn="l">
              <a:defRPr sz="2800">
                <a:solidFill>
                  <a:schemeClr val="tx2"/>
                </a:solidFill>
              </a:defRPr>
            </a:lvl1pPr>
          </a:lstStyle>
          <a:p>
            <a:pPr lvl="0"/>
            <a:r>
              <a:rPr lang="en-US"/>
              <a:t>00</a:t>
            </a:r>
          </a:p>
        </p:txBody>
      </p:sp>
      <p:sp>
        <p:nvSpPr>
          <p:cNvPr id="37" name="Text Placeholder 3">
            <a:extLst>
              <a:ext uri="{FF2B5EF4-FFF2-40B4-BE49-F238E27FC236}">
                <a16:creationId xmlns:a16="http://schemas.microsoft.com/office/drawing/2014/main" id="{277C43D7-C00C-7DE6-0BB0-C5E8CE8207B8}"/>
              </a:ext>
            </a:extLst>
          </p:cNvPr>
          <p:cNvSpPr>
            <a:spLocks noGrp="1"/>
          </p:cNvSpPr>
          <p:nvPr>
            <p:ph type="body" sz="quarter" idx="13" hasCustomPrompt="1"/>
          </p:nvPr>
        </p:nvSpPr>
        <p:spPr>
          <a:xfrm>
            <a:off x="609600" y="1371912"/>
            <a:ext cx="7078980" cy="307777"/>
          </a:xfrm>
        </p:spPr>
        <p:txBody>
          <a:bodyPr wrap="square">
            <a:noAutofit/>
          </a:bodyPr>
          <a:lstStyle>
            <a:lvl1pPr>
              <a:defRPr>
                <a:solidFill>
                  <a:schemeClr val="tx1">
                    <a:lumMod val="75000"/>
                    <a:lumOff val="25000"/>
                  </a:schemeClr>
                </a:solidFill>
              </a:defRPr>
            </a:lvl1pPr>
          </a:lstStyle>
          <a:p>
            <a:pPr lvl="0"/>
            <a:r>
              <a:rPr lang="en-US"/>
              <a:t>Subtitle</a:t>
            </a:r>
          </a:p>
        </p:txBody>
      </p:sp>
      <p:sp>
        <p:nvSpPr>
          <p:cNvPr id="19" name="Text Placeholder 24">
            <a:extLst>
              <a:ext uri="{FF2B5EF4-FFF2-40B4-BE49-F238E27FC236}">
                <a16:creationId xmlns:a16="http://schemas.microsoft.com/office/drawing/2014/main" id="{6124C7D0-2EB5-CCA2-1131-CD42AFA531EE}"/>
              </a:ext>
            </a:extLst>
          </p:cNvPr>
          <p:cNvSpPr>
            <a:spLocks noGrp="1"/>
          </p:cNvSpPr>
          <p:nvPr>
            <p:ph type="body" sz="quarter" idx="29"/>
          </p:nvPr>
        </p:nvSpPr>
        <p:spPr>
          <a:xfrm>
            <a:off x="609600" y="2515283"/>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20" name="Text Placeholder 24">
            <a:extLst>
              <a:ext uri="{FF2B5EF4-FFF2-40B4-BE49-F238E27FC236}">
                <a16:creationId xmlns:a16="http://schemas.microsoft.com/office/drawing/2014/main" id="{4EE4B5A0-6227-F787-6A54-C2A60161F7D3}"/>
              </a:ext>
            </a:extLst>
          </p:cNvPr>
          <p:cNvSpPr>
            <a:spLocks noGrp="1"/>
          </p:cNvSpPr>
          <p:nvPr>
            <p:ph type="body" sz="quarter" idx="31"/>
          </p:nvPr>
        </p:nvSpPr>
        <p:spPr>
          <a:xfrm>
            <a:off x="4500880" y="2515283"/>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21" name="Text Placeholder 24">
            <a:extLst>
              <a:ext uri="{FF2B5EF4-FFF2-40B4-BE49-F238E27FC236}">
                <a16:creationId xmlns:a16="http://schemas.microsoft.com/office/drawing/2014/main" id="{5B9A97B2-2B34-59ED-CE30-23518BEB029D}"/>
              </a:ext>
            </a:extLst>
          </p:cNvPr>
          <p:cNvSpPr>
            <a:spLocks noGrp="1"/>
          </p:cNvSpPr>
          <p:nvPr>
            <p:ph type="body" sz="quarter" idx="33"/>
          </p:nvPr>
        </p:nvSpPr>
        <p:spPr>
          <a:xfrm>
            <a:off x="609600" y="4654479"/>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22" name="Text Placeholder 24">
            <a:extLst>
              <a:ext uri="{FF2B5EF4-FFF2-40B4-BE49-F238E27FC236}">
                <a16:creationId xmlns:a16="http://schemas.microsoft.com/office/drawing/2014/main" id="{C7D1D394-778B-6918-5F27-84D4E90ADBCE}"/>
              </a:ext>
            </a:extLst>
          </p:cNvPr>
          <p:cNvSpPr>
            <a:spLocks noGrp="1"/>
          </p:cNvSpPr>
          <p:nvPr>
            <p:ph type="body" sz="quarter" idx="35"/>
          </p:nvPr>
        </p:nvSpPr>
        <p:spPr>
          <a:xfrm>
            <a:off x="4500880" y="4654479"/>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39" name="Text Placeholder 4">
            <a:extLst>
              <a:ext uri="{FF2B5EF4-FFF2-40B4-BE49-F238E27FC236}">
                <a16:creationId xmlns:a16="http://schemas.microsoft.com/office/drawing/2014/main" id="{E38DC567-338B-E0F7-CF67-AFE622A0CC97}"/>
              </a:ext>
            </a:extLst>
          </p:cNvPr>
          <p:cNvSpPr>
            <a:spLocks noGrp="1"/>
          </p:cNvSpPr>
          <p:nvPr>
            <p:ph type="body" sz="quarter" idx="38"/>
          </p:nvPr>
        </p:nvSpPr>
        <p:spPr>
          <a:xfrm>
            <a:off x="609600" y="3078123"/>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40" name="Text Placeholder 8">
            <a:extLst>
              <a:ext uri="{FF2B5EF4-FFF2-40B4-BE49-F238E27FC236}">
                <a16:creationId xmlns:a16="http://schemas.microsoft.com/office/drawing/2014/main" id="{D0DFD801-9B31-CBB2-FEAE-5C0FCD87BC1F}"/>
              </a:ext>
            </a:extLst>
          </p:cNvPr>
          <p:cNvSpPr>
            <a:spLocks noGrp="1"/>
          </p:cNvSpPr>
          <p:nvPr>
            <p:ph type="body" sz="quarter" idx="39"/>
          </p:nvPr>
        </p:nvSpPr>
        <p:spPr>
          <a:xfrm>
            <a:off x="4500563" y="3081489"/>
            <a:ext cx="3187700" cy="731520"/>
          </a:xfrm>
        </p:spPr>
        <p:txBody>
          <a:bodyPr/>
          <a:lstStyle>
            <a:lvl1pPr marL="0" indent="0">
              <a:buFont typeface="Arial" panose="020B0604020202020204" pitchFamily="34" charset="0"/>
              <a:buNone/>
              <a:defRPr sz="14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41" name="Text Placeholder 13">
            <a:extLst>
              <a:ext uri="{FF2B5EF4-FFF2-40B4-BE49-F238E27FC236}">
                <a16:creationId xmlns:a16="http://schemas.microsoft.com/office/drawing/2014/main" id="{2B46E368-9937-4345-14E3-49FF8C68F0AD}"/>
              </a:ext>
            </a:extLst>
          </p:cNvPr>
          <p:cNvSpPr>
            <a:spLocks noGrp="1"/>
          </p:cNvSpPr>
          <p:nvPr>
            <p:ph type="body" sz="quarter" idx="40"/>
          </p:nvPr>
        </p:nvSpPr>
        <p:spPr>
          <a:xfrm>
            <a:off x="609600" y="5221224"/>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42" name="Text Placeholder 13">
            <a:extLst>
              <a:ext uri="{FF2B5EF4-FFF2-40B4-BE49-F238E27FC236}">
                <a16:creationId xmlns:a16="http://schemas.microsoft.com/office/drawing/2014/main" id="{1303312D-25DE-1166-642A-6673876FFE04}"/>
              </a:ext>
            </a:extLst>
          </p:cNvPr>
          <p:cNvSpPr>
            <a:spLocks noGrp="1"/>
          </p:cNvSpPr>
          <p:nvPr>
            <p:ph type="body" sz="quarter" idx="41"/>
          </p:nvPr>
        </p:nvSpPr>
        <p:spPr>
          <a:xfrm>
            <a:off x="4505008" y="5221224"/>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grpSp>
        <p:nvGrpSpPr>
          <p:cNvPr id="38" name="Group 37">
            <a:extLst>
              <a:ext uri="{FF2B5EF4-FFF2-40B4-BE49-F238E27FC236}">
                <a16:creationId xmlns:a16="http://schemas.microsoft.com/office/drawing/2014/main" id="{E02B04E6-DFE4-8F61-77A7-3BAE91280415}"/>
              </a:ext>
            </a:extLst>
          </p:cNvPr>
          <p:cNvGrpSpPr/>
          <p:nvPr userDrawn="1"/>
        </p:nvGrpSpPr>
        <p:grpSpPr>
          <a:xfrm>
            <a:off x="8668767" y="2176216"/>
            <a:ext cx="2913628" cy="2916483"/>
            <a:chOff x="8477772" y="2176216"/>
            <a:chExt cx="3104627" cy="3107669"/>
          </a:xfrm>
        </p:grpSpPr>
        <p:sp>
          <p:nvSpPr>
            <p:cNvPr id="12" name="Freeform: Shape 11">
              <a:extLst>
                <a:ext uri="{FF2B5EF4-FFF2-40B4-BE49-F238E27FC236}">
                  <a16:creationId xmlns:a16="http://schemas.microsoft.com/office/drawing/2014/main" id="{1DDAB8FB-291B-E617-AD35-5D0D2C85B979}"/>
                </a:ext>
              </a:extLst>
            </p:cNvPr>
            <p:cNvSpPr/>
            <p:nvPr/>
          </p:nvSpPr>
          <p:spPr>
            <a:xfrm>
              <a:off x="8477772" y="4040792"/>
              <a:ext cx="1243092" cy="1243092"/>
            </a:xfrm>
            <a:custGeom>
              <a:avLst/>
              <a:gdLst>
                <a:gd name="connsiteX0" fmla="*/ 0 w 1243092"/>
                <a:gd name="connsiteY0" fmla="*/ 1243093 h 1243092"/>
                <a:gd name="connsiteX1" fmla="*/ 0 w 1243092"/>
                <a:gd name="connsiteY1" fmla="*/ 0 h 1243092"/>
                <a:gd name="connsiteX2" fmla="*/ 1243093 w 1243092"/>
                <a:gd name="connsiteY2" fmla="*/ 0 h 1243092"/>
                <a:gd name="connsiteX3" fmla="*/ 0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0" y="1243093"/>
                  </a:moveTo>
                  <a:lnTo>
                    <a:pt x="0" y="0"/>
                  </a:lnTo>
                  <a:lnTo>
                    <a:pt x="1243093" y="0"/>
                  </a:lnTo>
                  <a:lnTo>
                    <a:pt x="0" y="1243093"/>
                  </a:lnTo>
                  <a:close/>
                </a:path>
              </a:pathLst>
            </a:custGeom>
            <a:solidFill>
              <a:srgbClr val="000000"/>
            </a:solidFill>
            <a:ln w="619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1D8CFF20-FCFC-BF39-5C69-44CA783859FC}"/>
                </a:ext>
              </a:extLst>
            </p:cNvPr>
            <p:cNvSpPr/>
            <p:nvPr/>
          </p:nvSpPr>
          <p:spPr>
            <a:xfrm>
              <a:off x="8477772" y="4040792"/>
              <a:ext cx="1243092" cy="1243092"/>
            </a:xfrm>
            <a:custGeom>
              <a:avLst/>
              <a:gdLst>
                <a:gd name="connsiteX0" fmla="*/ 1243093 w 1243092"/>
                <a:gd name="connsiteY0" fmla="*/ 1243093 h 1243092"/>
                <a:gd name="connsiteX1" fmla="*/ 0 w 1243092"/>
                <a:gd name="connsiteY1" fmla="*/ 1243093 h 1243092"/>
                <a:gd name="connsiteX2" fmla="*/ 1243093 w 1243092"/>
                <a:gd name="connsiteY2" fmla="*/ 0 h 1243092"/>
                <a:gd name="connsiteX3" fmla="*/ 1243093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1243093" y="1243093"/>
                  </a:moveTo>
                  <a:lnTo>
                    <a:pt x="0" y="1243093"/>
                  </a:lnTo>
                  <a:lnTo>
                    <a:pt x="1243093" y="0"/>
                  </a:lnTo>
                  <a:lnTo>
                    <a:pt x="1243093" y="1243093"/>
                  </a:lnTo>
                  <a:close/>
                </a:path>
              </a:pathLst>
            </a:custGeom>
            <a:solidFill>
              <a:srgbClr val="93D500"/>
            </a:solidFill>
            <a:ln w="6191"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F8E7DB0F-57F2-0BB1-A359-3F2B24747527}"/>
                </a:ext>
              </a:extLst>
            </p:cNvPr>
            <p:cNvSpPr/>
            <p:nvPr/>
          </p:nvSpPr>
          <p:spPr>
            <a:xfrm>
              <a:off x="10339306" y="2176216"/>
              <a:ext cx="1243092" cy="1243092"/>
            </a:xfrm>
            <a:custGeom>
              <a:avLst/>
              <a:gdLst>
                <a:gd name="connsiteX0" fmla="*/ 0 w 1243092"/>
                <a:gd name="connsiteY0" fmla="*/ 1243093 h 1243092"/>
                <a:gd name="connsiteX1" fmla="*/ 0 w 1243092"/>
                <a:gd name="connsiteY1" fmla="*/ 0 h 1243092"/>
                <a:gd name="connsiteX2" fmla="*/ 1243093 w 1243092"/>
                <a:gd name="connsiteY2" fmla="*/ 0 h 1243092"/>
                <a:gd name="connsiteX3" fmla="*/ 0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0" y="1243093"/>
                  </a:moveTo>
                  <a:lnTo>
                    <a:pt x="0" y="0"/>
                  </a:lnTo>
                  <a:lnTo>
                    <a:pt x="1243093" y="0"/>
                  </a:lnTo>
                  <a:lnTo>
                    <a:pt x="0" y="1243093"/>
                  </a:lnTo>
                  <a:close/>
                </a:path>
              </a:pathLst>
            </a:custGeom>
            <a:solidFill>
              <a:srgbClr val="000000"/>
            </a:solidFill>
            <a:ln w="6191"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2766101B-1B7C-33CC-AB9A-2BCEB9054770}"/>
                </a:ext>
              </a:extLst>
            </p:cNvPr>
            <p:cNvSpPr/>
            <p:nvPr/>
          </p:nvSpPr>
          <p:spPr>
            <a:xfrm>
              <a:off x="10339306" y="2176216"/>
              <a:ext cx="1243092" cy="1243092"/>
            </a:xfrm>
            <a:custGeom>
              <a:avLst/>
              <a:gdLst>
                <a:gd name="connsiteX0" fmla="*/ 1243093 w 1243092"/>
                <a:gd name="connsiteY0" fmla="*/ 1243093 h 1243092"/>
                <a:gd name="connsiteX1" fmla="*/ 0 w 1243092"/>
                <a:gd name="connsiteY1" fmla="*/ 1243093 h 1243092"/>
                <a:gd name="connsiteX2" fmla="*/ 1243093 w 1243092"/>
                <a:gd name="connsiteY2" fmla="*/ 0 h 1243092"/>
                <a:gd name="connsiteX3" fmla="*/ 1243093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1243093" y="1243093"/>
                  </a:moveTo>
                  <a:lnTo>
                    <a:pt x="0" y="1243093"/>
                  </a:lnTo>
                  <a:lnTo>
                    <a:pt x="1243093" y="0"/>
                  </a:lnTo>
                  <a:lnTo>
                    <a:pt x="1243093" y="1243093"/>
                  </a:lnTo>
                  <a:close/>
                </a:path>
              </a:pathLst>
            </a:custGeom>
            <a:solidFill>
              <a:srgbClr val="93D500"/>
            </a:solidFill>
            <a:ln w="6191"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97FF00E8-12B1-0F1C-1F00-424A505ED697}"/>
                </a:ext>
              </a:extLst>
            </p:cNvPr>
            <p:cNvSpPr/>
            <p:nvPr/>
          </p:nvSpPr>
          <p:spPr>
            <a:xfrm>
              <a:off x="8477772" y="2176216"/>
              <a:ext cx="1243093" cy="1243093"/>
            </a:xfrm>
            <a:custGeom>
              <a:avLst/>
              <a:gdLst>
                <a:gd name="connsiteX0" fmla="*/ 0 w 1243093"/>
                <a:gd name="connsiteY0" fmla="*/ 0 h 1243093"/>
                <a:gd name="connsiteX1" fmla="*/ 1243093 w 1243093"/>
                <a:gd name="connsiteY1" fmla="*/ 0 h 1243093"/>
                <a:gd name="connsiteX2" fmla="*/ 1243093 w 1243093"/>
                <a:gd name="connsiteY2" fmla="*/ 1243093 h 1243093"/>
                <a:gd name="connsiteX3" fmla="*/ 0 w 1243093"/>
                <a:gd name="connsiteY3" fmla="*/ 1243093 h 1243093"/>
              </a:gdLst>
              <a:ahLst/>
              <a:cxnLst>
                <a:cxn ang="0">
                  <a:pos x="connsiteX0" y="connsiteY0"/>
                </a:cxn>
                <a:cxn ang="0">
                  <a:pos x="connsiteX1" y="connsiteY1"/>
                </a:cxn>
                <a:cxn ang="0">
                  <a:pos x="connsiteX2" y="connsiteY2"/>
                </a:cxn>
                <a:cxn ang="0">
                  <a:pos x="connsiteX3" y="connsiteY3"/>
                </a:cxn>
              </a:cxnLst>
              <a:rect l="l" t="t" r="r" b="b"/>
              <a:pathLst>
                <a:path w="1243093" h="1243093">
                  <a:moveTo>
                    <a:pt x="0" y="0"/>
                  </a:moveTo>
                  <a:lnTo>
                    <a:pt x="1243093" y="0"/>
                  </a:lnTo>
                  <a:lnTo>
                    <a:pt x="1243093" y="1243093"/>
                  </a:lnTo>
                  <a:lnTo>
                    <a:pt x="0" y="1243093"/>
                  </a:lnTo>
                  <a:close/>
                </a:path>
              </a:pathLst>
            </a:custGeom>
            <a:solidFill>
              <a:srgbClr val="000000"/>
            </a:solidFill>
            <a:ln w="6191"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3390EB0-ABE0-10C4-D3D4-8DECDA33B7D6}"/>
                </a:ext>
              </a:extLst>
            </p:cNvPr>
            <p:cNvSpPr/>
            <p:nvPr/>
          </p:nvSpPr>
          <p:spPr>
            <a:xfrm>
              <a:off x="10339306" y="4040792"/>
              <a:ext cx="1243093" cy="1243093"/>
            </a:xfrm>
            <a:custGeom>
              <a:avLst/>
              <a:gdLst>
                <a:gd name="connsiteX0" fmla="*/ 0 w 1243093"/>
                <a:gd name="connsiteY0" fmla="*/ 0 h 1243093"/>
                <a:gd name="connsiteX1" fmla="*/ 1243093 w 1243093"/>
                <a:gd name="connsiteY1" fmla="*/ 0 h 1243093"/>
                <a:gd name="connsiteX2" fmla="*/ 1243093 w 1243093"/>
                <a:gd name="connsiteY2" fmla="*/ 1243093 h 1243093"/>
                <a:gd name="connsiteX3" fmla="*/ 0 w 1243093"/>
                <a:gd name="connsiteY3" fmla="*/ 1243093 h 1243093"/>
              </a:gdLst>
              <a:ahLst/>
              <a:cxnLst>
                <a:cxn ang="0">
                  <a:pos x="connsiteX0" y="connsiteY0"/>
                </a:cxn>
                <a:cxn ang="0">
                  <a:pos x="connsiteX1" y="connsiteY1"/>
                </a:cxn>
                <a:cxn ang="0">
                  <a:pos x="connsiteX2" y="connsiteY2"/>
                </a:cxn>
                <a:cxn ang="0">
                  <a:pos x="connsiteX3" y="connsiteY3"/>
                </a:cxn>
              </a:cxnLst>
              <a:rect l="l" t="t" r="r" b="b"/>
              <a:pathLst>
                <a:path w="1243093" h="1243093">
                  <a:moveTo>
                    <a:pt x="0" y="0"/>
                  </a:moveTo>
                  <a:lnTo>
                    <a:pt x="1243093" y="0"/>
                  </a:lnTo>
                  <a:lnTo>
                    <a:pt x="1243093" y="1243093"/>
                  </a:lnTo>
                  <a:lnTo>
                    <a:pt x="0" y="1243093"/>
                  </a:lnTo>
                  <a:close/>
                </a:path>
              </a:pathLst>
            </a:custGeom>
            <a:solidFill>
              <a:srgbClr val="93D500"/>
            </a:solidFill>
            <a:ln w="6191" cap="flat">
              <a:noFill/>
              <a:prstDash val="solid"/>
              <a:miter/>
            </a:ln>
          </p:spPr>
          <p:txBody>
            <a:bodyPr rtlCol="0" anchor="ctr"/>
            <a:lstStyle/>
            <a:p>
              <a:endParaRPr lang="en-US"/>
            </a:p>
          </p:txBody>
        </p:sp>
      </p:grpSp>
    </p:spTree>
    <p:extLst>
      <p:ext uri="{BB962C8B-B14F-4D97-AF65-F5344CB8AC3E}">
        <p14:creationId xmlns:p14="http://schemas.microsoft.com/office/powerpoint/2010/main" val="233092978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our-quadrant B (Dark)">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FB671-7288-F24D-B614-7485A1EB4769}"/>
              </a:ext>
            </a:extLst>
          </p:cNvPr>
          <p:cNvSpPr>
            <a:spLocks noGrp="1"/>
          </p:cNvSpPr>
          <p:nvPr>
            <p:ph type="title"/>
          </p:nvPr>
        </p:nvSpPr>
        <p:spPr>
          <a:xfrm>
            <a:off x="609600" y="800754"/>
            <a:ext cx="7078980" cy="553998"/>
          </a:xfrm>
        </p:spPr>
        <p:txBody>
          <a:bodyPr>
            <a:noAutofit/>
          </a:bodyPr>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4A06DE4C-2824-F86F-176F-D7CEE692CA7D}"/>
              </a:ext>
            </a:extLst>
          </p:cNvPr>
          <p:cNvSpPr>
            <a:spLocks noGrp="1"/>
          </p:cNvSpPr>
          <p:nvPr>
            <p:ph type="ftr" sz="quarter" idx="10"/>
          </p:nvPr>
        </p:nvSpPr>
        <p:spPr>
          <a:xfrm>
            <a:off x="609600" y="6567465"/>
            <a:ext cx="10083800" cy="153888"/>
          </a:xfrm>
          <a:prstGeom prst="rect">
            <a:avLst/>
          </a:prstGeom>
        </p:spPr>
        <p:txBody>
          <a:bodyPr vert="horz" lIns="0" tIns="0" rIns="0" bIns="0" rtlCol="0" anchor="ctr">
            <a:noAutofit/>
          </a:bodyPr>
          <a:lstStyle>
            <a:lvl1pPr>
              <a:defRPr lang="en-US" smtClean="0">
                <a:solidFill>
                  <a:schemeClr val="bg1">
                    <a:lumMod val="6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FD3D05B5-3984-8ED5-ECAF-B676C5833515}"/>
              </a:ext>
            </a:extLst>
          </p:cNvPr>
          <p:cNvSpPr>
            <a:spLocks noGrp="1"/>
          </p:cNvSpPr>
          <p:nvPr>
            <p:ph type="sldNum" sz="quarter" idx="11"/>
          </p:nvPr>
        </p:nvSpPr>
        <p:spPr>
          <a:xfrm>
            <a:off x="11248008" y="6567465"/>
            <a:ext cx="334392" cy="153888"/>
          </a:xfrm>
          <a:prstGeom prst="rect">
            <a:avLst/>
          </a:prstGeom>
        </p:spPr>
        <p:txBody>
          <a:bodyPr vert="horz" lIns="0" tIns="0" rIns="0" bIns="0" rtlCol="0" anchor="ctr">
            <a:noAutofit/>
          </a:bodyPr>
          <a:lstStyle>
            <a:lvl1pPr>
              <a:defRPr lang="en-US" smtClean="0">
                <a:solidFill>
                  <a:schemeClr val="bg1">
                    <a:lumMod val="65000"/>
                  </a:schemeClr>
                </a:solidFill>
              </a:defRPr>
            </a:lvl1pPr>
          </a:lstStyle>
          <a:p>
            <a:fld id="{FD814145-5B10-4F3F-A6BF-3641B91211CF}" type="slidenum">
              <a:rPr lang="en-US" smtClean="0"/>
              <a:pPr/>
              <a:t>‹#›</a:t>
            </a:fld>
            <a:endParaRPr lang="en-US"/>
          </a:p>
        </p:txBody>
      </p:sp>
      <p:sp>
        <p:nvSpPr>
          <p:cNvPr id="5" name="Date Placeholder 4">
            <a:extLst>
              <a:ext uri="{FF2B5EF4-FFF2-40B4-BE49-F238E27FC236}">
                <a16:creationId xmlns:a16="http://schemas.microsoft.com/office/drawing/2014/main" id="{F9A9FAB2-9497-583D-67D2-92656EBD96E1}"/>
              </a:ext>
            </a:extLst>
          </p:cNvPr>
          <p:cNvSpPr>
            <a:spLocks noGrp="1"/>
          </p:cNvSpPr>
          <p:nvPr>
            <p:ph type="dt" sz="half" idx="12"/>
          </p:nvPr>
        </p:nvSpPr>
        <p:spPr>
          <a:xfrm>
            <a:off x="10236555" y="136647"/>
            <a:ext cx="1345845" cy="153888"/>
          </a:xfrm>
        </p:spPr>
        <p:txBody>
          <a:bodyPr vert="horz" wrap="square" lIns="0" tIns="0" rIns="0" bIns="0" rtlCol="0" anchor="ctr">
            <a:noAutofit/>
          </a:bodyPr>
          <a:lstStyle>
            <a:lvl1pPr>
              <a:defRPr lang="en-US" smtClean="0">
                <a:solidFill>
                  <a:schemeClr val="bg1">
                    <a:lumMod val="65000"/>
                  </a:schemeClr>
                </a:solidFill>
              </a:defRPr>
            </a:lvl1pPr>
          </a:lstStyle>
          <a:p>
            <a:fld id="{09708D96-D14B-468B-AFA7-AF17343FD0E8}" type="datetime4">
              <a:rPr lang="en-US" smtClean="0"/>
              <a:t>May 17, 2025</a:t>
            </a:fld>
            <a:endParaRPr lang="en-US"/>
          </a:p>
        </p:txBody>
      </p:sp>
      <p:sp>
        <p:nvSpPr>
          <p:cNvPr id="23" name="Text Placeholder 7">
            <a:extLst>
              <a:ext uri="{FF2B5EF4-FFF2-40B4-BE49-F238E27FC236}">
                <a16:creationId xmlns:a16="http://schemas.microsoft.com/office/drawing/2014/main" id="{1E90DC0E-D394-DFF1-20FF-E4F025C29CC4}"/>
              </a:ext>
            </a:extLst>
          </p:cNvPr>
          <p:cNvSpPr>
            <a:spLocks noGrp="1"/>
          </p:cNvSpPr>
          <p:nvPr>
            <p:ph type="body" sz="quarter" idx="28" hasCustomPrompt="1"/>
          </p:nvPr>
        </p:nvSpPr>
        <p:spPr>
          <a:xfrm>
            <a:off x="609600" y="136647"/>
            <a:ext cx="4076700" cy="153888"/>
          </a:xfrm>
        </p:spPr>
        <p:txBody>
          <a:bodyPr vert="horz" wrap="square" lIns="0" tIns="0" rIns="0" bIns="0" rtlCol="0" anchor="ctr">
            <a:noAutofit/>
          </a:bodyPr>
          <a:lstStyle>
            <a:lvl1pPr>
              <a:defRPr lang="en-US" sz="1000" b="0" cap="all" spc="0" baseline="0" dirty="0">
                <a:solidFill>
                  <a:schemeClr val="accent1"/>
                </a:solidFill>
                <a:latin typeface="+mj-lt"/>
              </a:defRPr>
            </a:lvl1pPr>
          </a:lstStyle>
          <a:p>
            <a:pPr lvl="0">
              <a:spcAft>
                <a:spcPts val="0"/>
              </a:spcAft>
            </a:pPr>
            <a:r>
              <a:rPr lang="en-US"/>
              <a:t>Industry Name / Section Title</a:t>
            </a:r>
          </a:p>
        </p:txBody>
      </p:sp>
      <p:sp>
        <p:nvSpPr>
          <p:cNvPr id="27" name="Text Placeholder 26">
            <a:extLst>
              <a:ext uri="{FF2B5EF4-FFF2-40B4-BE49-F238E27FC236}">
                <a16:creationId xmlns:a16="http://schemas.microsoft.com/office/drawing/2014/main" id="{53C5C91F-539C-50A5-74CB-E57859E7C44B}"/>
              </a:ext>
            </a:extLst>
          </p:cNvPr>
          <p:cNvSpPr>
            <a:spLocks noGrp="1"/>
          </p:cNvSpPr>
          <p:nvPr>
            <p:ph type="body" sz="quarter" idx="30" hasCustomPrompt="1"/>
          </p:nvPr>
        </p:nvSpPr>
        <p:spPr>
          <a:xfrm>
            <a:off x="609600" y="1795047"/>
            <a:ext cx="442911" cy="430887"/>
          </a:xfrm>
          <a:noFill/>
        </p:spPr>
        <p:txBody>
          <a:bodyPr anchor="b">
            <a:noAutofit/>
          </a:bodyPr>
          <a:lstStyle>
            <a:lvl1pPr algn="l">
              <a:defRPr sz="2800">
                <a:solidFill>
                  <a:schemeClr val="accent1"/>
                </a:solidFill>
              </a:defRPr>
            </a:lvl1pPr>
          </a:lstStyle>
          <a:p>
            <a:pPr lvl="0"/>
            <a:r>
              <a:rPr lang="en-US"/>
              <a:t>00</a:t>
            </a:r>
          </a:p>
        </p:txBody>
      </p:sp>
      <p:sp>
        <p:nvSpPr>
          <p:cNvPr id="30" name="Text Placeholder 26">
            <a:extLst>
              <a:ext uri="{FF2B5EF4-FFF2-40B4-BE49-F238E27FC236}">
                <a16:creationId xmlns:a16="http://schemas.microsoft.com/office/drawing/2014/main" id="{3F52A92B-F518-04CD-762D-7E421D327B3D}"/>
              </a:ext>
            </a:extLst>
          </p:cNvPr>
          <p:cNvSpPr>
            <a:spLocks noGrp="1"/>
          </p:cNvSpPr>
          <p:nvPr>
            <p:ph type="body" sz="quarter" idx="32" hasCustomPrompt="1"/>
          </p:nvPr>
        </p:nvSpPr>
        <p:spPr>
          <a:xfrm>
            <a:off x="4500880" y="1795047"/>
            <a:ext cx="442911" cy="430887"/>
          </a:xfrm>
          <a:noFill/>
        </p:spPr>
        <p:txBody>
          <a:bodyPr anchor="b">
            <a:noAutofit/>
          </a:bodyPr>
          <a:lstStyle>
            <a:lvl1pPr algn="l">
              <a:defRPr sz="2800">
                <a:solidFill>
                  <a:schemeClr val="accent1"/>
                </a:solidFill>
              </a:defRPr>
            </a:lvl1pPr>
          </a:lstStyle>
          <a:p>
            <a:pPr lvl="0"/>
            <a:r>
              <a:rPr lang="en-US"/>
              <a:t>00</a:t>
            </a:r>
          </a:p>
        </p:txBody>
      </p:sp>
      <p:sp>
        <p:nvSpPr>
          <p:cNvPr id="33" name="Text Placeholder 26">
            <a:extLst>
              <a:ext uri="{FF2B5EF4-FFF2-40B4-BE49-F238E27FC236}">
                <a16:creationId xmlns:a16="http://schemas.microsoft.com/office/drawing/2014/main" id="{2E6139D6-5C1F-9984-933D-05C6245DDEE9}"/>
              </a:ext>
            </a:extLst>
          </p:cNvPr>
          <p:cNvSpPr>
            <a:spLocks noGrp="1"/>
          </p:cNvSpPr>
          <p:nvPr>
            <p:ph type="body" sz="quarter" idx="34" hasCustomPrompt="1"/>
          </p:nvPr>
        </p:nvSpPr>
        <p:spPr>
          <a:xfrm>
            <a:off x="609600" y="3934243"/>
            <a:ext cx="442911" cy="430887"/>
          </a:xfrm>
          <a:noFill/>
        </p:spPr>
        <p:txBody>
          <a:bodyPr anchor="b">
            <a:noAutofit/>
          </a:bodyPr>
          <a:lstStyle>
            <a:lvl1pPr algn="l">
              <a:defRPr sz="2800">
                <a:solidFill>
                  <a:schemeClr val="accent1"/>
                </a:solidFill>
              </a:defRPr>
            </a:lvl1pPr>
          </a:lstStyle>
          <a:p>
            <a:pPr lvl="0"/>
            <a:r>
              <a:rPr lang="en-US"/>
              <a:t>00</a:t>
            </a:r>
          </a:p>
        </p:txBody>
      </p:sp>
      <p:sp>
        <p:nvSpPr>
          <p:cNvPr id="36" name="Text Placeholder 26">
            <a:extLst>
              <a:ext uri="{FF2B5EF4-FFF2-40B4-BE49-F238E27FC236}">
                <a16:creationId xmlns:a16="http://schemas.microsoft.com/office/drawing/2014/main" id="{59081576-9853-F2AC-596D-5E4837628CC1}"/>
              </a:ext>
            </a:extLst>
          </p:cNvPr>
          <p:cNvSpPr>
            <a:spLocks noGrp="1"/>
          </p:cNvSpPr>
          <p:nvPr>
            <p:ph type="body" sz="quarter" idx="36" hasCustomPrompt="1"/>
          </p:nvPr>
        </p:nvSpPr>
        <p:spPr>
          <a:xfrm>
            <a:off x="4500880" y="3934243"/>
            <a:ext cx="442911" cy="430887"/>
          </a:xfrm>
          <a:noFill/>
        </p:spPr>
        <p:txBody>
          <a:bodyPr anchor="b">
            <a:noAutofit/>
          </a:bodyPr>
          <a:lstStyle>
            <a:lvl1pPr algn="l">
              <a:defRPr sz="2800">
                <a:solidFill>
                  <a:schemeClr val="accent1"/>
                </a:solidFill>
              </a:defRPr>
            </a:lvl1pPr>
          </a:lstStyle>
          <a:p>
            <a:pPr lvl="0"/>
            <a:r>
              <a:rPr lang="en-US"/>
              <a:t>00</a:t>
            </a:r>
          </a:p>
        </p:txBody>
      </p:sp>
      <p:sp>
        <p:nvSpPr>
          <p:cNvPr id="37" name="Text Placeholder 3">
            <a:extLst>
              <a:ext uri="{FF2B5EF4-FFF2-40B4-BE49-F238E27FC236}">
                <a16:creationId xmlns:a16="http://schemas.microsoft.com/office/drawing/2014/main" id="{277C43D7-C00C-7DE6-0BB0-C5E8CE8207B8}"/>
              </a:ext>
            </a:extLst>
          </p:cNvPr>
          <p:cNvSpPr>
            <a:spLocks noGrp="1"/>
          </p:cNvSpPr>
          <p:nvPr>
            <p:ph type="body" sz="quarter" idx="13" hasCustomPrompt="1"/>
          </p:nvPr>
        </p:nvSpPr>
        <p:spPr>
          <a:xfrm>
            <a:off x="609600" y="1371912"/>
            <a:ext cx="7078980" cy="307777"/>
          </a:xfrm>
        </p:spPr>
        <p:txBody>
          <a:bodyPr wrap="square">
            <a:noAutofit/>
          </a:bodyPr>
          <a:lstStyle>
            <a:lvl1pPr>
              <a:defRPr>
                <a:solidFill>
                  <a:schemeClr val="bg1"/>
                </a:solidFill>
              </a:defRPr>
            </a:lvl1pPr>
          </a:lstStyle>
          <a:p>
            <a:pPr lvl="0"/>
            <a:r>
              <a:rPr lang="en-US"/>
              <a:t>Subtitle</a:t>
            </a:r>
          </a:p>
        </p:txBody>
      </p:sp>
      <p:pic>
        <p:nvPicPr>
          <p:cNvPr id="6" name="Graphic 5">
            <a:extLst>
              <a:ext uri="{FF2B5EF4-FFF2-40B4-BE49-F238E27FC236}">
                <a16:creationId xmlns:a16="http://schemas.microsoft.com/office/drawing/2014/main" id="{9250C694-5F87-84DF-A0F9-B00F5BF6D5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pic>
        <p:nvPicPr>
          <p:cNvPr id="7" name="Graphic 6">
            <a:extLst>
              <a:ext uri="{FF2B5EF4-FFF2-40B4-BE49-F238E27FC236}">
                <a16:creationId xmlns:a16="http://schemas.microsoft.com/office/drawing/2014/main" id="{ECD61670-B7D7-5B2E-A14F-1BBBFB1B97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sp>
        <p:nvSpPr>
          <p:cNvPr id="21" name="Text Placeholder 24">
            <a:extLst>
              <a:ext uri="{FF2B5EF4-FFF2-40B4-BE49-F238E27FC236}">
                <a16:creationId xmlns:a16="http://schemas.microsoft.com/office/drawing/2014/main" id="{94067C25-3E3C-AE62-A2E0-B3D02FD9878B}"/>
              </a:ext>
            </a:extLst>
          </p:cNvPr>
          <p:cNvSpPr>
            <a:spLocks noGrp="1"/>
          </p:cNvSpPr>
          <p:nvPr>
            <p:ph type="body" sz="quarter" idx="29"/>
          </p:nvPr>
        </p:nvSpPr>
        <p:spPr>
          <a:xfrm>
            <a:off x="609600" y="2515283"/>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22" name="Text Placeholder 24">
            <a:extLst>
              <a:ext uri="{FF2B5EF4-FFF2-40B4-BE49-F238E27FC236}">
                <a16:creationId xmlns:a16="http://schemas.microsoft.com/office/drawing/2014/main" id="{C5F12A71-FC73-20E5-8E26-8A9BFDFC9E5A}"/>
              </a:ext>
            </a:extLst>
          </p:cNvPr>
          <p:cNvSpPr>
            <a:spLocks noGrp="1"/>
          </p:cNvSpPr>
          <p:nvPr>
            <p:ph type="body" sz="quarter" idx="31"/>
          </p:nvPr>
        </p:nvSpPr>
        <p:spPr>
          <a:xfrm>
            <a:off x="4500880" y="2515283"/>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39" name="Text Placeholder 24">
            <a:extLst>
              <a:ext uri="{FF2B5EF4-FFF2-40B4-BE49-F238E27FC236}">
                <a16:creationId xmlns:a16="http://schemas.microsoft.com/office/drawing/2014/main" id="{A35F2BAD-1C86-887D-465E-2B5EC8F3DC30}"/>
              </a:ext>
            </a:extLst>
          </p:cNvPr>
          <p:cNvSpPr>
            <a:spLocks noGrp="1"/>
          </p:cNvSpPr>
          <p:nvPr>
            <p:ph type="body" sz="quarter" idx="33"/>
          </p:nvPr>
        </p:nvSpPr>
        <p:spPr>
          <a:xfrm>
            <a:off x="609600" y="4654479"/>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40" name="Text Placeholder 24">
            <a:extLst>
              <a:ext uri="{FF2B5EF4-FFF2-40B4-BE49-F238E27FC236}">
                <a16:creationId xmlns:a16="http://schemas.microsoft.com/office/drawing/2014/main" id="{AB986AAD-0107-9A6C-2D91-5FCFC9F4FD8D}"/>
              </a:ext>
            </a:extLst>
          </p:cNvPr>
          <p:cNvSpPr>
            <a:spLocks noGrp="1"/>
          </p:cNvSpPr>
          <p:nvPr>
            <p:ph type="body" sz="quarter" idx="35"/>
          </p:nvPr>
        </p:nvSpPr>
        <p:spPr>
          <a:xfrm>
            <a:off x="4500880" y="4654479"/>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41" name="Text Placeholder 4">
            <a:extLst>
              <a:ext uri="{FF2B5EF4-FFF2-40B4-BE49-F238E27FC236}">
                <a16:creationId xmlns:a16="http://schemas.microsoft.com/office/drawing/2014/main" id="{AD1F891E-7504-DEED-3613-32FDD29D9F3F}"/>
              </a:ext>
            </a:extLst>
          </p:cNvPr>
          <p:cNvSpPr>
            <a:spLocks noGrp="1"/>
          </p:cNvSpPr>
          <p:nvPr>
            <p:ph type="body" sz="quarter" idx="38"/>
          </p:nvPr>
        </p:nvSpPr>
        <p:spPr>
          <a:xfrm>
            <a:off x="609600" y="3078123"/>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42" name="Text Placeholder 8">
            <a:extLst>
              <a:ext uri="{FF2B5EF4-FFF2-40B4-BE49-F238E27FC236}">
                <a16:creationId xmlns:a16="http://schemas.microsoft.com/office/drawing/2014/main" id="{D41E9690-7F8F-BFF8-0D74-9EE3FBCE4010}"/>
              </a:ext>
            </a:extLst>
          </p:cNvPr>
          <p:cNvSpPr>
            <a:spLocks noGrp="1"/>
          </p:cNvSpPr>
          <p:nvPr>
            <p:ph type="body" sz="quarter" idx="39"/>
          </p:nvPr>
        </p:nvSpPr>
        <p:spPr>
          <a:xfrm>
            <a:off x="4500563" y="3081489"/>
            <a:ext cx="3187700" cy="731520"/>
          </a:xfrm>
        </p:spPr>
        <p:txBody>
          <a:bodyPr/>
          <a:lstStyle>
            <a:lvl1pPr marL="0" indent="0">
              <a:buFont typeface="Arial" panose="020B0604020202020204" pitchFamily="34" charset="0"/>
              <a:buNone/>
              <a:defRPr sz="14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43" name="Text Placeholder 13">
            <a:extLst>
              <a:ext uri="{FF2B5EF4-FFF2-40B4-BE49-F238E27FC236}">
                <a16:creationId xmlns:a16="http://schemas.microsoft.com/office/drawing/2014/main" id="{3D503F38-0B4E-C025-B3C9-A8D7076D23D5}"/>
              </a:ext>
            </a:extLst>
          </p:cNvPr>
          <p:cNvSpPr>
            <a:spLocks noGrp="1"/>
          </p:cNvSpPr>
          <p:nvPr>
            <p:ph type="body" sz="quarter" idx="40"/>
          </p:nvPr>
        </p:nvSpPr>
        <p:spPr>
          <a:xfrm>
            <a:off x="609600" y="5221224"/>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44" name="Text Placeholder 13">
            <a:extLst>
              <a:ext uri="{FF2B5EF4-FFF2-40B4-BE49-F238E27FC236}">
                <a16:creationId xmlns:a16="http://schemas.microsoft.com/office/drawing/2014/main" id="{BD4EEAFE-3245-4E12-11AC-5F3D54A49B83}"/>
              </a:ext>
            </a:extLst>
          </p:cNvPr>
          <p:cNvSpPr>
            <a:spLocks noGrp="1"/>
          </p:cNvSpPr>
          <p:nvPr>
            <p:ph type="body" sz="quarter" idx="41"/>
          </p:nvPr>
        </p:nvSpPr>
        <p:spPr>
          <a:xfrm>
            <a:off x="4505008" y="5221224"/>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grpSp>
        <p:nvGrpSpPr>
          <p:cNvPr id="38" name="Group 37">
            <a:extLst>
              <a:ext uri="{FF2B5EF4-FFF2-40B4-BE49-F238E27FC236}">
                <a16:creationId xmlns:a16="http://schemas.microsoft.com/office/drawing/2014/main" id="{E02B04E6-DFE4-8F61-77A7-3BAE91280415}"/>
              </a:ext>
            </a:extLst>
          </p:cNvPr>
          <p:cNvGrpSpPr/>
          <p:nvPr userDrawn="1"/>
        </p:nvGrpSpPr>
        <p:grpSpPr>
          <a:xfrm>
            <a:off x="8668767" y="2176217"/>
            <a:ext cx="2913628" cy="2916485"/>
            <a:chOff x="8477772" y="2176216"/>
            <a:chExt cx="3104627" cy="3107669"/>
          </a:xfrm>
        </p:grpSpPr>
        <p:sp>
          <p:nvSpPr>
            <p:cNvPr id="17" name="Freeform: Shape 16">
              <a:extLst>
                <a:ext uri="{FF2B5EF4-FFF2-40B4-BE49-F238E27FC236}">
                  <a16:creationId xmlns:a16="http://schemas.microsoft.com/office/drawing/2014/main" id="{1DDAB8FB-291B-E617-AD35-5D0D2C85B979}"/>
                </a:ext>
              </a:extLst>
            </p:cNvPr>
            <p:cNvSpPr/>
            <p:nvPr/>
          </p:nvSpPr>
          <p:spPr>
            <a:xfrm>
              <a:off x="8477772" y="4040792"/>
              <a:ext cx="1243092" cy="1243091"/>
            </a:xfrm>
            <a:custGeom>
              <a:avLst/>
              <a:gdLst>
                <a:gd name="connsiteX0" fmla="*/ 0 w 1243092"/>
                <a:gd name="connsiteY0" fmla="*/ 1243093 h 1243092"/>
                <a:gd name="connsiteX1" fmla="*/ 0 w 1243092"/>
                <a:gd name="connsiteY1" fmla="*/ 0 h 1243092"/>
                <a:gd name="connsiteX2" fmla="*/ 1243093 w 1243092"/>
                <a:gd name="connsiteY2" fmla="*/ 0 h 1243092"/>
                <a:gd name="connsiteX3" fmla="*/ 0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0" y="1243093"/>
                  </a:moveTo>
                  <a:lnTo>
                    <a:pt x="0" y="0"/>
                  </a:lnTo>
                  <a:lnTo>
                    <a:pt x="1243093" y="0"/>
                  </a:lnTo>
                  <a:lnTo>
                    <a:pt x="0" y="1243093"/>
                  </a:lnTo>
                  <a:close/>
                </a:path>
              </a:pathLst>
            </a:custGeom>
            <a:solidFill>
              <a:schemeClr val="bg1"/>
            </a:solidFill>
            <a:ln w="6191"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D8CFF20-FCFC-BF39-5C69-44CA783859FC}"/>
                </a:ext>
              </a:extLst>
            </p:cNvPr>
            <p:cNvSpPr/>
            <p:nvPr/>
          </p:nvSpPr>
          <p:spPr>
            <a:xfrm>
              <a:off x="8477772" y="4040792"/>
              <a:ext cx="1243092" cy="1243092"/>
            </a:xfrm>
            <a:custGeom>
              <a:avLst/>
              <a:gdLst>
                <a:gd name="connsiteX0" fmla="*/ 1243093 w 1243092"/>
                <a:gd name="connsiteY0" fmla="*/ 1243093 h 1243092"/>
                <a:gd name="connsiteX1" fmla="*/ 0 w 1243092"/>
                <a:gd name="connsiteY1" fmla="*/ 1243093 h 1243092"/>
                <a:gd name="connsiteX2" fmla="*/ 1243093 w 1243092"/>
                <a:gd name="connsiteY2" fmla="*/ 0 h 1243092"/>
                <a:gd name="connsiteX3" fmla="*/ 1243093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1243093" y="1243093"/>
                  </a:moveTo>
                  <a:lnTo>
                    <a:pt x="0" y="1243093"/>
                  </a:lnTo>
                  <a:lnTo>
                    <a:pt x="1243093" y="0"/>
                  </a:lnTo>
                  <a:lnTo>
                    <a:pt x="1243093" y="1243093"/>
                  </a:lnTo>
                  <a:close/>
                </a:path>
              </a:pathLst>
            </a:custGeom>
            <a:solidFill>
              <a:srgbClr val="93D500"/>
            </a:solidFill>
            <a:ln w="6191"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F8E7DB0F-57F2-0BB1-A359-3F2B24747527}"/>
                </a:ext>
              </a:extLst>
            </p:cNvPr>
            <p:cNvSpPr/>
            <p:nvPr/>
          </p:nvSpPr>
          <p:spPr>
            <a:xfrm>
              <a:off x="10339306" y="2176216"/>
              <a:ext cx="1243092" cy="1243091"/>
            </a:xfrm>
            <a:custGeom>
              <a:avLst/>
              <a:gdLst>
                <a:gd name="connsiteX0" fmla="*/ 0 w 1243092"/>
                <a:gd name="connsiteY0" fmla="*/ 1243093 h 1243092"/>
                <a:gd name="connsiteX1" fmla="*/ 0 w 1243092"/>
                <a:gd name="connsiteY1" fmla="*/ 0 h 1243092"/>
                <a:gd name="connsiteX2" fmla="*/ 1243093 w 1243092"/>
                <a:gd name="connsiteY2" fmla="*/ 0 h 1243092"/>
                <a:gd name="connsiteX3" fmla="*/ 0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0" y="1243093"/>
                  </a:moveTo>
                  <a:lnTo>
                    <a:pt x="0" y="0"/>
                  </a:lnTo>
                  <a:lnTo>
                    <a:pt x="1243093" y="0"/>
                  </a:lnTo>
                  <a:lnTo>
                    <a:pt x="0" y="1243093"/>
                  </a:lnTo>
                  <a:close/>
                </a:path>
              </a:pathLst>
            </a:custGeom>
            <a:solidFill>
              <a:schemeClr val="bg1"/>
            </a:solidFill>
            <a:ln w="6191"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2766101B-1B7C-33CC-AB9A-2BCEB9054770}"/>
                </a:ext>
              </a:extLst>
            </p:cNvPr>
            <p:cNvSpPr/>
            <p:nvPr/>
          </p:nvSpPr>
          <p:spPr>
            <a:xfrm>
              <a:off x="10339306" y="2176216"/>
              <a:ext cx="1243092" cy="1243092"/>
            </a:xfrm>
            <a:custGeom>
              <a:avLst/>
              <a:gdLst>
                <a:gd name="connsiteX0" fmla="*/ 1243093 w 1243092"/>
                <a:gd name="connsiteY0" fmla="*/ 1243093 h 1243092"/>
                <a:gd name="connsiteX1" fmla="*/ 0 w 1243092"/>
                <a:gd name="connsiteY1" fmla="*/ 1243093 h 1243092"/>
                <a:gd name="connsiteX2" fmla="*/ 1243093 w 1243092"/>
                <a:gd name="connsiteY2" fmla="*/ 0 h 1243092"/>
                <a:gd name="connsiteX3" fmla="*/ 1243093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1243093" y="1243093"/>
                  </a:moveTo>
                  <a:lnTo>
                    <a:pt x="0" y="1243093"/>
                  </a:lnTo>
                  <a:lnTo>
                    <a:pt x="1243093" y="0"/>
                  </a:lnTo>
                  <a:lnTo>
                    <a:pt x="1243093" y="1243093"/>
                  </a:lnTo>
                  <a:close/>
                </a:path>
              </a:pathLst>
            </a:custGeom>
            <a:solidFill>
              <a:srgbClr val="93D500"/>
            </a:solidFill>
            <a:ln w="6191"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97FF00E8-12B1-0F1C-1F00-424A505ED697}"/>
                </a:ext>
              </a:extLst>
            </p:cNvPr>
            <p:cNvSpPr/>
            <p:nvPr/>
          </p:nvSpPr>
          <p:spPr>
            <a:xfrm>
              <a:off x="8477772" y="2176216"/>
              <a:ext cx="1243093" cy="1243093"/>
            </a:xfrm>
            <a:custGeom>
              <a:avLst/>
              <a:gdLst>
                <a:gd name="connsiteX0" fmla="*/ 0 w 1243093"/>
                <a:gd name="connsiteY0" fmla="*/ 0 h 1243093"/>
                <a:gd name="connsiteX1" fmla="*/ 1243093 w 1243093"/>
                <a:gd name="connsiteY1" fmla="*/ 0 h 1243093"/>
                <a:gd name="connsiteX2" fmla="*/ 1243093 w 1243093"/>
                <a:gd name="connsiteY2" fmla="*/ 1243093 h 1243093"/>
                <a:gd name="connsiteX3" fmla="*/ 0 w 1243093"/>
                <a:gd name="connsiteY3" fmla="*/ 1243093 h 1243093"/>
              </a:gdLst>
              <a:ahLst/>
              <a:cxnLst>
                <a:cxn ang="0">
                  <a:pos x="connsiteX0" y="connsiteY0"/>
                </a:cxn>
                <a:cxn ang="0">
                  <a:pos x="connsiteX1" y="connsiteY1"/>
                </a:cxn>
                <a:cxn ang="0">
                  <a:pos x="connsiteX2" y="connsiteY2"/>
                </a:cxn>
                <a:cxn ang="0">
                  <a:pos x="connsiteX3" y="connsiteY3"/>
                </a:cxn>
              </a:cxnLst>
              <a:rect l="l" t="t" r="r" b="b"/>
              <a:pathLst>
                <a:path w="1243093" h="1243093">
                  <a:moveTo>
                    <a:pt x="0" y="0"/>
                  </a:moveTo>
                  <a:lnTo>
                    <a:pt x="1243093" y="0"/>
                  </a:lnTo>
                  <a:lnTo>
                    <a:pt x="1243093" y="1243093"/>
                  </a:lnTo>
                  <a:lnTo>
                    <a:pt x="0" y="1243093"/>
                  </a:lnTo>
                  <a:close/>
                </a:path>
              </a:pathLst>
            </a:custGeom>
            <a:solidFill>
              <a:schemeClr val="bg1"/>
            </a:solidFill>
            <a:ln w="6191"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A3390EB0-ABE0-10C4-D3D4-8DECDA33B7D6}"/>
                </a:ext>
              </a:extLst>
            </p:cNvPr>
            <p:cNvSpPr/>
            <p:nvPr/>
          </p:nvSpPr>
          <p:spPr>
            <a:xfrm>
              <a:off x="10339306" y="4040792"/>
              <a:ext cx="1243093" cy="1243093"/>
            </a:xfrm>
            <a:custGeom>
              <a:avLst/>
              <a:gdLst>
                <a:gd name="connsiteX0" fmla="*/ 0 w 1243093"/>
                <a:gd name="connsiteY0" fmla="*/ 0 h 1243093"/>
                <a:gd name="connsiteX1" fmla="*/ 1243093 w 1243093"/>
                <a:gd name="connsiteY1" fmla="*/ 0 h 1243093"/>
                <a:gd name="connsiteX2" fmla="*/ 1243093 w 1243093"/>
                <a:gd name="connsiteY2" fmla="*/ 1243093 h 1243093"/>
                <a:gd name="connsiteX3" fmla="*/ 0 w 1243093"/>
                <a:gd name="connsiteY3" fmla="*/ 1243093 h 1243093"/>
              </a:gdLst>
              <a:ahLst/>
              <a:cxnLst>
                <a:cxn ang="0">
                  <a:pos x="connsiteX0" y="connsiteY0"/>
                </a:cxn>
                <a:cxn ang="0">
                  <a:pos x="connsiteX1" y="connsiteY1"/>
                </a:cxn>
                <a:cxn ang="0">
                  <a:pos x="connsiteX2" y="connsiteY2"/>
                </a:cxn>
                <a:cxn ang="0">
                  <a:pos x="connsiteX3" y="connsiteY3"/>
                </a:cxn>
              </a:cxnLst>
              <a:rect l="l" t="t" r="r" b="b"/>
              <a:pathLst>
                <a:path w="1243093" h="1243093">
                  <a:moveTo>
                    <a:pt x="0" y="0"/>
                  </a:moveTo>
                  <a:lnTo>
                    <a:pt x="1243093" y="0"/>
                  </a:lnTo>
                  <a:lnTo>
                    <a:pt x="1243093" y="1243093"/>
                  </a:lnTo>
                  <a:lnTo>
                    <a:pt x="0" y="1243093"/>
                  </a:lnTo>
                  <a:close/>
                </a:path>
              </a:pathLst>
            </a:custGeom>
            <a:solidFill>
              <a:srgbClr val="93D500"/>
            </a:solidFill>
            <a:ln w="6191" cap="flat">
              <a:noFill/>
              <a:prstDash val="solid"/>
              <a:miter/>
            </a:ln>
          </p:spPr>
          <p:txBody>
            <a:bodyPr rtlCol="0" anchor="ctr"/>
            <a:lstStyle/>
            <a:p>
              <a:endParaRPr lang="en-US"/>
            </a:p>
          </p:txBody>
        </p:sp>
      </p:grpSp>
    </p:spTree>
    <p:extLst>
      <p:ext uri="{BB962C8B-B14F-4D97-AF65-F5344CB8AC3E}">
        <p14:creationId xmlns:p14="http://schemas.microsoft.com/office/powerpoint/2010/main" val="157287799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our-quadrant C">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FB671-7288-F24D-B614-7485A1EB4769}"/>
              </a:ext>
            </a:extLst>
          </p:cNvPr>
          <p:cNvSpPr>
            <a:spLocks noGrp="1"/>
          </p:cNvSpPr>
          <p:nvPr>
            <p:ph type="title"/>
          </p:nvPr>
        </p:nvSpPr>
        <p:spPr>
          <a:xfrm>
            <a:off x="609600" y="4436344"/>
            <a:ext cx="3191256" cy="1107996"/>
          </a:xfrm>
        </p:spPr>
        <p:txBody>
          <a:bodyPr anchor="b">
            <a:noAutofit/>
          </a:bodyPr>
          <a:lstStyle>
            <a:lvl1pPr>
              <a:lnSpc>
                <a:spcPct val="100000"/>
              </a:lnSpc>
              <a:defRPr/>
            </a:lvl1pPr>
          </a:lstStyle>
          <a:p>
            <a:r>
              <a:rPr lang="en-US"/>
              <a:t>Click to edit Master title style</a:t>
            </a:r>
          </a:p>
        </p:txBody>
      </p:sp>
      <p:sp>
        <p:nvSpPr>
          <p:cNvPr id="5" name="Date Placeholder 4">
            <a:extLst>
              <a:ext uri="{FF2B5EF4-FFF2-40B4-BE49-F238E27FC236}">
                <a16:creationId xmlns:a16="http://schemas.microsoft.com/office/drawing/2014/main" id="{F9A9FAB2-9497-583D-67D2-92656EBD96E1}"/>
              </a:ext>
            </a:extLst>
          </p:cNvPr>
          <p:cNvSpPr>
            <a:spLocks noGrp="1"/>
          </p:cNvSpPr>
          <p:nvPr>
            <p:ph type="dt" sz="half" idx="12"/>
          </p:nvPr>
        </p:nvSpPr>
        <p:spPr/>
        <p:txBody>
          <a:bodyPr>
            <a:noAutofit/>
          </a:bodyPr>
          <a:lstStyle>
            <a:lvl1pPr>
              <a:defRPr>
                <a:solidFill>
                  <a:schemeClr val="tx1">
                    <a:lumMod val="75000"/>
                    <a:lumOff val="25000"/>
                  </a:schemeClr>
                </a:solidFill>
              </a:defRPr>
            </a:lvl1pPr>
          </a:lstStyle>
          <a:p>
            <a:fld id="{EF6117FD-339D-46D2-9342-B24BFDA76C15}" type="datetime4">
              <a:rPr lang="en-US" smtClean="0"/>
              <a:t>May 17, 2025</a:t>
            </a:fld>
            <a:endParaRPr lang="en-US"/>
          </a:p>
        </p:txBody>
      </p:sp>
      <p:sp>
        <p:nvSpPr>
          <p:cNvPr id="37" name="Text Placeholder 3">
            <a:extLst>
              <a:ext uri="{FF2B5EF4-FFF2-40B4-BE49-F238E27FC236}">
                <a16:creationId xmlns:a16="http://schemas.microsoft.com/office/drawing/2014/main" id="{277C43D7-C00C-7DE6-0BB0-C5E8CE8207B8}"/>
              </a:ext>
            </a:extLst>
          </p:cNvPr>
          <p:cNvSpPr>
            <a:spLocks noGrp="1"/>
          </p:cNvSpPr>
          <p:nvPr>
            <p:ph type="body" sz="quarter" idx="13" hasCustomPrompt="1"/>
          </p:nvPr>
        </p:nvSpPr>
        <p:spPr>
          <a:xfrm>
            <a:off x="609600" y="5569938"/>
            <a:ext cx="3191256" cy="307777"/>
          </a:xfrm>
        </p:spPr>
        <p:txBody>
          <a:bodyPr wrap="square">
            <a:noAutofit/>
          </a:bodyPr>
          <a:lstStyle>
            <a:lvl1pPr>
              <a:defRPr>
                <a:solidFill>
                  <a:schemeClr val="tx1">
                    <a:lumMod val="75000"/>
                    <a:lumOff val="25000"/>
                  </a:schemeClr>
                </a:solidFill>
              </a:defRPr>
            </a:lvl1pPr>
          </a:lstStyle>
          <a:p>
            <a:pPr lvl="0"/>
            <a:r>
              <a:rPr lang="en-US"/>
              <a:t>Subtitle</a:t>
            </a:r>
          </a:p>
        </p:txBody>
      </p:sp>
      <p:sp>
        <p:nvSpPr>
          <p:cNvPr id="45" name="Text Placeholder 24">
            <a:extLst>
              <a:ext uri="{FF2B5EF4-FFF2-40B4-BE49-F238E27FC236}">
                <a16:creationId xmlns:a16="http://schemas.microsoft.com/office/drawing/2014/main" id="{81AC28DC-93A6-48C2-61B4-B0DC8EB32656}"/>
              </a:ext>
            </a:extLst>
          </p:cNvPr>
          <p:cNvSpPr>
            <a:spLocks noGrp="1"/>
          </p:cNvSpPr>
          <p:nvPr>
            <p:ph type="body" sz="quarter" idx="29"/>
          </p:nvPr>
        </p:nvSpPr>
        <p:spPr>
          <a:xfrm>
            <a:off x="4503420" y="1372989"/>
            <a:ext cx="3191256" cy="612648"/>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49" name="Text Placeholder 24">
            <a:extLst>
              <a:ext uri="{FF2B5EF4-FFF2-40B4-BE49-F238E27FC236}">
                <a16:creationId xmlns:a16="http://schemas.microsoft.com/office/drawing/2014/main" id="{38AC06FF-9423-61D1-DBC8-0E2170D5E89F}"/>
              </a:ext>
            </a:extLst>
          </p:cNvPr>
          <p:cNvSpPr>
            <a:spLocks noGrp="1"/>
          </p:cNvSpPr>
          <p:nvPr>
            <p:ph type="body" sz="quarter" idx="32"/>
          </p:nvPr>
        </p:nvSpPr>
        <p:spPr>
          <a:xfrm>
            <a:off x="8394700" y="1372989"/>
            <a:ext cx="3191256" cy="612648"/>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52" name="Text Placeholder 24">
            <a:extLst>
              <a:ext uri="{FF2B5EF4-FFF2-40B4-BE49-F238E27FC236}">
                <a16:creationId xmlns:a16="http://schemas.microsoft.com/office/drawing/2014/main" id="{E7F60AF1-6C7F-C09E-8079-CCC041BCCFD6}"/>
              </a:ext>
            </a:extLst>
          </p:cNvPr>
          <p:cNvSpPr>
            <a:spLocks noGrp="1"/>
          </p:cNvSpPr>
          <p:nvPr>
            <p:ph type="body" sz="quarter" idx="34"/>
          </p:nvPr>
        </p:nvSpPr>
        <p:spPr>
          <a:xfrm>
            <a:off x="4503420" y="4259227"/>
            <a:ext cx="3191256" cy="612648"/>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55" name="Text Placeholder 24">
            <a:extLst>
              <a:ext uri="{FF2B5EF4-FFF2-40B4-BE49-F238E27FC236}">
                <a16:creationId xmlns:a16="http://schemas.microsoft.com/office/drawing/2014/main" id="{24B848A0-46B3-5A33-8405-3915F72C91E4}"/>
              </a:ext>
            </a:extLst>
          </p:cNvPr>
          <p:cNvSpPr>
            <a:spLocks noGrp="1"/>
          </p:cNvSpPr>
          <p:nvPr>
            <p:ph type="body" sz="quarter" idx="36"/>
          </p:nvPr>
        </p:nvSpPr>
        <p:spPr>
          <a:xfrm>
            <a:off x="8394700" y="4259227"/>
            <a:ext cx="3191256" cy="612648"/>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57" name="Text Placeholder 26">
            <a:extLst>
              <a:ext uri="{FF2B5EF4-FFF2-40B4-BE49-F238E27FC236}">
                <a16:creationId xmlns:a16="http://schemas.microsoft.com/office/drawing/2014/main" id="{FA258B65-F95C-ACE5-EDC8-47341FB793E2}"/>
              </a:ext>
            </a:extLst>
          </p:cNvPr>
          <p:cNvSpPr>
            <a:spLocks noGrp="1"/>
          </p:cNvSpPr>
          <p:nvPr>
            <p:ph type="body" sz="quarter" idx="37" hasCustomPrompt="1"/>
          </p:nvPr>
        </p:nvSpPr>
        <p:spPr>
          <a:xfrm>
            <a:off x="4503420" y="655490"/>
            <a:ext cx="442911" cy="430887"/>
          </a:xfrm>
          <a:noFill/>
        </p:spPr>
        <p:txBody>
          <a:bodyPr anchor="b">
            <a:noAutofit/>
          </a:bodyPr>
          <a:lstStyle>
            <a:lvl1pPr algn="l">
              <a:defRPr sz="2800">
                <a:solidFill>
                  <a:schemeClr val="tx2"/>
                </a:solidFill>
              </a:defRPr>
            </a:lvl1pPr>
          </a:lstStyle>
          <a:p>
            <a:pPr lvl="0"/>
            <a:r>
              <a:rPr lang="en-US"/>
              <a:t>00</a:t>
            </a:r>
          </a:p>
        </p:txBody>
      </p:sp>
      <p:sp>
        <p:nvSpPr>
          <p:cNvPr id="59" name="Text Placeholder 26">
            <a:extLst>
              <a:ext uri="{FF2B5EF4-FFF2-40B4-BE49-F238E27FC236}">
                <a16:creationId xmlns:a16="http://schemas.microsoft.com/office/drawing/2014/main" id="{3E006ACC-8BC5-A8A5-BBDD-31E52AE25FDB}"/>
              </a:ext>
            </a:extLst>
          </p:cNvPr>
          <p:cNvSpPr>
            <a:spLocks noGrp="1"/>
          </p:cNvSpPr>
          <p:nvPr>
            <p:ph type="body" sz="quarter" idx="38" hasCustomPrompt="1"/>
          </p:nvPr>
        </p:nvSpPr>
        <p:spPr>
          <a:xfrm>
            <a:off x="8394700" y="656457"/>
            <a:ext cx="442911" cy="430887"/>
          </a:xfrm>
          <a:noFill/>
        </p:spPr>
        <p:txBody>
          <a:bodyPr anchor="b">
            <a:noAutofit/>
          </a:bodyPr>
          <a:lstStyle>
            <a:lvl1pPr algn="l">
              <a:defRPr sz="2800">
                <a:solidFill>
                  <a:schemeClr val="tx2"/>
                </a:solidFill>
              </a:defRPr>
            </a:lvl1pPr>
          </a:lstStyle>
          <a:p>
            <a:pPr lvl="0"/>
            <a:r>
              <a:rPr lang="en-US"/>
              <a:t>00</a:t>
            </a:r>
          </a:p>
        </p:txBody>
      </p:sp>
      <p:sp>
        <p:nvSpPr>
          <p:cNvPr id="61" name="Text Placeholder 26">
            <a:extLst>
              <a:ext uri="{FF2B5EF4-FFF2-40B4-BE49-F238E27FC236}">
                <a16:creationId xmlns:a16="http://schemas.microsoft.com/office/drawing/2014/main" id="{111CB98A-C475-0E30-46AE-C2931827AFD1}"/>
              </a:ext>
            </a:extLst>
          </p:cNvPr>
          <p:cNvSpPr>
            <a:spLocks noGrp="1"/>
          </p:cNvSpPr>
          <p:nvPr>
            <p:ph type="body" sz="quarter" idx="39" hasCustomPrompt="1"/>
          </p:nvPr>
        </p:nvSpPr>
        <p:spPr>
          <a:xfrm>
            <a:off x="4503420" y="3542695"/>
            <a:ext cx="442911" cy="430887"/>
          </a:xfrm>
          <a:noFill/>
        </p:spPr>
        <p:txBody>
          <a:bodyPr anchor="b">
            <a:noAutofit/>
          </a:bodyPr>
          <a:lstStyle>
            <a:lvl1pPr algn="l">
              <a:defRPr sz="2800">
                <a:solidFill>
                  <a:schemeClr val="tx2"/>
                </a:solidFill>
              </a:defRPr>
            </a:lvl1pPr>
          </a:lstStyle>
          <a:p>
            <a:pPr lvl="0"/>
            <a:r>
              <a:rPr lang="en-US"/>
              <a:t>00</a:t>
            </a:r>
          </a:p>
        </p:txBody>
      </p:sp>
      <p:sp>
        <p:nvSpPr>
          <p:cNvPr id="63" name="Text Placeholder 26">
            <a:extLst>
              <a:ext uri="{FF2B5EF4-FFF2-40B4-BE49-F238E27FC236}">
                <a16:creationId xmlns:a16="http://schemas.microsoft.com/office/drawing/2014/main" id="{17CB2B64-4FE7-7D72-ECF9-B226A53F939A}"/>
              </a:ext>
            </a:extLst>
          </p:cNvPr>
          <p:cNvSpPr>
            <a:spLocks noGrp="1"/>
          </p:cNvSpPr>
          <p:nvPr>
            <p:ph type="body" sz="quarter" idx="40" hasCustomPrompt="1"/>
          </p:nvPr>
        </p:nvSpPr>
        <p:spPr>
          <a:xfrm>
            <a:off x="8394700" y="3542695"/>
            <a:ext cx="442911" cy="430887"/>
          </a:xfrm>
          <a:noFill/>
        </p:spPr>
        <p:txBody>
          <a:bodyPr anchor="b">
            <a:noAutofit/>
          </a:bodyPr>
          <a:lstStyle>
            <a:lvl1pPr algn="l">
              <a:defRPr sz="2800">
                <a:solidFill>
                  <a:schemeClr val="tx2"/>
                </a:solidFill>
              </a:defRPr>
            </a:lvl1pPr>
          </a:lstStyle>
          <a:p>
            <a:pPr lvl="0"/>
            <a:r>
              <a:rPr lang="en-US"/>
              <a:t>00</a:t>
            </a:r>
          </a:p>
        </p:txBody>
      </p:sp>
      <p:sp>
        <p:nvSpPr>
          <p:cNvPr id="3" name="Footer Placeholder 4">
            <a:extLst>
              <a:ext uri="{FF2B5EF4-FFF2-40B4-BE49-F238E27FC236}">
                <a16:creationId xmlns:a16="http://schemas.microsoft.com/office/drawing/2014/main" id="{6B693173-4AED-2995-3081-BC3352EE7AFD}"/>
              </a:ext>
            </a:extLst>
          </p:cNvPr>
          <p:cNvSpPr>
            <a:spLocks noGrp="1"/>
          </p:cNvSpPr>
          <p:nvPr>
            <p:ph type="ftr" sz="quarter" idx="3"/>
          </p:nvPr>
        </p:nvSpPr>
        <p:spPr>
          <a:xfrm>
            <a:off x="609600" y="6567465"/>
            <a:ext cx="10083800" cy="153888"/>
          </a:xfrm>
          <a:prstGeom prst="rect">
            <a:avLst/>
          </a:prstGeom>
        </p:spPr>
        <p:txBody>
          <a:bodyPr vert="horz" lIns="0" tIns="0" rIns="0" bIns="0" rtlCol="0" anchor="ctr">
            <a:noAutofit/>
          </a:bodyPr>
          <a:lstStyle>
            <a:lvl1pPr algn="l">
              <a:lnSpc>
                <a:spcPct val="100000"/>
              </a:lnSpc>
              <a:defRPr sz="1000">
                <a:solidFill>
                  <a:schemeClr val="tx1">
                    <a:lumMod val="75000"/>
                    <a:lumOff val="25000"/>
                  </a:schemeClr>
                </a:solidFill>
              </a:defRPr>
            </a:lvl1pPr>
          </a:lstStyle>
          <a:p>
            <a:r>
              <a:rPr lang="en-US"/>
              <a:t>© 2024 Guidehouse</a:t>
            </a:r>
          </a:p>
        </p:txBody>
      </p:sp>
      <p:sp>
        <p:nvSpPr>
          <p:cNvPr id="4" name="Slide Number Placeholder 5">
            <a:extLst>
              <a:ext uri="{FF2B5EF4-FFF2-40B4-BE49-F238E27FC236}">
                <a16:creationId xmlns:a16="http://schemas.microsoft.com/office/drawing/2014/main" id="{2531E312-FA6B-91E7-BD98-02E52DBCB8AF}"/>
              </a:ext>
            </a:extLst>
          </p:cNvPr>
          <p:cNvSpPr>
            <a:spLocks noGrp="1"/>
          </p:cNvSpPr>
          <p:nvPr>
            <p:ph type="sldNum" sz="quarter" idx="4"/>
          </p:nvPr>
        </p:nvSpPr>
        <p:spPr>
          <a:xfrm>
            <a:off x="11248008" y="6567465"/>
            <a:ext cx="334392" cy="153888"/>
          </a:xfrm>
          <a:prstGeom prst="rect">
            <a:avLst/>
          </a:prstGeom>
        </p:spPr>
        <p:txBody>
          <a:bodyPr vert="horz" lIns="0" tIns="0" rIns="0" bIns="0" rtlCol="0" anchor="ctr">
            <a:noAutofit/>
          </a:bodyPr>
          <a:lstStyle>
            <a:lvl1pPr algn="r">
              <a:lnSpc>
                <a:spcPct val="100000"/>
              </a:lnSpc>
              <a:defRPr sz="1000">
                <a:solidFill>
                  <a:schemeClr val="tx1">
                    <a:lumMod val="75000"/>
                    <a:lumOff val="25000"/>
                  </a:schemeClr>
                </a:solidFill>
              </a:defRPr>
            </a:lvl1pPr>
          </a:lstStyle>
          <a:p>
            <a:fld id="{FD814145-5B10-4F3F-A6BF-3641B91211CF}" type="slidenum">
              <a:rPr lang="en-US" smtClean="0"/>
              <a:pPr/>
              <a:t>‹#›</a:t>
            </a:fld>
            <a:endParaRPr lang="en-US"/>
          </a:p>
        </p:txBody>
      </p:sp>
      <p:sp>
        <p:nvSpPr>
          <p:cNvPr id="8" name="Text Placeholder 7">
            <a:extLst>
              <a:ext uri="{FF2B5EF4-FFF2-40B4-BE49-F238E27FC236}">
                <a16:creationId xmlns:a16="http://schemas.microsoft.com/office/drawing/2014/main" id="{36801A41-6901-C085-44D0-685FA3E1A66D}"/>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Text Placeholder 11">
            <a:extLst>
              <a:ext uri="{FF2B5EF4-FFF2-40B4-BE49-F238E27FC236}">
                <a16:creationId xmlns:a16="http://schemas.microsoft.com/office/drawing/2014/main" id="{4C5D5E21-197E-9FAF-EE30-DF02893C567B}"/>
              </a:ext>
            </a:extLst>
          </p:cNvPr>
          <p:cNvSpPr>
            <a:spLocks noGrp="1"/>
          </p:cNvSpPr>
          <p:nvPr>
            <p:ph type="body" sz="quarter" idx="41"/>
          </p:nvPr>
        </p:nvSpPr>
        <p:spPr>
          <a:xfrm>
            <a:off x="4503738" y="1997829"/>
            <a:ext cx="3190875" cy="993645"/>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3" name="Text Placeholder 11">
            <a:extLst>
              <a:ext uri="{FF2B5EF4-FFF2-40B4-BE49-F238E27FC236}">
                <a16:creationId xmlns:a16="http://schemas.microsoft.com/office/drawing/2014/main" id="{FCC6C2EF-F367-CABC-9873-EB1DDAB421C5}"/>
              </a:ext>
            </a:extLst>
          </p:cNvPr>
          <p:cNvSpPr>
            <a:spLocks noGrp="1"/>
          </p:cNvSpPr>
          <p:nvPr>
            <p:ph type="body" sz="quarter" idx="42"/>
          </p:nvPr>
        </p:nvSpPr>
        <p:spPr>
          <a:xfrm>
            <a:off x="8391525" y="1997829"/>
            <a:ext cx="3190875" cy="993645"/>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4" name="Text Placeholder 11">
            <a:extLst>
              <a:ext uri="{FF2B5EF4-FFF2-40B4-BE49-F238E27FC236}">
                <a16:creationId xmlns:a16="http://schemas.microsoft.com/office/drawing/2014/main" id="{3A777F17-3D5B-2101-D67A-B7BD60069919}"/>
              </a:ext>
            </a:extLst>
          </p:cNvPr>
          <p:cNvSpPr>
            <a:spLocks noGrp="1"/>
          </p:cNvSpPr>
          <p:nvPr>
            <p:ph type="body" sz="quarter" idx="43"/>
          </p:nvPr>
        </p:nvSpPr>
        <p:spPr>
          <a:xfrm>
            <a:off x="4503738" y="4892040"/>
            <a:ext cx="3190875" cy="993645"/>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5" name="Text Placeholder 11">
            <a:extLst>
              <a:ext uri="{FF2B5EF4-FFF2-40B4-BE49-F238E27FC236}">
                <a16:creationId xmlns:a16="http://schemas.microsoft.com/office/drawing/2014/main" id="{CEFC7221-44C7-32C6-C0CC-AA1920777AC3}"/>
              </a:ext>
            </a:extLst>
          </p:cNvPr>
          <p:cNvSpPr>
            <a:spLocks noGrp="1"/>
          </p:cNvSpPr>
          <p:nvPr>
            <p:ph type="body" sz="quarter" idx="44"/>
          </p:nvPr>
        </p:nvSpPr>
        <p:spPr>
          <a:xfrm>
            <a:off x="8391525" y="4892040"/>
            <a:ext cx="3190875" cy="993645"/>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Tree>
    <p:extLst>
      <p:ext uri="{BB962C8B-B14F-4D97-AF65-F5344CB8AC3E}">
        <p14:creationId xmlns:p14="http://schemas.microsoft.com/office/powerpoint/2010/main" val="120204203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our-quadrant 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FB671-7288-F24D-B614-7485A1EB4769}"/>
              </a:ext>
            </a:extLst>
          </p:cNvPr>
          <p:cNvSpPr>
            <a:spLocks noGrp="1"/>
          </p:cNvSpPr>
          <p:nvPr>
            <p:ph type="title"/>
          </p:nvPr>
        </p:nvSpPr>
        <p:spPr>
          <a:xfrm>
            <a:off x="609600" y="4436344"/>
            <a:ext cx="3191256" cy="1107996"/>
          </a:xfrm>
        </p:spPr>
        <p:txBody>
          <a:bodyPr anchor="b">
            <a:noAutofit/>
          </a:bodyPr>
          <a:lstStyle>
            <a:lvl1pPr>
              <a:lnSpc>
                <a:spcPct val="100000"/>
              </a:lnSpc>
              <a:defRPr>
                <a:solidFill>
                  <a:schemeClr val="bg1"/>
                </a:solidFill>
              </a:defRPr>
            </a:lvl1pPr>
          </a:lstStyle>
          <a:p>
            <a:r>
              <a:rPr lang="en-US"/>
              <a:t>Click to edit Master title style</a:t>
            </a:r>
          </a:p>
        </p:txBody>
      </p:sp>
      <p:sp>
        <p:nvSpPr>
          <p:cNvPr id="5" name="Date Placeholder 4">
            <a:extLst>
              <a:ext uri="{FF2B5EF4-FFF2-40B4-BE49-F238E27FC236}">
                <a16:creationId xmlns:a16="http://schemas.microsoft.com/office/drawing/2014/main" id="{F9A9FAB2-9497-583D-67D2-92656EBD96E1}"/>
              </a:ext>
            </a:extLst>
          </p:cNvPr>
          <p:cNvSpPr>
            <a:spLocks noGrp="1"/>
          </p:cNvSpPr>
          <p:nvPr>
            <p:ph type="dt" sz="half" idx="12"/>
          </p:nvPr>
        </p:nvSpPr>
        <p:spPr/>
        <p:txBody>
          <a:bodyPr>
            <a:noAutofit/>
          </a:bodyPr>
          <a:lstStyle>
            <a:lvl1pPr>
              <a:defRPr>
                <a:solidFill>
                  <a:schemeClr val="bg1">
                    <a:lumMod val="65000"/>
                  </a:schemeClr>
                </a:solidFill>
              </a:defRPr>
            </a:lvl1pPr>
          </a:lstStyle>
          <a:p>
            <a:fld id="{BBDD2723-EEF1-4DD5-8241-DD6A3D586244}" type="datetime4">
              <a:rPr lang="en-US" smtClean="0"/>
              <a:t>May 17, 2025</a:t>
            </a:fld>
            <a:endParaRPr lang="en-US"/>
          </a:p>
        </p:txBody>
      </p:sp>
      <p:sp>
        <p:nvSpPr>
          <p:cNvPr id="37" name="Text Placeholder 3">
            <a:extLst>
              <a:ext uri="{FF2B5EF4-FFF2-40B4-BE49-F238E27FC236}">
                <a16:creationId xmlns:a16="http://schemas.microsoft.com/office/drawing/2014/main" id="{277C43D7-C00C-7DE6-0BB0-C5E8CE8207B8}"/>
              </a:ext>
            </a:extLst>
          </p:cNvPr>
          <p:cNvSpPr>
            <a:spLocks noGrp="1"/>
          </p:cNvSpPr>
          <p:nvPr>
            <p:ph type="body" sz="quarter" idx="13" hasCustomPrompt="1"/>
          </p:nvPr>
        </p:nvSpPr>
        <p:spPr>
          <a:xfrm>
            <a:off x="609600" y="5569938"/>
            <a:ext cx="3191256" cy="307777"/>
          </a:xfrm>
        </p:spPr>
        <p:txBody>
          <a:bodyPr wrap="square">
            <a:noAutofit/>
          </a:bodyPr>
          <a:lstStyle>
            <a:lvl1pPr>
              <a:defRPr>
                <a:solidFill>
                  <a:schemeClr val="bg1"/>
                </a:solidFill>
              </a:defRPr>
            </a:lvl1pPr>
          </a:lstStyle>
          <a:p>
            <a:pPr lvl="0"/>
            <a:r>
              <a:rPr lang="en-US"/>
              <a:t>Subtitle</a:t>
            </a:r>
          </a:p>
        </p:txBody>
      </p:sp>
      <p:sp>
        <p:nvSpPr>
          <p:cNvPr id="20" name="Text Placeholder 26">
            <a:extLst>
              <a:ext uri="{FF2B5EF4-FFF2-40B4-BE49-F238E27FC236}">
                <a16:creationId xmlns:a16="http://schemas.microsoft.com/office/drawing/2014/main" id="{C0C50244-9E21-6A87-6F2A-F211E712EF68}"/>
              </a:ext>
            </a:extLst>
          </p:cNvPr>
          <p:cNvSpPr>
            <a:spLocks noGrp="1"/>
          </p:cNvSpPr>
          <p:nvPr>
            <p:ph type="body" sz="quarter" idx="37" hasCustomPrompt="1"/>
          </p:nvPr>
        </p:nvSpPr>
        <p:spPr>
          <a:xfrm>
            <a:off x="4503420" y="656457"/>
            <a:ext cx="442911" cy="430887"/>
          </a:xfrm>
          <a:noFill/>
        </p:spPr>
        <p:txBody>
          <a:bodyPr anchor="b">
            <a:noAutofit/>
          </a:bodyPr>
          <a:lstStyle>
            <a:lvl1pPr algn="l">
              <a:defRPr sz="2800">
                <a:solidFill>
                  <a:schemeClr val="accent1"/>
                </a:solidFill>
              </a:defRPr>
            </a:lvl1pPr>
          </a:lstStyle>
          <a:p>
            <a:pPr lvl="0"/>
            <a:r>
              <a:rPr lang="en-US"/>
              <a:t>00</a:t>
            </a:r>
          </a:p>
        </p:txBody>
      </p:sp>
      <p:sp>
        <p:nvSpPr>
          <p:cNvPr id="21" name="Text Placeholder 26">
            <a:extLst>
              <a:ext uri="{FF2B5EF4-FFF2-40B4-BE49-F238E27FC236}">
                <a16:creationId xmlns:a16="http://schemas.microsoft.com/office/drawing/2014/main" id="{37FF0FC2-D0A4-C98D-6FA9-36A70B03299A}"/>
              </a:ext>
            </a:extLst>
          </p:cNvPr>
          <p:cNvSpPr>
            <a:spLocks noGrp="1"/>
          </p:cNvSpPr>
          <p:nvPr>
            <p:ph type="body" sz="quarter" idx="38" hasCustomPrompt="1"/>
          </p:nvPr>
        </p:nvSpPr>
        <p:spPr>
          <a:xfrm>
            <a:off x="8394700" y="656457"/>
            <a:ext cx="442911" cy="430887"/>
          </a:xfrm>
          <a:noFill/>
        </p:spPr>
        <p:txBody>
          <a:bodyPr anchor="b">
            <a:noAutofit/>
          </a:bodyPr>
          <a:lstStyle>
            <a:lvl1pPr algn="l">
              <a:defRPr sz="2800">
                <a:solidFill>
                  <a:schemeClr val="accent1"/>
                </a:solidFill>
              </a:defRPr>
            </a:lvl1pPr>
          </a:lstStyle>
          <a:p>
            <a:pPr lvl="0"/>
            <a:r>
              <a:rPr lang="en-US"/>
              <a:t>00</a:t>
            </a:r>
          </a:p>
        </p:txBody>
      </p:sp>
      <p:sp>
        <p:nvSpPr>
          <p:cNvPr id="22" name="Text Placeholder 26">
            <a:extLst>
              <a:ext uri="{FF2B5EF4-FFF2-40B4-BE49-F238E27FC236}">
                <a16:creationId xmlns:a16="http://schemas.microsoft.com/office/drawing/2014/main" id="{A66E84F9-7E79-CBE4-8BF0-EB295B78C841}"/>
              </a:ext>
            </a:extLst>
          </p:cNvPr>
          <p:cNvSpPr>
            <a:spLocks noGrp="1"/>
          </p:cNvSpPr>
          <p:nvPr>
            <p:ph type="body" sz="quarter" idx="39" hasCustomPrompt="1"/>
          </p:nvPr>
        </p:nvSpPr>
        <p:spPr>
          <a:xfrm>
            <a:off x="4503420" y="3542695"/>
            <a:ext cx="442911" cy="430887"/>
          </a:xfrm>
          <a:noFill/>
        </p:spPr>
        <p:txBody>
          <a:bodyPr anchor="b">
            <a:noAutofit/>
          </a:bodyPr>
          <a:lstStyle>
            <a:lvl1pPr algn="l">
              <a:defRPr sz="2800">
                <a:solidFill>
                  <a:schemeClr val="accent1"/>
                </a:solidFill>
              </a:defRPr>
            </a:lvl1pPr>
          </a:lstStyle>
          <a:p>
            <a:pPr lvl="0"/>
            <a:r>
              <a:rPr lang="en-US"/>
              <a:t>00</a:t>
            </a:r>
          </a:p>
        </p:txBody>
      </p:sp>
      <p:sp>
        <p:nvSpPr>
          <p:cNvPr id="23" name="Text Placeholder 26">
            <a:extLst>
              <a:ext uri="{FF2B5EF4-FFF2-40B4-BE49-F238E27FC236}">
                <a16:creationId xmlns:a16="http://schemas.microsoft.com/office/drawing/2014/main" id="{71007FB7-9D94-ECE5-1BEF-E00EDE0ED885}"/>
              </a:ext>
            </a:extLst>
          </p:cNvPr>
          <p:cNvSpPr>
            <a:spLocks noGrp="1"/>
          </p:cNvSpPr>
          <p:nvPr>
            <p:ph type="body" sz="quarter" idx="40" hasCustomPrompt="1"/>
          </p:nvPr>
        </p:nvSpPr>
        <p:spPr>
          <a:xfrm>
            <a:off x="8394700" y="3542695"/>
            <a:ext cx="442911" cy="430887"/>
          </a:xfrm>
          <a:noFill/>
        </p:spPr>
        <p:txBody>
          <a:bodyPr anchor="b">
            <a:noAutofit/>
          </a:bodyPr>
          <a:lstStyle>
            <a:lvl1pPr algn="l">
              <a:defRPr sz="2800">
                <a:solidFill>
                  <a:schemeClr val="accent1"/>
                </a:solidFill>
              </a:defRPr>
            </a:lvl1pPr>
          </a:lstStyle>
          <a:p>
            <a:pPr lvl="0"/>
            <a:r>
              <a:rPr lang="en-US"/>
              <a:t>00</a:t>
            </a:r>
          </a:p>
        </p:txBody>
      </p:sp>
      <p:sp>
        <p:nvSpPr>
          <p:cNvPr id="3" name="Footer Placeholder 13">
            <a:extLst>
              <a:ext uri="{FF2B5EF4-FFF2-40B4-BE49-F238E27FC236}">
                <a16:creationId xmlns:a16="http://schemas.microsoft.com/office/drawing/2014/main" id="{171CAC7F-5BD2-9973-E271-C4800EE82631}"/>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a:t>© 2024 Guidehouse</a:t>
            </a:r>
          </a:p>
        </p:txBody>
      </p:sp>
      <p:sp>
        <p:nvSpPr>
          <p:cNvPr id="4" name="Slide Number Placeholder 14">
            <a:extLst>
              <a:ext uri="{FF2B5EF4-FFF2-40B4-BE49-F238E27FC236}">
                <a16:creationId xmlns:a16="http://schemas.microsoft.com/office/drawing/2014/main" id="{9B713C4B-36F9-E5DB-37B8-DF15BB99547D}"/>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a:p>
        </p:txBody>
      </p:sp>
      <p:sp>
        <p:nvSpPr>
          <p:cNvPr id="7" name="Text Placeholder 7">
            <a:extLst>
              <a:ext uri="{FF2B5EF4-FFF2-40B4-BE49-F238E27FC236}">
                <a16:creationId xmlns:a16="http://schemas.microsoft.com/office/drawing/2014/main" id="{01E6768F-1A5B-7106-9769-0A5AE998BB81}"/>
              </a:ext>
            </a:extLst>
          </p:cNvPr>
          <p:cNvSpPr>
            <a:spLocks noGrp="1"/>
          </p:cNvSpPr>
          <p:nvPr>
            <p:ph type="body" sz="quarter" idx="41" hasCustomPrompt="1"/>
          </p:nvPr>
        </p:nvSpPr>
        <p:spPr>
          <a:xfrm>
            <a:off x="609600" y="136647"/>
            <a:ext cx="4076700" cy="153888"/>
          </a:xfrm>
        </p:spPr>
        <p:txBody>
          <a:bodyPr vert="horz" wrap="square" lIns="0" tIns="0" rIns="0" bIns="0" rtlCol="0" anchor="ctr">
            <a:noAutofit/>
          </a:bodyPr>
          <a:lstStyle>
            <a:lvl1pPr>
              <a:defRPr lang="en-US" sz="1000" b="0" cap="all" spc="0" baseline="0" dirty="0">
                <a:solidFill>
                  <a:schemeClr val="accent1"/>
                </a:solidFill>
                <a:latin typeface="+mj-lt"/>
              </a:defRPr>
            </a:lvl1pPr>
          </a:lstStyle>
          <a:p>
            <a:pPr lvl="0">
              <a:spcAft>
                <a:spcPts val="0"/>
              </a:spcAft>
            </a:pPr>
            <a:r>
              <a:rPr lang="en-US"/>
              <a:t>Industry Name / Section Title</a:t>
            </a:r>
          </a:p>
        </p:txBody>
      </p:sp>
      <p:pic>
        <p:nvPicPr>
          <p:cNvPr id="8" name="Graphic 7">
            <a:extLst>
              <a:ext uri="{FF2B5EF4-FFF2-40B4-BE49-F238E27FC236}">
                <a16:creationId xmlns:a16="http://schemas.microsoft.com/office/drawing/2014/main" id="{FABBED0B-B428-09B2-BF1F-6C5529E4AD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sp>
        <p:nvSpPr>
          <p:cNvPr id="28" name="Text Placeholder 24">
            <a:extLst>
              <a:ext uri="{FF2B5EF4-FFF2-40B4-BE49-F238E27FC236}">
                <a16:creationId xmlns:a16="http://schemas.microsoft.com/office/drawing/2014/main" id="{319CB39C-37C2-D5B7-1E9F-893FF233310B}"/>
              </a:ext>
            </a:extLst>
          </p:cNvPr>
          <p:cNvSpPr>
            <a:spLocks noGrp="1"/>
          </p:cNvSpPr>
          <p:nvPr>
            <p:ph type="body" sz="quarter" idx="29"/>
          </p:nvPr>
        </p:nvSpPr>
        <p:spPr>
          <a:xfrm>
            <a:off x="4503420" y="1372989"/>
            <a:ext cx="3191256" cy="612648"/>
          </a:xfrm>
        </p:spPr>
        <p:txBody>
          <a:bodyPr>
            <a:noAutofit/>
          </a:bodyPr>
          <a:lstStyle>
            <a:lvl1pPr marL="0" indent="0">
              <a:buFont typeface="Arial" panose="020B0604020202020204" pitchFamily="34" charset="0"/>
              <a:buNone/>
              <a:defRPr sz="1800" b="1">
                <a:solidFill>
                  <a:schemeClr val="bg1"/>
                </a:solidFill>
                <a:latin typeface="+mj-lt"/>
              </a:defRPr>
            </a:lvl1pPr>
            <a:lvl2pPr marL="0" indent="0">
              <a:buNone/>
              <a:defRPr sz="1600"/>
            </a:lvl2pPr>
            <a:lvl3pPr marL="182880" indent="0">
              <a:buNone/>
              <a:defRPr/>
            </a:lvl3pPr>
          </a:lstStyle>
          <a:p>
            <a:pPr lvl="0"/>
            <a:r>
              <a:rPr lang="en-US"/>
              <a:t>Click to edit Master text styles</a:t>
            </a:r>
          </a:p>
        </p:txBody>
      </p:sp>
      <p:sp>
        <p:nvSpPr>
          <p:cNvPr id="29" name="Text Placeholder 24">
            <a:extLst>
              <a:ext uri="{FF2B5EF4-FFF2-40B4-BE49-F238E27FC236}">
                <a16:creationId xmlns:a16="http://schemas.microsoft.com/office/drawing/2014/main" id="{7AD212FF-7D10-F86A-78D8-8E030C102500}"/>
              </a:ext>
            </a:extLst>
          </p:cNvPr>
          <p:cNvSpPr>
            <a:spLocks noGrp="1"/>
          </p:cNvSpPr>
          <p:nvPr>
            <p:ph type="body" sz="quarter" idx="32"/>
          </p:nvPr>
        </p:nvSpPr>
        <p:spPr>
          <a:xfrm>
            <a:off x="8394700" y="1372989"/>
            <a:ext cx="3191256" cy="612648"/>
          </a:xfrm>
        </p:spPr>
        <p:txBody>
          <a:bodyPr>
            <a:noAutofit/>
          </a:bodyPr>
          <a:lstStyle>
            <a:lvl1pPr marL="0" indent="0">
              <a:buFont typeface="Arial" panose="020B0604020202020204" pitchFamily="34" charset="0"/>
              <a:buNone/>
              <a:defRPr sz="1800" b="1">
                <a:solidFill>
                  <a:schemeClr val="bg1"/>
                </a:solidFill>
                <a:latin typeface="+mj-lt"/>
              </a:defRPr>
            </a:lvl1pPr>
            <a:lvl2pPr marL="0" indent="0">
              <a:buNone/>
              <a:defRPr sz="1600"/>
            </a:lvl2pPr>
            <a:lvl3pPr marL="182880" indent="0">
              <a:buNone/>
              <a:defRPr/>
            </a:lvl3pPr>
          </a:lstStyle>
          <a:p>
            <a:pPr lvl="0"/>
            <a:r>
              <a:rPr lang="en-US"/>
              <a:t>Click to edit Master text styles</a:t>
            </a:r>
          </a:p>
        </p:txBody>
      </p:sp>
      <p:sp>
        <p:nvSpPr>
          <p:cNvPr id="30" name="Text Placeholder 24">
            <a:extLst>
              <a:ext uri="{FF2B5EF4-FFF2-40B4-BE49-F238E27FC236}">
                <a16:creationId xmlns:a16="http://schemas.microsoft.com/office/drawing/2014/main" id="{D4B57AA8-A9AA-B59D-3BE9-C0653FA00976}"/>
              </a:ext>
            </a:extLst>
          </p:cNvPr>
          <p:cNvSpPr>
            <a:spLocks noGrp="1"/>
          </p:cNvSpPr>
          <p:nvPr>
            <p:ph type="body" sz="quarter" idx="34"/>
          </p:nvPr>
        </p:nvSpPr>
        <p:spPr>
          <a:xfrm>
            <a:off x="4503420" y="4259227"/>
            <a:ext cx="3191256" cy="612648"/>
          </a:xfrm>
        </p:spPr>
        <p:txBody>
          <a:bodyPr>
            <a:noAutofit/>
          </a:bodyPr>
          <a:lstStyle>
            <a:lvl1pPr marL="0" indent="0">
              <a:buFont typeface="Arial" panose="020B0604020202020204" pitchFamily="34" charset="0"/>
              <a:buNone/>
              <a:defRPr sz="1800" b="1">
                <a:solidFill>
                  <a:schemeClr val="bg1"/>
                </a:solidFill>
                <a:latin typeface="+mj-lt"/>
              </a:defRPr>
            </a:lvl1pPr>
            <a:lvl2pPr marL="0" indent="0">
              <a:buNone/>
              <a:defRPr sz="1600"/>
            </a:lvl2pPr>
            <a:lvl3pPr marL="182880" indent="0">
              <a:buNone/>
              <a:defRPr/>
            </a:lvl3pPr>
          </a:lstStyle>
          <a:p>
            <a:pPr lvl="0"/>
            <a:r>
              <a:rPr lang="en-US"/>
              <a:t>Click to edit Master text styles</a:t>
            </a:r>
          </a:p>
        </p:txBody>
      </p:sp>
      <p:sp>
        <p:nvSpPr>
          <p:cNvPr id="31" name="Text Placeholder 24">
            <a:extLst>
              <a:ext uri="{FF2B5EF4-FFF2-40B4-BE49-F238E27FC236}">
                <a16:creationId xmlns:a16="http://schemas.microsoft.com/office/drawing/2014/main" id="{D28E0066-694B-5AEA-9CF0-31AC10EB9A6C}"/>
              </a:ext>
            </a:extLst>
          </p:cNvPr>
          <p:cNvSpPr>
            <a:spLocks noGrp="1"/>
          </p:cNvSpPr>
          <p:nvPr>
            <p:ph type="body" sz="quarter" idx="36"/>
          </p:nvPr>
        </p:nvSpPr>
        <p:spPr>
          <a:xfrm>
            <a:off x="8394700" y="4259227"/>
            <a:ext cx="3191256" cy="612648"/>
          </a:xfrm>
        </p:spPr>
        <p:txBody>
          <a:bodyPr>
            <a:noAutofit/>
          </a:bodyPr>
          <a:lstStyle>
            <a:lvl1pPr marL="0" indent="0">
              <a:buFont typeface="Arial" panose="020B0604020202020204" pitchFamily="34" charset="0"/>
              <a:buNone/>
              <a:defRPr sz="1800" b="1">
                <a:solidFill>
                  <a:schemeClr val="bg1"/>
                </a:solidFill>
                <a:latin typeface="+mj-lt"/>
              </a:defRPr>
            </a:lvl1pPr>
            <a:lvl2pPr marL="0" indent="0">
              <a:buNone/>
              <a:defRPr sz="1600"/>
            </a:lvl2pPr>
            <a:lvl3pPr marL="182880" indent="0">
              <a:buNone/>
              <a:defRPr/>
            </a:lvl3pPr>
          </a:lstStyle>
          <a:p>
            <a:pPr lvl="0"/>
            <a:r>
              <a:rPr lang="en-US"/>
              <a:t>Click to edit Master text styles</a:t>
            </a:r>
          </a:p>
        </p:txBody>
      </p:sp>
      <p:sp>
        <p:nvSpPr>
          <p:cNvPr id="32" name="Text Placeholder 11">
            <a:extLst>
              <a:ext uri="{FF2B5EF4-FFF2-40B4-BE49-F238E27FC236}">
                <a16:creationId xmlns:a16="http://schemas.microsoft.com/office/drawing/2014/main" id="{2DD06C76-DED9-CB6C-69D9-32BBA81693E2}"/>
              </a:ext>
            </a:extLst>
          </p:cNvPr>
          <p:cNvSpPr>
            <a:spLocks noGrp="1"/>
          </p:cNvSpPr>
          <p:nvPr>
            <p:ph type="body" sz="quarter" idx="42"/>
          </p:nvPr>
        </p:nvSpPr>
        <p:spPr>
          <a:xfrm>
            <a:off x="4503738" y="1997829"/>
            <a:ext cx="3190875" cy="993645"/>
          </a:xfrm>
        </p:spPr>
        <p:txBody>
          <a:bodyPr/>
          <a:lstStyle>
            <a:lvl1pPr marL="0" indent="0">
              <a:buFont typeface="Arial" panose="020B0604020202020204" pitchFamily="34" charset="0"/>
              <a:buNone/>
              <a:defRPr sz="16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33" name="Text Placeholder 11">
            <a:extLst>
              <a:ext uri="{FF2B5EF4-FFF2-40B4-BE49-F238E27FC236}">
                <a16:creationId xmlns:a16="http://schemas.microsoft.com/office/drawing/2014/main" id="{01AB02C8-83DF-C2F2-975C-29A5DE0ECCB3}"/>
              </a:ext>
            </a:extLst>
          </p:cNvPr>
          <p:cNvSpPr>
            <a:spLocks noGrp="1"/>
          </p:cNvSpPr>
          <p:nvPr>
            <p:ph type="body" sz="quarter" idx="43"/>
          </p:nvPr>
        </p:nvSpPr>
        <p:spPr>
          <a:xfrm>
            <a:off x="8391525" y="1997829"/>
            <a:ext cx="3190875" cy="993645"/>
          </a:xfrm>
        </p:spPr>
        <p:txBody>
          <a:bodyPr/>
          <a:lstStyle>
            <a:lvl1pPr marL="0" indent="0">
              <a:buFont typeface="Arial" panose="020B0604020202020204" pitchFamily="34" charset="0"/>
              <a:buNone/>
              <a:defRPr sz="16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34" name="Text Placeholder 11">
            <a:extLst>
              <a:ext uri="{FF2B5EF4-FFF2-40B4-BE49-F238E27FC236}">
                <a16:creationId xmlns:a16="http://schemas.microsoft.com/office/drawing/2014/main" id="{FF4AD7C0-4147-D089-5241-B057AA9E291E}"/>
              </a:ext>
            </a:extLst>
          </p:cNvPr>
          <p:cNvSpPr>
            <a:spLocks noGrp="1"/>
          </p:cNvSpPr>
          <p:nvPr>
            <p:ph type="body" sz="quarter" idx="44"/>
          </p:nvPr>
        </p:nvSpPr>
        <p:spPr>
          <a:xfrm>
            <a:off x="4503738" y="4892040"/>
            <a:ext cx="3190875" cy="993645"/>
          </a:xfrm>
        </p:spPr>
        <p:txBody>
          <a:bodyPr/>
          <a:lstStyle>
            <a:lvl1pPr marL="0" indent="0">
              <a:buFont typeface="Arial" panose="020B0604020202020204" pitchFamily="34" charset="0"/>
              <a:buNone/>
              <a:defRPr sz="16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35" name="Text Placeholder 11">
            <a:extLst>
              <a:ext uri="{FF2B5EF4-FFF2-40B4-BE49-F238E27FC236}">
                <a16:creationId xmlns:a16="http://schemas.microsoft.com/office/drawing/2014/main" id="{C12C4410-0BC8-E932-C599-6950BD64B279}"/>
              </a:ext>
            </a:extLst>
          </p:cNvPr>
          <p:cNvSpPr>
            <a:spLocks noGrp="1"/>
          </p:cNvSpPr>
          <p:nvPr>
            <p:ph type="body" sz="quarter" idx="45"/>
          </p:nvPr>
        </p:nvSpPr>
        <p:spPr>
          <a:xfrm>
            <a:off x="8391525" y="4892040"/>
            <a:ext cx="3190875" cy="993645"/>
          </a:xfrm>
        </p:spPr>
        <p:txBody>
          <a:bodyPr/>
          <a:lstStyle>
            <a:lvl1pPr marL="0" indent="0">
              <a:buFont typeface="Arial" panose="020B0604020202020204" pitchFamily="34" charset="0"/>
              <a:buNone/>
              <a:defRPr sz="16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Tree>
    <p:extLst>
      <p:ext uri="{BB962C8B-B14F-4D97-AF65-F5344CB8AC3E}">
        <p14:creationId xmlns:p14="http://schemas.microsoft.com/office/powerpoint/2010/main" val="9099439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Image + Content A">
    <p:bg>
      <p:bgPr>
        <a:solidFill>
          <a:srgbClr val="F3F3F3"/>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7395C30-7718-F2A9-4ACA-588234BCD773}"/>
              </a:ext>
            </a:extLst>
          </p:cNvPr>
          <p:cNvGrpSpPr/>
          <p:nvPr userDrawn="1"/>
        </p:nvGrpSpPr>
        <p:grpSpPr>
          <a:xfrm>
            <a:off x="0" y="426998"/>
            <a:ext cx="6096000" cy="6004005"/>
            <a:chOff x="0" y="426998"/>
            <a:chExt cx="4064000" cy="6004005"/>
          </a:xfrm>
        </p:grpSpPr>
        <p:cxnSp>
          <p:nvCxnSpPr>
            <p:cNvPr id="6" name="Straight Connector 5">
              <a:extLst>
                <a:ext uri="{FF2B5EF4-FFF2-40B4-BE49-F238E27FC236}">
                  <a16:creationId xmlns:a16="http://schemas.microsoft.com/office/drawing/2014/main" id="{B63D4F01-75C5-CFBB-6DBF-04760D2C3993}"/>
                </a:ext>
              </a:extLst>
            </p:cNvPr>
            <p:cNvCxnSpPr>
              <a:cxnSpLocks/>
            </p:cNvCxnSpPr>
            <p:nvPr userDrawn="1"/>
          </p:nvCxnSpPr>
          <p:spPr>
            <a:xfrm>
              <a:off x="0" y="426998"/>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2F8D0A0-25DD-860D-FA90-F42106BE618A}"/>
                </a:ext>
              </a:extLst>
            </p:cNvPr>
            <p:cNvCxnSpPr>
              <a:cxnSpLocks/>
            </p:cNvCxnSpPr>
            <p:nvPr userDrawn="1"/>
          </p:nvCxnSpPr>
          <p:spPr>
            <a:xfrm>
              <a:off x="0" y="6431003"/>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420A254F-BDD5-C9AF-1DD7-05ACB129B577}"/>
              </a:ext>
            </a:extLst>
          </p:cNvPr>
          <p:cNvSpPr/>
          <p:nvPr/>
        </p:nvSpPr>
        <p:spPr>
          <a:xfrm>
            <a:off x="6096001" y="0"/>
            <a:ext cx="6096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141C210-892D-24A5-E574-B59C507782C4}"/>
              </a:ext>
            </a:extLst>
          </p:cNvPr>
          <p:cNvSpPr>
            <a:spLocks noGrp="1"/>
          </p:cNvSpPr>
          <p:nvPr>
            <p:ph type="sldNum" sz="quarter" idx="11"/>
          </p:nvPr>
        </p:nvSpPr>
        <p:spPr>
          <a:xfrm>
            <a:off x="11248008" y="6567465"/>
            <a:ext cx="334392" cy="153888"/>
          </a:xfrm>
          <a:prstGeom prst="rect">
            <a:avLst/>
          </a:prstGeom>
        </p:spPr>
        <p:txBody>
          <a:bodyPr>
            <a:noAutofit/>
          </a:bodyPr>
          <a:lstStyle/>
          <a:p>
            <a:fld id="{FD814145-5B10-4F3F-A6BF-3641B91211CF}" type="slidenum">
              <a:rPr lang="en-US" smtClean="0"/>
              <a:pPr/>
              <a:t>‹#›</a:t>
            </a:fld>
            <a:endParaRPr lang="en-US"/>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010928"/>
            <a:ext cx="4876799" cy="1231106"/>
          </a:xfrm>
        </p:spPr>
        <p:txBody>
          <a:bodyPr>
            <a:noAutofit/>
          </a:bodyPr>
          <a:lstStyle>
            <a:lvl1pPr>
              <a:defRPr sz="2000">
                <a:solidFill>
                  <a:schemeClr val="tx2"/>
                </a:solidFill>
              </a:defRPr>
            </a:lvl1pPr>
            <a:lvl2pPr marL="0" indent="0">
              <a:buNone/>
              <a:defRPr/>
            </a:lvl2pPr>
          </a:lstStyle>
          <a:p>
            <a:pPr lvl="0"/>
            <a:r>
              <a:rPr lang="en-US"/>
              <a:t>Click to edit Master text styles</a:t>
            </a:r>
          </a:p>
        </p:txBody>
      </p:sp>
      <p:sp>
        <p:nvSpPr>
          <p:cNvPr id="43" name="Text Placeholder 7">
            <a:extLst>
              <a:ext uri="{FF2B5EF4-FFF2-40B4-BE49-F238E27FC236}">
                <a16:creationId xmlns:a16="http://schemas.microsoft.com/office/drawing/2014/main" id="{42D5A6F2-908D-2D67-A69F-7F8AC3E161A6}"/>
              </a:ext>
            </a:extLst>
          </p:cNvPr>
          <p:cNvSpPr>
            <a:spLocks noGrp="1"/>
          </p:cNvSpPr>
          <p:nvPr>
            <p:ph type="body" sz="quarter" idx="28" hasCustomPrompt="1"/>
          </p:nvPr>
        </p:nvSpPr>
        <p:spPr>
          <a:xfrm>
            <a:off x="609600" y="1600200"/>
            <a:ext cx="4876799" cy="215444"/>
          </a:xfrm>
        </p:spPr>
        <p:txBody>
          <a:bodyPr wrap="square" anchor="ctr">
            <a:noAutofit/>
          </a:bodyPr>
          <a:lstStyle>
            <a:lvl1pPr>
              <a:spcAft>
                <a:spcPts val="0"/>
              </a:spcAft>
              <a:defRPr lang="en-US" sz="1400" b="1" kern="1200" cap="all" spc="300" baseline="0" dirty="0">
                <a:solidFill>
                  <a:schemeClr val="tx2"/>
                </a:solidFill>
                <a:latin typeface="+mj-lt"/>
                <a:ea typeface="+mn-ea"/>
                <a:cs typeface="+mn-cs"/>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Optional Eyebrow</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hasCustomPrompt="1"/>
          </p:nvPr>
        </p:nvSpPr>
        <p:spPr>
          <a:xfrm>
            <a:off x="609601" y="2024185"/>
            <a:ext cx="4876799" cy="1354217"/>
          </a:xfrm>
        </p:spPr>
        <p:txBody>
          <a:bodyPr anchor="b">
            <a:noAutofit/>
          </a:bodyPr>
          <a:lstStyle>
            <a:lvl1pPr>
              <a:defRPr sz="4400"/>
            </a:lvl1pPr>
          </a:lstStyle>
          <a:p>
            <a:pPr lvl="0"/>
            <a:r>
              <a:rPr lang="en-US"/>
              <a:t>Click to edit </a:t>
            </a:r>
            <a:br>
              <a:rPr lang="en-US"/>
            </a:br>
            <a:r>
              <a:rPr lang="en-US"/>
              <a:t>Master text styles</a:t>
            </a:r>
          </a:p>
        </p:txBody>
      </p:sp>
      <p:sp>
        <p:nvSpPr>
          <p:cNvPr id="5" name="Chart Placeholder 2">
            <a:extLst>
              <a:ext uri="{FF2B5EF4-FFF2-40B4-BE49-F238E27FC236}">
                <a16:creationId xmlns:a16="http://schemas.microsoft.com/office/drawing/2014/main" id="{6F3345E8-85EF-AE93-A578-743D05885994}"/>
              </a:ext>
            </a:extLst>
          </p:cNvPr>
          <p:cNvSpPr>
            <a:spLocks noGrp="1"/>
          </p:cNvSpPr>
          <p:nvPr>
            <p:ph type="chart" sz="quarter" idx="31"/>
          </p:nvPr>
        </p:nvSpPr>
        <p:spPr>
          <a:xfrm>
            <a:off x="6705602" y="668338"/>
            <a:ext cx="4876798" cy="5503862"/>
          </a:xfrm>
        </p:spPr>
        <p:txBody>
          <a:bodyPr/>
          <a:lstStyle/>
          <a:p>
            <a:r>
              <a:rPr lang="en-US"/>
              <a:t>Click icon to add chart</a:t>
            </a:r>
          </a:p>
        </p:txBody>
      </p:sp>
      <p:sp>
        <p:nvSpPr>
          <p:cNvPr id="2" name="Date Placeholder 4">
            <a:extLst>
              <a:ext uri="{FF2B5EF4-FFF2-40B4-BE49-F238E27FC236}">
                <a16:creationId xmlns:a16="http://schemas.microsoft.com/office/drawing/2014/main" id="{9B809583-71D6-430B-A541-2B72791DEAB7}"/>
              </a:ext>
            </a:extLst>
          </p:cNvPr>
          <p:cNvSpPr>
            <a:spLocks noGrp="1"/>
          </p:cNvSpPr>
          <p:nvPr>
            <p:ph type="dt" sz="half" idx="12"/>
          </p:nvPr>
        </p:nvSpPr>
        <p:spPr>
          <a:xfrm>
            <a:off x="10236555" y="136647"/>
            <a:ext cx="1345845" cy="153888"/>
          </a:xfrm>
        </p:spPr>
        <p:txBody>
          <a:bodyPr>
            <a:noAutofit/>
          </a:bodyPr>
          <a:lstStyle>
            <a:lvl1pPr>
              <a:defRPr>
                <a:solidFill>
                  <a:schemeClr val="bg1">
                    <a:lumMod val="65000"/>
                  </a:schemeClr>
                </a:solidFill>
              </a:defRPr>
            </a:lvl1pPr>
          </a:lstStyle>
          <a:p>
            <a:fld id="{EEA19F89-1E55-4F65-A2F4-F330EB73013A}" type="datetime4">
              <a:rPr lang="en-US" smtClean="0"/>
              <a:t>May 17, 2025</a:t>
            </a:fld>
            <a:endParaRPr lang="en-US"/>
          </a:p>
        </p:txBody>
      </p:sp>
      <p:sp>
        <p:nvSpPr>
          <p:cNvPr id="3" name="Footer Placeholder 2">
            <a:extLst>
              <a:ext uri="{FF2B5EF4-FFF2-40B4-BE49-F238E27FC236}">
                <a16:creationId xmlns:a16="http://schemas.microsoft.com/office/drawing/2014/main" id="{0C3F1776-D765-4702-8CB4-664547CC1EB6}"/>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7" name="Text Placeholder 7">
            <a:extLst>
              <a:ext uri="{FF2B5EF4-FFF2-40B4-BE49-F238E27FC236}">
                <a16:creationId xmlns:a16="http://schemas.microsoft.com/office/drawing/2014/main" id="{D4B153A3-0661-E455-EE3A-3CA0317DCFFF}"/>
              </a:ext>
            </a:extLst>
          </p:cNvPr>
          <p:cNvSpPr>
            <a:spLocks noGrp="1"/>
          </p:cNvSpPr>
          <p:nvPr>
            <p:ph type="body" sz="quarter" idx="32"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Tree>
    <p:extLst>
      <p:ext uri="{BB962C8B-B14F-4D97-AF65-F5344CB8AC3E}">
        <p14:creationId xmlns:p14="http://schemas.microsoft.com/office/powerpoint/2010/main" val="29195241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1 - Light">
    <p:bg>
      <p:bgPr>
        <a:solidFill>
          <a:srgbClr val="F3F3F3"/>
        </a:solidFill>
        <a:effectLst/>
      </p:bgPr>
    </p:bg>
    <p:spTree>
      <p:nvGrpSpPr>
        <p:cNvPr id="1" name=""/>
        <p:cNvGrpSpPr/>
        <p:nvPr/>
      </p:nvGrpSpPr>
      <p:grpSpPr>
        <a:xfrm>
          <a:off x="0" y="0"/>
          <a:ext cx="0" cy="0"/>
          <a:chOff x="0" y="0"/>
          <a:chExt cx="0" cy="0"/>
        </a:xfrm>
      </p:grpSpPr>
      <p:sp>
        <p:nvSpPr>
          <p:cNvPr id="13" name="Text Placeholder 16">
            <a:extLst>
              <a:ext uri="{FF2B5EF4-FFF2-40B4-BE49-F238E27FC236}">
                <a16:creationId xmlns:a16="http://schemas.microsoft.com/office/drawing/2014/main" id="{FA731013-3954-C9C9-32E2-63B13C8EAF54}"/>
              </a:ext>
            </a:extLst>
          </p:cNvPr>
          <p:cNvSpPr>
            <a:spLocks noGrp="1"/>
          </p:cNvSpPr>
          <p:nvPr>
            <p:ph type="body" sz="quarter" idx="11" hasCustomPrompt="1"/>
          </p:nvPr>
        </p:nvSpPr>
        <p:spPr>
          <a:xfrm>
            <a:off x="3795482" y="4755606"/>
            <a:ext cx="7790688" cy="1207008"/>
          </a:xfrm>
        </p:spPr>
        <p:txBody>
          <a:bodyPr anchor="ctr">
            <a:noAutofit/>
          </a:bodyPr>
          <a:lstStyle>
            <a:lvl1pPr algn="l">
              <a:spcAft>
                <a:spcPts val="0"/>
              </a:spcAft>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sp>
        <p:nvSpPr>
          <p:cNvPr id="14" name="Text Placeholder 16">
            <a:extLst>
              <a:ext uri="{FF2B5EF4-FFF2-40B4-BE49-F238E27FC236}">
                <a16:creationId xmlns:a16="http://schemas.microsoft.com/office/drawing/2014/main" id="{BFBD9314-78CE-52F9-6CE1-69A6E9DDF3F8}"/>
              </a:ext>
            </a:extLst>
          </p:cNvPr>
          <p:cNvSpPr>
            <a:spLocks noGrp="1"/>
          </p:cNvSpPr>
          <p:nvPr>
            <p:ph type="body" sz="quarter" idx="12" hasCustomPrompt="1"/>
          </p:nvPr>
        </p:nvSpPr>
        <p:spPr>
          <a:xfrm>
            <a:off x="609600" y="4755606"/>
            <a:ext cx="2176272" cy="1207008"/>
          </a:xfrm>
        </p:spPr>
        <p:txBody>
          <a:bodyPr anchor="ctr">
            <a:noAutofit/>
          </a:bodyPr>
          <a:lstStyle>
            <a:lvl1pPr algn="r">
              <a:spcAft>
                <a:spcPts val="0"/>
              </a:spcAft>
              <a:defRPr sz="16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dustry </a:t>
            </a:r>
            <a:br>
              <a:rPr lang="en-US"/>
            </a:br>
            <a:r>
              <a:rPr lang="en-US"/>
              <a:t>Name</a:t>
            </a:r>
          </a:p>
        </p:txBody>
      </p:sp>
      <p:sp>
        <p:nvSpPr>
          <p:cNvPr id="15" name="Text Placeholder 14">
            <a:extLst>
              <a:ext uri="{FF2B5EF4-FFF2-40B4-BE49-F238E27FC236}">
                <a16:creationId xmlns:a16="http://schemas.microsoft.com/office/drawing/2014/main" id="{B47CFD3F-F102-2C11-67CC-0D8863F13C43}"/>
              </a:ext>
            </a:extLst>
          </p:cNvPr>
          <p:cNvSpPr>
            <a:spLocks noGrp="1"/>
          </p:cNvSpPr>
          <p:nvPr>
            <p:ph type="body" sz="quarter" idx="10" hasCustomPrompt="1"/>
          </p:nvPr>
        </p:nvSpPr>
        <p:spPr>
          <a:xfrm>
            <a:off x="3795482" y="1270996"/>
            <a:ext cx="7786913" cy="2000804"/>
          </a:xfrm>
        </p:spPr>
        <p:txBody>
          <a:bodyPr wrap="square" anchor="b">
            <a:noAutofit/>
          </a:bodyPr>
          <a:lstStyle>
            <a:lvl1pPr>
              <a:lnSpc>
                <a:spcPct val="90000"/>
              </a:lnSpc>
              <a:spcAft>
                <a:spcPts val="0"/>
              </a:spcAft>
              <a:defRPr sz="7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a:t>
            </a:r>
            <a:br>
              <a:rPr lang="en-US"/>
            </a:br>
            <a:r>
              <a:rPr lang="en-US"/>
              <a:t>Title Here</a:t>
            </a:r>
          </a:p>
        </p:txBody>
      </p:sp>
      <p:grpSp>
        <p:nvGrpSpPr>
          <p:cNvPr id="2" name="Group 1">
            <a:extLst>
              <a:ext uri="{FF2B5EF4-FFF2-40B4-BE49-F238E27FC236}">
                <a16:creationId xmlns:a16="http://schemas.microsoft.com/office/drawing/2014/main" id="{783D5ED6-566E-DC79-78F5-A84FD30D9FA0}"/>
              </a:ext>
            </a:extLst>
          </p:cNvPr>
          <p:cNvGrpSpPr/>
          <p:nvPr userDrawn="1"/>
        </p:nvGrpSpPr>
        <p:grpSpPr>
          <a:xfrm>
            <a:off x="3273878" y="0"/>
            <a:ext cx="0" cy="6857999"/>
            <a:chOff x="3273878" y="0"/>
            <a:chExt cx="0" cy="6857999"/>
          </a:xfrm>
        </p:grpSpPr>
        <p:cxnSp>
          <p:nvCxnSpPr>
            <p:cNvPr id="10" name="Straight Connector 9">
              <a:extLst>
                <a:ext uri="{FF2B5EF4-FFF2-40B4-BE49-F238E27FC236}">
                  <a16:creationId xmlns:a16="http://schemas.microsoft.com/office/drawing/2014/main" id="{D303FAEB-3595-8000-D9D3-5E92B90EE657}"/>
                </a:ext>
              </a:extLst>
            </p:cNvPr>
            <p:cNvCxnSpPr>
              <a:cxnSpLocks/>
            </p:cNvCxnSpPr>
            <p:nvPr/>
          </p:nvCxnSpPr>
          <p:spPr>
            <a:xfrm flipH="1">
              <a:off x="3273878" y="0"/>
              <a:ext cx="0" cy="685799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813D6E3-FFCE-E4BE-FBF9-E9F4E6CDB54D}"/>
                </a:ext>
              </a:extLst>
            </p:cNvPr>
            <p:cNvCxnSpPr>
              <a:cxnSpLocks/>
            </p:cNvCxnSpPr>
            <p:nvPr/>
          </p:nvCxnSpPr>
          <p:spPr>
            <a:xfrm flipH="1">
              <a:off x="3273878" y="4649994"/>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 name="Graphic 15">
            <a:extLst>
              <a:ext uri="{FF2B5EF4-FFF2-40B4-BE49-F238E27FC236}">
                <a16:creationId xmlns:a16="http://schemas.microsoft.com/office/drawing/2014/main" id="{31E03152-3A58-A3F6-C41A-3EC11A8EB5AC}"/>
              </a:ext>
            </a:extLst>
          </p:cNvPr>
          <p:cNvGrpSpPr/>
          <p:nvPr/>
        </p:nvGrpSpPr>
        <p:grpSpPr>
          <a:xfrm>
            <a:off x="720590" y="1270996"/>
            <a:ext cx="2065282" cy="522565"/>
            <a:chOff x="616497" y="1270996"/>
            <a:chExt cx="2065282" cy="522565"/>
          </a:xfrm>
        </p:grpSpPr>
        <p:sp>
          <p:nvSpPr>
            <p:cNvPr id="4" name="Freeform: Shape 3">
              <a:extLst>
                <a:ext uri="{FF2B5EF4-FFF2-40B4-BE49-F238E27FC236}">
                  <a16:creationId xmlns:a16="http://schemas.microsoft.com/office/drawing/2014/main" id="{6EEAFA5E-3D91-35E2-346D-C532C5A0D22F}"/>
                </a:ext>
              </a:extLst>
            </p:cNvPr>
            <p:cNvSpPr/>
            <p:nvPr/>
          </p:nvSpPr>
          <p:spPr>
            <a:xfrm>
              <a:off x="1058607" y="1451545"/>
              <a:ext cx="1623171" cy="219493"/>
            </a:xfrm>
            <a:custGeom>
              <a:avLst/>
              <a:gdLst>
                <a:gd name="connsiteX0" fmla="*/ 100206 w 1623171"/>
                <a:gd name="connsiteY0" fmla="*/ 219493 h 219493"/>
                <a:gd name="connsiteX1" fmla="*/ 59588 w 1623171"/>
                <a:gd name="connsiteY1" fmla="*/ 211794 h 219493"/>
                <a:gd name="connsiteX2" fmla="*/ 28343 w 1623171"/>
                <a:gd name="connsiteY2" fmla="*/ 190034 h 219493"/>
                <a:gd name="connsiteX3" fmla="*/ 7253 w 1623171"/>
                <a:gd name="connsiteY3" fmla="*/ 154661 h 219493"/>
                <a:gd name="connsiteX4" fmla="*/ 0 w 1623171"/>
                <a:gd name="connsiteY4" fmla="*/ 110137 h 219493"/>
                <a:gd name="connsiteX5" fmla="*/ 8146 w 1623171"/>
                <a:gd name="connsiteY5" fmla="*/ 64051 h 219493"/>
                <a:gd name="connsiteX6" fmla="*/ 31245 w 1623171"/>
                <a:gd name="connsiteY6" fmla="*/ 28009 h 219493"/>
                <a:gd name="connsiteX7" fmla="*/ 62489 w 1623171"/>
                <a:gd name="connsiteY7" fmla="*/ 7365 h 219493"/>
                <a:gd name="connsiteX8" fmla="*/ 103442 w 1623171"/>
                <a:gd name="connsiteY8" fmla="*/ 0 h 219493"/>
                <a:gd name="connsiteX9" fmla="*/ 139931 w 1623171"/>
                <a:gd name="connsiteY9" fmla="*/ 5133 h 219493"/>
                <a:gd name="connsiteX10" fmla="*/ 167940 w 1623171"/>
                <a:gd name="connsiteY10" fmla="*/ 19863 h 219493"/>
                <a:gd name="connsiteX11" fmla="*/ 186910 w 1623171"/>
                <a:gd name="connsiteY11" fmla="*/ 42961 h 219493"/>
                <a:gd name="connsiteX12" fmla="*/ 196729 w 1623171"/>
                <a:gd name="connsiteY12" fmla="*/ 72978 h 219493"/>
                <a:gd name="connsiteX13" fmla="*/ 146068 w 1623171"/>
                <a:gd name="connsiteY13" fmla="*/ 72978 h 219493"/>
                <a:gd name="connsiteX14" fmla="*/ 132789 w 1623171"/>
                <a:gd name="connsiteY14" fmla="*/ 51442 h 219493"/>
                <a:gd name="connsiteX15" fmla="*/ 105116 w 1623171"/>
                <a:gd name="connsiteY15" fmla="*/ 42850 h 219493"/>
                <a:gd name="connsiteX16" fmla="*/ 82240 w 1623171"/>
                <a:gd name="connsiteY16" fmla="*/ 47983 h 219493"/>
                <a:gd name="connsiteX17" fmla="*/ 65837 w 1623171"/>
                <a:gd name="connsiteY17" fmla="*/ 62154 h 219493"/>
                <a:gd name="connsiteX18" fmla="*/ 56129 w 1623171"/>
                <a:gd name="connsiteY18" fmla="*/ 83356 h 219493"/>
                <a:gd name="connsiteX19" fmla="*/ 52893 w 1623171"/>
                <a:gd name="connsiteY19" fmla="*/ 110026 h 219493"/>
                <a:gd name="connsiteX20" fmla="*/ 56575 w 1623171"/>
                <a:gd name="connsiteY20" fmla="*/ 136807 h 219493"/>
                <a:gd name="connsiteX21" fmla="*/ 67064 w 1623171"/>
                <a:gd name="connsiteY21" fmla="*/ 158120 h 219493"/>
                <a:gd name="connsiteX22" fmla="*/ 83691 w 1623171"/>
                <a:gd name="connsiteY22" fmla="*/ 172068 h 219493"/>
                <a:gd name="connsiteX23" fmla="*/ 105897 w 1623171"/>
                <a:gd name="connsiteY23" fmla="*/ 177090 h 219493"/>
                <a:gd name="connsiteX24" fmla="*/ 124309 w 1623171"/>
                <a:gd name="connsiteY24" fmla="*/ 173965 h 219493"/>
                <a:gd name="connsiteX25" fmla="*/ 138146 w 1623171"/>
                <a:gd name="connsiteY25" fmla="*/ 165708 h 219493"/>
                <a:gd name="connsiteX26" fmla="*/ 147296 w 1623171"/>
                <a:gd name="connsiteY26" fmla="*/ 153880 h 219493"/>
                <a:gd name="connsiteX27" fmla="*/ 151536 w 1623171"/>
                <a:gd name="connsiteY27" fmla="*/ 140154 h 219493"/>
                <a:gd name="connsiteX28" fmla="*/ 151536 w 1623171"/>
                <a:gd name="connsiteY28" fmla="*/ 139596 h 219493"/>
                <a:gd name="connsiteX29" fmla="*/ 112034 w 1623171"/>
                <a:gd name="connsiteY29" fmla="*/ 139596 h 219493"/>
                <a:gd name="connsiteX30" fmla="*/ 112034 w 1623171"/>
                <a:gd name="connsiteY30" fmla="*/ 101322 h 219493"/>
                <a:gd name="connsiteX31" fmla="*/ 199854 w 1623171"/>
                <a:gd name="connsiteY31" fmla="*/ 101322 h 219493"/>
                <a:gd name="connsiteX32" fmla="*/ 199854 w 1623171"/>
                <a:gd name="connsiteY32" fmla="*/ 214472 h 219493"/>
                <a:gd name="connsiteX33" fmla="*/ 163365 w 1623171"/>
                <a:gd name="connsiteY33" fmla="*/ 214472 h 219493"/>
                <a:gd name="connsiteX34" fmla="*/ 160463 w 1623171"/>
                <a:gd name="connsiteY34" fmla="*/ 189141 h 219493"/>
                <a:gd name="connsiteX35" fmla="*/ 159905 w 1623171"/>
                <a:gd name="connsiteY35" fmla="*/ 189141 h 219493"/>
                <a:gd name="connsiteX36" fmla="*/ 134463 w 1623171"/>
                <a:gd name="connsiteY36" fmla="*/ 212240 h 219493"/>
                <a:gd name="connsiteX37" fmla="*/ 100094 w 1623171"/>
                <a:gd name="connsiteY37" fmla="*/ 219158 h 219493"/>
                <a:gd name="connsiteX38" fmla="*/ 277184 w 1623171"/>
                <a:gd name="connsiteY38" fmla="*/ 218824 h 219493"/>
                <a:gd name="connsiteX39" fmla="*/ 237570 w 1623171"/>
                <a:gd name="connsiteY39" fmla="*/ 203313 h 219493"/>
                <a:gd name="connsiteX40" fmla="*/ 224180 w 1623171"/>
                <a:gd name="connsiteY40" fmla="*/ 162472 h 219493"/>
                <a:gd name="connsiteX41" fmla="*/ 224180 w 1623171"/>
                <a:gd name="connsiteY41" fmla="*/ 63493 h 219493"/>
                <a:gd name="connsiteX42" fmla="*/ 271939 w 1623171"/>
                <a:gd name="connsiteY42" fmla="*/ 63493 h 219493"/>
                <a:gd name="connsiteX43" fmla="*/ 271939 w 1623171"/>
                <a:gd name="connsiteY43" fmla="*/ 152541 h 219493"/>
                <a:gd name="connsiteX44" fmla="*/ 277519 w 1623171"/>
                <a:gd name="connsiteY44" fmla="*/ 171510 h 219493"/>
                <a:gd name="connsiteX45" fmla="*/ 294592 w 1623171"/>
                <a:gd name="connsiteY45" fmla="*/ 178094 h 219493"/>
                <a:gd name="connsiteX46" fmla="*/ 314008 w 1623171"/>
                <a:gd name="connsiteY46" fmla="*/ 169725 h 219493"/>
                <a:gd name="connsiteX47" fmla="*/ 321038 w 1623171"/>
                <a:gd name="connsiteY47" fmla="*/ 147742 h 219493"/>
                <a:gd name="connsiteX48" fmla="*/ 321038 w 1623171"/>
                <a:gd name="connsiteY48" fmla="*/ 63493 h 219493"/>
                <a:gd name="connsiteX49" fmla="*/ 369021 w 1623171"/>
                <a:gd name="connsiteY49" fmla="*/ 63493 h 219493"/>
                <a:gd name="connsiteX50" fmla="*/ 369021 w 1623171"/>
                <a:gd name="connsiteY50" fmla="*/ 214360 h 219493"/>
                <a:gd name="connsiteX51" fmla="*/ 323047 w 1623171"/>
                <a:gd name="connsiteY51" fmla="*/ 214360 h 219493"/>
                <a:gd name="connsiteX52" fmla="*/ 323047 w 1623171"/>
                <a:gd name="connsiteY52" fmla="*/ 195837 h 219493"/>
                <a:gd name="connsiteX53" fmla="*/ 322154 w 1623171"/>
                <a:gd name="connsiteY53" fmla="*/ 195837 h 219493"/>
                <a:gd name="connsiteX54" fmla="*/ 303407 w 1623171"/>
                <a:gd name="connsiteY54" fmla="*/ 212910 h 219493"/>
                <a:gd name="connsiteX55" fmla="*/ 277072 w 1623171"/>
                <a:gd name="connsiteY55" fmla="*/ 218824 h 219493"/>
                <a:gd name="connsiteX56" fmla="*/ 396360 w 1623171"/>
                <a:gd name="connsiteY56" fmla="*/ 1674 h 219493"/>
                <a:gd name="connsiteX57" fmla="*/ 444343 w 1623171"/>
                <a:gd name="connsiteY57" fmla="*/ 1674 h 219493"/>
                <a:gd name="connsiteX58" fmla="*/ 444343 w 1623171"/>
                <a:gd name="connsiteY58" fmla="*/ 42627 h 219493"/>
                <a:gd name="connsiteX59" fmla="*/ 396360 w 1623171"/>
                <a:gd name="connsiteY59" fmla="*/ 42627 h 219493"/>
                <a:gd name="connsiteX60" fmla="*/ 396360 w 1623171"/>
                <a:gd name="connsiteY60" fmla="*/ 1674 h 219493"/>
                <a:gd name="connsiteX61" fmla="*/ 396360 w 1623171"/>
                <a:gd name="connsiteY61" fmla="*/ 63493 h 219493"/>
                <a:gd name="connsiteX62" fmla="*/ 444343 w 1623171"/>
                <a:gd name="connsiteY62" fmla="*/ 63493 h 219493"/>
                <a:gd name="connsiteX63" fmla="*/ 444343 w 1623171"/>
                <a:gd name="connsiteY63" fmla="*/ 214360 h 219493"/>
                <a:gd name="connsiteX64" fmla="*/ 396360 w 1623171"/>
                <a:gd name="connsiteY64" fmla="*/ 214360 h 219493"/>
                <a:gd name="connsiteX65" fmla="*/ 396360 w 1623171"/>
                <a:gd name="connsiteY65" fmla="*/ 63493 h 219493"/>
                <a:gd name="connsiteX66" fmla="*/ 531046 w 1623171"/>
                <a:gd name="connsiteY66" fmla="*/ 219047 h 219493"/>
                <a:gd name="connsiteX67" fmla="*/ 504488 w 1623171"/>
                <a:gd name="connsiteY67" fmla="*/ 213579 h 219493"/>
                <a:gd name="connsiteX68" fmla="*/ 483621 w 1623171"/>
                <a:gd name="connsiteY68" fmla="*/ 197845 h 219493"/>
                <a:gd name="connsiteX69" fmla="*/ 469896 w 1623171"/>
                <a:gd name="connsiteY69" fmla="*/ 172626 h 219493"/>
                <a:gd name="connsiteX70" fmla="*/ 464986 w 1623171"/>
                <a:gd name="connsiteY70" fmla="*/ 138927 h 219493"/>
                <a:gd name="connsiteX71" fmla="*/ 469896 w 1623171"/>
                <a:gd name="connsiteY71" fmla="*/ 106455 h 219493"/>
                <a:gd name="connsiteX72" fmla="*/ 483398 w 1623171"/>
                <a:gd name="connsiteY72" fmla="*/ 81236 h 219493"/>
                <a:gd name="connsiteX73" fmla="*/ 504154 w 1623171"/>
                <a:gd name="connsiteY73" fmla="*/ 64833 h 219493"/>
                <a:gd name="connsiteX74" fmla="*/ 530935 w 1623171"/>
                <a:gd name="connsiteY74" fmla="*/ 58918 h 219493"/>
                <a:gd name="connsiteX75" fmla="*/ 556600 w 1623171"/>
                <a:gd name="connsiteY75" fmla="*/ 64944 h 219493"/>
                <a:gd name="connsiteX76" fmla="*/ 573115 w 1623171"/>
                <a:gd name="connsiteY76" fmla="*/ 80455 h 219493"/>
                <a:gd name="connsiteX77" fmla="*/ 574008 w 1623171"/>
                <a:gd name="connsiteY77" fmla="*/ 80455 h 219493"/>
                <a:gd name="connsiteX78" fmla="*/ 574008 w 1623171"/>
                <a:gd name="connsiteY78" fmla="*/ 1451 h 219493"/>
                <a:gd name="connsiteX79" fmla="*/ 621990 w 1623171"/>
                <a:gd name="connsiteY79" fmla="*/ 1451 h 219493"/>
                <a:gd name="connsiteX80" fmla="*/ 621990 w 1623171"/>
                <a:gd name="connsiteY80" fmla="*/ 214249 h 219493"/>
                <a:gd name="connsiteX81" fmla="*/ 576016 w 1623171"/>
                <a:gd name="connsiteY81" fmla="*/ 214249 h 219493"/>
                <a:gd name="connsiteX82" fmla="*/ 576016 w 1623171"/>
                <a:gd name="connsiteY82" fmla="*/ 193940 h 219493"/>
                <a:gd name="connsiteX83" fmla="*/ 575458 w 1623171"/>
                <a:gd name="connsiteY83" fmla="*/ 193940 h 219493"/>
                <a:gd name="connsiteX84" fmla="*/ 557381 w 1623171"/>
                <a:gd name="connsiteY84" fmla="*/ 212352 h 219493"/>
                <a:gd name="connsiteX85" fmla="*/ 531046 w 1623171"/>
                <a:gd name="connsiteY85" fmla="*/ 218935 h 219493"/>
                <a:gd name="connsiteX86" fmla="*/ 543433 w 1623171"/>
                <a:gd name="connsiteY86" fmla="*/ 180884 h 219493"/>
                <a:gd name="connsiteX87" fmla="*/ 566866 w 1623171"/>
                <a:gd name="connsiteY87" fmla="*/ 169056 h 219493"/>
                <a:gd name="connsiteX88" fmla="*/ 575235 w 1623171"/>
                <a:gd name="connsiteY88" fmla="*/ 138704 h 219493"/>
                <a:gd name="connsiteX89" fmla="*/ 573338 w 1623171"/>
                <a:gd name="connsiteY89" fmla="*/ 121184 h 219493"/>
                <a:gd name="connsiteX90" fmla="*/ 567424 w 1623171"/>
                <a:gd name="connsiteY90" fmla="*/ 107347 h 219493"/>
                <a:gd name="connsiteX91" fmla="*/ 557716 w 1623171"/>
                <a:gd name="connsiteY91" fmla="*/ 98309 h 219493"/>
                <a:gd name="connsiteX92" fmla="*/ 543991 w 1623171"/>
                <a:gd name="connsiteY92" fmla="*/ 95073 h 219493"/>
                <a:gd name="connsiteX93" fmla="*/ 521561 w 1623171"/>
                <a:gd name="connsiteY93" fmla="*/ 107013 h 219493"/>
                <a:gd name="connsiteX94" fmla="*/ 513639 w 1623171"/>
                <a:gd name="connsiteY94" fmla="*/ 138146 h 219493"/>
                <a:gd name="connsiteX95" fmla="*/ 521450 w 1623171"/>
                <a:gd name="connsiteY95" fmla="*/ 169390 h 219493"/>
                <a:gd name="connsiteX96" fmla="*/ 543433 w 1623171"/>
                <a:gd name="connsiteY96" fmla="*/ 180884 h 219493"/>
                <a:gd name="connsiteX97" fmla="*/ 720188 w 1623171"/>
                <a:gd name="connsiteY97" fmla="*/ 218601 h 219493"/>
                <a:gd name="connsiteX98" fmla="*/ 686600 w 1623171"/>
                <a:gd name="connsiteY98" fmla="*/ 212575 h 219493"/>
                <a:gd name="connsiteX99" fmla="*/ 661269 w 1623171"/>
                <a:gd name="connsiteY99" fmla="*/ 195725 h 219493"/>
                <a:gd name="connsiteX100" fmla="*/ 645312 w 1623171"/>
                <a:gd name="connsiteY100" fmla="*/ 170283 h 219493"/>
                <a:gd name="connsiteX101" fmla="*/ 639733 w 1623171"/>
                <a:gd name="connsiteY101" fmla="*/ 138480 h 219493"/>
                <a:gd name="connsiteX102" fmla="*/ 645312 w 1623171"/>
                <a:gd name="connsiteY102" fmla="*/ 107124 h 219493"/>
                <a:gd name="connsiteX103" fmla="*/ 661269 w 1623171"/>
                <a:gd name="connsiteY103" fmla="*/ 81794 h 219493"/>
                <a:gd name="connsiteX104" fmla="*/ 685707 w 1623171"/>
                <a:gd name="connsiteY104" fmla="*/ 65056 h 219493"/>
                <a:gd name="connsiteX105" fmla="*/ 717286 w 1623171"/>
                <a:gd name="connsiteY105" fmla="*/ 59030 h 219493"/>
                <a:gd name="connsiteX106" fmla="*/ 746299 w 1623171"/>
                <a:gd name="connsiteY106" fmla="*/ 64051 h 219493"/>
                <a:gd name="connsiteX107" fmla="*/ 768840 w 1623171"/>
                <a:gd name="connsiteY107" fmla="*/ 77888 h 219493"/>
                <a:gd name="connsiteX108" fmla="*/ 789037 w 1623171"/>
                <a:gd name="connsiteY108" fmla="*/ 109244 h 219493"/>
                <a:gd name="connsiteX109" fmla="*/ 795398 w 1623171"/>
                <a:gd name="connsiteY109" fmla="*/ 151201 h 219493"/>
                <a:gd name="connsiteX110" fmla="*/ 686934 w 1623171"/>
                <a:gd name="connsiteY110" fmla="*/ 151201 h 219493"/>
                <a:gd name="connsiteX111" fmla="*/ 697535 w 1623171"/>
                <a:gd name="connsiteY111" fmla="*/ 175416 h 219493"/>
                <a:gd name="connsiteX112" fmla="*/ 720857 w 1623171"/>
                <a:gd name="connsiteY112" fmla="*/ 184231 h 219493"/>
                <a:gd name="connsiteX113" fmla="*/ 736479 w 1623171"/>
                <a:gd name="connsiteY113" fmla="*/ 180214 h 219493"/>
                <a:gd name="connsiteX114" fmla="*/ 745853 w 1623171"/>
                <a:gd name="connsiteY114" fmla="*/ 169167 h 219493"/>
                <a:gd name="connsiteX115" fmla="*/ 792720 w 1623171"/>
                <a:gd name="connsiteY115" fmla="*/ 169167 h 219493"/>
                <a:gd name="connsiteX116" fmla="*/ 783904 w 1623171"/>
                <a:gd name="connsiteY116" fmla="*/ 188807 h 219493"/>
                <a:gd name="connsiteX117" fmla="*/ 767389 w 1623171"/>
                <a:gd name="connsiteY117" fmla="*/ 204875 h 219493"/>
                <a:gd name="connsiteX118" fmla="*/ 746299 w 1623171"/>
                <a:gd name="connsiteY118" fmla="*/ 215141 h 219493"/>
                <a:gd name="connsiteX119" fmla="*/ 720188 w 1623171"/>
                <a:gd name="connsiteY119" fmla="*/ 218712 h 219493"/>
                <a:gd name="connsiteX120" fmla="*/ 746746 w 1623171"/>
                <a:gd name="connsiteY120" fmla="*/ 122635 h 219493"/>
                <a:gd name="connsiteX121" fmla="*/ 737595 w 1623171"/>
                <a:gd name="connsiteY121" fmla="*/ 101099 h 219493"/>
                <a:gd name="connsiteX122" fmla="*/ 718179 w 1623171"/>
                <a:gd name="connsiteY122" fmla="*/ 93176 h 219493"/>
                <a:gd name="connsiteX123" fmla="*/ 696977 w 1623171"/>
                <a:gd name="connsiteY123" fmla="*/ 101099 h 219493"/>
                <a:gd name="connsiteX124" fmla="*/ 687269 w 1623171"/>
                <a:gd name="connsiteY124" fmla="*/ 122635 h 219493"/>
                <a:gd name="connsiteX125" fmla="*/ 746746 w 1623171"/>
                <a:gd name="connsiteY125" fmla="*/ 122635 h 219493"/>
                <a:gd name="connsiteX126" fmla="*/ 813029 w 1623171"/>
                <a:gd name="connsiteY126" fmla="*/ 1562 h 219493"/>
                <a:gd name="connsiteX127" fmla="*/ 861011 w 1623171"/>
                <a:gd name="connsiteY127" fmla="*/ 1562 h 219493"/>
                <a:gd name="connsiteX128" fmla="*/ 861011 w 1623171"/>
                <a:gd name="connsiteY128" fmla="*/ 82017 h 219493"/>
                <a:gd name="connsiteX129" fmla="*/ 861904 w 1623171"/>
                <a:gd name="connsiteY129" fmla="*/ 82017 h 219493"/>
                <a:gd name="connsiteX130" fmla="*/ 880428 w 1623171"/>
                <a:gd name="connsiteY130" fmla="*/ 65056 h 219493"/>
                <a:gd name="connsiteX131" fmla="*/ 906651 w 1623171"/>
                <a:gd name="connsiteY131" fmla="*/ 59030 h 219493"/>
                <a:gd name="connsiteX132" fmla="*/ 928745 w 1623171"/>
                <a:gd name="connsiteY132" fmla="*/ 63270 h 219493"/>
                <a:gd name="connsiteX133" fmla="*/ 945260 w 1623171"/>
                <a:gd name="connsiteY133" fmla="*/ 75099 h 219493"/>
                <a:gd name="connsiteX134" fmla="*/ 955638 w 1623171"/>
                <a:gd name="connsiteY134" fmla="*/ 93064 h 219493"/>
                <a:gd name="connsiteX135" fmla="*/ 959209 w 1623171"/>
                <a:gd name="connsiteY135" fmla="*/ 116163 h 219493"/>
                <a:gd name="connsiteX136" fmla="*/ 959209 w 1623171"/>
                <a:gd name="connsiteY136" fmla="*/ 214249 h 219493"/>
                <a:gd name="connsiteX137" fmla="*/ 911226 w 1623171"/>
                <a:gd name="connsiteY137" fmla="*/ 214249 h 219493"/>
                <a:gd name="connsiteX138" fmla="*/ 911226 w 1623171"/>
                <a:gd name="connsiteY138" fmla="*/ 125871 h 219493"/>
                <a:gd name="connsiteX139" fmla="*/ 905312 w 1623171"/>
                <a:gd name="connsiteY139" fmla="*/ 106455 h 219493"/>
                <a:gd name="connsiteX140" fmla="*/ 887681 w 1623171"/>
                <a:gd name="connsiteY140" fmla="*/ 99090 h 219493"/>
                <a:gd name="connsiteX141" fmla="*/ 868376 w 1623171"/>
                <a:gd name="connsiteY141" fmla="*/ 107905 h 219493"/>
                <a:gd name="connsiteX142" fmla="*/ 861123 w 1623171"/>
                <a:gd name="connsiteY142" fmla="*/ 130892 h 219493"/>
                <a:gd name="connsiteX143" fmla="*/ 861123 w 1623171"/>
                <a:gd name="connsiteY143" fmla="*/ 214249 h 219493"/>
                <a:gd name="connsiteX144" fmla="*/ 813140 w 1623171"/>
                <a:gd name="connsiteY144" fmla="*/ 214249 h 219493"/>
                <a:gd name="connsiteX145" fmla="*/ 813140 w 1623171"/>
                <a:gd name="connsiteY145" fmla="*/ 1451 h 219493"/>
                <a:gd name="connsiteX146" fmla="*/ 1054951 w 1623171"/>
                <a:gd name="connsiteY146" fmla="*/ 219047 h 219493"/>
                <a:gd name="connsiteX147" fmla="*/ 1021809 w 1623171"/>
                <a:gd name="connsiteY147" fmla="*/ 213021 h 219493"/>
                <a:gd name="connsiteX148" fmla="*/ 996256 w 1623171"/>
                <a:gd name="connsiteY148" fmla="*/ 196171 h 219493"/>
                <a:gd name="connsiteX149" fmla="*/ 979964 w 1623171"/>
                <a:gd name="connsiteY149" fmla="*/ 170841 h 219493"/>
                <a:gd name="connsiteX150" fmla="*/ 974161 w 1623171"/>
                <a:gd name="connsiteY150" fmla="*/ 139150 h 219493"/>
                <a:gd name="connsiteX151" fmla="*/ 979964 w 1623171"/>
                <a:gd name="connsiteY151" fmla="*/ 107459 h 219493"/>
                <a:gd name="connsiteX152" fmla="*/ 996256 w 1623171"/>
                <a:gd name="connsiteY152" fmla="*/ 82129 h 219493"/>
                <a:gd name="connsiteX153" fmla="*/ 1021809 w 1623171"/>
                <a:gd name="connsiteY153" fmla="*/ 65390 h 219493"/>
                <a:gd name="connsiteX154" fmla="*/ 1054951 w 1623171"/>
                <a:gd name="connsiteY154" fmla="*/ 59365 h 219493"/>
                <a:gd name="connsiteX155" fmla="*/ 1088093 w 1623171"/>
                <a:gd name="connsiteY155" fmla="*/ 65390 h 219493"/>
                <a:gd name="connsiteX156" fmla="*/ 1113423 w 1623171"/>
                <a:gd name="connsiteY156" fmla="*/ 82129 h 219493"/>
                <a:gd name="connsiteX157" fmla="*/ 1129603 w 1623171"/>
                <a:gd name="connsiteY157" fmla="*/ 107459 h 219493"/>
                <a:gd name="connsiteX158" fmla="*/ 1135294 w 1623171"/>
                <a:gd name="connsiteY158" fmla="*/ 139150 h 219493"/>
                <a:gd name="connsiteX159" fmla="*/ 1129603 w 1623171"/>
                <a:gd name="connsiteY159" fmla="*/ 170841 h 219493"/>
                <a:gd name="connsiteX160" fmla="*/ 1113423 w 1623171"/>
                <a:gd name="connsiteY160" fmla="*/ 196171 h 219493"/>
                <a:gd name="connsiteX161" fmla="*/ 1088093 w 1623171"/>
                <a:gd name="connsiteY161" fmla="*/ 213021 h 219493"/>
                <a:gd name="connsiteX162" fmla="*/ 1054951 w 1623171"/>
                <a:gd name="connsiteY162" fmla="*/ 219047 h 219493"/>
                <a:gd name="connsiteX163" fmla="*/ 1054616 w 1623171"/>
                <a:gd name="connsiteY163" fmla="*/ 184901 h 219493"/>
                <a:gd name="connsiteX164" fmla="*/ 1078608 w 1623171"/>
                <a:gd name="connsiteY164" fmla="*/ 172403 h 219493"/>
                <a:gd name="connsiteX165" fmla="*/ 1086753 w 1623171"/>
                <a:gd name="connsiteY165" fmla="*/ 139262 h 219493"/>
                <a:gd name="connsiteX166" fmla="*/ 1078608 w 1623171"/>
                <a:gd name="connsiteY166" fmla="*/ 106008 h 219493"/>
                <a:gd name="connsiteX167" fmla="*/ 1054616 w 1623171"/>
                <a:gd name="connsiteY167" fmla="*/ 93287 h 219493"/>
                <a:gd name="connsiteX168" fmla="*/ 1030736 w 1623171"/>
                <a:gd name="connsiteY168" fmla="*/ 106008 h 219493"/>
                <a:gd name="connsiteX169" fmla="*/ 1022814 w 1623171"/>
                <a:gd name="connsiteY169" fmla="*/ 139262 h 219493"/>
                <a:gd name="connsiteX170" fmla="*/ 1030736 w 1623171"/>
                <a:gd name="connsiteY170" fmla="*/ 172403 h 219493"/>
                <a:gd name="connsiteX171" fmla="*/ 1054616 w 1623171"/>
                <a:gd name="connsiteY171" fmla="*/ 184901 h 219493"/>
                <a:gd name="connsiteX172" fmla="*/ 1203474 w 1623171"/>
                <a:gd name="connsiteY172" fmla="*/ 218824 h 219493"/>
                <a:gd name="connsiteX173" fmla="*/ 1163861 w 1623171"/>
                <a:gd name="connsiteY173" fmla="*/ 203313 h 219493"/>
                <a:gd name="connsiteX174" fmla="*/ 1150470 w 1623171"/>
                <a:gd name="connsiteY174" fmla="*/ 162472 h 219493"/>
                <a:gd name="connsiteX175" fmla="*/ 1150470 w 1623171"/>
                <a:gd name="connsiteY175" fmla="*/ 63493 h 219493"/>
                <a:gd name="connsiteX176" fmla="*/ 1198230 w 1623171"/>
                <a:gd name="connsiteY176" fmla="*/ 63493 h 219493"/>
                <a:gd name="connsiteX177" fmla="*/ 1198230 w 1623171"/>
                <a:gd name="connsiteY177" fmla="*/ 152541 h 219493"/>
                <a:gd name="connsiteX178" fmla="*/ 1203809 w 1623171"/>
                <a:gd name="connsiteY178" fmla="*/ 171510 h 219493"/>
                <a:gd name="connsiteX179" fmla="*/ 1220882 w 1623171"/>
                <a:gd name="connsiteY179" fmla="*/ 178094 h 219493"/>
                <a:gd name="connsiteX180" fmla="*/ 1240298 w 1623171"/>
                <a:gd name="connsiteY180" fmla="*/ 169725 h 219493"/>
                <a:gd name="connsiteX181" fmla="*/ 1247328 w 1623171"/>
                <a:gd name="connsiteY181" fmla="*/ 147742 h 219493"/>
                <a:gd name="connsiteX182" fmla="*/ 1247328 w 1623171"/>
                <a:gd name="connsiteY182" fmla="*/ 63493 h 219493"/>
                <a:gd name="connsiteX183" fmla="*/ 1295311 w 1623171"/>
                <a:gd name="connsiteY183" fmla="*/ 63493 h 219493"/>
                <a:gd name="connsiteX184" fmla="*/ 1295311 w 1623171"/>
                <a:gd name="connsiteY184" fmla="*/ 214360 h 219493"/>
                <a:gd name="connsiteX185" fmla="*/ 1249337 w 1623171"/>
                <a:gd name="connsiteY185" fmla="*/ 214360 h 219493"/>
                <a:gd name="connsiteX186" fmla="*/ 1249337 w 1623171"/>
                <a:gd name="connsiteY186" fmla="*/ 195837 h 219493"/>
                <a:gd name="connsiteX187" fmla="*/ 1248444 w 1623171"/>
                <a:gd name="connsiteY187" fmla="*/ 195837 h 219493"/>
                <a:gd name="connsiteX188" fmla="*/ 1229698 w 1623171"/>
                <a:gd name="connsiteY188" fmla="*/ 212910 h 219493"/>
                <a:gd name="connsiteX189" fmla="*/ 1203363 w 1623171"/>
                <a:gd name="connsiteY189" fmla="*/ 218824 h 219493"/>
                <a:gd name="connsiteX190" fmla="*/ 1385474 w 1623171"/>
                <a:gd name="connsiteY190" fmla="*/ 219158 h 219493"/>
                <a:gd name="connsiteX191" fmla="*/ 1332693 w 1623171"/>
                <a:gd name="connsiteY191" fmla="*/ 204875 h 219493"/>
                <a:gd name="connsiteX192" fmla="*/ 1312049 w 1623171"/>
                <a:gd name="connsiteY192" fmla="*/ 165485 h 219493"/>
                <a:gd name="connsiteX193" fmla="*/ 1357466 w 1623171"/>
                <a:gd name="connsiteY193" fmla="*/ 165485 h 219493"/>
                <a:gd name="connsiteX194" fmla="*/ 1366058 w 1623171"/>
                <a:gd name="connsiteY194" fmla="*/ 182334 h 219493"/>
                <a:gd name="connsiteX195" fmla="*/ 1385251 w 1623171"/>
                <a:gd name="connsiteY195" fmla="*/ 187914 h 219493"/>
                <a:gd name="connsiteX196" fmla="*/ 1402435 w 1623171"/>
                <a:gd name="connsiteY196" fmla="*/ 184120 h 219493"/>
                <a:gd name="connsiteX197" fmla="*/ 1408796 w 1623171"/>
                <a:gd name="connsiteY197" fmla="*/ 172961 h 219493"/>
                <a:gd name="connsiteX198" fmla="*/ 1405560 w 1623171"/>
                <a:gd name="connsiteY198" fmla="*/ 164815 h 219493"/>
                <a:gd name="connsiteX199" fmla="*/ 1396968 w 1623171"/>
                <a:gd name="connsiteY199" fmla="*/ 159794 h 219493"/>
                <a:gd name="connsiteX200" fmla="*/ 1384693 w 1623171"/>
                <a:gd name="connsiteY200" fmla="*/ 156892 h 219493"/>
                <a:gd name="connsiteX201" fmla="*/ 1370410 w 1623171"/>
                <a:gd name="connsiteY201" fmla="*/ 154438 h 219493"/>
                <a:gd name="connsiteX202" fmla="*/ 1350993 w 1623171"/>
                <a:gd name="connsiteY202" fmla="*/ 150197 h 219493"/>
                <a:gd name="connsiteX203" fmla="*/ 1333474 w 1623171"/>
                <a:gd name="connsiteY203" fmla="*/ 142721 h 219493"/>
                <a:gd name="connsiteX204" fmla="*/ 1320976 w 1623171"/>
                <a:gd name="connsiteY204" fmla="*/ 129330 h 219493"/>
                <a:gd name="connsiteX205" fmla="*/ 1316290 w 1623171"/>
                <a:gd name="connsiteY205" fmla="*/ 107682 h 219493"/>
                <a:gd name="connsiteX206" fmla="*/ 1321423 w 1623171"/>
                <a:gd name="connsiteY206" fmla="*/ 86704 h 219493"/>
                <a:gd name="connsiteX207" fmla="*/ 1335483 w 1623171"/>
                <a:gd name="connsiteY207" fmla="*/ 71528 h 219493"/>
                <a:gd name="connsiteX208" fmla="*/ 1356238 w 1623171"/>
                <a:gd name="connsiteY208" fmla="*/ 62378 h 219493"/>
                <a:gd name="connsiteX209" fmla="*/ 1381457 w 1623171"/>
                <a:gd name="connsiteY209" fmla="*/ 59253 h 219493"/>
                <a:gd name="connsiteX210" fmla="*/ 1430667 w 1623171"/>
                <a:gd name="connsiteY210" fmla="*/ 72197 h 219493"/>
                <a:gd name="connsiteX211" fmla="*/ 1449525 w 1623171"/>
                <a:gd name="connsiteY211" fmla="*/ 107571 h 219493"/>
                <a:gd name="connsiteX212" fmla="*/ 1405337 w 1623171"/>
                <a:gd name="connsiteY212" fmla="*/ 107571 h 219493"/>
                <a:gd name="connsiteX213" fmla="*/ 1397525 w 1623171"/>
                <a:gd name="connsiteY213" fmla="*/ 93622 h 219493"/>
                <a:gd name="connsiteX214" fmla="*/ 1381122 w 1623171"/>
                <a:gd name="connsiteY214" fmla="*/ 89940 h 219493"/>
                <a:gd name="connsiteX215" fmla="*/ 1366281 w 1623171"/>
                <a:gd name="connsiteY215" fmla="*/ 93287 h 219493"/>
                <a:gd name="connsiteX216" fmla="*/ 1360255 w 1623171"/>
                <a:gd name="connsiteY216" fmla="*/ 103777 h 219493"/>
                <a:gd name="connsiteX217" fmla="*/ 1363156 w 1623171"/>
                <a:gd name="connsiteY217" fmla="*/ 110249 h 219493"/>
                <a:gd name="connsiteX218" fmla="*/ 1371079 w 1623171"/>
                <a:gd name="connsiteY218" fmla="*/ 114266 h 219493"/>
                <a:gd name="connsiteX219" fmla="*/ 1382684 w 1623171"/>
                <a:gd name="connsiteY219" fmla="*/ 117056 h 219493"/>
                <a:gd name="connsiteX220" fmla="*/ 1396410 w 1623171"/>
                <a:gd name="connsiteY220" fmla="*/ 119399 h 219493"/>
                <a:gd name="connsiteX221" fmla="*/ 1416607 w 1623171"/>
                <a:gd name="connsiteY221" fmla="*/ 123639 h 219493"/>
                <a:gd name="connsiteX222" fmla="*/ 1435131 w 1623171"/>
                <a:gd name="connsiteY222" fmla="*/ 131450 h 219493"/>
                <a:gd name="connsiteX223" fmla="*/ 1448856 w 1623171"/>
                <a:gd name="connsiteY223" fmla="*/ 145734 h 219493"/>
                <a:gd name="connsiteX224" fmla="*/ 1454212 w 1623171"/>
                <a:gd name="connsiteY224" fmla="*/ 169167 h 219493"/>
                <a:gd name="connsiteX225" fmla="*/ 1449079 w 1623171"/>
                <a:gd name="connsiteY225" fmla="*/ 190927 h 219493"/>
                <a:gd name="connsiteX226" fmla="*/ 1434796 w 1623171"/>
                <a:gd name="connsiteY226" fmla="*/ 206549 h 219493"/>
                <a:gd name="connsiteX227" fmla="*/ 1413036 w 1623171"/>
                <a:gd name="connsiteY227" fmla="*/ 216034 h 219493"/>
                <a:gd name="connsiteX228" fmla="*/ 1385586 w 1623171"/>
                <a:gd name="connsiteY228" fmla="*/ 219270 h 219493"/>
                <a:gd name="connsiteX229" fmla="*/ 1547946 w 1623171"/>
                <a:gd name="connsiteY229" fmla="*/ 218935 h 219493"/>
                <a:gd name="connsiteX230" fmla="*/ 1514358 w 1623171"/>
                <a:gd name="connsiteY230" fmla="*/ 212910 h 219493"/>
                <a:gd name="connsiteX231" fmla="*/ 1489027 w 1623171"/>
                <a:gd name="connsiteY231" fmla="*/ 196060 h 219493"/>
                <a:gd name="connsiteX232" fmla="*/ 1473070 w 1623171"/>
                <a:gd name="connsiteY232" fmla="*/ 170618 h 219493"/>
                <a:gd name="connsiteX233" fmla="*/ 1467491 w 1623171"/>
                <a:gd name="connsiteY233" fmla="*/ 138815 h 219493"/>
                <a:gd name="connsiteX234" fmla="*/ 1473070 w 1623171"/>
                <a:gd name="connsiteY234" fmla="*/ 107459 h 219493"/>
                <a:gd name="connsiteX235" fmla="*/ 1489027 w 1623171"/>
                <a:gd name="connsiteY235" fmla="*/ 82129 h 219493"/>
                <a:gd name="connsiteX236" fmla="*/ 1513465 w 1623171"/>
                <a:gd name="connsiteY236" fmla="*/ 65390 h 219493"/>
                <a:gd name="connsiteX237" fmla="*/ 1545045 w 1623171"/>
                <a:gd name="connsiteY237" fmla="*/ 59365 h 219493"/>
                <a:gd name="connsiteX238" fmla="*/ 1574057 w 1623171"/>
                <a:gd name="connsiteY238" fmla="*/ 64386 h 219493"/>
                <a:gd name="connsiteX239" fmla="*/ 1596598 w 1623171"/>
                <a:gd name="connsiteY239" fmla="*/ 78223 h 219493"/>
                <a:gd name="connsiteX240" fmla="*/ 1616795 w 1623171"/>
                <a:gd name="connsiteY240" fmla="*/ 109579 h 219493"/>
                <a:gd name="connsiteX241" fmla="*/ 1623156 w 1623171"/>
                <a:gd name="connsiteY241" fmla="*/ 151536 h 219493"/>
                <a:gd name="connsiteX242" fmla="*/ 1514693 w 1623171"/>
                <a:gd name="connsiteY242" fmla="*/ 151536 h 219493"/>
                <a:gd name="connsiteX243" fmla="*/ 1525293 w 1623171"/>
                <a:gd name="connsiteY243" fmla="*/ 175751 h 219493"/>
                <a:gd name="connsiteX244" fmla="*/ 1548615 w 1623171"/>
                <a:gd name="connsiteY244" fmla="*/ 184566 h 219493"/>
                <a:gd name="connsiteX245" fmla="*/ 1564238 w 1623171"/>
                <a:gd name="connsiteY245" fmla="*/ 180549 h 219493"/>
                <a:gd name="connsiteX246" fmla="*/ 1573723 w 1623171"/>
                <a:gd name="connsiteY246" fmla="*/ 169502 h 219493"/>
                <a:gd name="connsiteX247" fmla="*/ 1620590 w 1623171"/>
                <a:gd name="connsiteY247" fmla="*/ 169502 h 219493"/>
                <a:gd name="connsiteX248" fmla="*/ 1611774 w 1623171"/>
                <a:gd name="connsiteY248" fmla="*/ 189141 h 219493"/>
                <a:gd name="connsiteX249" fmla="*/ 1595259 w 1623171"/>
                <a:gd name="connsiteY249" fmla="*/ 205210 h 219493"/>
                <a:gd name="connsiteX250" fmla="*/ 1574169 w 1623171"/>
                <a:gd name="connsiteY250" fmla="*/ 215476 h 219493"/>
                <a:gd name="connsiteX251" fmla="*/ 1548057 w 1623171"/>
                <a:gd name="connsiteY251" fmla="*/ 219047 h 219493"/>
                <a:gd name="connsiteX252" fmla="*/ 1574615 w 1623171"/>
                <a:gd name="connsiteY252" fmla="*/ 122970 h 219493"/>
                <a:gd name="connsiteX253" fmla="*/ 1565465 w 1623171"/>
                <a:gd name="connsiteY253" fmla="*/ 101433 h 219493"/>
                <a:gd name="connsiteX254" fmla="*/ 1546049 w 1623171"/>
                <a:gd name="connsiteY254" fmla="*/ 93511 h 219493"/>
                <a:gd name="connsiteX255" fmla="*/ 1524847 w 1623171"/>
                <a:gd name="connsiteY255" fmla="*/ 101433 h 219493"/>
                <a:gd name="connsiteX256" fmla="*/ 1515139 w 1623171"/>
                <a:gd name="connsiteY256" fmla="*/ 122970 h 219493"/>
                <a:gd name="connsiteX257" fmla="*/ 1574615 w 1623171"/>
                <a:gd name="connsiteY257" fmla="*/ 122970 h 2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623171" h="219493">
                  <a:moveTo>
                    <a:pt x="100206" y="219493"/>
                  </a:moveTo>
                  <a:cubicBezTo>
                    <a:pt x="85030" y="219493"/>
                    <a:pt x="71528" y="216927"/>
                    <a:pt x="59588" y="211794"/>
                  </a:cubicBezTo>
                  <a:cubicBezTo>
                    <a:pt x="47648" y="206661"/>
                    <a:pt x="37159" y="199407"/>
                    <a:pt x="28343" y="190034"/>
                  </a:cubicBezTo>
                  <a:cubicBezTo>
                    <a:pt x="19082" y="179991"/>
                    <a:pt x="12052" y="168274"/>
                    <a:pt x="7253" y="154661"/>
                  </a:cubicBezTo>
                  <a:cubicBezTo>
                    <a:pt x="2455" y="141159"/>
                    <a:pt x="0" y="126317"/>
                    <a:pt x="0" y="110137"/>
                  </a:cubicBezTo>
                  <a:cubicBezTo>
                    <a:pt x="0" y="93957"/>
                    <a:pt x="2678" y="78111"/>
                    <a:pt x="8146" y="64051"/>
                  </a:cubicBezTo>
                  <a:cubicBezTo>
                    <a:pt x="13502" y="49991"/>
                    <a:pt x="21202" y="37940"/>
                    <a:pt x="31245" y="28009"/>
                  </a:cubicBezTo>
                  <a:cubicBezTo>
                    <a:pt x="40060" y="19193"/>
                    <a:pt x="50438" y="12275"/>
                    <a:pt x="62489" y="7365"/>
                  </a:cubicBezTo>
                  <a:cubicBezTo>
                    <a:pt x="74429" y="2455"/>
                    <a:pt x="88154" y="0"/>
                    <a:pt x="103442" y="0"/>
                  </a:cubicBezTo>
                  <a:cubicBezTo>
                    <a:pt x="116944" y="0"/>
                    <a:pt x="129219" y="1674"/>
                    <a:pt x="139931" y="5133"/>
                  </a:cubicBezTo>
                  <a:cubicBezTo>
                    <a:pt x="150755" y="8592"/>
                    <a:pt x="160129" y="13502"/>
                    <a:pt x="167940" y="19863"/>
                  </a:cubicBezTo>
                  <a:cubicBezTo>
                    <a:pt x="175751" y="26223"/>
                    <a:pt x="182111" y="33923"/>
                    <a:pt x="186910" y="42961"/>
                  </a:cubicBezTo>
                  <a:cubicBezTo>
                    <a:pt x="191708" y="52000"/>
                    <a:pt x="195055" y="62043"/>
                    <a:pt x="196729" y="72978"/>
                  </a:cubicBezTo>
                  <a:lnTo>
                    <a:pt x="146068" y="72978"/>
                  </a:lnTo>
                  <a:cubicBezTo>
                    <a:pt x="144060" y="64386"/>
                    <a:pt x="139708" y="57133"/>
                    <a:pt x="132789" y="51442"/>
                  </a:cubicBezTo>
                  <a:cubicBezTo>
                    <a:pt x="125871" y="45751"/>
                    <a:pt x="116721" y="42850"/>
                    <a:pt x="105116" y="42850"/>
                  </a:cubicBezTo>
                  <a:cubicBezTo>
                    <a:pt x="96412" y="42850"/>
                    <a:pt x="88824" y="44635"/>
                    <a:pt x="82240" y="47983"/>
                  </a:cubicBezTo>
                  <a:cubicBezTo>
                    <a:pt x="75657" y="51442"/>
                    <a:pt x="70189" y="56129"/>
                    <a:pt x="65837" y="62154"/>
                  </a:cubicBezTo>
                  <a:cubicBezTo>
                    <a:pt x="61485" y="68180"/>
                    <a:pt x="58249" y="75210"/>
                    <a:pt x="56129" y="83356"/>
                  </a:cubicBezTo>
                  <a:cubicBezTo>
                    <a:pt x="54008" y="91502"/>
                    <a:pt x="52893" y="100429"/>
                    <a:pt x="52893" y="110026"/>
                  </a:cubicBezTo>
                  <a:cubicBezTo>
                    <a:pt x="52893" y="119622"/>
                    <a:pt x="54120" y="128549"/>
                    <a:pt x="56575" y="136807"/>
                  </a:cubicBezTo>
                  <a:cubicBezTo>
                    <a:pt x="59030" y="145064"/>
                    <a:pt x="62489" y="152206"/>
                    <a:pt x="67064" y="158120"/>
                  </a:cubicBezTo>
                  <a:cubicBezTo>
                    <a:pt x="71639" y="164146"/>
                    <a:pt x="77107" y="168832"/>
                    <a:pt x="83691" y="172068"/>
                  </a:cubicBezTo>
                  <a:cubicBezTo>
                    <a:pt x="90275" y="175416"/>
                    <a:pt x="97639" y="177090"/>
                    <a:pt x="105897" y="177090"/>
                  </a:cubicBezTo>
                  <a:cubicBezTo>
                    <a:pt x="112704" y="177090"/>
                    <a:pt x="118953" y="176086"/>
                    <a:pt x="124309" y="173965"/>
                  </a:cubicBezTo>
                  <a:cubicBezTo>
                    <a:pt x="129665" y="171957"/>
                    <a:pt x="134352" y="169167"/>
                    <a:pt x="138146" y="165708"/>
                  </a:cubicBezTo>
                  <a:cubicBezTo>
                    <a:pt x="141940" y="162249"/>
                    <a:pt x="145064" y="158343"/>
                    <a:pt x="147296" y="153880"/>
                  </a:cubicBezTo>
                  <a:cubicBezTo>
                    <a:pt x="149528" y="149528"/>
                    <a:pt x="150978" y="144953"/>
                    <a:pt x="151536" y="140154"/>
                  </a:cubicBezTo>
                  <a:lnTo>
                    <a:pt x="151536" y="139596"/>
                  </a:lnTo>
                  <a:lnTo>
                    <a:pt x="112034" y="139596"/>
                  </a:lnTo>
                  <a:lnTo>
                    <a:pt x="112034" y="101322"/>
                  </a:lnTo>
                  <a:lnTo>
                    <a:pt x="199854" y="101322"/>
                  </a:lnTo>
                  <a:lnTo>
                    <a:pt x="199854" y="214472"/>
                  </a:lnTo>
                  <a:lnTo>
                    <a:pt x="163365" y="214472"/>
                  </a:lnTo>
                  <a:lnTo>
                    <a:pt x="160463" y="189141"/>
                  </a:lnTo>
                  <a:lnTo>
                    <a:pt x="159905" y="189141"/>
                  </a:lnTo>
                  <a:cubicBezTo>
                    <a:pt x="152987" y="199965"/>
                    <a:pt x="144506" y="207665"/>
                    <a:pt x="134463" y="212240"/>
                  </a:cubicBezTo>
                  <a:cubicBezTo>
                    <a:pt x="124309" y="216815"/>
                    <a:pt x="112927" y="219158"/>
                    <a:pt x="100094" y="219158"/>
                  </a:cubicBezTo>
                  <a:moveTo>
                    <a:pt x="277184" y="218824"/>
                  </a:moveTo>
                  <a:cubicBezTo>
                    <a:pt x="259665" y="218824"/>
                    <a:pt x="246497" y="213691"/>
                    <a:pt x="237570" y="203313"/>
                  </a:cubicBezTo>
                  <a:cubicBezTo>
                    <a:pt x="228643" y="193047"/>
                    <a:pt x="224180" y="179433"/>
                    <a:pt x="224180" y="162472"/>
                  </a:cubicBezTo>
                  <a:lnTo>
                    <a:pt x="224180" y="63493"/>
                  </a:lnTo>
                  <a:lnTo>
                    <a:pt x="271939" y="63493"/>
                  </a:lnTo>
                  <a:lnTo>
                    <a:pt x="271939" y="152541"/>
                  </a:lnTo>
                  <a:cubicBezTo>
                    <a:pt x="271939" y="160798"/>
                    <a:pt x="273836" y="167159"/>
                    <a:pt x="277519" y="171510"/>
                  </a:cubicBezTo>
                  <a:cubicBezTo>
                    <a:pt x="281201" y="175974"/>
                    <a:pt x="287004" y="178094"/>
                    <a:pt x="294592" y="178094"/>
                  </a:cubicBezTo>
                  <a:cubicBezTo>
                    <a:pt x="302849" y="178094"/>
                    <a:pt x="309321" y="175304"/>
                    <a:pt x="314008" y="169725"/>
                  </a:cubicBezTo>
                  <a:cubicBezTo>
                    <a:pt x="318695" y="164146"/>
                    <a:pt x="321038" y="156781"/>
                    <a:pt x="321038" y="147742"/>
                  </a:cubicBezTo>
                  <a:lnTo>
                    <a:pt x="321038" y="63493"/>
                  </a:lnTo>
                  <a:lnTo>
                    <a:pt x="369021" y="63493"/>
                  </a:lnTo>
                  <a:lnTo>
                    <a:pt x="369021" y="214360"/>
                  </a:lnTo>
                  <a:lnTo>
                    <a:pt x="323047" y="214360"/>
                  </a:lnTo>
                  <a:lnTo>
                    <a:pt x="323047" y="195837"/>
                  </a:lnTo>
                  <a:lnTo>
                    <a:pt x="322154" y="195837"/>
                  </a:lnTo>
                  <a:cubicBezTo>
                    <a:pt x="316686" y="203313"/>
                    <a:pt x="310437" y="209004"/>
                    <a:pt x="303407" y="212910"/>
                  </a:cubicBezTo>
                  <a:cubicBezTo>
                    <a:pt x="296489" y="216815"/>
                    <a:pt x="287673" y="218824"/>
                    <a:pt x="277072" y="218824"/>
                  </a:cubicBezTo>
                  <a:moveTo>
                    <a:pt x="396360" y="1674"/>
                  </a:moveTo>
                  <a:lnTo>
                    <a:pt x="444343" y="1674"/>
                  </a:lnTo>
                  <a:lnTo>
                    <a:pt x="444343" y="42627"/>
                  </a:lnTo>
                  <a:lnTo>
                    <a:pt x="396360" y="42627"/>
                  </a:lnTo>
                  <a:lnTo>
                    <a:pt x="396360" y="1674"/>
                  </a:lnTo>
                  <a:close/>
                  <a:moveTo>
                    <a:pt x="396360" y="63493"/>
                  </a:moveTo>
                  <a:lnTo>
                    <a:pt x="444343" y="63493"/>
                  </a:lnTo>
                  <a:lnTo>
                    <a:pt x="444343" y="214360"/>
                  </a:lnTo>
                  <a:lnTo>
                    <a:pt x="396360" y="214360"/>
                  </a:lnTo>
                  <a:lnTo>
                    <a:pt x="396360" y="63493"/>
                  </a:lnTo>
                  <a:close/>
                  <a:moveTo>
                    <a:pt x="531046" y="219047"/>
                  </a:moveTo>
                  <a:cubicBezTo>
                    <a:pt x="521450" y="219047"/>
                    <a:pt x="512523" y="217261"/>
                    <a:pt x="504488" y="213579"/>
                  </a:cubicBezTo>
                  <a:cubicBezTo>
                    <a:pt x="496454" y="209897"/>
                    <a:pt x="489424" y="204652"/>
                    <a:pt x="483621" y="197845"/>
                  </a:cubicBezTo>
                  <a:cubicBezTo>
                    <a:pt x="477707" y="190927"/>
                    <a:pt x="473132" y="182558"/>
                    <a:pt x="469896" y="172626"/>
                  </a:cubicBezTo>
                  <a:cubicBezTo>
                    <a:pt x="466660" y="162695"/>
                    <a:pt x="464986" y="151425"/>
                    <a:pt x="464986" y="138927"/>
                  </a:cubicBezTo>
                  <a:cubicBezTo>
                    <a:pt x="464986" y="127098"/>
                    <a:pt x="466660" y="116386"/>
                    <a:pt x="469896" y="106455"/>
                  </a:cubicBezTo>
                  <a:cubicBezTo>
                    <a:pt x="473132" y="96635"/>
                    <a:pt x="477707" y="88266"/>
                    <a:pt x="483398" y="81236"/>
                  </a:cubicBezTo>
                  <a:cubicBezTo>
                    <a:pt x="489201" y="74317"/>
                    <a:pt x="496119" y="68850"/>
                    <a:pt x="504154" y="64833"/>
                  </a:cubicBezTo>
                  <a:cubicBezTo>
                    <a:pt x="512188" y="60927"/>
                    <a:pt x="521115" y="58918"/>
                    <a:pt x="530935" y="58918"/>
                  </a:cubicBezTo>
                  <a:cubicBezTo>
                    <a:pt x="541536" y="58918"/>
                    <a:pt x="550128" y="60927"/>
                    <a:pt x="556600" y="64944"/>
                  </a:cubicBezTo>
                  <a:cubicBezTo>
                    <a:pt x="563072" y="68961"/>
                    <a:pt x="568540" y="74094"/>
                    <a:pt x="573115" y="80455"/>
                  </a:cubicBezTo>
                  <a:lnTo>
                    <a:pt x="574008" y="80455"/>
                  </a:lnTo>
                  <a:lnTo>
                    <a:pt x="574008" y="1451"/>
                  </a:lnTo>
                  <a:lnTo>
                    <a:pt x="621990" y="1451"/>
                  </a:lnTo>
                  <a:lnTo>
                    <a:pt x="621990" y="214249"/>
                  </a:lnTo>
                  <a:lnTo>
                    <a:pt x="576016" y="214249"/>
                  </a:lnTo>
                  <a:lnTo>
                    <a:pt x="576016" y="193940"/>
                  </a:lnTo>
                  <a:lnTo>
                    <a:pt x="575458" y="193940"/>
                  </a:lnTo>
                  <a:cubicBezTo>
                    <a:pt x="570995" y="201751"/>
                    <a:pt x="564857" y="207888"/>
                    <a:pt x="557381" y="212352"/>
                  </a:cubicBezTo>
                  <a:cubicBezTo>
                    <a:pt x="549793" y="216815"/>
                    <a:pt x="541089" y="218935"/>
                    <a:pt x="531046" y="218935"/>
                  </a:cubicBezTo>
                  <a:moveTo>
                    <a:pt x="543433" y="180884"/>
                  </a:moveTo>
                  <a:cubicBezTo>
                    <a:pt x="553475" y="180884"/>
                    <a:pt x="561287" y="176978"/>
                    <a:pt x="566866" y="169056"/>
                  </a:cubicBezTo>
                  <a:cubicBezTo>
                    <a:pt x="572445" y="161244"/>
                    <a:pt x="575235" y="151090"/>
                    <a:pt x="575235" y="138704"/>
                  </a:cubicBezTo>
                  <a:cubicBezTo>
                    <a:pt x="575235" y="132455"/>
                    <a:pt x="574566" y="126541"/>
                    <a:pt x="573338" y="121184"/>
                  </a:cubicBezTo>
                  <a:cubicBezTo>
                    <a:pt x="572111" y="115828"/>
                    <a:pt x="570102" y="111141"/>
                    <a:pt x="567424" y="107347"/>
                  </a:cubicBezTo>
                  <a:cubicBezTo>
                    <a:pt x="564746" y="103553"/>
                    <a:pt x="561510" y="100541"/>
                    <a:pt x="557716" y="98309"/>
                  </a:cubicBezTo>
                  <a:cubicBezTo>
                    <a:pt x="553922" y="96189"/>
                    <a:pt x="549347" y="95073"/>
                    <a:pt x="543991" y="95073"/>
                  </a:cubicBezTo>
                  <a:cubicBezTo>
                    <a:pt x="534394" y="95073"/>
                    <a:pt x="526918" y="99090"/>
                    <a:pt x="521561" y="107013"/>
                  </a:cubicBezTo>
                  <a:cubicBezTo>
                    <a:pt x="516205" y="114935"/>
                    <a:pt x="513639" y="125313"/>
                    <a:pt x="513639" y="138146"/>
                  </a:cubicBezTo>
                  <a:cubicBezTo>
                    <a:pt x="513639" y="150978"/>
                    <a:pt x="516205" y="161691"/>
                    <a:pt x="521450" y="169390"/>
                  </a:cubicBezTo>
                  <a:cubicBezTo>
                    <a:pt x="526694" y="177090"/>
                    <a:pt x="533948" y="180884"/>
                    <a:pt x="543433" y="180884"/>
                  </a:cubicBezTo>
                  <a:moveTo>
                    <a:pt x="720188" y="218601"/>
                  </a:moveTo>
                  <a:cubicBezTo>
                    <a:pt x="707801" y="218601"/>
                    <a:pt x="696643" y="216592"/>
                    <a:pt x="686600" y="212575"/>
                  </a:cubicBezTo>
                  <a:cubicBezTo>
                    <a:pt x="676557" y="208558"/>
                    <a:pt x="668076" y="202978"/>
                    <a:pt x="661269" y="195725"/>
                  </a:cubicBezTo>
                  <a:cubicBezTo>
                    <a:pt x="654351" y="188583"/>
                    <a:pt x="649106" y="180103"/>
                    <a:pt x="645312" y="170283"/>
                  </a:cubicBezTo>
                  <a:cubicBezTo>
                    <a:pt x="641630" y="160463"/>
                    <a:pt x="639733" y="149862"/>
                    <a:pt x="639733" y="138480"/>
                  </a:cubicBezTo>
                  <a:cubicBezTo>
                    <a:pt x="639733" y="127098"/>
                    <a:pt x="641630" y="116832"/>
                    <a:pt x="645312" y="107124"/>
                  </a:cubicBezTo>
                  <a:cubicBezTo>
                    <a:pt x="648995" y="97416"/>
                    <a:pt x="654351" y="88935"/>
                    <a:pt x="661269" y="81794"/>
                  </a:cubicBezTo>
                  <a:cubicBezTo>
                    <a:pt x="668188" y="74652"/>
                    <a:pt x="676334" y="69073"/>
                    <a:pt x="685707" y="65056"/>
                  </a:cubicBezTo>
                  <a:cubicBezTo>
                    <a:pt x="695080" y="61039"/>
                    <a:pt x="705681" y="59030"/>
                    <a:pt x="717286" y="59030"/>
                  </a:cubicBezTo>
                  <a:cubicBezTo>
                    <a:pt x="728110" y="59030"/>
                    <a:pt x="737818" y="60704"/>
                    <a:pt x="746299" y="64051"/>
                  </a:cubicBezTo>
                  <a:cubicBezTo>
                    <a:pt x="754891" y="67399"/>
                    <a:pt x="762368" y="71974"/>
                    <a:pt x="768840" y="77888"/>
                  </a:cubicBezTo>
                  <a:cubicBezTo>
                    <a:pt x="777879" y="86146"/>
                    <a:pt x="784574" y="96635"/>
                    <a:pt x="789037" y="109244"/>
                  </a:cubicBezTo>
                  <a:cubicBezTo>
                    <a:pt x="793501" y="121965"/>
                    <a:pt x="795509" y="135914"/>
                    <a:pt x="795398" y="151201"/>
                  </a:cubicBezTo>
                  <a:lnTo>
                    <a:pt x="686934" y="151201"/>
                  </a:lnTo>
                  <a:cubicBezTo>
                    <a:pt x="688497" y="161468"/>
                    <a:pt x="692067" y="169502"/>
                    <a:pt x="697535" y="175416"/>
                  </a:cubicBezTo>
                  <a:cubicBezTo>
                    <a:pt x="703003" y="181330"/>
                    <a:pt x="710814" y="184231"/>
                    <a:pt x="720857" y="184231"/>
                  </a:cubicBezTo>
                  <a:cubicBezTo>
                    <a:pt x="727106" y="184231"/>
                    <a:pt x="732351" y="182892"/>
                    <a:pt x="736479" y="180214"/>
                  </a:cubicBezTo>
                  <a:cubicBezTo>
                    <a:pt x="740608" y="177536"/>
                    <a:pt x="743733" y="173854"/>
                    <a:pt x="745853" y="169167"/>
                  </a:cubicBezTo>
                  <a:lnTo>
                    <a:pt x="792720" y="169167"/>
                  </a:lnTo>
                  <a:cubicBezTo>
                    <a:pt x="791157" y="176086"/>
                    <a:pt x="788145" y="182558"/>
                    <a:pt x="783904" y="188807"/>
                  </a:cubicBezTo>
                  <a:cubicBezTo>
                    <a:pt x="779552" y="194944"/>
                    <a:pt x="774084" y="200300"/>
                    <a:pt x="767389" y="204875"/>
                  </a:cubicBezTo>
                  <a:cubicBezTo>
                    <a:pt x="761140" y="209450"/>
                    <a:pt x="754110" y="212798"/>
                    <a:pt x="746299" y="215141"/>
                  </a:cubicBezTo>
                  <a:cubicBezTo>
                    <a:pt x="738600" y="217485"/>
                    <a:pt x="729896" y="218712"/>
                    <a:pt x="720188" y="218712"/>
                  </a:cubicBezTo>
                  <a:moveTo>
                    <a:pt x="746746" y="122635"/>
                  </a:moveTo>
                  <a:cubicBezTo>
                    <a:pt x="745741" y="113596"/>
                    <a:pt x="742728" y="106455"/>
                    <a:pt x="737595" y="101099"/>
                  </a:cubicBezTo>
                  <a:cubicBezTo>
                    <a:pt x="732462" y="95854"/>
                    <a:pt x="725990" y="93176"/>
                    <a:pt x="718179" y="93176"/>
                  </a:cubicBezTo>
                  <a:cubicBezTo>
                    <a:pt x="708917" y="93176"/>
                    <a:pt x="701887" y="95854"/>
                    <a:pt x="696977" y="101099"/>
                  </a:cubicBezTo>
                  <a:cubicBezTo>
                    <a:pt x="692067" y="106455"/>
                    <a:pt x="688831" y="113596"/>
                    <a:pt x="687269" y="122635"/>
                  </a:cubicBezTo>
                  <a:lnTo>
                    <a:pt x="746746" y="122635"/>
                  </a:lnTo>
                  <a:close/>
                  <a:moveTo>
                    <a:pt x="813029" y="1562"/>
                  </a:moveTo>
                  <a:lnTo>
                    <a:pt x="861011" y="1562"/>
                  </a:lnTo>
                  <a:lnTo>
                    <a:pt x="861011" y="82017"/>
                  </a:lnTo>
                  <a:lnTo>
                    <a:pt x="861904" y="82017"/>
                  </a:lnTo>
                  <a:cubicBezTo>
                    <a:pt x="867372" y="74764"/>
                    <a:pt x="873621" y="69073"/>
                    <a:pt x="880428" y="65056"/>
                  </a:cubicBezTo>
                  <a:cubicBezTo>
                    <a:pt x="887346" y="61039"/>
                    <a:pt x="896050" y="59030"/>
                    <a:pt x="906651" y="59030"/>
                  </a:cubicBezTo>
                  <a:cubicBezTo>
                    <a:pt x="914908" y="59030"/>
                    <a:pt x="922273" y="60481"/>
                    <a:pt x="928745" y="63270"/>
                  </a:cubicBezTo>
                  <a:cubicBezTo>
                    <a:pt x="935217" y="66060"/>
                    <a:pt x="940685" y="70077"/>
                    <a:pt x="945260" y="75099"/>
                  </a:cubicBezTo>
                  <a:cubicBezTo>
                    <a:pt x="949835" y="80120"/>
                    <a:pt x="953183" y="86146"/>
                    <a:pt x="955638" y="93064"/>
                  </a:cubicBezTo>
                  <a:cubicBezTo>
                    <a:pt x="957981" y="99983"/>
                    <a:pt x="959209" y="107794"/>
                    <a:pt x="959209" y="116163"/>
                  </a:cubicBezTo>
                  <a:lnTo>
                    <a:pt x="959209" y="214249"/>
                  </a:lnTo>
                  <a:lnTo>
                    <a:pt x="911226" y="214249"/>
                  </a:lnTo>
                  <a:lnTo>
                    <a:pt x="911226" y="125871"/>
                  </a:lnTo>
                  <a:cubicBezTo>
                    <a:pt x="911226" y="117837"/>
                    <a:pt x="909217" y="111365"/>
                    <a:pt x="905312" y="106455"/>
                  </a:cubicBezTo>
                  <a:cubicBezTo>
                    <a:pt x="901406" y="101545"/>
                    <a:pt x="895492" y="99090"/>
                    <a:pt x="887681" y="99090"/>
                  </a:cubicBezTo>
                  <a:cubicBezTo>
                    <a:pt x="879870" y="99090"/>
                    <a:pt x="873174" y="101991"/>
                    <a:pt x="868376" y="107905"/>
                  </a:cubicBezTo>
                  <a:cubicBezTo>
                    <a:pt x="863578" y="113820"/>
                    <a:pt x="861123" y="121519"/>
                    <a:pt x="861123" y="130892"/>
                  </a:cubicBezTo>
                  <a:lnTo>
                    <a:pt x="861123" y="214249"/>
                  </a:lnTo>
                  <a:lnTo>
                    <a:pt x="813140" y="214249"/>
                  </a:lnTo>
                  <a:lnTo>
                    <a:pt x="813140" y="1451"/>
                  </a:lnTo>
                  <a:close/>
                  <a:moveTo>
                    <a:pt x="1054951" y="219047"/>
                  </a:moveTo>
                  <a:cubicBezTo>
                    <a:pt x="1042788" y="219047"/>
                    <a:pt x="1031741" y="217038"/>
                    <a:pt x="1021809" y="213021"/>
                  </a:cubicBezTo>
                  <a:cubicBezTo>
                    <a:pt x="1011878" y="209004"/>
                    <a:pt x="1003397" y="203425"/>
                    <a:pt x="996256" y="196171"/>
                  </a:cubicBezTo>
                  <a:cubicBezTo>
                    <a:pt x="989226" y="189030"/>
                    <a:pt x="983758" y="180549"/>
                    <a:pt x="979964" y="170841"/>
                  </a:cubicBezTo>
                  <a:cubicBezTo>
                    <a:pt x="976170" y="161133"/>
                    <a:pt x="974161" y="150532"/>
                    <a:pt x="974161" y="139150"/>
                  </a:cubicBezTo>
                  <a:cubicBezTo>
                    <a:pt x="974161" y="127768"/>
                    <a:pt x="976058" y="117167"/>
                    <a:pt x="979964" y="107459"/>
                  </a:cubicBezTo>
                  <a:cubicBezTo>
                    <a:pt x="983758" y="97751"/>
                    <a:pt x="989226" y="89270"/>
                    <a:pt x="996256" y="82129"/>
                  </a:cubicBezTo>
                  <a:cubicBezTo>
                    <a:pt x="1003286" y="74987"/>
                    <a:pt x="1011878" y="69408"/>
                    <a:pt x="1021809" y="65390"/>
                  </a:cubicBezTo>
                  <a:cubicBezTo>
                    <a:pt x="1031741" y="61373"/>
                    <a:pt x="1042788" y="59365"/>
                    <a:pt x="1054951" y="59365"/>
                  </a:cubicBezTo>
                  <a:cubicBezTo>
                    <a:pt x="1067114" y="59365"/>
                    <a:pt x="1078161" y="61373"/>
                    <a:pt x="1088093" y="65390"/>
                  </a:cubicBezTo>
                  <a:cubicBezTo>
                    <a:pt x="1098024" y="69408"/>
                    <a:pt x="1106505" y="74987"/>
                    <a:pt x="1113423" y="82129"/>
                  </a:cubicBezTo>
                  <a:cubicBezTo>
                    <a:pt x="1120341" y="89270"/>
                    <a:pt x="1125809" y="97751"/>
                    <a:pt x="1129603" y="107459"/>
                  </a:cubicBezTo>
                  <a:cubicBezTo>
                    <a:pt x="1133397" y="117167"/>
                    <a:pt x="1135294" y="127768"/>
                    <a:pt x="1135294" y="139150"/>
                  </a:cubicBezTo>
                  <a:cubicBezTo>
                    <a:pt x="1135294" y="150532"/>
                    <a:pt x="1133397" y="161133"/>
                    <a:pt x="1129603" y="170841"/>
                  </a:cubicBezTo>
                  <a:cubicBezTo>
                    <a:pt x="1125809" y="180549"/>
                    <a:pt x="1120341" y="189030"/>
                    <a:pt x="1113423" y="196171"/>
                  </a:cubicBezTo>
                  <a:cubicBezTo>
                    <a:pt x="1106505" y="203313"/>
                    <a:pt x="1098024" y="208892"/>
                    <a:pt x="1088093" y="213021"/>
                  </a:cubicBezTo>
                  <a:cubicBezTo>
                    <a:pt x="1078161" y="217038"/>
                    <a:pt x="1067114" y="219047"/>
                    <a:pt x="1054951" y="219047"/>
                  </a:cubicBezTo>
                  <a:moveTo>
                    <a:pt x="1054616" y="184901"/>
                  </a:moveTo>
                  <a:cubicBezTo>
                    <a:pt x="1065217" y="184901"/>
                    <a:pt x="1073251" y="180772"/>
                    <a:pt x="1078608" y="172403"/>
                  </a:cubicBezTo>
                  <a:cubicBezTo>
                    <a:pt x="1084075" y="164034"/>
                    <a:pt x="1086753" y="152987"/>
                    <a:pt x="1086753" y="139262"/>
                  </a:cubicBezTo>
                  <a:cubicBezTo>
                    <a:pt x="1086753" y="125536"/>
                    <a:pt x="1084075" y="114377"/>
                    <a:pt x="1078608" y="106008"/>
                  </a:cubicBezTo>
                  <a:cubicBezTo>
                    <a:pt x="1073251" y="97528"/>
                    <a:pt x="1065217" y="93287"/>
                    <a:pt x="1054616" y="93287"/>
                  </a:cubicBezTo>
                  <a:cubicBezTo>
                    <a:pt x="1044015" y="93287"/>
                    <a:pt x="1036093" y="97528"/>
                    <a:pt x="1030736" y="106008"/>
                  </a:cubicBezTo>
                  <a:cubicBezTo>
                    <a:pt x="1025492" y="114489"/>
                    <a:pt x="1022814" y="125536"/>
                    <a:pt x="1022814" y="139262"/>
                  </a:cubicBezTo>
                  <a:cubicBezTo>
                    <a:pt x="1022814" y="152987"/>
                    <a:pt x="1025492" y="164034"/>
                    <a:pt x="1030736" y="172403"/>
                  </a:cubicBezTo>
                  <a:cubicBezTo>
                    <a:pt x="1036093" y="180772"/>
                    <a:pt x="1044015" y="184901"/>
                    <a:pt x="1054616" y="184901"/>
                  </a:cubicBezTo>
                  <a:moveTo>
                    <a:pt x="1203474" y="218824"/>
                  </a:moveTo>
                  <a:cubicBezTo>
                    <a:pt x="1185955" y="218824"/>
                    <a:pt x="1172788" y="213691"/>
                    <a:pt x="1163861" y="203313"/>
                  </a:cubicBezTo>
                  <a:cubicBezTo>
                    <a:pt x="1154934" y="193047"/>
                    <a:pt x="1150470" y="179433"/>
                    <a:pt x="1150470" y="162472"/>
                  </a:cubicBezTo>
                  <a:lnTo>
                    <a:pt x="1150470" y="63493"/>
                  </a:lnTo>
                  <a:lnTo>
                    <a:pt x="1198230" y="63493"/>
                  </a:lnTo>
                  <a:lnTo>
                    <a:pt x="1198230" y="152541"/>
                  </a:lnTo>
                  <a:cubicBezTo>
                    <a:pt x="1198230" y="160798"/>
                    <a:pt x="1200127" y="167159"/>
                    <a:pt x="1203809" y="171510"/>
                  </a:cubicBezTo>
                  <a:cubicBezTo>
                    <a:pt x="1207492" y="175974"/>
                    <a:pt x="1213294" y="178094"/>
                    <a:pt x="1220882" y="178094"/>
                  </a:cubicBezTo>
                  <a:cubicBezTo>
                    <a:pt x="1229140" y="178094"/>
                    <a:pt x="1235612" y="175304"/>
                    <a:pt x="1240298" y="169725"/>
                  </a:cubicBezTo>
                  <a:cubicBezTo>
                    <a:pt x="1244985" y="164146"/>
                    <a:pt x="1247328" y="156781"/>
                    <a:pt x="1247328" y="147742"/>
                  </a:cubicBezTo>
                  <a:lnTo>
                    <a:pt x="1247328" y="63493"/>
                  </a:lnTo>
                  <a:lnTo>
                    <a:pt x="1295311" y="63493"/>
                  </a:lnTo>
                  <a:lnTo>
                    <a:pt x="1295311" y="214360"/>
                  </a:lnTo>
                  <a:lnTo>
                    <a:pt x="1249337" y="214360"/>
                  </a:lnTo>
                  <a:lnTo>
                    <a:pt x="1249337" y="195837"/>
                  </a:lnTo>
                  <a:lnTo>
                    <a:pt x="1248444" y="195837"/>
                  </a:lnTo>
                  <a:cubicBezTo>
                    <a:pt x="1242976" y="203313"/>
                    <a:pt x="1236727" y="209004"/>
                    <a:pt x="1229698" y="212910"/>
                  </a:cubicBezTo>
                  <a:cubicBezTo>
                    <a:pt x="1222779" y="216815"/>
                    <a:pt x="1213964" y="218824"/>
                    <a:pt x="1203363" y="218824"/>
                  </a:cubicBezTo>
                  <a:moveTo>
                    <a:pt x="1385474" y="219158"/>
                  </a:moveTo>
                  <a:cubicBezTo>
                    <a:pt x="1363268" y="219158"/>
                    <a:pt x="1345749" y="214360"/>
                    <a:pt x="1332693" y="204875"/>
                  </a:cubicBezTo>
                  <a:cubicBezTo>
                    <a:pt x="1319749" y="195390"/>
                    <a:pt x="1312830" y="182223"/>
                    <a:pt x="1312049" y="165485"/>
                  </a:cubicBezTo>
                  <a:lnTo>
                    <a:pt x="1357466" y="165485"/>
                  </a:lnTo>
                  <a:cubicBezTo>
                    <a:pt x="1358470" y="172961"/>
                    <a:pt x="1361259" y="178540"/>
                    <a:pt x="1366058" y="182334"/>
                  </a:cubicBezTo>
                  <a:cubicBezTo>
                    <a:pt x="1370744" y="186017"/>
                    <a:pt x="1377105" y="187914"/>
                    <a:pt x="1385251" y="187914"/>
                  </a:cubicBezTo>
                  <a:cubicBezTo>
                    <a:pt x="1392504" y="187914"/>
                    <a:pt x="1398307" y="186686"/>
                    <a:pt x="1402435" y="184120"/>
                  </a:cubicBezTo>
                  <a:cubicBezTo>
                    <a:pt x="1406676" y="181553"/>
                    <a:pt x="1408796" y="177871"/>
                    <a:pt x="1408796" y="172961"/>
                  </a:cubicBezTo>
                  <a:cubicBezTo>
                    <a:pt x="1408796" y="169613"/>
                    <a:pt x="1407680" y="166935"/>
                    <a:pt x="1405560" y="164815"/>
                  </a:cubicBezTo>
                  <a:cubicBezTo>
                    <a:pt x="1403440" y="162807"/>
                    <a:pt x="1400538" y="161133"/>
                    <a:pt x="1396968" y="159794"/>
                  </a:cubicBezTo>
                  <a:cubicBezTo>
                    <a:pt x="1393397" y="158566"/>
                    <a:pt x="1389380" y="157562"/>
                    <a:pt x="1384693" y="156892"/>
                  </a:cubicBezTo>
                  <a:cubicBezTo>
                    <a:pt x="1380118" y="156223"/>
                    <a:pt x="1375319" y="155330"/>
                    <a:pt x="1370410" y="154438"/>
                  </a:cubicBezTo>
                  <a:cubicBezTo>
                    <a:pt x="1363938" y="153210"/>
                    <a:pt x="1357466" y="151871"/>
                    <a:pt x="1350993" y="150197"/>
                  </a:cubicBezTo>
                  <a:cubicBezTo>
                    <a:pt x="1344521" y="148523"/>
                    <a:pt x="1338719" y="146068"/>
                    <a:pt x="1333474" y="142721"/>
                  </a:cubicBezTo>
                  <a:cubicBezTo>
                    <a:pt x="1328229" y="139373"/>
                    <a:pt x="1324101" y="134910"/>
                    <a:pt x="1320976" y="129330"/>
                  </a:cubicBezTo>
                  <a:cubicBezTo>
                    <a:pt x="1317852" y="123751"/>
                    <a:pt x="1316290" y="116498"/>
                    <a:pt x="1316290" y="107682"/>
                  </a:cubicBezTo>
                  <a:cubicBezTo>
                    <a:pt x="1316290" y="99871"/>
                    <a:pt x="1317963" y="92841"/>
                    <a:pt x="1321423" y="86704"/>
                  </a:cubicBezTo>
                  <a:cubicBezTo>
                    <a:pt x="1324882" y="80678"/>
                    <a:pt x="1329569" y="75545"/>
                    <a:pt x="1335483" y="71528"/>
                  </a:cubicBezTo>
                  <a:cubicBezTo>
                    <a:pt x="1341397" y="67511"/>
                    <a:pt x="1348315" y="64498"/>
                    <a:pt x="1356238" y="62378"/>
                  </a:cubicBezTo>
                  <a:cubicBezTo>
                    <a:pt x="1364161" y="60369"/>
                    <a:pt x="1372641" y="59253"/>
                    <a:pt x="1381457" y="59253"/>
                  </a:cubicBezTo>
                  <a:cubicBezTo>
                    <a:pt x="1402882" y="59253"/>
                    <a:pt x="1419285" y="63605"/>
                    <a:pt x="1430667" y="72197"/>
                  </a:cubicBezTo>
                  <a:cubicBezTo>
                    <a:pt x="1442049" y="80790"/>
                    <a:pt x="1448298" y="92618"/>
                    <a:pt x="1449525" y="107571"/>
                  </a:cubicBezTo>
                  <a:lnTo>
                    <a:pt x="1405337" y="107571"/>
                  </a:lnTo>
                  <a:cubicBezTo>
                    <a:pt x="1404332" y="100652"/>
                    <a:pt x="1401766" y="96077"/>
                    <a:pt x="1397525" y="93622"/>
                  </a:cubicBezTo>
                  <a:cubicBezTo>
                    <a:pt x="1393285" y="91167"/>
                    <a:pt x="1387817" y="89940"/>
                    <a:pt x="1381122" y="89940"/>
                  </a:cubicBezTo>
                  <a:cubicBezTo>
                    <a:pt x="1375208" y="89940"/>
                    <a:pt x="1370298" y="91056"/>
                    <a:pt x="1366281" y="93287"/>
                  </a:cubicBezTo>
                  <a:cubicBezTo>
                    <a:pt x="1362264" y="95519"/>
                    <a:pt x="1360255" y="98978"/>
                    <a:pt x="1360255" y="103777"/>
                  </a:cubicBezTo>
                  <a:cubicBezTo>
                    <a:pt x="1360255" y="106566"/>
                    <a:pt x="1361259" y="108687"/>
                    <a:pt x="1363156" y="110249"/>
                  </a:cubicBezTo>
                  <a:cubicBezTo>
                    <a:pt x="1365165" y="111811"/>
                    <a:pt x="1367732" y="113150"/>
                    <a:pt x="1371079" y="114266"/>
                  </a:cubicBezTo>
                  <a:cubicBezTo>
                    <a:pt x="1374427" y="115382"/>
                    <a:pt x="1378332" y="116274"/>
                    <a:pt x="1382684" y="117056"/>
                  </a:cubicBezTo>
                  <a:cubicBezTo>
                    <a:pt x="1387148" y="117837"/>
                    <a:pt x="1391723" y="118618"/>
                    <a:pt x="1396410" y="119399"/>
                  </a:cubicBezTo>
                  <a:cubicBezTo>
                    <a:pt x="1403105" y="120515"/>
                    <a:pt x="1409800" y="121965"/>
                    <a:pt x="1416607" y="123639"/>
                  </a:cubicBezTo>
                  <a:cubicBezTo>
                    <a:pt x="1423414" y="125313"/>
                    <a:pt x="1429551" y="127880"/>
                    <a:pt x="1435131" y="131450"/>
                  </a:cubicBezTo>
                  <a:cubicBezTo>
                    <a:pt x="1440710" y="135021"/>
                    <a:pt x="1445285" y="139708"/>
                    <a:pt x="1448856" y="145734"/>
                  </a:cubicBezTo>
                  <a:cubicBezTo>
                    <a:pt x="1452427" y="151759"/>
                    <a:pt x="1454212" y="159571"/>
                    <a:pt x="1454212" y="169167"/>
                  </a:cubicBezTo>
                  <a:cubicBezTo>
                    <a:pt x="1454212" y="177425"/>
                    <a:pt x="1452427" y="184678"/>
                    <a:pt x="1449079" y="190927"/>
                  </a:cubicBezTo>
                  <a:cubicBezTo>
                    <a:pt x="1445620" y="197176"/>
                    <a:pt x="1440822" y="202420"/>
                    <a:pt x="1434796" y="206549"/>
                  </a:cubicBezTo>
                  <a:cubicBezTo>
                    <a:pt x="1428658" y="210678"/>
                    <a:pt x="1421405" y="213802"/>
                    <a:pt x="1413036" y="216034"/>
                  </a:cubicBezTo>
                  <a:cubicBezTo>
                    <a:pt x="1404556" y="218154"/>
                    <a:pt x="1395405" y="219270"/>
                    <a:pt x="1385586" y="219270"/>
                  </a:cubicBezTo>
                  <a:moveTo>
                    <a:pt x="1547946" y="218935"/>
                  </a:moveTo>
                  <a:cubicBezTo>
                    <a:pt x="1535560" y="218935"/>
                    <a:pt x="1524401" y="216927"/>
                    <a:pt x="1514358" y="212910"/>
                  </a:cubicBezTo>
                  <a:cubicBezTo>
                    <a:pt x="1504315" y="208892"/>
                    <a:pt x="1495946" y="203313"/>
                    <a:pt x="1489027" y="196060"/>
                  </a:cubicBezTo>
                  <a:cubicBezTo>
                    <a:pt x="1482109" y="188918"/>
                    <a:pt x="1476864" y="180437"/>
                    <a:pt x="1473070" y="170618"/>
                  </a:cubicBezTo>
                  <a:cubicBezTo>
                    <a:pt x="1469388" y="160798"/>
                    <a:pt x="1467491" y="150197"/>
                    <a:pt x="1467491" y="138815"/>
                  </a:cubicBezTo>
                  <a:cubicBezTo>
                    <a:pt x="1467491" y="127433"/>
                    <a:pt x="1469388" y="117167"/>
                    <a:pt x="1473070" y="107459"/>
                  </a:cubicBezTo>
                  <a:cubicBezTo>
                    <a:pt x="1476753" y="97751"/>
                    <a:pt x="1482109" y="89270"/>
                    <a:pt x="1489027" y="82129"/>
                  </a:cubicBezTo>
                  <a:cubicBezTo>
                    <a:pt x="1495946" y="74987"/>
                    <a:pt x="1504092" y="69408"/>
                    <a:pt x="1513465" y="65390"/>
                  </a:cubicBezTo>
                  <a:cubicBezTo>
                    <a:pt x="1522950" y="61373"/>
                    <a:pt x="1533439" y="59365"/>
                    <a:pt x="1545045" y="59365"/>
                  </a:cubicBezTo>
                  <a:cubicBezTo>
                    <a:pt x="1555869" y="59365"/>
                    <a:pt x="1565465" y="61039"/>
                    <a:pt x="1574057" y="64386"/>
                  </a:cubicBezTo>
                  <a:cubicBezTo>
                    <a:pt x="1582650" y="67734"/>
                    <a:pt x="1590126" y="72309"/>
                    <a:pt x="1596598" y="78223"/>
                  </a:cubicBezTo>
                  <a:cubicBezTo>
                    <a:pt x="1605637" y="86481"/>
                    <a:pt x="1612332" y="96970"/>
                    <a:pt x="1616795" y="109579"/>
                  </a:cubicBezTo>
                  <a:cubicBezTo>
                    <a:pt x="1621259" y="122300"/>
                    <a:pt x="1623379" y="136249"/>
                    <a:pt x="1623156" y="151536"/>
                  </a:cubicBezTo>
                  <a:lnTo>
                    <a:pt x="1514693" y="151536"/>
                  </a:lnTo>
                  <a:cubicBezTo>
                    <a:pt x="1516255" y="161802"/>
                    <a:pt x="1519826" y="169837"/>
                    <a:pt x="1525293" y="175751"/>
                  </a:cubicBezTo>
                  <a:cubicBezTo>
                    <a:pt x="1530761" y="181665"/>
                    <a:pt x="1538572" y="184566"/>
                    <a:pt x="1548615" y="184566"/>
                  </a:cubicBezTo>
                  <a:cubicBezTo>
                    <a:pt x="1554864" y="184566"/>
                    <a:pt x="1560109" y="183227"/>
                    <a:pt x="1564238" y="180549"/>
                  </a:cubicBezTo>
                  <a:cubicBezTo>
                    <a:pt x="1568366" y="177871"/>
                    <a:pt x="1571491" y="174189"/>
                    <a:pt x="1573723" y="169502"/>
                  </a:cubicBezTo>
                  <a:lnTo>
                    <a:pt x="1620590" y="169502"/>
                  </a:lnTo>
                  <a:cubicBezTo>
                    <a:pt x="1619027" y="176420"/>
                    <a:pt x="1616126" y="182892"/>
                    <a:pt x="1611774" y="189141"/>
                  </a:cubicBezTo>
                  <a:cubicBezTo>
                    <a:pt x="1607422" y="195390"/>
                    <a:pt x="1601954" y="200635"/>
                    <a:pt x="1595259" y="205210"/>
                  </a:cubicBezTo>
                  <a:cubicBezTo>
                    <a:pt x="1589010" y="209785"/>
                    <a:pt x="1581980" y="213133"/>
                    <a:pt x="1574169" y="215476"/>
                  </a:cubicBezTo>
                  <a:cubicBezTo>
                    <a:pt x="1566358" y="217819"/>
                    <a:pt x="1557654" y="219047"/>
                    <a:pt x="1548057" y="219047"/>
                  </a:cubicBezTo>
                  <a:moveTo>
                    <a:pt x="1574615" y="122970"/>
                  </a:moveTo>
                  <a:cubicBezTo>
                    <a:pt x="1573611" y="113931"/>
                    <a:pt x="1570598" y="106790"/>
                    <a:pt x="1565465" y="101433"/>
                  </a:cubicBezTo>
                  <a:cubicBezTo>
                    <a:pt x="1560332" y="96189"/>
                    <a:pt x="1553860" y="93511"/>
                    <a:pt x="1546049" y="93511"/>
                  </a:cubicBezTo>
                  <a:cubicBezTo>
                    <a:pt x="1536787" y="93511"/>
                    <a:pt x="1529757" y="96189"/>
                    <a:pt x="1524847" y="101433"/>
                  </a:cubicBezTo>
                  <a:cubicBezTo>
                    <a:pt x="1519937" y="106790"/>
                    <a:pt x="1516701" y="113931"/>
                    <a:pt x="1515139" y="122970"/>
                  </a:cubicBezTo>
                  <a:lnTo>
                    <a:pt x="1574615" y="122970"/>
                  </a:lnTo>
                  <a:close/>
                </a:path>
              </a:pathLst>
            </a:custGeom>
            <a:solidFill>
              <a:srgbClr val="000000"/>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B8BE45A8-7D4A-2619-F500-657F89EDC4C3}"/>
                </a:ext>
              </a:extLst>
            </p:cNvPr>
            <p:cNvSpPr/>
            <p:nvPr/>
          </p:nvSpPr>
          <p:spPr>
            <a:xfrm>
              <a:off x="828067" y="1270996"/>
              <a:ext cx="211570" cy="522565"/>
            </a:xfrm>
            <a:custGeom>
              <a:avLst/>
              <a:gdLst>
                <a:gd name="connsiteX0" fmla="*/ 0 w 211570"/>
                <a:gd name="connsiteY0" fmla="*/ 0 h 522565"/>
                <a:gd name="connsiteX1" fmla="*/ 0 w 211570"/>
                <a:gd name="connsiteY1" fmla="*/ 368909 h 522565"/>
                <a:gd name="connsiteX2" fmla="*/ 211013 w 211570"/>
                <a:gd name="connsiteY2" fmla="*/ 522566 h 522565"/>
                <a:gd name="connsiteX3" fmla="*/ 211570 w 211570"/>
                <a:gd name="connsiteY3" fmla="*/ 522008 h 522565"/>
                <a:gd name="connsiteX4" fmla="*/ 0 w 211570"/>
                <a:gd name="connsiteY4" fmla="*/ 0 h 522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570" h="522565">
                  <a:moveTo>
                    <a:pt x="0" y="0"/>
                  </a:moveTo>
                  <a:lnTo>
                    <a:pt x="0" y="368909"/>
                  </a:lnTo>
                  <a:lnTo>
                    <a:pt x="211013" y="522566"/>
                  </a:lnTo>
                  <a:cubicBezTo>
                    <a:pt x="211013" y="522566"/>
                    <a:pt x="211459" y="522119"/>
                    <a:pt x="211570" y="522008"/>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BCAA6B34-39D1-54FF-1A5D-0509D410AD3D}"/>
                </a:ext>
              </a:extLst>
            </p:cNvPr>
            <p:cNvSpPr/>
            <p:nvPr/>
          </p:nvSpPr>
          <p:spPr>
            <a:xfrm>
              <a:off x="616497" y="1270996"/>
              <a:ext cx="211570" cy="522454"/>
            </a:xfrm>
            <a:custGeom>
              <a:avLst/>
              <a:gdLst>
                <a:gd name="connsiteX0" fmla="*/ 0 w 211570"/>
                <a:gd name="connsiteY0" fmla="*/ 521896 h 522454"/>
                <a:gd name="connsiteX1" fmla="*/ 558 w 211570"/>
                <a:gd name="connsiteY1" fmla="*/ 522454 h 522454"/>
                <a:gd name="connsiteX2" fmla="*/ 211570 w 211570"/>
                <a:gd name="connsiteY2" fmla="*/ 368798 h 522454"/>
                <a:gd name="connsiteX3" fmla="*/ 211570 w 211570"/>
                <a:gd name="connsiteY3" fmla="*/ 0 h 522454"/>
                <a:gd name="connsiteX4" fmla="*/ 0 w 211570"/>
                <a:gd name="connsiteY4" fmla="*/ 521896 h 522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570" h="522454">
                  <a:moveTo>
                    <a:pt x="0" y="521896"/>
                  </a:moveTo>
                  <a:cubicBezTo>
                    <a:pt x="0" y="521896"/>
                    <a:pt x="446" y="522343"/>
                    <a:pt x="558" y="522454"/>
                  </a:cubicBezTo>
                  <a:lnTo>
                    <a:pt x="211570" y="368798"/>
                  </a:lnTo>
                  <a:lnTo>
                    <a:pt x="211570" y="0"/>
                  </a:lnTo>
                  <a:lnTo>
                    <a:pt x="0" y="521896"/>
                  </a:lnTo>
                  <a:close/>
                </a:path>
              </a:pathLst>
            </a:custGeom>
            <a:solidFill>
              <a:srgbClr val="000000"/>
            </a:solidFill>
            <a:ln w="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1413007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1_Image + Content A">
    <p:bg>
      <p:bgPr>
        <a:solidFill>
          <a:srgbClr val="F3F3F3"/>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999FA53E-003A-F4D8-E720-3A0FA7F3B9C0}"/>
              </a:ext>
            </a:extLst>
          </p:cNvPr>
          <p:cNvGrpSpPr/>
          <p:nvPr userDrawn="1"/>
        </p:nvGrpSpPr>
        <p:grpSpPr>
          <a:xfrm>
            <a:off x="5981701" y="426998"/>
            <a:ext cx="6210300" cy="6004005"/>
            <a:chOff x="0" y="426998"/>
            <a:chExt cx="4064000" cy="6004005"/>
          </a:xfrm>
        </p:grpSpPr>
        <p:cxnSp>
          <p:nvCxnSpPr>
            <p:cNvPr id="15" name="Straight Connector 14">
              <a:extLst>
                <a:ext uri="{FF2B5EF4-FFF2-40B4-BE49-F238E27FC236}">
                  <a16:creationId xmlns:a16="http://schemas.microsoft.com/office/drawing/2014/main" id="{D4DC1E47-BF2C-9C0E-A6C0-BEACA87A44F3}"/>
                </a:ext>
              </a:extLst>
            </p:cNvPr>
            <p:cNvCxnSpPr>
              <a:cxnSpLocks/>
            </p:cNvCxnSpPr>
            <p:nvPr userDrawn="1"/>
          </p:nvCxnSpPr>
          <p:spPr>
            <a:xfrm>
              <a:off x="0" y="426998"/>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28009A-09CD-0E80-19F4-3753A7B6DA78}"/>
                </a:ext>
              </a:extLst>
            </p:cNvPr>
            <p:cNvCxnSpPr>
              <a:cxnSpLocks/>
            </p:cNvCxnSpPr>
            <p:nvPr userDrawn="1"/>
          </p:nvCxnSpPr>
          <p:spPr>
            <a:xfrm>
              <a:off x="0" y="6431003"/>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420A254F-BDD5-C9AF-1DD7-05ACB129B577}"/>
              </a:ext>
            </a:extLst>
          </p:cNvPr>
          <p:cNvSpPr/>
          <p:nvPr/>
        </p:nvSpPr>
        <p:spPr>
          <a:xfrm>
            <a:off x="-1" y="0"/>
            <a:ext cx="6096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6141C210-892D-24A5-E574-B59C507782C4}"/>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705603" y="4010928"/>
            <a:ext cx="4876799" cy="1231106"/>
          </a:xfrm>
        </p:spPr>
        <p:txBody>
          <a:bodyPr>
            <a:noAutofit/>
          </a:bodyPr>
          <a:lstStyle>
            <a:lvl1pPr>
              <a:defRPr sz="2000">
                <a:solidFill>
                  <a:schemeClr val="tx2"/>
                </a:solidFill>
              </a:defRPr>
            </a:lvl1pPr>
            <a:lvl2pPr marL="0" indent="0">
              <a:buNone/>
              <a:defRPr/>
            </a:lvl2pPr>
          </a:lstStyle>
          <a:p>
            <a:pPr lvl="0"/>
            <a:r>
              <a:rPr lang="en-US"/>
              <a:t>Click to edit Master text styles</a:t>
            </a:r>
          </a:p>
        </p:txBody>
      </p:sp>
      <p:sp>
        <p:nvSpPr>
          <p:cNvPr id="43" name="Text Placeholder 7">
            <a:extLst>
              <a:ext uri="{FF2B5EF4-FFF2-40B4-BE49-F238E27FC236}">
                <a16:creationId xmlns:a16="http://schemas.microsoft.com/office/drawing/2014/main" id="{42D5A6F2-908D-2D67-A69F-7F8AC3E161A6}"/>
              </a:ext>
            </a:extLst>
          </p:cNvPr>
          <p:cNvSpPr>
            <a:spLocks noGrp="1"/>
          </p:cNvSpPr>
          <p:nvPr>
            <p:ph type="body" sz="quarter" idx="28" hasCustomPrompt="1"/>
          </p:nvPr>
        </p:nvSpPr>
        <p:spPr>
          <a:xfrm>
            <a:off x="6705602" y="1600200"/>
            <a:ext cx="4876799" cy="215444"/>
          </a:xfrm>
        </p:spPr>
        <p:txBody>
          <a:bodyPr wrap="square" anchor="ctr">
            <a:noAutofit/>
          </a:bodyPr>
          <a:lstStyle>
            <a:lvl1pPr>
              <a:spcAft>
                <a:spcPts val="0"/>
              </a:spcAft>
              <a:defRPr lang="en-US" sz="1400" b="1" kern="1200" cap="all" spc="300" baseline="0" dirty="0">
                <a:solidFill>
                  <a:schemeClr val="tx2"/>
                </a:solidFill>
                <a:latin typeface="+mj-lt"/>
                <a:ea typeface="+mn-ea"/>
                <a:cs typeface="+mn-cs"/>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Optional Eyebrow</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hasCustomPrompt="1"/>
          </p:nvPr>
        </p:nvSpPr>
        <p:spPr>
          <a:xfrm>
            <a:off x="6705603" y="2024185"/>
            <a:ext cx="4876799" cy="1354217"/>
          </a:xfrm>
        </p:spPr>
        <p:txBody>
          <a:bodyPr anchor="b">
            <a:noAutofit/>
          </a:bodyPr>
          <a:lstStyle>
            <a:lvl1pPr>
              <a:defRPr sz="4400"/>
            </a:lvl1pPr>
          </a:lstStyle>
          <a:p>
            <a:pPr lvl="0"/>
            <a:r>
              <a:rPr lang="en-US"/>
              <a:t>Click to edit </a:t>
            </a:r>
            <a:br>
              <a:rPr lang="en-US"/>
            </a:br>
            <a:r>
              <a:rPr lang="en-US"/>
              <a:t>Master text styles</a:t>
            </a:r>
          </a:p>
        </p:txBody>
      </p:sp>
      <p:sp>
        <p:nvSpPr>
          <p:cNvPr id="5" name="Chart Placeholder 2">
            <a:extLst>
              <a:ext uri="{FF2B5EF4-FFF2-40B4-BE49-F238E27FC236}">
                <a16:creationId xmlns:a16="http://schemas.microsoft.com/office/drawing/2014/main" id="{6F3345E8-85EF-AE93-A578-743D05885994}"/>
              </a:ext>
            </a:extLst>
          </p:cNvPr>
          <p:cNvSpPr>
            <a:spLocks noGrp="1"/>
          </p:cNvSpPr>
          <p:nvPr>
            <p:ph type="chart" sz="quarter" idx="31"/>
          </p:nvPr>
        </p:nvSpPr>
        <p:spPr>
          <a:xfrm>
            <a:off x="609600" y="668338"/>
            <a:ext cx="4876798" cy="5503862"/>
          </a:xfrm>
        </p:spPr>
        <p:txBody>
          <a:bodyPr/>
          <a:lstStyle/>
          <a:p>
            <a:r>
              <a:rPr lang="en-US"/>
              <a:t>Click icon to add chart</a:t>
            </a:r>
          </a:p>
        </p:txBody>
      </p:sp>
      <p:sp>
        <p:nvSpPr>
          <p:cNvPr id="2" name="Date Placeholder 4">
            <a:extLst>
              <a:ext uri="{FF2B5EF4-FFF2-40B4-BE49-F238E27FC236}">
                <a16:creationId xmlns:a16="http://schemas.microsoft.com/office/drawing/2014/main" id="{39483F8E-539E-6FDB-EFDE-8AE61624AEE0}"/>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C681CFC5-FDB9-4659-93ED-9C31C6C21403}" type="datetime4">
              <a:rPr lang="en-US" smtClean="0"/>
              <a:t>May 17, 2025</a:t>
            </a:fld>
            <a:endParaRPr lang="en-US"/>
          </a:p>
        </p:txBody>
      </p:sp>
      <p:sp>
        <p:nvSpPr>
          <p:cNvPr id="3" name="Footer Placeholder 13">
            <a:extLst>
              <a:ext uri="{FF2B5EF4-FFF2-40B4-BE49-F238E27FC236}">
                <a16:creationId xmlns:a16="http://schemas.microsoft.com/office/drawing/2014/main" id="{2A9426C7-2F9A-A497-B558-05C626DD8682}"/>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a:t>© 2024 Guidehouse</a:t>
            </a:r>
          </a:p>
        </p:txBody>
      </p:sp>
      <p:sp>
        <p:nvSpPr>
          <p:cNvPr id="7" name="Text Placeholder 7">
            <a:extLst>
              <a:ext uri="{FF2B5EF4-FFF2-40B4-BE49-F238E27FC236}">
                <a16:creationId xmlns:a16="http://schemas.microsoft.com/office/drawing/2014/main" id="{7D9D1A8E-FFEA-17D7-1469-A803D5DBAB5A}"/>
              </a:ext>
            </a:extLst>
          </p:cNvPr>
          <p:cNvSpPr>
            <a:spLocks noGrp="1"/>
          </p:cNvSpPr>
          <p:nvPr>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Tree>
    <p:extLst>
      <p:ext uri="{BB962C8B-B14F-4D97-AF65-F5344CB8AC3E}">
        <p14:creationId xmlns:p14="http://schemas.microsoft.com/office/powerpoint/2010/main" val="63422155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Image + Content B">
    <p:bg>
      <p:bgPr>
        <a:solidFill>
          <a:schemeClr val="tx2"/>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141C210-892D-24A5-E574-B59C507782C4}"/>
              </a:ext>
            </a:extLst>
          </p:cNvPr>
          <p:cNvSpPr>
            <a:spLocks noGrp="1"/>
          </p:cNvSpPr>
          <p:nvPr>
            <p:ph type="sldNum" sz="quarter" idx="11"/>
          </p:nvPr>
        </p:nvSpPr>
        <p:spPr>
          <a:xfrm>
            <a:off x="11248008" y="6567465"/>
            <a:ext cx="334392" cy="153888"/>
          </a:xfrm>
          <a:prstGeom prst="rect">
            <a:avLst/>
          </a:prstGeom>
        </p:spPr>
        <p:txBody>
          <a:bodyPr>
            <a:noAutofit/>
          </a:bodyPr>
          <a:lstStyle/>
          <a:p>
            <a:fld id="{FD814145-5B10-4F3F-A6BF-3641B91211CF}" type="slidenum">
              <a:rPr lang="en-US" smtClean="0"/>
              <a:pPr/>
              <a:t>‹#›</a:t>
            </a:fld>
            <a:endParaRPr lang="en-US"/>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161514" y="4010928"/>
            <a:ext cx="5420886" cy="1231106"/>
          </a:xfrm>
        </p:spPr>
        <p:txBody>
          <a:bodyPr>
            <a:noAutofit/>
          </a:bodyPr>
          <a:lstStyle>
            <a:lvl1pPr>
              <a:defRPr sz="2000">
                <a:solidFill>
                  <a:schemeClr val="bg1"/>
                </a:solidFill>
              </a:defRPr>
            </a:lvl1pPr>
            <a:lvl2pPr marL="0" indent="0">
              <a:buNone/>
              <a:defRPr/>
            </a:lvl2pPr>
          </a:lstStyle>
          <a:p>
            <a:pPr lvl="0"/>
            <a:r>
              <a:rPr lang="en-US"/>
              <a:t>Click to edit Master text styles</a:t>
            </a:r>
          </a:p>
        </p:txBody>
      </p:sp>
      <p:sp>
        <p:nvSpPr>
          <p:cNvPr id="43" name="Text Placeholder 7">
            <a:extLst>
              <a:ext uri="{FF2B5EF4-FFF2-40B4-BE49-F238E27FC236}">
                <a16:creationId xmlns:a16="http://schemas.microsoft.com/office/drawing/2014/main" id="{42D5A6F2-908D-2D67-A69F-7F8AC3E161A6}"/>
              </a:ext>
            </a:extLst>
          </p:cNvPr>
          <p:cNvSpPr>
            <a:spLocks noGrp="1"/>
          </p:cNvSpPr>
          <p:nvPr>
            <p:ph type="body" sz="quarter" idx="28" hasCustomPrompt="1"/>
          </p:nvPr>
        </p:nvSpPr>
        <p:spPr>
          <a:xfrm>
            <a:off x="6161513" y="1600200"/>
            <a:ext cx="5420886" cy="215444"/>
          </a:xfrm>
        </p:spPr>
        <p:txBody>
          <a:bodyPr wrap="square" anchor="ctr">
            <a:noAutofit/>
          </a:bodyPr>
          <a:lstStyle>
            <a:lvl1pPr>
              <a:spcAft>
                <a:spcPts val="0"/>
              </a:spcAft>
              <a:defRPr lang="en-US" sz="1400" b="1" kern="1200" cap="all" spc="300" baseline="0" dirty="0">
                <a:solidFill>
                  <a:schemeClr val="bg1"/>
                </a:solidFill>
                <a:latin typeface="+mj-lt"/>
                <a:ea typeface="+mn-ea"/>
                <a:cs typeface="+mn-cs"/>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Optional Eyebrow</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hasCustomPrompt="1"/>
          </p:nvPr>
        </p:nvSpPr>
        <p:spPr>
          <a:xfrm>
            <a:off x="6161514" y="2024185"/>
            <a:ext cx="5420886" cy="1354217"/>
          </a:xfrm>
        </p:spPr>
        <p:txBody>
          <a:bodyPr anchor="b">
            <a:noAutofit/>
          </a:bodyPr>
          <a:lstStyle>
            <a:lvl1pPr>
              <a:defRPr sz="4400">
                <a:solidFill>
                  <a:schemeClr val="bg1"/>
                </a:solidFill>
              </a:defRPr>
            </a:lvl1pPr>
          </a:lstStyle>
          <a:p>
            <a:pPr lvl="0"/>
            <a:r>
              <a:rPr lang="en-US"/>
              <a:t>Click to edit </a:t>
            </a:r>
            <a:br>
              <a:rPr lang="en-US"/>
            </a:br>
            <a:r>
              <a:rPr lang="en-US"/>
              <a:t>Master text styles</a:t>
            </a:r>
          </a:p>
        </p:txBody>
      </p:sp>
      <p:sp>
        <p:nvSpPr>
          <p:cNvPr id="2" name="Date Placeholder 4">
            <a:extLst>
              <a:ext uri="{FF2B5EF4-FFF2-40B4-BE49-F238E27FC236}">
                <a16:creationId xmlns:a16="http://schemas.microsoft.com/office/drawing/2014/main" id="{709E5C72-0B80-7784-B781-1ACADFF2CB13}"/>
              </a:ext>
            </a:extLst>
          </p:cNvPr>
          <p:cNvSpPr>
            <a:spLocks noGrp="1"/>
          </p:cNvSpPr>
          <p:nvPr>
            <p:ph type="dt" sz="half" idx="12"/>
          </p:nvPr>
        </p:nvSpPr>
        <p:spPr>
          <a:xfrm>
            <a:off x="10236555" y="136647"/>
            <a:ext cx="1345845" cy="153888"/>
          </a:xfrm>
        </p:spPr>
        <p:txBody>
          <a:bodyPr>
            <a:noAutofit/>
          </a:bodyPr>
          <a:lstStyle>
            <a:lvl1pPr>
              <a:defRPr>
                <a:solidFill>
                  <a:schemeClr val="bg1">
                    <a:lumMod val="65000"/>
                  </a:schemeClr>
                </a:solidFill>
              </a:defRPr>
            </a:lvl1pPr>
          </a:lstStyle>
          <a:p>
            <a:fld id="{EE8A1F5C-7366-40D3-992E-5B5A9A4B1C8D}" type="datetime4">
              <a:rPr lang="en-US" smtClean="0"/>
              <a:t>May 17, 2025</a:t>
            </a:fld>
            <a:endParaRPr lang="en-US"/>
          </a:p>
        </p:txBody>
      </p:sp>
      <p:pic>
        <p:nvPicPr>
          <p:cNvPr id="3" name="Picture 2" descr="A group of green and white circles&#10;&#10;Description automatically generated">
            <a:extLst>
              <a:ext uri="{FF2B5EF4-FFF2-40B4-BE49-F238E27FC236}">
                <a16:creationId xmlns:a16="http://schemas.microsoft.com/office/drawing/2014/main" id="{40A018C1-AD88-652E-E110-D0480FCEA323}"/>
              </a:ext>
            </a:extLst>
          </p:cNvPr>
          <p:cNvPicPr/>
          <p:nvPr userDrawn="1"/>
        </p:nvPicPr>
        <p:blipFill>
          <a:blip r:embed="rId2">
            <a:extLst>
              <a:ext uri="{28A0092B-C50C-407E-A947-70E740481C1C}">
                <a14:useLocalDpi xmlns:a14="http://schemas.microsoft.com/office/drawing/2010/main" val="0"/>
              </a:ext>
            </a:extLst>
          </a:blip>
          <a:srcRect l="26311" t="10281" r="15111" b="10381"/>
          <a:stretch/>
        </p:blipFill>
        <p:spPr>
          <a:xfrm>
            <a:off x="10161" y="-8669"/>
            <a:ext cx="5069840" cy="6866669"/>
          </a:xfrm>
          <a:prstGeom prst="rect">
            <a:avLst/>
          </a:prstGeom>
        </p:spPr>
      </p:pic>
    </p:spTree>
    <p:extLst>
      <p:ext uri="{BB962C8B-B14F-4D97-AF65-F5344CB8AC3E}">
        <p14:creationId xmlns:p14="http://schemas.microsoft.com/office/powerpoint/2010/main" val="58661412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Numbered List">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556BBD-E905-984B-4075-604E21C91A06}"/>
              </a:ext>
            </a:extLst>
          </p:cNvPr>
          <p:cNvSpPr>
            <a:spLocks noGrp="1"/>
          </p:cNvSpPr>
          <p:nvPr>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21" name="Text Placeholder 3">
            <a:extLst>
              <a:ext uri="{FF2B5EF4-FFF2-40B4-BE49-F238E27FC236}">
                <a16:creationId xmlns:a16="http://schemas.microsoft.com/office/drawing/2014/main" id="{71143EDC-4B43-463B-C8D7-7625E5355C55}"/>
              </a:ext>
            </a:extLst>
          </p:cNvPr>
          <p:cNvSpPr>
            <a:spLocks noGrp="1"/>
          </p:cNvSpPr>
          <p:nvPr>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
        <p:nvSpPr>
          <p:cNvPr id="22" name="Text Placeholder 35">
            <a:extLst>
              <a:ext uri="{FF2B5EF4-FFF2-40B4-BE49-F238E27FC236}">
                <a16:creationId xmlns:a16="http://schemas.microsoft.com/office/drawing/2014/main" id="{6411CE3E-CF5E-1A4F-C684-DD36FC30311C}"/>
              </a:ext>
            </a:extLst>
          </p:cNvPr>
          <p:cNvSpPr>
            <a:spLocks noGrp="1"/>
          </p:cNvSpPr>
          <p:nvPr>
            <p:ph type="body" sz="quarter" idx="15" hasCustomPrompt="1"/>
          </p:nvPr>
        </p:nvSpPr>
        <p:spPr>
          <a:xfrm>
            <a:off x="609599" y="2476503"/>
            <a:ext cx="2843783" cy="292608"/>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8" name="Slide Number Placeholder 3">
            <a:extLst>
              <a:ext uri="{FF2B5EF4-FFF2-40B4-BE49-F238E27FC236}">
                <a16:creationId xmlns:a16="http://schemas.microsoft.com/office/drawing/2014/main" id="{D3E9CE75-DDC1-172A-CEDF-9BDA4CC23FC1}"/>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9" name="Footer Placeholder 13">
            <a:extLst>
              <a:ext uri="{FF2B5EF4-FFF2-40B4-BE49-F238E27FC236}">
                <a16:creationId xmlns:a16="http://schemas.microsoft.com/office/drawing/2014/main" id="{BB97D0C9-0DE0-7FAA-BA0B-740774724C61}"/>
              </a:ext>
            </a:extLst>
          </p:cNvPr>
          <p:cNvSpPr>
            <a:spLocks noGrp="1"/>
          </p:cNvSpPr>
          <p:nvPr>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a:t>© 2024 Guidehouse</a:t>
            </a:r>
          </a:p>
        </p:txBody>
      </p:sp>
      <p:cxnSp>
        <p:nvCxnSpPr>
          <p:cNvPr id="10" name="Straight Connector 9">
            <a:extLst>
              <a:ext uri="{FF2B5EF4-FFF2-40B4-BE49-F238E27FC236}">
                <a16:creationId xmlns:a16="http://schemas.microsoft.com/office/drawing/2014/main" id="{0E22E7FA-BD3A-A8FB-1329-A12981820EAC}"/>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F8FFCB73-844B-F5B3-7A75-E7CC0A3001E5}"/>
              </a:ext>
            </a:extLst>
          </p:cNvPr>
          <p:cNvSpPr>
            <a:spLocks noGrp="1"/>
          </p:cNvSpPr>
          <p:nvPr>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cxnSp>
        <p:nvCxnSpPr>
          <p:cNvPr id="6" name="Straight Connector 5">
            <a:extLst>
              <a:ext uri="{FF2B5EF4-FFF2-40B4-BE49-F238E27FC236}">
                <a16:creationId xmlns:a16="http://schemas.microsoft.com/office/drawing/2014/main" id="{CAEE6556-E5DE-AECB-1B90-3D84DB7F1903}"/>
              </a:ext>
            </a:extLst>
          </p:cNvPr>
          <p:cNvCxnSpPr>
            <a:cxnSpLocks/>
          </p:cNvCxnSpPr>
          <p:nvPr userDrawn="1"/>
        </p:nvCxnSpPr>
        <p:spPr>
          <a:xfrm>
            <a:off x="0" y="426998"/>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C3EF4F4A-6920-E94C-8B0A-FB283F049952}"/>
              </a:ext>
            </a:extLst>
          </p:cNvPr>
          <p:cNvSpPr>
            <a:spLocks noGrp="1"/>
          </p:cNvSpPr>
          <p:nvPr>
            <p:ph type="body" sz="quarter" idx="30"/>
          </p:nvPr>
        </p:nvSpPr>
        <p:spPr>
          <a:xfrm>
            <a:off x="609600" y="2862072"/>
            <a:ext cx="2843213" cy="2139950"/>
          </a:xfrm>
        </p:spPr>
        <p:txBody>
          <a:bodyPr/>
          <a:lstStyle>
            <a:lvl1pPr marL="0" indent="0">
              <a:buFont typeface="Arial" panose="020B0604020202020204" pitchFamily="34" charset="0"/>
              <a:buNone/>
              <a:defRPr sz="1600">
                <a:solidFill>
                  <a:schemeClr val="bg1"/>
                </a:solidFill>
              </a:defRPr>
            </a:lvl1pPr>
            <a:lvl2pPr marL="0" indent="0">
              <a:buNone/>
              <a:defRPr sz="1600">
                <a:solidFill>
                  <a:schemeClr val="bg1"/>
                </a:solidFill>
              </a:defRPr>
            </a:lvl2pPr>
            <a:lvl3pPr marL="182880" indent="0">
              <a:buNone/>
              <a:defRPr sz="1600">
                <a:solidFill>
                  <a:schemeClr val="bg1"/>
                </a:solidFill>
              </a:defRPr>
            </a:lvl3pPr>
            <a:lvl4pPr marL="365760" indent="0">
              <a:buNone/>
              <a:defRPr sz="1600">
                <a:solidFill>
                  <a:schemeClr val="bg1"/>
                </a:solidFill>
              </a:defRPr>
            </a:lvl4pPr>
            <a:lvl5pPr marL="548640" indent="0">
              <a:buNone/>
              <a:defRPr sz="1600">
                <a:solidFill>
                  <a:schemeClr val="bg1"/>
                </a:solidFill>
              </a:defRPr>
            </a:lvl5pPr>
          </a:lstStyle>
          <a:p>
            <a:pPr lvl="0"/>
            <a:r>
              <a:rPr lang="en-US"/>
              <a:t>Click to edit Master text styles</a:t>
            </a:r>
          </a:p>
        </p:txBody>
      </p:sp>
      <p:sp>
        <p:nvSpPr>
          <p:cNvPr id="7" name="Text Placeholder 7">
            <a:extLst>
              <a:ext uri="{FF2B5EF4-FFF2-40B4-BE49-F238E27FC236}">
                <a16:creationId xmlns:a16="http://schemas.microsoft.com/office/drawing/2014/main" id="{AE684734-B289-4A74-3949-5159F3955569}"/>
              </a:ext>
            </a:extLst>
          </p:cNvPr>
          <p:cNvSpPr>
            <a:spLocks noGrp="1"/>
          </p:cNvSpPr>
          <p:nvPr>
            <p:ph type="body" sz="quarter" idx="19"/>
          </p:nvPr>
        </p:nvSpPr>
        <p:spPr>
          <a:xfrm>
            <a:off x="5161280" y="709131"/>
            <a:ext cx="2641598" cy="349250"/>
          </a:xfrm>
        </p:spPr>
        <p:txBody>
          <a:bodyPr>
            <a:noAutofit/>
          </a:bodyPr>
          <a:lstStyle>
            <a:lvl1pPr>
              <a:defRPr sz="1600"/>
            </a:lvl1pPr>
          </a:lstStyle>
          <a:p>
            <a:pPr lvl="0"/>
            <a:r>
              <a:rPr lang="en-US"/>
              <a:t>Click to edit Master text styles</a:t>
            </a:r>
          </a:p>
        </p:txBody>
      </p:sp>
      <p:sp>
        <p:nvSpPr>
          <p:cNvPr id="11" name="Text Placeholder 7">
            <a:extLst>
              <a:ext uri="{FF2B5EF4-FFF2-40B4-BE49-F238E27FC236}">
                <a16:creationId xmlns:a16="http://schemas.microsoft.com/office/drawing/2014/main" id="{AB53C653-88C9-3E91-B671-829BF45735BC}"/>
              </a:ext>
            </a:extLst>
          </p:cNvPr>
          <p:cNvSpPr>
            <a:spLocks noGrp="1"/>
          </p:cNvSpPr>
          <p:nvPr>
            <p:ph type="body" sz="quarter" idx="20"/>
          </p:nvPr>
        </p:nvSpPr>
        <p:spPr>
          <a:xfrm>
            <a:off x="5161280" y="1273143"/>
            <a:ext cx="2641598" cy="349250"/>
          </a:xfrm>
        </p:spPr>
        <p:txBody>
          <a:bodyPr>
            <a:noAutofit/>
          </a:bodyPr>
          <a:lstStyle>
            <a:lvl1pPr>
              <a:defRPr sz="1600"/>
            </a:lvl1pPr>
          </a:lstStyle>
          <a:p>
            <a:pPr lvl="0"/>
            <a:r>
              <a:rPr lang="en-US"/>
              <a:t>Click to edit Master text styles</a:t>
            </a:r>
          </a:p>
        </p:txBody>
      </p:sp>
      <p:sp>
        <p:nvSpPr>
          <p:cNvPr id="15" name="Text Placeholder 7">
            <a:extLst>
              <a:ext uri="{FF2B5EF4-FFF2-40B4-BE49-F238E27FC236}">
                <a16:creationId xmlns:a16="http://schemas.microsoft.com/office/drawing/2014/main" id="{5D32DD11-9A10-39E3-B132-186EAE2740EF}"/>
              </a:ext>
            </a:extLst>
          </p:cNvPr>
          <p:cNvSpPr>
            <a:spLocks noGrp="1"/>
          </p:cNvSpPr>
          <p:nvPr>
            <p:ph type="body" sz="quarter" idx="21"/>
          </p:nvPr>
        </p:nvSpPr>
        <p:spPr>
          <a:xfrm>
            <a:off x="5161280" y="1832075"/>
            <a:ext cx="2641598" cy="349250"/>
          </a:xfrm>
        </p:spPr>
        <p:txBody>
          <a:bodyPr>
            <a:noAutofit/>
          </a:bodyPr>
          <a:lstStyle>
            <a:lvl1pPr>
              <a:defRPr sz="1600"/>
            </a:lvl1pPr>
          </a:lstStyle>
          <a:p>
            <a:pPr lvl="0"/>
            <a:r>
              <a:rPr lang="en-US"/>
              <a:t>Click to edit Master text styles</a:t>
            </a:r>
          </a:p>
        </p:txBody>
      </p:sp>
      <p:sp>
        <p:nvSpPr>
          <p:cNvPr id="16" name="Text Placeholder 7">
            <a:extLst>
              <a:ext uri="{FF2B5EF4-FFF2-40B4-BE49-F238E27FC236}">
                <a16:creationId xmlns:a16="http://schemas.microsoft.com/office/drawing/2014/main" id="{120F12DA-8067-B1BB-5B5E-61D073DDABAF}"/>
              </a:ext>
            </a:extLst>
          </p:cNvPr>
          <p:cNvSpPr>
            <a:spLocks noGrp="1"/>
          </p:cNvSpPr>
          <p:nvPr>
            <p:ph type="body" sz="quarter" idx="22"/>
          </p:nvPr>
        </p:nvSpPr>
        <p:spPr>
          <a:xfrm>
            <a:off x="5161280" y="2391007"/>
            <a:ext cx="2641598" cy="349250"/>
          </a:xfrm>
        </p:spPr>
        <p:txBody>
          <a:bodyPr>
            <a:noAutofit/>
          </a:bodyPr>
          <a:lstStyle>
            <a:lvl1pPr>
              <a:defRPr sz="1600"/>
            </a:lvl1pPr>
          </a:lstStyle>
          <a:p>
            <a:pPr lvl="0"/>
            <a:r>
              <a:rPr lang="en-US"/>
              <a:t>Click to edit Master text styles</a:t>
            </a:r>
          </a:p>
        </p:txBody>
      </p:sp>
      <p:sp>
        <p:nvSpPr>
          <p:cNvPr id="17" name="Text Placeholder 7">
            <a:extLst>
              <a:ext uri="{FF2B5EF4-FFF2-40B4-BE49-F238E27FC236}">
                <a16:creationId xmlns:a16="http://schemas.microsoft.com/office/drawing/2014/main" id="{B5F28DF1-6B77-FCE0-991A-5282AAED553D}"/>
              </a:ext>
            </a:extLst>
          </p:cNvPr>
          <p:cNvSpPr>
            <a:spLocks noGrp="1"/>
          </p:cNvSpPr>
          <p:nvPr>
            <p:ph type="body" sz="quarter" idx="23"/>
          </p:nvPr>
        </p:nvSpPr>
        <p:spPr>
          <a:xfrm>
            <a:off x="5161280" y="2950436"/>
            <a:ext cx="2641598" cy="349250"/>
          </a:xfrm>
        </p:spPr>
        <p:txBody>
          <a:bodyPr>
            <a:noAutofit/>
          </a:bodyPr>
          <a:lstStyle>
            <a:lvl1pPr>
              <a:defRPr sz="1600"/>
            </a:lvl1pPr>
          </a:lstStyle>
          <a:p>
            <a:pPr lvl="0"/>
            <a:r>
              <a:rPr lang="en-US"/>
              <a:t>Click to edit Master text styles</a:t>
            </a:r>
          </a:p>
        </p:txBody>
      </p:sp>
      <p:sp>
        <p:nvSpPr>
          <p:cNvPr id="18" name="Text Placeholder 7">
            <a:extLst>
              <a:ext uri="{FF2B5EF4-FFF2-40B4-BE49-F238E27FC236}">
                <a16:creationId xmlns:a16="http://schemas.microsoft.com/office/drawing/2014/main" id="{CCEB4079-F621-5066-D9F4-BC0DA96F6D8B}"/>
              </a:ext>
            </a:extLst>
          </p:cNvPr>
          <p:cNvSpPr>
            <a:spLocks noGrp="1"/>
          </p:cNvSpPr>
          <p:nvPr>
            <p:ph type="body" sz="quarter" idx="24"/>
          </p:nvPr>
        </p:nvSpPr>
        <p:spPr>
          <a:xfrm>
            <a:off x="5161280" y="3508098"/>
            <a:ext cx="2641598" cy="349250"/>
          </a:xfrm>
        </p:spPr>
        <p:txBody>
          <a:bodyPr>
            <a:noAutofit/>
          </a:bodyPr>
          <a:lstStyle>
            <a:lvl1pPr>
              <a:defRPr sz="1600"/>
            </a:lvl1pPr>
          </a:lstStyle>
          <a:p>
            <a:pPr lvl="0"/>
            <a:r>
              <a:rPr lang="en-US"/>
              <a:t>Click to edit Master text styles</a:t>
            </a:r>
          </a:p>
        </p:txBody>
      </p:sp>
      <p:sp>
        <p:nvSpPr>
          <p:cNvPr id="19" name="Text Placeholder 7">
            <a:extLst>
              <a:ext uri="{FF2B5EF4-FFF2-40B4-BE49-F238E27FC236}">
                <a16:creationId xmlns:a16="http://schemas.microsoft.com/office/drawing/2014/main" id="{A47D6751-917D-333E-896D-483C0697D880}"/>
              </a:ext>
            </a:extLst>
          </p:cNvPr>
          <p:cNvSpPr>
            <a:spLocks noGrp="1"/>
          </p:cNvSpPr>
          <p:nvPr>
            <p:ph type="body" sz="quarter" idx="31"/>
          </p:nvPr>
        </p:nvSpPr>
        <p:spPr>
          <a:xfrm>
            <a:off x="5161280" y="4069570"/>
            <a:ext cx="2641598" cy="349250"/>
          </a:xfrm>
        </p:spPr>
        <p:txBody>
          <a:bodyPr>
            <a:noAutofit/>
          </a:bodyPr>
          <a:lstStyle>
            <a:lvl1pPr>
              <a:defRPr sz="1600"/>
            </a:lvl1pPr>
          </a:lstStyle>
          <a:p>
            <a:pPr lvl="0"/>
            <a:r>
              <a:rPr lang="en-US"/>
              <a:t>Click to edit Master text styles</a:t>
            </a:r>
          </a:p>
        </p:txBody>
      </p:sp>
      <p:sp>
        <p:nvSpPr>
          <p:cNvPr id="20" name="Text Placeholder 7">
            <a:extLst>
              <a:ext uri="{FF2B5EF4-FFF2-40B4-BE49-F238E27FC236}">
                <a16:creationId xmlns:a16="http://schemas.microsoft.com/office/drawing/2014/main" id="{27DC68C9-0396-7E3A-204E-3CBC52EAC32F}"/>
              </a:ext>
            </a:extLst>
          </p:cNvPr>
          <p:cNvSpPr>
            <a:spLocks noGrp="1"/>
          </p:cNvSpPr>
          <p:nvPr>
            <p:ph type="body" sz="quarter" idx="26"/>
          </p:nvPr>
        </p:nvSpPr>
        <p:spPr>
          <a:xfrm>
            <a:off x="5161280" y="4629246"/>
            <a:ext cx="2641598" cy="349250"/>
          </a:xfrm>
        </p:spPr>
        <p:txBody>
          <a:bodyPr>
            <a:noAutofit/>
          </a:bodyPr>
          <a:lstStyle>
            <a:lvl1pPr>
              <a:defRPr sz="1600"/>
            </a:lvl1pPr>
          </a:lstStyle>
          <a:p>
            <a:pPr lvl="0"/>
            <a:r>
              <a:rPr lang="en-US"/>
              <a:t>Click to edit Master text styles</a:t>
            </a:r>
          </a:p>
        </p:txBody>
      </p:sp>
      <p:sp>
        <p:nvSpPr>
          <p:cNvPr id="23" name="Text Placeholder 7">
            <a:extLst>
              <a:ext uri="{FF2B5EF4-FFF2-40B4-BE49-F238E27FC236}">
                <a16:creationId xmlns:a16="http://schemas.microsoft.com/office/drawing/2014/main" id="{1810B557-15AD-CE33-7D45-9B8E262E064F}"/>
              </a:ext>
            </a:extLst>
          </p:cNvPr>
          <p:cNvSpPr>
            <a:spLocks noGrp="1"/>
          </p:cNvSpPr>
          <p:nvPr>
            <p:ph type="body" sz="quarter" idx="32" hasCustomPrompt="1"/>
          </p:nvPr>
        </p:nvSpPr>
        <p:spPr>
          <a:xfrm>
            <a:off x="4678365" y="709131"/>
            <a:ext cx="386079" cy="349250"/>
          </a:xfrm>
        </p:spPr>
        <p:txBody>
          <a:bodyPr>
            <a:noAutofit/>
          </a:bodyPr>
          <a:lstStyle>
            <a:lvl1pPr algn="l">
              <a:defRPr sz="1600"/>
            </a:lvl1pPr>
          </a:lstStyle>
          <a:p>
            <a:pPr lvl="0"/>
            <a:r>
              <a:rPr lang="en-US"/>
              <a:t>00</a:t>
            </a:r>
          </a:p>
        </p:txBody>
      </p:sp>
      <p:sp>
        <p:nvSpPr>
          <p:cNvPr id="24" name="Text Placeholder 7">
            <a:extLst>
              <a:ext uri="{FF2B5EF4-FFF2-40B4-BE49-F238E27FC236}">
                <a16:creationId xmlns:a16="http://schemas.microsoft.com/office/drawing/2014/main" id="{9D4B8303-F23C-6399-4089-F04D8815B8D0}"/>
              </a:ext>
            </a:extLst>
          </p:cNvPr>
          <p:cNvSpPr>
            <a:spLocks noGrp="1"/>
          </p:cNvSpPr>
          <p:nvPr>
            <p:ph type="body" sz="quarter" idx="33" hasCustomPrompt="1"/>
          </p:nvPr>
        </p:nvSpPr>
        <p:spPr>
          <a:xfrm>
            <a:off x="4678365" y="1273143"/>
            <a:ext cx="386079" cy="349250"/>
          </a:xfrm>
        </p:spPr>
        <p:txBody>
          <a:bodyPr>
            <a:noAutofit/>
          </a:bodyPr>
          <a:lstStyle>
            <a:lvl1pPr algn="l">
              <a:defRPr sz="1600"/>
            </a:lvl1pPr>
          </a:lstStyle>
          <a:p>
            <a:pPr lvl="0"/>
            <a:r>
              <a:rPr lang="en-US"/>
              <a:t>00</a:t>
            </a:r>
          </a:p>
        </p:txBody>
      </p:sp>
      <p:sp>
        <p:nvSpPr>
          <p:cNvPr id="25" name="Text Placeholder 7">
            <a:extLst>
              <a:ext uri="{FF2B5EF4-FFF2-40B4-BE49-F238E27FC236}">
                <a16:creationId xmlns:a16="http://schemas.microsoft.com/office/drawing/2014/main" id="{90319C4D-08EE-82DD-68E8-74E07690CBBA}"/>
              </a:ext>
            </a:extLst>
          </p:cNvPr>
          <p:cNvSpPr>
            <a:spLocks noGrp="1"/>
          </p:cNvSpPr>
          <p:nvPr>
            <p:ph type="body" sz="quarter" idx="34" hasCustomPrompt="1"/>
          </p:nvPr>
        </p:nvSpPr>
        <p:spPr>
          <a:xfrm>
            <a:off x="4678365" y="1832075"/>
            <a:ext cx="386079" cy="349250"/>
          </a:xfrm>
        </p:spPr>
        <p:txBody>
          <a:bodyPr>
            <a:noAutofit/>
          </a:bodyPr>
          <a:lstStyle>
            <a:lvl1pPr algn="l">
              <a:defRPr sz="1600"/>
            </a:lvl1pPr>
          </a:lstStyle>
          <a:p>
            <a:pPr lvl="0"/>
            <a:r>
              <a:rPr lang="en-US"/>
              <a:t>00</a:t>
            </a:r>
          </a:p>
        </p:txBody>
      </p:sp>
      <p:sp>
        <p:nvSpPr>
          <p:cNvPr id="26" name="Text Placeholder 7">
            <a:extLst>
              <a:ext uri="{FF2B5EF4-FFF2-40B4-BE49-F238E27FC236}">
                <a16:creationId xmlns:a16="http://schemas.microsoft.com/office/drawing/2014/main" id="{CAF3EE2C-8BED-737B-8328-68B109205EB5}"/>
              </a:ext>
            </a:extLst>
          </p:cNvPr>
          <p:cNvSpPr>
            <a:spLocks noGrp="1"/>
          </p:cNvSpPr>
          <p:nvPr>
            <p:ph type="body" sz="quarter" idx="35" hasCustomPrompt="1"/>
          </p:nvPr>
        </p:nvSpPr>
        <p:spPr>
          <a:xfrm>
            <a:off x="4678365" y="2391007"/>
            <a:ext cx="386079" cy="349250"/>
          </a:xfrm>
        </p:spPr>
        <p:txBody>
          <a:bodyPr>
            <a:noAutofit/>
          </a:bodyPr>
          <a:lstStyle>
            <a:lvl1pPr algn="l">
              <a:defRPr sz="1600"/>
            </a:lvl1pPr>
          </a:lstStyle>
          <a:p>
            <a:pPr lvl="0"/>
            <a:r>
              <a:rPr lang="en-US"/>
              <a:t>00</a:t>
            </a:r>
          </a:p>
        </p:txBody>
      </p:sp>
      <p:sp>
        <p:nvSpPr>
          <p:cNvPr id="27" name="Text Placeholder 7">
            <a:extLst>
              <a:ext uri="{FF2B5EF4-FFF2-40B4-BE49-F238E27FC236}">
                <a16:creationId xmlns:a16="http://schemas.microsoft.com/office/drawing/2014/main" id="{E33CFEC2-A17F-C949-5BF3-EE01C755A4C4}"/>
              </a:ext>
            </a:extLst>
          </p:cNvPr>
          <p:cNvSpPr>
            <a:spLocks noGrp="1"/>
          </p:cNvSpPr>
          <p:nvPr>
            <p:ph type="body" sz="quarter" idx="36" hasCustomPrompt="1"/>
          </p:nvPr>
        </p:nvSpPr>
        <p:spPr>
          <a:xfrm>
            <a:off x="4678365" y="2950436"/>
            <a:ext cx="386079" cy="349250"/>
          </a:xfrm>
        </p:spPr>
        <p:txBody>
          <a:bodyPr>
            <a:noAutofit/>
          </a:bodyPr>
          <a:lstStyle>
            <a:lvl1pPr algn="l">
              <a:defRPr sz="1600"/>
            </a:lvl1pPr>
          </a:lstStyle>
          <a:p>
            <a:pPr lvl="0"/>
            <a:r>
              <a:rPr lang="en-US"/>
              <a:t>00</a:t>
            </a:r>
          </a:p>
        </p:txBody>
      </p:sp>
      <p:sp>
        <p:nvSpPr>
          <p:cNvPr id="28" name="Text Placeholder 7">
            <a:extLst>
              <a:ext uri="{FF2B5EF4-FFF2-40B4-BE49-F238E27FC236}">
                <a16:creationId xmlns:a16="http://schemas.microsoft.com/office/drawing/2014/main" id="{E5355B9F-B50F-E888-2001-E48B6011B68E}"/>
              </a:ext>
            </a:extLst>
          </p:cNvPr>
          <p:cNvSpPr>
            <a:spLocks noGrp="1"/>
          </p:cNvSpPr>
          <p:nvPr>
            <p:ph type="body" sz="quarter" idx="37" hasCustomPrompt="1"/>
          </p:nvPr>
        </p:nvSpPr>
        <p:spPr>
          <a:xfrm>
            <a:off x="4678365" y="3508098"/>
            <a:ext cx="386079" cy="349250"/>
          </a:xfrm>
        </p:spPr>
        <p:txBody>
          <a:bodyPr>
            <a:noAutofit/>
          </a:bodyPr>
          <a:lstStyle>
            <a:lvl1pPr algn="l">
              <a:defRPr sz="1600"/>
            </a:lvl1pPr>
          </a:lstStyle>
          <a:p>
            <a:pPr lvl="0"/>
            <a:r>
              <a:rPr lang="en-US"/>
              <a:t>00</a:t>
            </a:r>
          </a:p>
        </p:txBody>
      </p:sp>
      <p:sp>
        <p:nvSpPr>
          <p:cNvPr id="29" name="Text Placeholder 7">
            <a:extLst>
              <a:ext uri="{FF2B5EF4-FFF2-40B4-BE49-F238E27FC236}">
                <a16:creationId xmlns:a16="http://schemas.microsoft.com/office/drawing/2014/main" id="{078D5A0D-6B63-AA91-0EA2-DAF7F3405A75}"/>
              </a:ext>
            </a:extLst>
          </p:cNvPr>
          <p:cNvSpPr>
            <a:spLocks noGrp="1"/>
          </p:cNvSpPr>
          <p:nvPr>
            <p:ph type="body" sz="quarter" idx="38" hasCustomPrompt="1"/>
          </p:nvPr>
        </p:nvSpPr>
        <p:spPr>
          <a:xfrm>
            <a:off x="4678365" y="4069570"/>
            <a:ext cx="386079" cy="349250"/>
          </a:xfrm>
        </p:spPr>
        <p:txBody>
          <a:bodyPr>
            <a:noAutofit/>
          </a:bodyPr>
          <a:lstStyle>
            <a:lvl1pPr algn="l">
              <a:defRPr sz="1600"/>
            </a:lvl1pPr>
          </a:lstStyle>
          <a:p>
            <a:pPr lvl="0"/>
            <a:r>
              <a:rPr lang="en-US"/>
              <a:t>00</a:t>
            </a:r>
          </a:p>
        </p:txBody>
      </p:sp>
      <p:sp>
        <p:nvSpPr>
          <p:cNvPr id="30" name="Text Placeholder 7">
            <a:extLst>
              <a:ext uri="{FF2B5EF4-FFF2-40B4-BE49-F238E27FC236}">
                <a16:creationId xmlns:a16="http://schemas.microsoft.com/office/drawing/2014/main" id="{6A916165-7B0E-4454-109D-14973C674BAC}"/>
              </a:ext>
            </a:extLst>
          </p:cNvPr>
          <p:cNvSpPr>
            <a:spLocks noGrp="1"/>
          </p:cNvSpPr>
          <p:nvPr>
            <p:ph type="body" sz="quarter" idx="39" hasCustomPrompt="1"/>
          </p:nvPr>
        </p:nvSpPr>
        <p:spPr>
          <a:xfrm>
            <a:off x="4678365" y="4629246"/>
            <a:ext cx="386079" cy="349250"/>
          </a:xfrm>
        </p:spPr>
        <p:txBody>
          <a:bodyPr>
            <a:noAutofit/>
          </a:bodyPr>
          <a:lstStyle>
            <a:lvl1pPr algn="l">
              <a:defRPr sz="1600"/>
            </a:lvl1pPr>
          </a:lstStyle>
          <a:p>
            <a:pPr lvl="0"/>
            <a:r>
              <a:rPr lang="en-US"/>
              <a:t>00</a:t>
            </a:r>
          </a:p>
        </p:txBody>
      </p:sp>
      <p:cxnSp>
        <p:nvCxnSpPr>
          <p:cNvPr id="31" name="Straight Connector 30">
            <a:extLst>
              <a:ext uri="{FF2B5EF4-FFF2-40B4-BE49-F238E27FC236}">
                <a16:creationId xmlns:a16="http://schemas.microsoft.com/office/drawing/2014/main" id="{0193D19F-D3EF-547B-F979-CEB39B81A44E}"/>
              </a:ext>
            </a:extLst>
          </p:cNvPr>
          <p:cNvCxnSpPr/>
          <p:nvPr userDrawn="1"/>
        </p:nvCxnSpPr>
        <p:spPr>
          <a:xfrm>
            <a:off x="4683760" y="546377"/>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74C04B4-16F6-FE0B-BB33-95869EB3F959}"/>
              </a:ext>
            </a:extLst>
          </p:cNvPr>
          <p:cNvCxnSpPr>
            <a:cxnSpLocks/>
          </p:cNvCxnSpPr>
          <p:nvPr userDrawn="1"/>
        </p:nvCxnSpPr>
        <p:spPr>
          <a:xfrm>
            <a:off x="4683760" y="1106605"/>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41A2B0-D002-55D8-3391-C40A2376B973}"/>
              </a:ext>
            </a:extLst>
          </p:cNvPr>
          <p:cNvCxnSpPr>
            <a:cxnSpLocks/>
          </p:cNvCxnSpPr>
          <p:nvPr userDrawn="1"/>
        </p:nvCxnSpPr>
        <p:spPr>
          <a:xfrm>
            <a:off x="4683760" y="1666833"/>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6BF753F-E7E1-7B8F-5D42-7A6CE933C064}"/>
              </a:ext>
            </a:extLst>
          </p:cNvPr>
          <p:cNvCxnSpPr/>
          <p:nvPr userDrawn="1"/>
        </p:nvCxnSpPr>
        <p:spPr>
          <a:xfrm>
            <a:off x="4683760" y="2227061"/>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3D28130-FCB5-1F2F-98D2-692A8292A362}"/>
              </a:ext>
            </a:extLst>
          </p:cNvPr>
          <p:cNvCxnSpPr/>
          <p:nvPr userDrawn="1"/>
        </p:nvCxnSpPr>
        <p:spPr>
          <a:xfrm>
            <a:off x="4683760" y="2787289"/>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C53E41A-0D10-66A1-DF0B-E9E1DBFBA413}"/>
              </a:ext>
            </a:extLst>
          </p:cNvPr>
          <p:cNvCxnSpPr/>
          <p:nvPr userDrawn="1"/>
        </p:nvCxnSpPr>
        <p:spPr>
          <a:xfrm>
            <a:off x="4683760" y="3347517"/>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07E1043-5BF0-ECEF-46A7-1683C71199D1}"/>
              </a:ext>
            </a:extLst>
          </p:cNvPr>
          <p:cNvCxnSpPr/>
          <p:nvPr userDrawn="1"/>
        </p:nvCxnSpPr>
        <p:spPr>
          <a:xfrm>
            <a:off x="4683760" y="5028201"/>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14496DD-EB04-CA87-D61C-45FE054D7918}"/>
              </a:ext>
            </a:extLst>
          </p:cNvPr>
          <p:cNvCxnSpPr/>
          <p:nvPr userDrawn="1"/>
        </p:nvCxnSpPr>
        <p:spPr>
          <a:xfrm>
            <a:off x="4683760" y="3907745"/>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4A481B-FE95-0D8F-3DA0-8424085FEB02}"/>
              </a:ext>
            </a:extLst>
          </p:cNvPr>
          <p:cNvCxnSpPr/>
          <p:nvPr userDrawn="1"/>
        </p:nvCxnSpPr>
        <p:spPr>
          <a:xfrm>
            <a:off x="4683760" y="4467973"/>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 Placeholder 7">
            <a:extLst>
              <a:ext uri="{FF2B5EF4-FFF2-40B4-BE49-F238E27FC236}">
                <a16:creationId xmlns:a16="http://schemas.microsoft.com/office/drawing/2014/main" id="{C5E58F99-4950-7E1B-730C-BBB51E0CA0EA}"/>
              </a:ext>
            </a:extLst>
          </p:cNvPr>
          <p:cNvSpPr>
            <a:spLocks noGrp="1"/>
          </p:cNvSpPr>
          <p:nvPr>
            <p:ph type="body" sz="quarter" idx="40"/>
          </p:nvPr>
        </p:nvSpPr>
        <p:spPr>
          <a:xfrm>
            <a:off x="5161280" y="5188634"/>
            <a:ext cx="2641598" cy="349250"/>
          </a:xfrm>
        </p:spPr>
        <p:txBody>
          <a:bodyPr>
            <a:noAutofit/>
          </a:bodyPr>
          <a:lstStyle>
            <a:lvl1pPr>
              <a:defRPr sz="1600"/>
            </a:lvl1pPr>
          </a:lstStyle>
          <a:p>
            <a:pPr lvl="0"/>
            <a:r>
              <a:rPr lang="en-US"/>
              <a:t>Click to edit Master text styles</a:t>
            </a:r>
          </a:p>
        </p:txBody>
      </p:sp>
      <p:sp>
        <p:nvSpPr>
          <p:cNvPr id="43" name="Text Placeholder 7">
            <a:extLst>
              <a:ext uri="{FF2B5EF4-FFF2-40B4-BE49-F238E27FC236}">
                <a16:creationId xmlns:a16="http://schemas.microsoft.com/office/drawing/2014/main" id="{FCC3E068-CB5B-9C71-7831-FF2B7AF10D76}"/>
              </a:ext>
            </a:extLst>
          </p:cNvPr>
          <p:cNvSpPr>
            <a:spLocks noGrp="1"/>
          </p:cNvSpPr>
          <p:nvPr>
            <p:ph type="body" sz="quarter" idx="41"/>
          </p:nvPr>
        </p:nvSpPr>
        <p:spPr>
          <a:xfrm>
            <a:off x="5161280" y="5748310"/>
            <a:ext cx="2641598" cy="349250"/>
          </a:xfrm>
        </p:spPr>
        <p:txBody>
          <a:bodyPr>
            <a:noAutofit/>
          </a:bodyPr>
          <a:lstStyle>
            <a:lvl1pPr>
              <a:defRPr sz="1600"/>
            </a:lvl1pPr>
          </a:lstStyle>
          <a:p>
            <a:pPr lvl="0"/>
            <a:r>
              <a:rPr lang="en-US"/>
              <a:t>Click to edit Master text styles</a:t>
            </a:r>
          </a:p>
        </p:txBody>
      </p:sp>
      <p:sp>
        <p:nvSpPr>
          <p:cNvPr id="44" name="Text Placeholder 7">
            <a:extLst>
              <a:ext uri="{FF2B5EF4-FFF2-40B4-BE49-F238E27FC236}">
                <a16:creationId xmlns:a16="http://schemas.microsoft.com/office/drawing/2014/main" id="{01048860-EBD7-1469-69CB-31F301E7AF47}"/>
              </a:ext>
            </a:extLst>
          </p:cNvPr>
          <p:cNvSpPr>
            <a:spLocks noGrp="1"/>
          </p:cNvSpPr>
          <p:nvPr>
            <p:ph type="body" sz="quarter" idx="42" hasCustomPrompt="1"/>
          </p:nvPr>
        </p:nvSpPr>
        <p:spPr>
          <a:xfrm>
            <a:off x="4678365" y="5188634"/>
            <a:ext cx="386079" cy="349250"/>
          </a:xfrm>
        </p:spPr>
        <p:txBody>
          <a:bodyPr>
            <a:noAutofit/>
          </a:bodyPr>
          <a:lstStyle>
            <a:lvl1pPr algn="l">
              <a:defRPr sz="1600"/>
            </a:lvl1pPr>
          </a:lstStyle>
          <a:p>
            <a:pPr lvl="0"/>
            <a:r>
              <a:rPr lang="en-US"/>
              <a:t>00</a:t>
            </a:r>
          </a:p>
        </p:txBody>
      </p:sp>
      <p:sp>
        <p:nvSpPr>
          <p:cNvPr id="45" name="Text Placeholder 7">
            <a:extLst>
              <a:ext uri="{FF2B5EF4-FFF2-40B4-BE49-F238E27FC236}">
                <a16:creationId xmlns:a16="http://schemas.microsoft.com/office/drawing/2014/main" id="{AD751179-54BF-A39B-7F47-219904227EB8}"/>
              </a:ext>
            </a:extLst>
          </p:cNvPr>
          <p:cNvSpPr>
            <a:spLocks noGrp="1"/>
          </p:cNvSpPr>
          <p:nvPr>
            <p:ph type="body" sz="quarter" idx="43" hasCustomPrompt="1"/>
          </p:nvPr>
        </p:nvSpPr>
        <p:spPr>
          <a:xfrm>
            <a:off x="4678365" y="5748310"/>
            <a:ext cx="386079" cy="349250"/>
          </a:xfrm>
        </p:spPr>
        <p:txBody>
          <a:bodyPr>
            <a:noAutofit/>
          </a:bodyPr>
          <a:lstStyle>
            <a:lvl1pPr algn="l">
              <a:defRPr sz="1600"/>
            </a:lvl1pPr>
          </a:lstStyle>
          <a:p>
            <a:pPr lvl="0"/>
            <a:r>
              <a:rPr lang="en-US"/>
              <a:t>00</a:t>
            </a:r>
          </a:p>
        </p:txBody>
      </p:sp>
      <p:cxnSp>
        <p:nvCxnSpPr>
          <p:cNvPr id="3" name="Straight Connector 2">
            <a:extLst>
              <a:ext uri="{FF2B5EF4-FFF2-40B4-BE49-F238E27FC236}">
                <a16:creationId xmlns:a16="http://schemas.microsoft.com/office/drawing/2014/main" id="{89986F41-4468-0CC2-AA85-2D97CF903A76}"/>
              </a:ext>
            </a:extLst>
          </p:cNvPr>
          <p:cNvCxnSpPr/>
          <p:nvPr userDrawn="1"/>
        </p:nvCxnSpPr>
        <p:spPr>
          <a:xfrm>
            <a:off x="4683760" y="5588426"/>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5E47671A-7193-F115-335F-7F81F6692108}"/>
              </a:ext>
            </a:extLst>
          </p:cNvPr>
          <p:cNvSpPr>
            <a:spLocks noGrp="1"/>
          </p:cNvSpPr>
          <p:nvPr>
            <p:ph type="body" sz="quarter" idx="44"/>
          </p:nvPr>
        </p:nvSpPr>
        <p:spPr>
          <a:xfrm>
            <a:off x="8914384" y="709131"/>
            <a:ext cx="2641598" cy="349250"/>
          </a:xfrm>
        </p:spPr>
        <p:txBody>
          <a:bodyPr>
            <a:noAutofit/>
          </a:bodyPr>
          <a:lstStyle>
            <a:lvl1pPr>
              <a:defRPr sz="1600"/>
            </a:lvl1pPr>
          </a:lstStyle>
          <a:p>
            <a:pPr lvl="0"/>
            <a:r>
              <a:rPr lang="en-US"/>
              <a:t>Click to edit Master text styles</a:t>
            </a:r>
          </a:p>
        </p:txBody>
      </p:sp>
      <p:sp>
        <p:nvSpPr>
          <p:cNvPr id="76" name="Text Placeholder 7">
            <a:extLst>
              <a:ext uri="{FF2B5EF4-FFF2-40B4-BE49-F238E27FC236}">
                <a16:creationId xmlns:a16="http://schemas.microsoft.com/office/drawing/2014/main" id="{58052F57-46BA-5BCA-646A-BF4DB2FD2A0B}"/>
              </a:ext>
            </a:extLst>
          </p:cNvPr>
          <p:cNvSpPr>
            <a:spLocks noGrp="1"/>
          </p:cNvSpPr>
          <p:nvPr>
            <p:ph type="body" sz="quarter" idx="45"/>
          </p:nvPr>
        </p:nvSpPr>
        <p:spPr>
          <a:xfrm>
            <a:off x="8914384" y="1273143"/>
            <a:ext cx="2641598" cy="349250"/>
          </a:xfrm>
        </p:spPr>
        <p:txBody>
          <a:bodyPr>
            <a:noAutofit/>
          </a:bodyPr>
          <a:lstStyle>
            <a:lvl1pPr>
              <a:defRPr sz="1600"/>
            </a:lvl1pPr>
          </a:lstStyle>
          <a:p>
            <a:pPr lvl="0"/>
            <a:r>
              <a:rPr lang="en-US"/>
              <a:t>Click to edit Master text styles</a:t>
            </a:r>
          </a:p>
        </p:txBody>
      </p:sp>
      <p:sp>
        <p:nvSpPr>
          <p:cNvPr id="77" name="Text Placeholder 7">
            <a:extLst>
              <a:ext uri="{FF2B5EF4-FFF2-40B4-BE49-F238E27FC236}">
                <a16:creationId xmlns:a16="http://schemas.microsoft.com/office/drawing/2014/main" id="{146FB5CB-C80A-DEDC-8232-6257456AF665}"/>
              </a:ext>
            </a:extLst>
          </p:cNvPr>
          <p:cNvSpPr>
            <a:spLocks noGrp="1"/>
          </p:cNvSpPr>
          <p:nvPr>
            <p:ph type="body" sz="quarter" idx="46"/>
          </p:nvPr>
        </p:nvSpPr>
        <p:spPr>
          <a:xfrm>
            <a:off x="8914384" y="1832075"/>
            <a:ext cx="2641598" cy="349250"/>
          </a:xfrm>
        </p:spPr>
        <p:txBody>
          <a:bodyPr>
            <a:noAutofit/>
          </a:bodyPr>
          <a:lstStyle>
            <a:lvl1pPr>
              <a:defRPr sz="1600"/>
            </a:lvl1pPr>
          </a:lstStyle>
          <a:p>
            <a:pPr lvl="0"/>
            <a:r>
              <a:rPr lang="en-US"/>
              <a:t>Click to edit Master text styles</a:t>
            </a:r>
          </a:p>
        </p:txBody>
      </p:sp>
      <p:sp>
        <p:nvSpPr>
          <p:cNvPr id="78" name="Text Placeholder 7">
            <a:extLst>
              <a:ext uri="{FF2B5EF4-FFF2-40B4-BE49-F238E27FC236}">
                <a16:creationId xmlns:a16="http://schemas.microsoft.com/office/drawing/2014/main" id="{C5D45E84-8074-AA03-7271-25F21C58CFFE}"/>
              </a:ext>
            </a:extLst>
          </p:cNvPr>
          <p:cNvSpPr>
            <a:spLocks noGrp="1"/>
          </p:cNvSpPr>
          <p:nvPr>
            <p:ph type="body" sz="quarter" idx="47"/>
          </p:nvPr>
        </p:nvSpPr>
        <p:spPr>
          <a:xfrm>
            <a:off x="8914384" y="2391007"/>
            <a:ext cx="2641598" cy="349250"/>
          </a:xfrm>
        </p:spPr>
        <p:txBody>
          <a:bodyPr>
            <a:noAutofit/>
          </a:bodyPr>
          <a:lstStyle>
            <a:lvl1pPr>
              <a:defRPr sz="1600"/>
            </a:lvl1pPr>
          </a:lstStyle>
          <a:p>
            <a:pPr lvl="0"/>
            <a:r>
              <a:rPr lang="en-US"/>
              <a:t>Click to edit Master text styles</a:t>
            </a:r>
          </a:p>
        </p:txBody>
      </p:sp>
      <p:sp>
        <p:nvSpPr>
          <p:cNvPr id="79" name="Text Placeholder 7">
            <a:extLst>
              <a:ext uri="{FF2B5EF4-FFF2-40B4-BE49-F238E27FC236}">
                <a16:creationId xmlns:a16="http://schemas.microsoft.com/office/drawing/2014/main" id="{8F01BE2A-9270-E6F6-5F99-44B56DC6576E}"/>
              </a:ext>
            </a:extLst>
          </p:cNvPr>
          <p:cNvSpPr>
            <a:spLocks noGrp="1"/>
          </p:cNvSpPr>
          <p:nvPr>
            <p:ph type="body" sz="quarter" idx="48"/>
          </p:nvPr>
        </p:nvSpPr>
        <p:spPr>
          <a:xfrm>
            <a:off x="8914384" y="2950436"/>
            <a:ext cx="2641598" cy="349250"/>
          </a:xfrm>
        </p:spPr>
        <p:txBody>
          <a:bodyPr>
            <a:noAutofit/>
          </a:bodyPr>
          <a:lstStyle>
            <a:lvl1pPr>
              <a:defRPr sz="1600"/>
            </a:lvl1pPr>
          </a:lstStyle>
          <a:p>
            <a:pPr lvl="0"/>
            <a:r>
              <a:rPr lang="en-US"/>
              <a:t>Click to edit Master text styles</a:t>
            </a:r>
          </a:p>
        </p:txBody>
      </p:sp>
      <p:sp>
        <p:nvSpPr>
          <p:cNvPr id="80" name="Text Placeholder 7">
            <a:extLst>
              <a:ext uri="{FF2B5EF4-FFF2-40B4-BE49-F238E27FC236}">
                <a16:creationId xmlns:a16="http://schemas.microsoft.com/office/drawing/2014/main" id="{E58A412E-5960-202A-37D7-5031CC0F7037}"/>
              </a:ext>
            </a:extLst>
          </p:cNvPr>
          <p:cNvSpPr>
            <a:spLocks noGrp="1"/>
          </p:cNvSpPr>
          <p:nvPr>
            <p:ph type="body" sz="quarter" idx="49"/>
          </p:nvPr>
        </p:nvSpPr>
        <p:spPr>
          <a:xfrm>
            <a:off x="8914384" y="3508098"/>
            <a:ext cx="2641598" cy="349250"/>
          </a:xfrm>
        </p:spPr>
        <p:txBody>
          <a:bodyPr>
            <a:noAutofit/>
          </a:bodyPr>
          <a:lstStyle>
            <a:lvl1pPr>
              <a:defRPr sz="1600"/>
            </a:lvl1pPr>
          </a:lstStyle>
          <a:p>
            <a:pPr lvl="0"/>
            <a:r>
              <a:rPr lang="en-US"/>
              <a:t>Click to edit Master text styles</a:t>
            </a:r>
          </a:p>
        </p:txBody>
      </p:sp>
      <p:sp>
        <p:nvSpPr>
          <p:cNvPr id="81" name="Text Placeholder 7">
            <a:extLst>
              <a:ext uri="{FF2B5EF4-FFF2-40B4-BE49-F238E27FC236}">
                <a16:creationId xmlns:a16="http://schemas.microsoft.com/office/drawing/2014/main" id="{47876B55-ED56-0F8E-FF13-FE599A4E6501}"/>
              </a:ext>
            </a:extLst>
          </p:cNvPr>
          <p:cNvSpPr>
            <a:spLocks noGrp="1"/>
          </p:cNvSpPr>
          <p:nvPr>
            <p:ph type="body" sz="quarter" idx="50"/>
          </p:nvPr>
        </p:nvSpPr>
        <p:spPr>
          <a:xfrm>
            <a:off x="8914384" y="4069570"/>
            <a:ext cx="2641598" cy="349250"/>
          </a:xfrm>
        </p:spPr>
        <p:txBody>
          <a:bodyPr>
            <a:noAutofit/>
          </a:bodyPr>
          <a:lstStyle>
            <a:lvl1pPr>
              <a:defRPr sz="1600"/>
            </a:lvl1pPr>
          </a:lstStyle>
          <a:p>
            <a:pPr lvl="0"/>
            <a:r>
              <a:rPr lang="en-US"/>
              <a:t>Click to edit Master text styles</a:t>
            </a:r>
          </a:p>
        </p:txBody>
      </p:sp>
      <p:sp>
        <p:nvSpPr>
          <p:cNvPr id="82" name="Text Placeholder 7">
            <a:extLst>
              <a:ext uri="{FF2B5EF4-FFF2-40B4-BE49-F238E27FC236}">
                <a16:creationId xmlns:a16="http://schemas.microsoft.com/office/drawing/2014/main" id="{7BEE7469-6688-2E78-BB19-A3E75D35DDC7}"/>
              </a:ext>
            </a:extLst>
          </p:cNvPr>
          <p:cNvSpPr>
            <a:spLocks noGrp="1"/>
          </p:cNvSpPr>
          <p:nvPr>
            <p:ph type="body" sz="quarter" idx="51"/>
          </p:nvPr>
        </p:nvSpPr>
        <p:spPr>
          <a:xfrm>
            <a:off x="8914384" y="4629246"/>
            <a:ext cx="2641598" cy="349250"/>
          </a:xfrm>
        </p:spPr>
        <p:txBody>
          <a:bodyPr>
            <a:noAutofit/>
          </a:bodyPr>
          <a:lstStyle>
            <a:lvl1pPr>
              <a:defRPr sz="1600"/>
            </a:lvl1pPr>
          </a:lstStyle>
          <a:p>
            <a:pPr lvl="0"/>
            <a:r>
              <a:rPr lang="en-US"/>
              <a:t>Click to edit Master text styles</a:t>
            </a:r>
          </a:p>
        </p:txBody>
      </p:sp>
      <p:sp>
        <p:nvSpPr>
          <p:cNvPr id="83" name="Text Placeholder 7">
            <a:extLst>
              <a:ext uri="{FF2B5EF4-FFF2-40B4-BE49-F238E27FC236}">
                <a16:creationId xmlns:a16="http://schemas.microsoft.com/office/drawing/2014/main" id="{EFE62FBB-732D-F184-AD68-BDF81039DB33}"/>
              </a:ext>
            </a:extLst>
          </p:cNvPr>
          <p:cNvSpPr>
            <a:spLocks noGrp="1"/>
          </p:cNvSpPr>
          <p:nvPr>
            <p:ph type="body" sz="quarter" idx="52" hasCustomPrompt="1"/>
          </p:nvPr>
        </p:nvSpPr>
        <p:spPr>
          <a:xfrm>
            <a:off x="8431469" y="709131"/>
            <a:ext cx="386079" cy="349250"/>
          </a:xfrm>
        </p:spPr>
        <p:txBody>
          <a:bodyPr>
            <a:noAutofit/>
          </a:bodyPr>
          <a:lstStyle>
            <a:lvl1pPr algn="l">
              <a:defRPr sz="1600"/>
            </a:lvl1pPr>
          </a:lstStyle>
          <a:p>
            <a:pPr lvl="0"/>
            <a:r>
              <a:rPr lang="en-US"/>
              <a:t>00</a:t>
            </a:r>
          </a:p>
        </p:txBody>
      </p:sp>
      <p:sp>
        <p:nvSpPr>
          <p:cNvPr id="84" name="Text Placeholder 7">
            <a:extLst>
              <a:ext uri="{FF2B5EF4-FFF2-40B4-BE49-F238E27FC236}">
                <a16:creationId xmlns:a16="http://schemas.microsoft.com/office/drawing/2014/main" id="{79AA1B99-A482-5D4A-E5BD-E935BAC7F6B4}"/>
              </a:ext>
            </a:extLst>
          </p:cNvPr>
          <p:cNvSpPr>
            <a:spLocks noGrp="1"/>
          </p:cNvSpPr>
          <p:nvPr>
            <p:ph type="body" sz="quarter" idx="53" hasCustomPrompt="1"/>
          </p:nvPr>
        </p:nvSpPr>
        <p:spPr>
          <a:xfrm>
            <a:off x="8431469" y="1273143"/>
            <a:ext cx="386079" cy="349250"/>
          </a:xfrm>
        </p:spPr>
        <p:txBody>
          <a:bodyPr>
            <a:noAutofit/>
          </a:bodyPr>
          <a:lstStyle>
            <a:lvl1pPr algn="l">
              <a:defRPr sz="1600"/>
            </a:lvl1pPr>
          </a:lstStyle>
          <a:p>
            <a:pPr lvl="0"/>
            <a:r>
              <a:rPr lang="en-US"/>
              <a:t>00</a:t>
            </a:r>
          </a:p>
        </p:txBody>
      </p:sp>
      <p:sp>
        <p:nvSpPr>
          <p:cNvPr id="85" name="Text Placeholder 7">
            <a:extLst>
              <a:ext uri="{FF2B5EF4-FFF2-40B4-BE49-F238E27FC236}">
                <a16:creationId xmlns:a16="http://schemas.microsoft.com/office/drawing/2014/main" id="{0B4E7ECE-4E17-FD12-80FD-7D8514F8651C}"/>
              </a:ext>
            </a:extLst>
          </p:cNvPr>
          <p:cNvSpPr>
            <a:spLocks noGrp="1"/>
          </p:cNvSpPr>
          <p:nvPr>
            <p:ph type="body" sz="quarter" idx="54" hasCustomPrompt="1"/>
          </p:nvPr>
        </p:nvSpPr>
        <p:spPr>
          <a:xfrm>
            <a:off x="8431469" y="1832075"/>
            <a:ext cx="386079" cy="349250"/>
          </a:xfrm>
        </p:spPr>
        <p:txBody>
          <a:bodyPr>
            <a:noAutofit/>
          </a:bodyPr>
          <a:lstStyle>
            <a:lvl1pPr algn="l">
              <a:defRPr sz="1600"/>
            </a:lvl1pPr>
          </a:lstStyle>
          <a:p>
            <a:pPr lvl="0"/>
            <a:r>
              <a:rPr lang="en-US"/>
              <a:t>00</a:t>
            </a:r>
          </a:p>
        </p:txBody>
      </p:sp>
      <p:sp>
        <p:nvSpPr>
          <p:cNvPr id="86" name="Text Placeholder 7">
            <a:extLst>
              <a:ext uri="{FF2B5EF4-FFF2-40B4-BE49-F238E27FC236}">
                <a16:creationId xmlns:a16="http://schemas.microsoft.com/office/drawing/2014/main" id="{26F18B21-B2B9-513D-EE56-7C123BBC30EE}"/>
              </a:ext>
            </a:extLst>
          </p:cNvPr>
          <p:cNvSpPr>
            <a:spLocks noGrp="1"/>
          </p:cNvSpPr>
          <p:nvPr>
            <p:ph type="body" sz="quarter" idx="55" hasCustomPrompt="1"/>
          </p:nvPr>
        </p:nvSpPr>
        <p:spPr>
          <a:xfrm>
            <a:off x="8431469" y="2391007"/>
            <a:ext cx="386079" cy="349250"/>
          </a:xfrm>
        </p:spPr>
        <p:txBody>
          <a:bodyPr>
            <a:noAutofit/>
          </a:bodyPr>
          <a:lstStyle>
            <a:lvl1pPr algn="l">
              <a:defRPr sz="1600"/>
            </a:lvl1pPr>
          </a:lstStyle>
          <a:p>
            <a:pPr lvl="0"/>
            <a:r>
              <a:rPr lang="en-US"/>
              <a:t>00</a:t>
            </a:r>
          </a:p>
        </p:txBody>
      </p:sp>
      <p:sp>
        <p:nvSpPr>
          <p:cNvPr id="87" name="Text Placeholder 7">
            <a:extLst>
              <a:ext uri="{FF2B5EF4-FFF2-40B4-BE49-F238E27FC236}">
                <a16:creationId xmlns:a16="http://schemas.microsoft.com/office/drawing/2014/main" id="{545E1A05-D18E-1B39-B130-0B5373DF3CCF}"/>
              </a:ext>
            </a:extLst>
          </p:cNvPr>
          <p:cNvSpPr>
            <a:spLocks noGrp="1"/>
          </p:cNvSpPr>
          <p:nvPr>
            <p:ph type="body" sz="quarter" idx="56" hasCustomPrompt="1"/>
          </p:nvPr>
        </p:nvSpPr>
        <p:spPr>
          <a:xfrm>
            <a:off x="8431469" y="2950436"/>
            <a:ext cx="386079" cy="349250"/>
          </a:xfrm>
        </p:spPr>
        <p:txBody>
          <a:bodyPr>
            <a:noAutofit/>
          </a:bodyPr>
          <a:lstStyle>
            <a:lvl1pPr algn="l">
              <a:defRPr sz="1600"/>
            </a:lvl1pPr>
          </a:lstStyle>
          <a:p>
            <a:pPr lvl="0"/>
            <a:r>
              <a:rPr lang="en-US"/>
              <a:t>00</a:t>
            </a:r>
          </a:p>
        </p:txBody>
      </p:sp>
      <p:sp>
        <p:nvSpPr>
          <p:cNvPr id="88" name="Text Placeholder 7">
            <a:extLst>
              <a:ext uri="{FF2B5EF4-FFF2-40B4-BE49-F238E27FC236}">
                <a16:creationId xmlns:a16="http://schemas.microsoft.com/office/drawing/2014/main" id="{53FD3FA8-F7AA-9A96-9373-2471420EDFC4}"/>
              </a:ext>
            </a:extLst>
          </p:cNvPr>
          <p:cNvSpPr>
            <a:spLocks noGrp="1"/>
          </p:cNvSpPr>
          <p:nvPr>
            <p:ph type="body" sz="quarter" idx="57" hasCustomPrompt="1"/>
          </p:nvPr>
        </p:nvSpPr>
        <p:spPr>
          <a:xfrm>
            <a:off x="8431469" y="3508098"/>
            <a:ext cx="386079" cy="349250"/>
          </a:xfrm>
        </p:spPr>
        <p:txBody>
          <a:bodyPr>
            <a:noAutofit/>
          </a:bodyPr>
          <a:lstStyle>
            <a:lvl1pPr algn="l">
              <a:defRPr sz="1600"/>
            </a:lvl1pPr>
          </a:lstStyle>
          <a:p>
            <a:pPr lvl="0"/>
            <a:r>
              <a:rPr lang="en-US"/>
              <a:t>00</a:t>
            </a:r>
          </a:p>
        </p:txBody>
      </p:sp>
      <p:sp>
        <p:nvSpPr>
          <p:cNvPr id="89" name="Text Placeholder 7">
            <a:extLst>
              <a:ext uri="{FF2B5EF4-FFF2-40B4-BE49-F238E27FC236}">
                <a16:creationId xmlns:a16="http://schemas.microsoft.com/office/drawing/2014/main" id="{514F6B5C-F7CA-EE6E-9D8A-889974CF1446}"/>
              </a:ext>
            </a:extLst>
          </p:cNvPr>
          <p:cNvSpPr>
            <a:spLocks noGrp="1"/>
          </p:cNvSpPr>
          <p:nvPr>
            <p:ph type="body" sz="quarter" idx="58" hasCustomPrompt="1"/>
          </p:nvPr>
        </p:nvSpPr>
        <p:spPr>
          <a:xfrm>
            <a:off x="8431469" y="4069570"/>
            <a:ext cx="386079" cy="349250"/>
          </a:xfrm>
        </p:spPr>
        <p:txBody>
          <a:bodyPr>
            <a:noAutofit/>
          </a:bodyPr>
          <a:lstStyle>
            <a:lvl1pPr algn="l">
              <a:defRPr sz="1600"/>
            </a:lvl1pPr>
          </a:lstStyle>
          <a:p>
            <a:pPr lvl="0"/>
            <a:r>
              <a:rPr lang="en-US"/>
              <a:t>00</a:t>
            </a:r>
          </a:p>
        </p:txBody>
      </p:sp>
      <p:sp>
        <p:nvSpPr>
          <p:cNvPr id="90" name="Text Placeholder 7">
            <a:extLst>
              <a:ext uri="{FF2B5EF4-FFF2-40B4-BE49-F238E27FC236}">
                <a16:creationId xmlns:a16="http://schemas.microsoft.com/office/drawing/2014/main" id="{AB26ACFE-390C-FA98-6F7E-30F5880F5136}"/>
              </a:ext>
            </a:extLst>
          </p:cNvPr>
          <p:cNvSpPr>
            <a:spLocks noGrp="1"/>
          </p:cNvSpPr>
          <p:nvPr>
            <p:ph type="body" sz="quarter" idx="59" hasCustomPrompt="1"/>
          </p:nvPr>
        </p:nvSpPr>
        <p:spPr>
          <a:xfrm>
            <a:off x="8431469" y="4629246"/>
            <a:ext cx="386079" cy="349250"/>
          </a:xfrm>
        </p:spPr>
        <p:txBody>
          <a:bodyPr>
            <a:noAutofit/>
          </a:bodyPr>
          <a:lstStyle>
            <a:lvl1pPr algn="l">
              <a:defRPr sz="1600"/>
            </a:lvl1pPr>
          </a:lstStyle>
          <a:p>
            <a:pPr lvl="0"/>
            <a:r>
              <a:rPr lang="en-US"/>
              <a:t>00</a:t>
            </a:r>
          </a:p>
        </p:txBody>
      </p:sp>
      <p:cxnSp>
        <p:nvCxnSpPr>
          <p:cNvPr id="91" name="Straight Connector 90">
            <a:extLst>
              <a:ext uri="{FF2B5EF4-FFF2-40B4-BE49-F238E27FC236}">
                <a16:creationId xmlns:a16="http://schemas.microsoft.com/office/drawing/2014/main" id="{BCA728BD-EB20-0200-30AA-CC2E8BE2C31C}"/>
              </a:ext>
            </a:extLst>
          </p:cNvPr>
          <p:cNvCxnSpPr/>
          <p:nvPr userDrawn="1"/>
        </p:nvCxnSpPr>
        <p:spPr>
          <a:xfrm>
            <a:off x="8436864" y="546377"/>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54F484E-1062-96FB-9772-A33DDC7DB459}"/>
              </a:ext>
            </a:extLst>
          </p:cNvPr>
          <p:cNvCxnSpPr>
            <a:cxnSpLocks/>
          </p:cNvCxnSpPr>
          <p:nvPr userDrawn="1"/>
        </p:nvCxnSpPr>
        <p:spPr>
          <a:xfrm>
            <a:off x="8436864" y="1106605"/>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A33404F-EA55-B570-58DC-A80E91C15CD5}"/>
              </a:ext>
            </a:extLst>
          </p:cNvPr>
          <p:cNvCxnSpPr>
            <a:cxnSpLocks/>
          </p:cNvCxnSpPr>
          <p:nvPr userDrawn="1"/>
        </p:nvCxnSpPr>
        <p:spPr>
          <a:xfrm>
            <a:off x="8436864" y="1666833"/>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04C10450-0952-FCD7-218B-B1BA64F421A9}"/>
              </a:ext>
            </a:extLst>
          </p:cNvPr>
          <p:cNvCxnSpPr/>
          <p:nvPr userDrawn="1"/>
        </p:nvCxnSpPr>
        <p:spPr>
          <a:xfrm>
            <a:off x="8436864" y="2227061"/>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D5D0B1-C9B7-70FA-D9F7-DB03909DAAB7}"/>
              </a:ext>
            </a:extLst>
          </p:cNvPr>
          <p:cNvCxnSpPr/>
          <p:nvPr userDrawn="1"/>
        </p:nvCxnSpPr>
        <p:spPr>
          <a:xfrm>
            <a:off x="8436864" y="2787289"/>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FE577B5-4E77-70F1-C858-26D7AAE05243}"/>
              </a:ext>
            </a:extLst>
          </p:cNvPr>
          <p:cNvCxnSpPr/>
          <p:nvPr userDrawn="1"/>
        </p:nvCxnSpPr>
        <p:spPr>
          <a:xfrm>
            <a:off x="8436864" y="3347517"/>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297698A-53AE-29B0-F1D7-AB8AD65FF4AF}"/>
              </a:ext>
            </a:extLst>
          </p:cNvPr>
          <p:cNvCxnSpPr/>
          <p:nvPr userDrawn="1"/>
        </p:nvCxnSpPr>
        <p:spPr>
          <a:xfrm>
            <a:off x="8436864" y="5028201"/>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4626EA3-4976-72B0-B21B-847D38BBC037}"/>
              </a:ext>
            </a:extLst>
          </p:cNvPr>
          <p:cNvCxnSpPr/>
          <p:nvPr userDrawn="1"/>
        </p:nvCxnSpPr>
        <p:spPr>
          <a:xfrm>
            <a:off x="8436864" y="3907745"/>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33B1D61-7000-1613-792E-D419F44A721D}"/>
              </a:ext>
            </a:extLst>
          </p:cNvPr>
          <p:cNvCxnSpPr/>
          <p:nvPr userDrawn="1"/>
        </p:nvCxnSpPr>
        <p:spPr>
          <a:xfrm>
            <a:off x="8436864" y="4467973"/>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 Placeholder 7">
            <a:extLst>
              <a:ext uri="{FF2B5EF4-FFF2-40B4-BE49-F238E27FC236}">
                <a16:creationId xmlns:a16="http://schemas.microsoft.com/office/drawing/2014/main" id="{A9DCFA3D-2D63-9C11-626F-009081F37163}"/>
              </a:ext>
            </a:extLst>
          </p:cNvPr>
          <p:cNvSpPr>
            <a:spLocks noGrp="1"/>
          </p:cNvSpPr>
          <p:nvPr>
            <p:ph type="body" sz="quarter" idx="60"/>
          </p:nvPr>
        </p:nvSpPr>
        <p:spPr>
          <a:xfrm>
            <a:off x="8914384" y="5188634"/>
            <a:ext cx="2641598" cy="349250"/>
          </a:xfrm>
        </p:spPr>
        <p:txBody>
          <a:bodyPr>
            <a:noAutofit/>
          </a:bodyPr>
          <a:lstStyle>
            <a:lvl1pPr>
              <a:defRPr sz="1600"/>
            </a:lvl1pPr>
          </a:lstStyle>
          <a:p>
            <a:pPr lvl="0"/>
            <a:r>
              <a:rPr lang="en-US"/>
              <a:t>Click to edit Master text styles</a:t>
            </a:r>
          </a:p>
        </p:txBody>
      </p:sp>
      <p:sp>
        <p:nvSpPr>
          <p:cNvPr id="101" name="Text Placeholder 7">
            <a:extLst>
              <a:ext uri="{FF2B5EF4-FFF2-40B4-BE49-F238E27FC236}">
                <a16:creationId xmlns:a16="http://schemas.microsoft.com/office/drawing/2014/main" id="{A39E1836-28CF-5341-A972-EA3BA17B52BF}"/>
              </a:ext>
            </a:extLst>
          </p:cNvPr>
          <p:cNvSpPr>
            <a:spLocks noGrp="1"/>
          </p:cNvSpPr>
          <p:nvPr>
            <p:ph type="body" sz="quarter" idx="61"/>
          </p:nvPr>
        </p:nvSpPr>
        <p:spPr>
          <a:xfrm>
            <a:off x="8914384" y="5748310"/>
            <a:ext cx="2641598" cy="349250"/>
          </a:xfrm>
        </p:spPr>
        <p:txBody>
          <a:bodyPr>
            <a:noAutofit/>
          </a:bodyPr>
          <a:lstStyle>
            <a:lvl1pPr>
              <a:defRPr sz="1600"/>
            </a:lvl1pPr>
          </a:lstStyle>
          <a:p>
            <a:pPr lvl="0"/>
            <a:r>
              <a:rPr lang="en-US"/>
              <a:t>Click to edit Master text styles</a:t>
            </a:r>
          </a:p>
        </p:txBody>
      </p:sp>
      <p:sp>
        <p:nvSpPr>
          <p:cNvPr id="102" name="Text Placeholder 7">
            <a:extLst>
              <a:ext uri="{FF2B5EF4-FFF2-40B4-BE49-F238E27FC236}">
                <a16:creationId xmlns:a16="http://schemas.microsoft.com/office/drawing/2014/main" id="{C5053EC7-3723-6190-C161-169DC1E5DD7B}"/>
              </a:ext>
            </a:extLst>
          </p:cNvPr>
          <p:cNvSpPr>
            <a:spLocks noGrp="1"/>
          </p:cNvSpPr>
          <p:nvPr>
            <p:ph type="body" sz="quarter" idx="62" hasCustomPrompt="1"/>
          </p:nvPr>
        </p:nvSpPr>
        <p:spPr>
          <a:xfrm>
            <a:off x="8431469" y="5188634"/>
            <a:ext cx="386079" cy="349250"/>
          </a:xfrm>
        </p:spPr>
        <p:txBody>
          <a:bodyPr>
            <a:noAutofit/>
          </a:bodyPr>
          <a:lstStyle>
            <a:lvl1pPr algn="l">
              <a:defRPr sz="1600"/>
            </a:lvl1pPr>
          </a:lstStyle>
          <a:p>
            <a:pPr lvl="0"/>
            <a:r>
              <a:rPr lang="en-US"/>
              <a:t>00</a:t>
            </a:r>
          </a:p>
        </p:txBody>
      </p:sp>
      <p:sp>
        <p:nvSpPr>
          <p:cNvPr id="103" name="Text Placeholder 7">
            <a:extLst>
              <a:ext uri="{FF2B5EF4-FFF2-40B4-BE49-F238E27FC236}">
                <a16:creationId xmlns:a16="http://schemas.microsoft.com/office/drawing/2014/main" id="{984AB201-4E11-E823-D4F7-476E854E3AA9}"/>
              </a:ext>
            </a:extLst>
          </p:cNvPr>
          <p:cNvSpPr>
            <a:spLocks noGrp="1"/>
          </p:cNvSpPr>
          <p:nvPr>
            <p:ph type="body" sz="quarter" idx="63" hasCustomPrompt="1"/>
          </p:nvPr>
        </p:nvSpPr>
        <p:spPr>
          <a:xfrm>
            <a:off x="8431469" y="5748310"/>
            <a:ext cx="386079" cy="349250"/>
          </a:xfrm>
        </p:spPr>
        <p:txBody>
          <a:bodyPr>
            <a:noAutofit/>
          </a:bodyPr>
          <a:lstStyle>
            <a:lvl1pPr algn="l">
              <a:defRPr sz="1600"/>
            </a:lvl1pPr>
          </a:lstStyle>
          <a:p>
            <a:pPr lvl="0"/>
            <a:r>
              <a:rPr lang="en-US"/>
              <a:t>00</a:t>
            </a:r>
          </a:p>
        </p:txBody>
      </p:sp>
      <p:cxnSp>
        <p:nvCxnSpPr>
          <p:cNvPr id="104" name="Straight Connector 103">
            <a:extLst>
              <a:ext uri="{FF2B5EF4-FFF2-40B4-BE49-F238E27FC236}">
                <a16:creationId xmlns:a16="http://schemas.microsoft.com/office/drawing/2014/main" id="{19C9D6FF-7925-3B79-A3F7-1AF23F4C080D}"/>
              </a:ext>
            </a:extLst>
          </p:cNvPr>
          <p:cNvCxnSpPr/>
          <p:nvPr userDrawn="1"/>
        </p:nvCxnSpPr>
        <p:spPr>
          <a:xfrm>
            <a:off x="8436864" y="5588426"/>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10155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ulleted List">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556BBD-E905-984B-4075-604E21C91A06}"/>
              </a:ext>
            </a:extLst>
          </p:cNvPr>
          <p:cNvSpPr>
            <a:spLocks noGrp="1"/>
          </p:cNvSpPr>
          <p:nvPr>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21" name="Text Placeholder 3">
            <a:extLst>
              <a:ext uri="{FF2B5EF4-FFF2-40B4-BE49-F238E27FC236}">
                <a16:creationId xmlns:a16="http://schemas.microsoft.com/office/drawing/2014/main" id="{71143EDC-4B43-463B-C8D7-7625E5355C55}"/>
              </a:ext>
            </a:extLst>
          </p:cNvPr>
          <p:cNvSpPr>
            <a:spLocks noGrp="1"/>
          </p:cNvSpPr>
          <p:nvPr>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
        <p:nvSpPr>
          <p:cNvPr id="22" name="Text Placeholder 35">
            <a:extLst>
              <a:ext uri="{FF2B5EF4-FFF2-40B4-BE49-F238E27FC236}">
                <a16:creationId xmlns:a16="http://schemas.microsoft.com/office/drawing/2014/main" id="{6411CE3E-CF5E-1A4F-C684-DD36FC30311C}"/>
              </a:ext>
            </a:extLst>
          </p:cNvPr>
          <p:cNvSpPr>
            <a:spLocks noGrp="1"/>
          </p:cNvSpPr>
          <p:nvPr>
            <p:ph type="body" sz="quarter" idx="15" hasCustomPrompt="1"/>
          </p:nvPr>
        </p:nvSpPr>
        <p:spPr>
          <a:xfrm>
            <a:off x="609599" y="2476503"/>
            <a:ext cx="2843783" cy="292608"/>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9" name="Text Placeholder 8">
            <a:extLst>
              <a:ext uri="{FF2B5EF4-FFF2-40B4-BE49-F238E27FC236}">
                <a16:creationId xmlns:a16="http://schemas.microsoft.com/office/drawing/2014/main" id="{EDDF3BDE-4A54-41C8-10FC-69B08AE6B997}"/>
              </a:ext>
            </a:extLst>
          </p:cNvPr>
          <p:cNvSpPr>
            <a:spLocks noGrp="1"/>
          </p:cNvSpPr>
          <p:nvPr>
            <p:ph type="body" sz="quarter" idx="30"/>
          </p:nvPr>
        </p:nvSpPr>
        <p:spPr>
          <a:xfrm>
            <a:off x="4677663" y="553997"/>
            <a:ext cx="3145536" cy="5618202"/>
          </a:xfrm>
        </p:spPr>
        <p:txBody>
          <a:bodyPr>
            <a:noAutofit/>
          </a:bodyPr>
          <a:lstStyle>
            <a:lvl1pPr marL="182880" indent="-182880">
              <a:spcAft>
                <a:spcPts val="900"/>
              </a:spcAft>
              <a:buFont typeface="Arial" panose="020B0604020202020204" pitchFamily="34" charset="0"/>
              <a:buChar char="•"/>
              <a:defRPr sz="1600"/>
            </a:lvl1pPr>
            <a:lvl2pPr marL="0" indent="0">
              <a:buNone/>
              <a:defRPr/>
            </a:lvl2pPr>
          </a:lstStyle>
          <a:p>
            <a:pPr lvl="0"/>
            <a:r>
              <a:rPr lang="en-US"/>
              <a:t>Click to edit Master text styles</a:t>
            </a:r>
          </a:p>
        </p:txBody>
      </p:sp>
      <p:sp>
        <p:nvSpPr>
          <p:cNvPr id="10" name="Text Placeholder 8">
            <a:extLst>
              <a:ext uri="{FF2B5EF4-FFF2-40B4-BE49-F238E27FC236}">
                <a16:creationId xmlns:a16="http://schemas.microsoft.com/office/drawing/2014/main" id="{ECA029A4-033F-F1AD-7DA5-37222638AB58}"/>
              </a:ext>
            </a:extLst>
          </p:cNvPr>
          <p:cNvSpPr>
            <a:spLocks noGrp="1"/>
          </p:cNvSpPr>
          <p:nvPr>
            <p:ph type="body" sz="quarter" idx="31"/>
          </p:nvPr>
        </p:nvSpPr>
        <p:spPr>
          <a:xfrm>
            <a:off x="8436864" y="553997"/>
            <a:ext cx="3145536" cy="5618202"/>
          </a:xfrm>
        </p:spPr>
        <p:txBody>
          <a:bodyPr>
            <a:noAutofit/>
          </a:bodyPr>
          <a:lstStyle>
            <a:lvl1pPr marL="182880" indent="-182880">
              <a:spcAft>
                <a:spcPts val="900"/>
              </a:spcAft>
              <a:buFont typeface="Arial" panose="020B0604020202020204" pitchFamily="34" charset="0"/>
              <a:buChar char="•"/>
              <a:defRPr sz="1600"/>
            </a:lvl1pPr>
            <a:lvl2pPr marL="0" indent="0">
              <a:buNone/>
              <a:defRPr/>
            </a:lvl2pPr>
          </a:lstStyle>
          <a:p>
            <a:pPr lvl="0"/>
            <a:r>
              <a:rPr lang="en-US"/>
              <a:t>Click to edit Master text styles</a:t>
            </a:r>
          </a:p>
        </p:txBody>
      </p:sp>
      <p:sp>
        <p:nvSpPr>
          <p:cNvPr id="8" name="Footer Placeholder 13">
            <a:extLst>
              <a:ext uri="{FF2B5EF4-FFF2-40B4-BE49-F238E27FC236}">
                <a16:creationId xmlns:a16="http://schemas.microsoft.com/office/drawing/2014/main" id="{E81C2C82-98A2-C7FB-445B-86F4D738263E}"/>
              </a:ext>
            </a:extLst>
          </p:cNvPr>
          <p:cNvSpPr>
            <a:spLocks noGrp="1"/>
          </p:cNvSpPr>
          <p:nvPr>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a:t>© 2024 Guidehouse</a:t>
            </a:r>
          </a:p>
        </p:txBody>
      </p:sp>
      <p:cxnSp>
        <p:nvCxnSpPr>
          <p:cNvPr id="12" name="Straight Connector 11">
            <a:extLst>
              <a:ext uri="{FF2B5EF4-FFF2-40B4-BE49-F238E27FC236}">
                <a16:creationId xmlns:a16="http://schemas.microsoft.com/office/drawing/2014/main" id="{A3DE3797-A47A-C183-05E6-01133D289C78}"/>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403BD6AD-90DB-79A5-E68E-D51E7258BC09}"/>
              </a:ext>
            </a:extLst>
          </p:cNvPr>
          <p:cNvSpPr>
            <a:spLocks noGrp="1"/>
          </p:cNvSpPr>
          <p:nvPr>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cxnSp>
        <p:nvCxnSpPr>
          <p:cNvPr id="14" name="Straight Connector 13">
            <a:extLst>
              <a:ext uri="{FF2B5EF4-FFF2-40B4-BE49-F238E27FC236}">
                <a16:creationId xmlns:a16="http://schemas.microsoft.com/office/drawing/2014/main" id="{45F1349B-9632-CF50-3847-363E87A5E570}"/>
              </a:ext>
            </a:extLst>
          </p:cNvPr>
          <p:cNvCxnSpPr>
            <a:cxnSpLocks/>
          </p:cNvCxnSpPr>
          <p:nvPr/>
        </p:nvCxnSpPr>
        <p:spPr>
          <a:xfrm>
            <a:off x="0" y="426998"/>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3">
            <a:extLst>
              <a:ext uri="{FF2B5EF4-FFF2-40B4-BE49-F238E27FC236}">
                <a16:creationId xmlns:a16="http://schemas.microsoft.com/office/drawing/2014/main" id="{0B9E1423-2A39-F742-D076-4FC2FF26337E}"/>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4" name="Text Placeholder 3">
            <a:extLst>
              <a:ext uri="{FF2B5EF4-FFF2-40B4-BE49-F238E27FC236}">
                <a16:creationId xmlns:a16="http://schemas.microsoft.com/office/drawing/2014/main" id="{C9FF2EEA-635A-FFF6-FCE1-B3EF9F77088F}"/>
              </a:ext>
            </a:extLst>
          </p:cNvPr>
          <p:cNvSpPr>
            <a:spLocks noGrp="1"/>
          </p:cNvSpPr>
          <p:nvPr>
            <p:ph type="body" sz="quarter" idx="32"/>
          </p:nvPr>
        </p:nvSpPr>
        <p:spPr>
          <a:xfrm>
            <a:off x="609600" y="2862072"/>
            <a:ext cx="2843213" cy="2139696"/>
          </a:xfrm>
        </p:spPr>
        <p:txBody>
          <a:bodyPr/>
          <a:lstStyle>
            <a:lvl1pPr marL="0" indent="0">
              <a:buFont typeface="Arial" panose="020B0604020202020204" pitchFamily="34" charset="0"/>
              <a:buNone/>
              <a:defRPr sz="1600">
                <a:solidFill>
                  <a:schemeClr val="bg1"/>
                </a:solidFill>
              </a:defRPr>
            </a:lvl1pPr>
            <a:lvl2pPr marL="0" indent="0">
              <a:buNone/>
              <a:defRPr sz="1600">
                <a:solidFill>
                  <a:schemeClr val="bg1"/>
                </a:solidFill>
              </a:defRPr>
            </a:lvl2pPr>
            <a:lvl3pPr marL="182880" indent="0">
              <a:buNone/>
              <a:defRPr sz="1600">
                <a:solidFill>
                  <a:schemeClr val="bg1"/>
                </a:solidFill>
              </a:defRPr>
            </a:lvl3pPr>
            <a:lvl4pPr marL="365760" indent="0">
              <a:buNone/>
              <a:defRPr sz="1600">
                <a:solidFill>
                  <a:schemeClr val="bg1"/>
                </a:solidFill>
              </a:defRPr>
            </a:lvl4pPr>
            <a:lvl5pPr marL="548640" indent="0">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0600339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3F3F3"/>
        </a:solidFill>
        <a:effectLst/>
      </p:bgPr>
    </p:bg>
    <p:spTree>
      <p:nvGrpSpPr>
        <p:cNvPr id="1" name=""/>
        <p:cNvGrpSpPr/>
        <p:nvPr/>
      </p:nvGrpSpPr>
      <p:grpSpPr>
        <a:xfrm>
          <a:off x="0" y="0"/>
          <a:ext cx="0" cy="0"/>
          <a:chOff x="0" y="0"/>
          <a:chExt cx="0" cy="0"/>
        </a:xfrm>
      </p:grpSpPr>
      <p:sp>
        <p:nvSpPr>
          <p:cNvPr id="20" name="Picture Placeholder 44">
            <a:extLst>
              <a:ext uri="{FF2B5EF4-FFF2-40B4-BE49-F238E27FC236}">
                <a16:creationId xmlns:a16="http://schemas.microsoft.com/office/drawing/2014/main" id="{60FE08F7-7923-25E3-9EA0-3AA8E7EDEAB2}"/>
              </a:ext>
            </a:extLst>
          </p:cNvPr>
          <p:cNvSpPr>
            <a:spLocks noGrp="1"/>
          </p:cNvSpPr>
          <p:nvPr>
            <p:ph type="pic" sz="quarter" idx="37"/>
          </p:nvPr>
        </p:nvSpPr>
        <p:spPr>
          <a:xfrm>
            <a:off x="577701" y="1981968"/>
            <a:ext cx="521208" cy="521208"/>
          </a:xfrm>
          <a:noFill/>
        </p:spPr>
        <p:txBody>
          <a:bodyPr/>
          <a:lstStyle>
            <a:lvl1pPr>
              <a:defRPr sz="1100">
                <a:solidFill>
                  <a:schemeClr val="tx1"/>
                </a:solidFill>
              </a:defRPr>
            </a:lvl1pPr>
          </a:lstStyle>
          <a:p>
            <a:r>
              <a:rPr lang="en-US"/>
              <a:t>Click icon to add picture</a:t>
            </a:r>
          </a:p>
        </p:txBody>
      </p:sp>
      <p:sp>
        <p:nvSpPr>
          <p:cNvPr id="27" name="Picture Placeholder 44">
            <a:extLst>
              <a:ext uri="{FF2B5EF4-FFF2-40B4-BE49-F238E27FC236}">
                <a16:creationId xmlns:a16="http://schemas.microsoft.com/office/drawing/2014/main" id="{1063C6E9-E6BD-D1B4-9AC7-855E6CE8BA25}"/>
              </a:ext>
            </a:extLst>
          </p:cNvPr>
          <p:cNvSpPr>
            <a:spLocks noGrp="1"/>
          </p:cNvSpPr>
          <p:nvPr>
            <p:ph type="pic" sz="quarter" idx="45"/>
          </p:nvPr>
        </p:nvSpPr>
        <p:spPr>
          <a:xfrm>
            <a:off x="577701" y="3087755"/>
            <a:ext cx="521208" cy="521208"/>
          </a:xfrm>
          <a:noFill/>
        </p:spPr>
        <p:txBody>
          <a:bodyPr/>
          <a:lstStyle>
            <a:lvl1pPr>
              <a:defRPr sz="1100">
                <a:solidFill>
                  <a:schemeClr val="tx1"/>
                </a:solidFill>
              </a:defRPr>
            </a:lvl1pPr>
          </a:lstStyle>
          <a:p>
            <a:r>
              <a:rPr lang="en-US"/>
              <a:t>Click icon to add picture</a:t>
            </a:r>
          </a:p>
        </p:txBody>
      </p:sp>
      <p:sp>
        <p:nvSpPr>
          <p:cNvPr id="29" name="Picture Placeholder 44">
            <a:extLst>
              <a:ext uri="{FF2B5EF4-FFF2-40B4-BE49-F238E27FC236}">
                <a16:creationId xmlns:a16="http://schemas.microsoft.com/office/drawing/2014/main" id="{F499B38D-38B5-7F85-7F74-FBFA68AA8C87}"/>
              </a:ext>
            </a:extLst>
          </p:cNvPr>
          <p:cNvSpPr>
            <a:spLocks noGrp="1"/>
          </p:cNvSpPr>
          <p:nvPr>
            <p:ph type="pic" sz="quarter" idx="46"/>
          </p:nvPr>
        </p:nvSpPr>
        <p:spPr>
          <a:xfrm>
            <a:off x="577701" y="4214806"/>
            <a:ext cx="521208" cy="521208"/>
          </a:xfrm>
          <a:noFill/>
        </p:spPr>
        <p:txBody>
          <a:bodyPr/>
          <a:lstStyle>
            <a:lvl1pPr>
              <a:defRPr sz="1100">
                <a:solidFill>
                  <a:schemeClr val="tx1"/>
                </a:solidFill>
              </a:defRPr>
            </a:lvl1pPr>
          </a:lstStyle>
          <a:p>
            <a:r>
              <a:rPr lang="en-US"/>
              <a:t>Click icon to add picture</a:t>
            </a:r>
          </a:p>
        </p:txBody>
      </p:sp>
      <p:sp>
        <p:nvSpPr>
          <p:cNvPr id="30" name="Picture Placeholder 44">
            <a:extLst>
              <a:ext uri="{FF2B5EF4-FFF2-40B4-BE49-F238E27FC236}">
                <a16:creationId xmlns:a16="http://schemas.microsoft.com/office/drawing/2014/main" id="{7F790084-AD9F-370B-0483-ECA61BE5993C}"/>
              </a:ext>
            </a:extLst>
          </p:cNvPr>
          <p:cNvSpPr>
            <a:spLocks noGrp="1"/>
          </p:cNvSpPr>
          <p:nvPr>
            <p:ph type="pic" sz="quarter" idx="47"/>
          </p:nvPr>
        </p:nvSpPr>
        <p:spPr>
          <a:xfrm>
            <a:off x="577701" y="5320592"/>
            <a:ext cx="521208" cy="521208"/>
          </a:xfrm>
          <a:noFill/>
        </p:spPr>
        <p:txBody>
          <a:bodyPr/>
          <a:lstStyle>
            <a:lvl1pPr>
              <a:defRPr sz="1100">
                <a:solidFill>
                  <a:schemeClr val="tx1"/>
                </a:solidFill>
              </a:defRPr>
            </a:lvl1pPr>
          </a:lstStyle>
          <a:p>
            <a:r>
              <a:rPr lang="en-US"/>
              <a:t>Click icon to add picture</a:t>
            </a:r>
          </a:p>
        </p:txBody>
      </p:sp>
      <p:sp>
        <p:nvSpPr>
          <p:cNvPr id="31" name="Picture Placeholder 44">
            <a:extLst>
              <a:ext uri="{FF2B5EF4-FFF2-40B4-BE49-F238E27FC236}">
                <a16:creationId xmlns:a16="http://schemas.microsoft.com/office/drawing/2014/main" id="{AFCFF63D-D6FF-C3FF-3114-6B37AB29CA0F}"/>
              </a:ext>
            </a:extLst>
          </p:cNvPr>
          <p:cNvSpPr>
            <a:spLocks noGrp="1"/>
          </p:cNvSpPr>
          <p:nvPr>
            <p:ph type="pic" sz="quarter" idx="48"/>
          </p:nvPr>
        </p:nvSpPr>
        <p:spPr>
          <a:xfrm>
            <a:off x="6383078" y="1981968"/>
            <a:ext cx="521208" cy="521208"/>
          </a:xfrm>
          <a:noFill/>
        </p:spPr>
        <p:txBody>
          <a:bodyPr/>
          <a:lstStyle>
            <a:lvl1pPr>
              <a:defRPr sz="1100">
                <a:solidFill>
                  <a:schemeClr val="tx1"/>
                </a:solidFill>
              </a:defRPr>
            </a:lvl1pPr>
          </a:lstStyle>
          <a:p>
            <a:r>
              <a:rPr lang="en-US"/>
              <a:t>Click icon to add picture</a:t>
            </a:r>
          </a:p>
        </p:txBody>
      </p:sp>
      <p:sp>
        <p:nvSpPr>
          <p:cNvPr id="32" name="Picture Placeholder 44">
            <a:extLst>
              <a:ext uri="{FF2B5EF4-FFF2-40B4-BE49-F238E27FC236}">
                <a16:creationId xmlns:a16="http://schemas.microsoft.com/office/drawing/2014/main" id="{6467D23E-5594-CC52-9978-CD20B41707D0}"/>
              </a:ext>
            </a:extLst>
          </p:cNvPr>
          <p:cNvSpPr>
            <a:spLocks noGrp="1"/>
          </p:cNvSpPr>
          <p:nvPr>
            <p:ph type="pic" sz="quarter" idx="49"/>
          </p:nvPr>
        </p:nvSpPr>
        <p:spPr>
          <a:xfrm>
            <a:off x="6383078" y="3087755"/>
            <a:ext cx="521208" cy="521208"/>
          </a:xfrm>
          <a:noFill/>
        </p:spPr>
        <p:txBody>
          <a:bodyPr/>
          <a:lstStyle>
            <a:lvl1pPr>
              <a:defRPr sz="1100">
                <a:solidFill>
                  <a:schemeClr val="tx1"/>
                </a:solidFill>
              </a:defRPr>
            </a:lvl1pPr>
          </a:lstStyle>
          <a:p>
            <a:r>
              <a:rPr lang="en-US"/>
              <a:t>Click icon to add picture</a:t>
            </a:r>
          </a:p>
        </p:txBody>
      </p:sp>
      <p:sp>
        <p:nvSpPr>
          <p:cNvPr id="33" name="Picture Placeholder 44">
            <a:extLst>
              <a:ext uri="{FF2B5EF4-FFF2-40B4-BE49-F238E27FC236}">
                <a16:creationId xmlns:a16="http://schemas.microsoft.com/office/drawing/2014/main" id="{A9C41153-FFFB-B8A5-C129-F46C1642A7DD}"/>
              </a:ext>
            </a:extLst>
          </p:cNvPr>
          <p:cNvSpPr>
            <a:spLocks noGrp="1"/>
          </p:cNvSpPr>
          <p:nvPr>
            <p:ph type="pic" sz="quarter" idx="50"/>
          </p:nvPr>
        </p:nvSpPr>
        <p:spPr>
          <a:xfrm>
            <a:off x="6383078" y="4214806"/>
            <a:ext cx="521208" cy="521208"/>
          </a:xfrm>
          <a:noFill/>
        </p:spPr>
        <p:txBody>
          <a:bodyPr/>
          <a:lstStyle>
            <a:lvl1pPr>
              <a:defRPr sz="1100">
                <a:solidFill>
                  <a:schemeClr val="tx1"/>
                </a:solidFill>
              </a:defRPr>
            </a:lvl1pPr>
          </a:lstStyle>
          <a:p>
            <a:r>
              <a:rPr lang="en-US"/>
              <a:t>Click icon to add picture</a:t>
            </a:r>
          </a:p>
        </p:txBody>
      </p:sp>
      <p:sp>
        <p:nvSpPr>
          <p:cNvPr id="42" name="Picture Placeholder 44">
            <a:extLst>
              <a:ext uri="{FF2B5EF4-FFF2-40B4-BE49-F238E27FC236}">
                <a16:creationId xmlns:a16="http://schemas.microsoft.com/office/drawing/2014/main" id="{FCAABB65-6A21-2CBD-501C-D3817B751B01}"/>
              </a:ext>
            </a:extLst>
          </p:cNvPr>
          <p:cNvSpPr>
            <a:spLocks noGrp="1"/>
          </p:cNvSpPr>
          <p:nvPr>
            <p:ph type="pic" sz="quarter" idx="51"/>
          </p:nvPr>
        </p:nvSpPr>
        <p:spPr>
          <a:xfrm>
            <a:off x="6383078" y="5320592"/>
            <a:ext cx="521208" cy="521208"/>
          </a:xfrm>
          <a:noFill/>
        </p:spPr>
        <p:txBody>
          <a:bodyPr/>
          <a:lstStyle>
            <a:lvl1pPr>
              <a:defRPr sz="1100">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CF92DA3C-B400-7D96-D4FF-167A22E2768E}"/>
              </a:ext>
            </a:extLst>
          </p:cNvPr>
          <p:cNvSpPr>
            <a:spLocks noGrp="1"/>
          </p:cNvSpPr>
          <p:nvPr>
            <p:ph type="title"/>
          </p:nvPr>
        </p:nvSpPr>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2411A311-108E-39FF-FC73-01F17930D7F4}"/>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4444F176-916E-708A-80E0-D930659536D6}"/>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cxnSp>
        <p:nvCxnSpPr>
          <p:cNvPr id="7" name="Straight Connector 6">
            <a:extLst>
              <a:ext uri="{FF2B5EF4-FFF2-40B4-BE49-F238E27FC236}">
                <a16:creationId xmlns:a16="http://schemas.microsoft.com/office/drawing/2014/main" id="{2E3BE2C7-99A3-5297-A35C-91C6A5C57AD8}"/>
              </a:ext>
            </a:extLst>
          </p:cNvPr>
          <p:cNvCxnSpPr>
            <a:cxnSpLocks/>
          </p:cNvCxnSpPr>
          <p:nvPr/>
        </p:nvCxnSpPr>
        <p:spPr>
          <a:xfrm flipH="1">
            <a:off x="609600" y="279288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960142E-EDAD-DFFA-9C01-1F67C216F750}"/>
              </a:ext>
            </a:extLst>
          </p:cNvPr>
          <p:cNvCxnSpPr>
            <a:cxnSpLocks/>
          </p:cNvCxnSpPr>
          <p:nvPr/>
        </p:nvCxnSpPr>
        <p:spPr>
          <a:xfrm flipH="1">
            <a:off x="609600" y="391132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0906117-86F4-9D4F-B178-CC975C116517}"/>
              </a:ext>
            </a:extLst>
          </p:cNvPr>
          <p:cNvCxnSpPr>
            <a:cxnSpLocks/>
          </p:cNvCxnSpPr>
          <p:nvPr/>
        </p:nvCxnSpPr>
        <p:spPr>
          <a:xfrm flipH="1">
            <a:off x="609600" y="502976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9B99F69-F56C-11B7-D0C6-91FE1BC33E24}"/>
              </a:ext>
            </a:extLst>
          </p:cNvPr>
          <p:cNvCxnSpPr>
            <a:cxnSpLocks/>
          </p:cNvCxnSpPr>
          <p:nvPr/>
        </p:nvCxnSpPr>
        <p:spPr>
          <a:xfrm flipH="1">
            <a:off x="6400800" y="279288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CA7D41F-C82E-2D14-195D-E005F0D8A477}"/>
              </a:ext>
            </a:extLst>
          </p:cNvPr>
          <p:cNvCxnSpPr>
            <a:cxnSpLocks/>
          </p:cNvCxnSpPr>
          <p:nvPr/>
        </p:nvCxnSpPr>
        <p:spPr>
          <a:xfrm flipH="1">
            <a:off x="6400800" y="391132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D663618-2FF9-3477-3DD8-C7DD916ECF39}"/>
              </a:ext>
            </a:extLst>
          </p:cNvPr>
          <p:cNvCxnSpPr>
            <a:cxnSpLocks/>
          </p:cNvCxnSpPr>
          <p:nvPr/>
        </p:nvCxnSpPr>
        <p:spPr>
          <a:xfrm flipH="1">
            <a:off x="6400800" y="502976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E8837E46-BA2C-9DF4-36FC-0763BF0A22EA}"/>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4" name="Text Placeholder 33">
            <a:extLst>
              <a:ext uri="{FF2B5EF4-FFF2-40B4-BE49-F238E27FC236}">
                <a16:creationId xmlns:a16="http://schemas.microsoft.com/office/drawing/2014/main" id="{EF7D62BA-55BB-D3B6-13AD-F9D47B2F2136}"/>
              </a:ext>
            </a:extLst>
          </p:cNvPr>
          <p:cNvSpPr>
            <a:spLocks noGrp="1"/>
          </p:cNvSpPr>
          <p:nvPr>
            <p:ph type="body" sz="quarter" idx="29"/>
          </p:nvPr>
        </p:nvSpPr>
        <p:spPr>
          <a:xfrm>
            <a:off x="1383792" y="186433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5" name="Text Placeholder 33">
            <a:extLst>
              <a:ext uri="{FF2B5EF4-FFF2-40B4-BE49-F238E27FC236}">
                <a16:creationId xmlns:a16="http://schemas.microsoft.com/office/drawing/2014/main" id="{6C80C541-0250-9D84-391B-A21069927EBB}"/>
              </a:ext>
            </a:extLst>
          </p:cNvPr>
          <p:cNvSpPr>
            <a:spLocks noGrp="1"/>
          </p:cNvSpPr>
          <p:nvPr>
            <p:ph type="body" sz="quarter" idx="30"/>
          </p:nvPr>
        </p:nvSpPr>
        <p:spPr>
          <a:xfrm>
            <a:off x="1383792" y="298077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6" name="Text Placeholder 33">
            <a:extLst>
              <a:ext uri="{FF2B5EF4-FFF2-40B4-BE49-F238E27FC236}">
                <a16:creationId xmlns:a16="http://schemas.microsoft.com/office/drawing/2014/main" id="{8BF74CDA-28C4-4C08-66B3-14A69F5CF3C4}"/>
              </a:ext>
            </a:extLst>
          </p:cNvPr>
          <p:cNvSpPr>
            <a:spLocks noGrp="1"/>
          </p:cNvSpPr>
          <p:nvPr>
            <p:ph type="body" sz="quarter" idx="31"/>
          </p:nvPr>
        </p:nvSpPr>
        <p:spPr>
          <a:xfrm>
            <a:off x="1383792" y="409921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7" name="Text Placeholder 33">
            <a:extLst>
              <a:ext uri="{FF2B5EF4-FFF2-40B4-BE49-F238E27FC236}">
                <a16:creationId xmlns:a16="http://schemas.microsoft.com/office/drawing/2014/main" id="{7F33184B-9DE0-482E-55CA-0C2AE9FCEC46}"/>
              </a:ext>
            </a:extLst>
          </p:cNvPr>
          <p:cNvSpPr>
            <a:spLocks noGrp="1"/>
          </p:cNvSpPr>
          <p:nvPr>
            <p:ph type="body" sz="quarter" idx="32"/>
          </p:nvPr>
        </p:nvSpPr>
        <p:spPr>
          <a:xfrm>
            <a:off x="1383792" y="5217656"/>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8" name="Text Placeholder 33">
            <a:extLst>
              <a:ext uri="{FF2B5EF4-FFF2-40B4-BE49-F238E27FC236}">
                <a16:creationId xmlns:a16="http://schemas.microsoft.com/office/drawing/2014/main" id="{276468C7-4A14-A8A8-5CE7-4B21B6E420EB}"/>
              </a:ext>
            </a:extLst>
          </p:cNvPr>
          <p:cNvSpPr>
            <a:spLocks noGrp="1"/>
          </p:cNvSpPr>
          <p:nvPr>
            <p:ph type="body" sz="quarter" idx="33"/>
          </p:nvPr>
        </p:nvSpPr>
        <p:spPr>
          <a:xfrm>
            <a:off x="7174992" y="186433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9" name="Text Placeholder 33">
            <a:extLst>
              <a:ext uri="{FF2B5EF4-FFF2-40B4-BE49-F238E27FC236}">
                <a16:creationId xmlns:a16="http://schemas.microsoft.com/office/drawing/2014/main" id="{E6C2CA8D-6C05-00B3-E5CA-FD18970B8375}"/>
              </a:ext>
            </a:extLst>
          </p:cNvPr>
          <p:cNvSpPr>
            <a:spLocks noGrp="1"/>
          </p:cNvSpPr>
          <p:nvPr>
            <p:ph type="body" sz="quarter" idx="34"/>
          </p:nvPr>
        </p:nvSpPr>
        <p:spPr>
          <a:xfrm>
            <a:off x="7174992" y="298077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40" name="Text Placeholder 33">
            <a:extLst>
              <a:ext uri="{FF2B5EF4-FFF2-40B4-BE49-F238E27FC236}">
                <a16:creationId xmlns:a16="http://schemas.microsoft.com/office/drawing/2014/main" id="{1944A092-782F-7703-C417-89A3E3F29CDA}"/>
              </a:ext>
            </a:extLst>
          </p:cNvPr>
          <p:cNvSpPr>
            <a:spLocks noGrp="1"/>
          </p:cNvSpPr>
          <p:nvPr>
            <p:ph type="body" sz="quarter" idx="35"/>
          </p:nvPr>
        </p:nvSpPr>
        <p:spPr>
          <a:xfrm>
            <a:off x="7174992" y="409921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41" name="Text Placeholder 33">
            <a:extLst>
              <a:ext uri="{FF2B5EF4-FFF2-40B4-BE49-F238E27FC236}">
                <a16:creationId xmlns:a16="http://schemas.microsoft.com/office/drawing/2014/main" id="{CD79B6C8-CDF7-D553-A358-90821D8DD524}"/>
              </a:ext>
            </a:extLst>
          </p:cNvPr>
          <p:cNvSpPr>
            <a:spLocks noGrp="1"/>
          </p:cNvSpPr>
          <p:nvPr>
            <p:ph type="body" sz="quarter" idx="36"/>
          </p:nvPr>
        </p:nvSpPr>
        <p:spPr>
          <a:xfrm>
            <a:off x="7174992" y="5217656"/>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5" name="Text Placeholder 7">
            <a:extLst>
              <a:ext uri="{FF2B5EF4-FFF2-40B4-BE49-F238E27FC236}">
                <a16:creationId xmlns:a16="http://schemas.microsoft.com/office/drawing/2014/main" id="{3A75833F-071D-1C82-482F-24D6ACC65FFD}"/>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6" name="Date Placeholder 4">
            <a:extLst>
              <a:ext uri="{FF2B5EF4-FFF2-40B4-BE49-F238E27FC236}">
                <a16:creationId xmlns:a16="http://schemas.microsoft.com/office/drawing/2014/main" id="{CAADD96C-253C-8A15-2B0F-E9E97387A912}"/>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E484552C-B576-4762-A571-B5CA76484FB7}" type="datetime4">
              <a:rPr lang="en-US" smtClean="0"/>
              <a:t>May 17, 2025</a:t>
            </a:fld>
            <a:endParaRPr lang="en-US"/>
          </a:p>
        </p:txBody>
      </p:sp>
    </p:spTree>
    <p:extLst>
      <p:ext uri="{BB962C8B-B14F-4D97-AF65-F5344CB8AC3E}">
        <p14:creationId xmlns:p14="http://schemas.microsoft.com/office/powerpoint/2010/main" val="379989246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mages A">
    <p:bg>
      <p:bgPr>
        <a:solidFill>
          <a:srgbClr val="F3F3F3"/>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89B71025-0D3F-8A12-3873-64C2498801EE}"/>
              </a:ext>
            </a:extLst>
          </p:cNvPr>
          <p:cNvSpPr>
            <a:spLocks noGrp="1"/>
          </p:cNvSpPr>
          <p:nvPr>
            <p:ph type="pic" sz="quarter" idx="14"/>
          </p:nvPr>
        </p:nvSpPr>
        <p:spPr>
          <a:xfrm>
            <a:off x="609600" y="1790700"/>
            <a:ext cx="5358384" cy="1947672"/>
          </a:xfrm>
          <a:solidFill>
            <a:schemeClr val="bg1">
              <a:lumMod val="75000"/>
            </a:schemeClr>
          </a:solidFill>
        </p:spPr>
        <p:txBody>
          <a:bodyPr vert="horz" lIns="0" tIns="0" rIns="0" bIns="0" rtlCol="0" anchor="ctr">
            <a:noAutofit/>
          </a:bodyPr>
          <a:lstStyle>
            <a:lvl1pPr>
              <a:defRPr lang="en-US" sz="1000" b="0"/>
            </a:lvl1pPr>
          </a:lstStyle>
          <a:p>
            <a:pPr lvl="0" algn="ctr"/>
            <a:r>
              <a:rPr lang="en-US"/>
              <a:t>Click icon to add picture</a:t>
            </a:r>
          </a:p>
        </p:txBody>
      </p:sp>
      <p:sp>
        <p:nvSpPr>
          <p:cNvPr id="2" name="Title 1">
            <a:extLst>
              <a:ext uri="{FF2B5EF4-FFF2-40B4-BE49-F238E27FC236}">
                <a16:creationId xmlns:a16="http://schemas.microsoft.com/office/drawing/2014/main" id="{905AA237-899E-FCE0-0AD4-FB2A20187667}"/>
              </a:ext>
            </a:extLst>
          </p:cNvPr>
          <p:cNvSpPr>
            <a:spLocks noGrp="1"/>
          </p:cNvSpPr>
          <p:nvPr>
            <p:ph type="title"/>
          </p:nvPr>
        </p:nvSpPr>
        <p:spPr>
          <a:xfrm>
            <a:off x="609600" y="800754"/>
            <a:ext cx="1097280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EE022DAC-57D8-FDDF-7CC8-51F8E0B89881}"/>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A49F2FA9-D8E4-C2EC-CC64-A86F688904EB}"/>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10" name="Text Placeholder 3">
            <a:extLst>
              <a:ext uri="{FF2B5EF4-FFF2-40B4-BE49-F238E27FC236}">
                <a16:creationId xmlns:a16="http://schemas.microsoft.com/office/drawing/2014/main" id="{E9CF9EAE-D6F8-F104-36AA-53E56737A985}"/>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13" name="Picture Placeholder 11">
            <a:extLst>
              <a:ext uri="{FF2B5EF4-FFF2-40B4-BE49-F238E27FC236}">
                <a16:creationId xmlns:a16="http://schemas.microsoft.com/office/drawing/2014/main" id="{E6160F4D-A315-BF53-90E4-1CAC3F7B6DBE}"/>
              </a:ext>
            </a:extLst>
          </p:cNvPr>
          <p:cNvSpPr>
            <a:spLocks noGrp="1"/>
          </p:cNvSpPr>
          <p:nvPr>
            <p:ph type="pic" sz="quarter" idx="15"/>
          </p:nvPr>
        </p:nvSpPr>
        <p:spPr>
          <a:xfrm>
            <a:off x="609600" y="3957828"/>
            <a:ext cx="5358384" cy="1947672"/>
          </a:xfrm>
          <a:solidFill>
            <a:schemeClr val="bg1">
              <a:lumMod val="75000"/>
            </a:schemeClr>
          </a:solidFill>
        </p:spPr>
        <p:txBody>
          <a:bodyPr vert="horz" lIns="0" tIns="0" rIns="0" bIns="0" rtlCol="0" anchor="ctr">
            <a:noAutofit/>
          </a:bodyPr>
          <a:lstStyle>
            <a:lvl1pPr>
              <a:defRPr lang="en-US" sz="1000" b="0"/>
            </a:lvl1pPr>
          </a:lstStyle>
          <a:p>
            <a:pPr lvl="0" algn="ctr"/>
            <a:r>
              <a:rPr lang="en-US"/>
              <a:t>Click icon to add picture</a:t>
            </a:r>
          </a:p>
        </p:txBody>
      </p:sp>
      <p:sp>
        <p:nvSpPr>
          <p:cNvPr id="14" name="Picture Placeholder 11">
            <a:extLst>
              <a:ext uri="{FF2B5EF4-FFF2-40B4-BE49-F238E27FC236}">
                <a16:creationId xmlns:a16="http://schemas.microsoft.com/office/drawing/2014/main" id="{7027D155-A6B5-0280-283D-C141C39D8B09}"/>
              </a:ext>
            </a:extLst>
          </p:cNvPr>
          <p:cNvSpPr>
            <a:spLocks noGrp="1"/>
          </p:cNvSpPr>
          <p:nvPr>
            <p:ph type="pic" sz="quarter" idx="16"/>
          </p:nvPr>
        </p:nvSpPr>
        <p:spPr>
          <a:xfrm>
            <a:off x="6224016" y="1790700"/>
            <a:ext cx="5358384" cy="1947672"/>
          </a:xfrm>
          <a:solidFill>
            <a:schemeClr val="bg1">
              <a:lumMod val="75000"/>
            </a:schemeClr>
          </a:solidFill>
        </p:spPr>
        <p:txBody>
          <a:bodyPr vert="horz" lIns="0" tIns="0" rIns="0" bIns="0" rtlCol="0" anchor="ctr">
            <a:noAutofit/>
          </a:bodyPr>
          <a:lstStyle>
            <a:lvl1pPr>
              <a:defRPr lang="en-US" sz="1000" b="0"/>
            </a:lvl1pPr>
          </a:lstStyle>
          <a:p>
            <a:pPr lvl="0" algn="ctr"/>
            <a:r>
              <a:rPr lang="en-US"/>
              <a:t>Click icon to add picture</a:t>
            </a:r>
          </a:p>
        </p:txBody>
      </p:sp>
      <p:sp>
        <p:nvSpPr>
          <p:cNvPr id="15" name="Picture Placeholder 11">
            <a:extLst>
              <a:ext uri="{FF2B5EF4-FFF2-40B4-BE49-F238E27FC236}">
                <a16:creationId xmlns:a16="http://schemas.microsoft.com/office/drawing/2014/main" id="{30C351AF-CAC4-025C-75C9-8260C7290B50}"/>
              </a:ext>
            </a:extLst>
          </p:cNvPr>
          <p:cNvSpPr>
            <a:spLocks noGrp="1"/>
          </p:cNvSpPr>
          <p:nvPr>
            <p:ph type="pic" sz="quarter" idx="17"/>
          </p:nvPr>
        </p:nvSpPr>
        <p:spPr>
          <a:xfrm>
            <a:off x="6224016" y="3957828"/>
            <a:ext cx="5358384" cy="1947672"/>
          </a:xfrm>
          <a:solidFill>
            <a:schemeClr val="bg1">
              <a:lumMod val="75000"/>
            </a:schemeClr>
          </a:solidFill>
        </p:spPr>
        <p:txBody>
          <a:bodyPr vert="horz" lIns="0" tIns="0" rIns="0" bIns="0" rtlCol="0" anchor="ctr">
            <a:noAutofit/>
          </a:bodyPr>
          <a:lstStyle>
            <a:lvl1pPr>
              <a:defRPr lang="en-US" sz="1000" b="0"/>
            </a:lvl1pPr>
          </a:lstStyle>
          <a:p>
            <a:pPr lvl="0" algn="ctr"/>
            <a:r>
              <a:rPr lang="en-US"/>
              <a:t>Click icon to add picture</a:t>
            </a:r>
          </a:p>
        </p:txBody>
      </p:sp>
      <p:sp>
        <p:nvSpPr>
          <p:cNvPr id="6" name="Text Placeholder 7">
            <a:extLst>
              <a:ext uri="{FF2B5EF4-FFF2-40B4-BE49-F238E27FC236}">
                <a16:creationId xmlns:a16="http://schemas.microsoft.com/office/drawing/2014/main" id="{D7621DF6-C14F-C882-2FEB-46261B932E73}"/>
              </a:ext>
            </a:extLst>
          </p:cNvPr>
          <p:cNvSpPr>
            <a:spLocks noGrp="1"/>
          </p:cNvSpPr>
          <p:nvPr>
            <p:ph type="body" sz="quarter" idx="1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7" name="Date Placeholder 4">
            <a:extLst>
              <a:ext uri="{FF2B5EF4-FFF2-40B4-BE49-F238E27FC236}">
                <a16:creationId xmlns:a16="http://schemas.microsoft.com/office/drawing/2014/main" id="{12776338-D81B-C1EF-6EC3-146EA96FB5D5}"/>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802212C3-D054-41B7-B2BF-B791A8716781}" type="datetime4">
              <a:rPr lang="en-US" smtClean="0"/>
              <a:t>May 17, 2025</a:t>
            </a:fld>
            <a:endParaRPr lang="en-US"/>
          </a:p>
        </p:txBody>
      </p:sp>
    </p:spTree>
    <p:extLst>
      <p:ext uri="{BB962C8B-B14F-4D97-AF65-F5344CB8AC3E}">
        <p14:creationId xmlns:p14="http://schemas.microsoft.com/office/powerpoint/2010/main" val="303567061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Images C">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AA237-899E-FCE0-0AD4-FB2A20187667}"/>
              </a:ext>
            </a:extLst>
          </p:cNvPr>
          <p:cNvSpPr>
            <a:spLocks noGrp="1"/>
          </p:cNvSpPr>
          <p:nvPr>
            <p:ph type="title"/>
          </p:nvPr>
        </p:nvSpPr>
        <p:spPr>
          <a:xfrm>
            <a:off x="609600" y="800754"/>
            <a:ext cx="1097280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EE022DAC-57D8-FDDF-7CC8-51F8E0B89881}"/>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A49F2FA9-D8E4-C2EC-CC64-A86F688904EB}"/>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5" name="Date Placeholder 4">
            <a:extLst>
              <a:ext uri="{FF2B5EF4-FFF2-40B4-BE49-F238E27FC236}">
                <a16:creationId xmlns:a16="http://schemas.microsoft.com/office/drawing/2014/main" id="{4ED9CC79-5E2B-2168-888E-FD51C76D6E28}"/>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F162C123-080F-4289-B439-5E14023B5C17}" type="datetime4">
              <a:rPr lang="en-US" smtClean="0"/>
              <a:t>May 17, 2025</a:t>
            </a:fld>
            <a:endParaRPr lang="en-US"/>
          </a:p>
        </p:txBody>
      </p:sp>
      <p:sp>
        <p:nvSpPr>
          <p:cNvPr id="6" name="Text Placeholder 3">
            <a:extLst>
              <a:ext uri="{FF2B5EF4-FFF2-40B4-BE49-F238E27FC236}">
                <a16:creationId xmlns:a16="http://schemas.microsoft.com/office/drawing/2014/main" id="{1B22928A-D77F-2EB2-5612-6796E599974E}"/>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7" name="Text Placeholder 7">
            <a:extLst>
              <a:ext uri="{FF2B5EF4-FFF2-40B4-BE49-F238E27FC236}">
                <a16:creationId xmlns:a16="http://schemas.microsoft.com/office/drawing/2014/main" id="{E9CEEA61-0AD2-17FF-8A06-DEDFDB3DD907}"/>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Picture Placeholder 11">
            <a:extLst>
              <a:ext uri="{FF2B5EF4-FFF2-40B4-BE49-F238E27FC236}">
                <a16:creationId xmlns:a16="http://schemas.microsoft.com/office/drawing/2014/main" id="{65FB64E0-35EB-079E-2330-CD61F7E3D5B2}"/>
              </a:ext>
            </a:extLst>
          </p:cNvPr>
          <p:cNvSpPr>
            <a:spLocks noGrp="1"/>
          </p:cNvSpPr>
          <p:nvPr>
            <p:ph type="pic" sz="quarter" idx="15" hasCustomPrompt="1"/>
          </p:nvPr>
        </p:nvSpPr>
        <p:spPr>
          <a:xfrm>
            <a:off x="609600" y="1790700"/>
            <a:ext cx="2551176" cy="4114800"/>
          </a:xfrm>
          <a:solidFill>
            <a:schemeClr val="bg1">
              <a:lumMod val="75000"/>
            </a:schemeClr>
          </a:solidFill>
        </p:spPr>
        <p:txBody>
          <a:bodyPr vert="horz" lIns="0" tIns="0" rIns="0" bIns="0" rtlCol="0" anchor="ctr">
            <a:noAutofit/>
          </a:bodyPr>
          <a:lstStyle>
            <a:lvl1pPr>
              <a:defRPr lang="en-US" sz="1000" b="0"/>
            </a:lvl1pPr>
          </a:lstStyle>
          <a:p>
            <a:pPr lvl="0" algn="ctr"/>
            <a:r>
              <a:rPr lang="en-US"/>
              <a:t>Insert Photo</a:t>
            </a:r>
          </a:p>
        </p:txBody>
      </p:sp>
      <p:sp>
        <p:nvSpPr>
          <p:cNvPr id="13" name="Picture Placeholder 11">
            <a:extLst>
              <a:ext uri="{FF2B5EF4-FFF2-40B4-BE49-F238E27FC236}">
                <a16:creationId xmlns:a16="http://schemas.microsoft.com/office/drawing/2014/main" id="{F1A9043B-9BCA-1269-E31C-B480E7D262D4}"/>
              </a:ext>
            </a:extLst>
          </p:cNvPr>
          <p:cNvSpPr>
            <a:spLocks noGrp="1"/>
          </p:cNvSpPr>
          <p:nvPr>
            <p:ph type="pic" sz="quarter" idx="16" hasCustomPrompt="1"/>
          </p:nvPr>
        </p:nvSpPr>
        <p:spPr>
          <a:xfrm>
            <a:off x="3416808" y="1790700"/>
            <a:ext cx="2551176" cy="4114800"/>
          </a:xfrm>
          <a:solidFill>
            <a:schemeClr val="bg1">
              <a:lumMod val="75000"/>
            </a:schemeClr>
          </a:solidFill>
        </p:spPr>
        <p:txBody>
          <a:bodyPr vert="horz" lIns="0" tIns="0" rIns="0" bIns="0" rtlCol="0" anchor="ctr">
            <a:noAutofit/>
          </a:bodyPr>
          <a:lstStyle>
            <a:lvl1pPr>
              <a:defRPr lang="en-US" sz="1000" b="0"/>
            </a:lvl1pPr>
          </a:lstStyle>
          <a:p>
            <a:pPr lvl="0" algn="ctr"/>
            <a:r>
              <a:rPr lang="en-US"/>
              <a:t>Insert Photo</a:t>
            </a:r>
          </a:p>
        </p:txBody>
      </p:sp>
      <p:sp>
        <p:nvSpPr>
          <p:cNvPr id="14" name="Picture Placeholder 11">
            <a:extLst>
              <a:ext uri="{FF2B5EF4-FFF2-40B4-BE49-F238E27FC236}">
                <a16:creationId xmlns:a16="http://schemas.microsoft.com/office/drawing/2014/main" id="{4804B2A6-2190-2E08-9358-3697DADCA99F}"/>
              </a:ext>
            </a:extLst>
          </p:cNvPr>
          <p:cNvSpPr>
            <a:spLocks noGrp="1"/>
          </p:cNvSpPr>
          <p:nvPr>
            <p:ph type="pic" sz="quarter" idx="17" hasCustomPrompt="1"/>
          </p:nvPr>
        </p:nvSpPr>
        <p:spPr>
          <a:xfrm>
            <a:off x="6224016" y="1790700"/>
            <a:ext cx="2551176" cy="4114800"/>
          </a:xfrm>
          <a:solidFill>
            <a:schemeClr val="bg1">
              <a:lumMod val="75000"/>
            </a:schemeClr>
          </a:solidFill>
        </p:spPr>
        <p:txBody>
          <a:bodyPr vert="horz" lIns="0" tIns="0" rIns="0" bIns="0" rtlCol="0" anchor="ctr">
            <a:noAutofit/>
          </a:bodyPr>
          <a:lstStyle>
            <a:lvl1pPr>
              <a:defRPr lang="en-US" sz="1000" b="0"/>
            </a:lvl1pPr>
          </a:lstStyle>
          <a:p>
            <a:pPr lvl="0" algn="ctr"/>
            <a:r>
              <a:rPr lang="en-US"/>
              <a:t>Insert Photo</a:t>
            </a:r>
          </a:p>
        </p:txBody>
      </p:sp>
      <p:sp>
        <p:nvSpPr>
          <p:cNvPr id="15" name="Picture Placeholder 11">
            <a:extLst>
              <a:ext uri="{FF2B5EF4-FFF2-40B4-BE49-F238E27FC236}">
                <a16:creationId xmlns:a16="http://schemas.microsoft.com/office/drawing/2014/main" id="{B7CB3A23-8096-7865-E664-844FE6AF8ED8}"/>
              </a:ext>
            </a:extLst>
          </p:cNvPr>
          <p:cNvSpPr>
            <a:spLocks noGrp="1"/>
          </p:cNvSpPr>
          <p:nvPr>
            <p:ph type="pic" sz="quarter" idx="18" hasCustomPrompt="1"/>
          </p:nvPr>
        </p:nvSpPr>
        <p:spPr>
          <a:xfrm>
            <a:off x="9031224" y="1790700"/>
            <a:ext cx="2551176" cy="4114800"/>
          </a:xfrm>
          <a:solidFill>
            <a:schemeClr val="bg1">
              <a:lumMod val="75000"/>
            </a:schemeClr>
          </a:solidFill>
        </p:spPr>
        <p:txBody>
          <a:bodyPr vert="horz" lIns="0" tIns="0" rIns="0" bIns="0" rtlCol="0" anchor="ctr">
            <a:noAutofit/>
          </a:bodyPr>
          <a:lstStyle>
            <a:lvl1pPr>
              <a:defRPr lang="en-US" sz="1000" b="0" dirty="0"/>
            </a:lvl1pPr>
          </a:lstStyle>
          <a:p>
            <a:pPr lvl="0" algn="ctr"/>
            <a:r>
              <a:rPr lang="en-US"/>
              <a:t>Insert Photo</a:t>
            </a:r>
          </a:p>
        </p:txBody>
      </p:sp>
    </p:spTree>
    <p:extLst>
      <p:ext uri="{BB962C8B-B14F-4D97-AF65-F5344CB8AC3E}">
        <p14:creationId xmlns:p14="http://schemas.microsoft.com/office/powerpoint/2010/main" val="149098579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mages B">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AA237-899E-FCE0-0AD4-FB2A20187667}"/>
              </a:ext>
            </a:extLst>
          </p:cNvPr>
          <p:cNvSpPr>
            <a:spLocks noGrp="1"/>
          </p:cNvSpPr>
          <p:nvPr>
            <p:ph type="title"/>
          </p:nvPr>
        </p:nvSpPr>
        <p:spPr>
          <a:xfrm>
            <a:off x="609600" y="800754"/>
            <a:ext cx="1097280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EE022DAC-57D8-FDDF-7CC8-51F8E0B89881}"/>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4" name="Slide Number Placeholder 3">
            <a:extLst>
              <a:ext uri="{FF2B5EF4-FFF2-40B4-BE49-F238E27FC236}">
                <a16:creationId xmlns:a16="http://schemas.microsoft.com/office/drawing/2014/main" id="{A49F2FA9-D8E4-C2EC-CC64-A86F688904EB}"/>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5" name="Date Placeholder 4">
            <a:extLst>
              <a:ext uri="{FF2B5EF4-FFF2-40B4-BE49-F238E27FC236}">
                <a16:creationId xmlns:a16="http://schemas.microsoft.com/office/drawing/2014/main" id="{4ED9CC79-5E2B-2168-888E-FD51C76D6E28}"/>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F162C123-080F-4289-B439-5E14023B5C17}" type="datetime4">
              <a:rPr lang="en-US" smtClean="0"/>
              <a:t>May 17, 2025</a:t>
            </a:fld>
            <a:endParaRPr lang="en-US"/>
          </a:p>
        </p:txBody>
      </p:sp>
      <p:sp>
        <p:nvSpPr>
          <p:cNvPr id="6" name="Text Placeholder 3">
            <a:extLst>
              <a:ext uri="{FF2B5EF4-FFF2-40B4-BE49-F238E27FC236}">
                <a16:creationId xmlns:a16="http://schemas.microsoft.com/office/drawing/2014/main" id="{1B22928A-D77F-2EB2-5612-6796E599974E}"/>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7" name="Text Placeholder 7">
            <a:extLst>
              <a:ext uri="{FF2B5EF4-FFF2-40B4-BE49-F238E27FC236}">
                <a16:creationId xmlns:a16="http://schemas.microsoft.com/office/drawing/2014/main" id="{E9CEEA61-0AD2-17FF-8A06-DEDFDB3DD907}"/>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3" name="Picture Placeholder 22">
            <a:extLst>
              <a:ext uri="{FF2B5EF4-FFF2-40B4-BE49-F238E27FC236}">
                <a16:creationId xmlns:a16="http://schemas.microsoft.com/office/drawing/2014/main" id="{F49AD499-1A3B-C5ED-169F-98A431580006}"/>
              </a:ext>
            </a:extLst>
          </p:cNvPr>
          <p:cNvSpPr>
            <a:spLocks noGrp="1"/>
          </p:cNvSpPr>
          <p:nvPr>
            <p:ph type="pic" sz="quarter" idx="15" hasCustomPrompt="1"/>
          </p:nvPr>
        </p:nvSpPr>
        <p:spPr>
          <a:xfrm>
            <a:off x="609600" y="1790700"/>
            <a:ext cx="2551176" cy="4114800"/>
          </a:xfrm>
          <a:custGeom>
            <a:avLst/>
            <a:gdLst>
              <a:gd name="connsiteX0" fmla="*/ 0 w 2551176"/>
              <a:gd name="connsiteY0" fmla="*/ 0 h 4114800"/>
              <a:gd name="connsiteX1" fmla="*/ 2551176 w 2551176"/>
              <a:gd name="connsiteY1" fmla="*/ 0 h 4114800"/>
              <a:gd name="connsiteX2" fmla="*/ 2551176 w 2551176"/>
              <a:gd name="connsiteY2" fmla="*/ 4114800 h 4114800"/>
              <a:gd name="connsiteX3" fmla="*/ 1553088 w 2551176"/>
              <a:gd name="connsiteY3" fmla="*/ 4114800 h 4114800"/>
              <a:gd name="connsiteX4" fmla="*/ 1548786 w 2551176"/>
              <a:gd name="connsiteY4" fmla="*/ 4072131 h 4114800"/>
              <a:gd name="connsiteX5" fmla="*/ 1275588 w 2551176"/>
              <a:gd name="connsiteY5" fmla="*/ 3849459 h 4114800"/>
              <a:gd name="connsiteX6" fmla="*/ 1002391 w 2551176"/>
              <a:gd name="connsiteY6" fmla="*/ 4072131 h 4114800"/>
              <a:gd name="connsiteX7" fmla="*/ 998088 w 2551176"/>
              <a:gd name="connsiteY7" fmla="*/ 4114800 h 4114800"/>
              <a:gd name="connsiteX8" fmla="*/ 0 w 2551176"/>
              <a:gd name="connsiteY8"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1176" h="4114800">
                <a:moveTo>
                  <a:pt x="0" y="0"/>
                </a:moveTo>
                <a:lnTo>
                  <a:pt x="2551176" y="0"/>
                </a:lnTo>
                <a:lnTo>
                  <a:pt x="2551176" y="4114800"/>
                </a:lnTo>
                <a:lnTo>
                  <a:pt x="1553088" y="4114800"/>
                </a:lnTo>
                <a:lnTo>
                  <a:pt x="1548786" y="4072131"/>
                </a:lnTo>
                <a:cubicBezTo>
                  <a:pt x="1522778" y="3945067"/>
                  <a:pt x="1410328" y="3849459"/>
                  <a:pt x="1275588" y="3849459"/>
                </a:cubicBezTo>
                <a:cubicBezTo>
                  <a:pt x="1140848" y="3849459"/>
                  <a:pt x="1028398" y="3945067"/>
                  <a:pt x="1002391" y="4072131"/>
                </a:cubicBezTo>
                <a:lnTo>
                  <a:pt x="998088" y="4114800"/>
                </a:lnTo>
                <a:lnTo>
                  <a:pt x="0" y="4114800"/>
                </a:lnTo>
                <a:close/>
              </a:path>
            </a:pathLst>
          </a:custGeom>
          <a:solidFill>
            <a:schemeClr val="bg1">
              <a:lumMod val="75000"/>
            </a:schemeClr>
          </a:solidFill>
        </p:spPr>
        <p:txBody>
          <a:bodyPr vert="horz" lIns="0" tIns="0" rIns="0" bIns="0" rtlCol="0" anchor="ctr">
            <a:noAutofit/>
          </a:bodyPr>
          <a:lstStyle>
            <a:lvl1pPr>
              <a:defRPr lang="en-US" sz="1000" b="0"/>
            </a:lvl1pPr>
          </a:lstStyle>
          <a:p>
            <a:pPr lvl="0" algn="ctr"/>
            <a:r>
              <a:rPr lang="en-US"/>
              <a:t>Insert Photo</a:t>
            </a:r>
          </a:p>
        </p:txBody>
      </p:sp>
      <p:sp>
        <p:nvSpPr>
          <p:cNvPr id="22" name="Picture Placeholder 21">
            <a:extLst>
              <a:ext uri="{FF2B5EF4-FFF2-40B4-BE49-F238E27FC236}">
                <a16:creationId xmlns:a16="http://schemas.microsoft.com/office/drawing/2014/main" id="{80F56ADE-836D-004F-ABBC-AC5EDA9CCF29}"/>
              </a:ext>
            </a:extLst>
          </p:cNvPr>
          <p:cNvSpPr>
            <a:spLocks noGrp="1"/>
          </p:cNvSpPr>
          <p:nvPr>
            <p:ph type="pic" sz="quarter" idx="16" hasCustomPrompt="1"/>
          </p:nvPr>
        </p:nvSpPr>
        <p:spPr>
          <a:xfrm>
            <a:off x="3416808" y="1790700"/>
            <a:ext cx="2551176" cy="4114800"/>
          </a:xfrm>
          <a:custGeom>
            <a:avLst/>
            <a:gdLst>
              <a:gd name="connsiteX0" fmla="*/ 0 w 2551176"/>
              <a:gd name="connsiteY0" fmla="*/ 0 h 4114800"/>
              <a:gd name="connsiteX1" fmla="*/ 2551176 w 2551176"/>
              <a:gd name="connsiteY1" fmla="*/ 0 h 4114800"/>
              <a:gd name="connsiteX2" fmla="*/ 2551176 w 2551176"/>
              <a:gd name="connsiteY2" fmla="*/ 4114800 h 4114800"/>
              <a:gd name="connsiteX3" fmla="*/ 1553088 w 2551176"/>
              <a:gd name="connsiteY3" fmla="*/ 4114800 h 4114800"/>
              <a:gd name="connsiteX4" fmla="*/ 1548786 w 2551176"/>
              <a:gd name="connsiteY4" fmla="*/ 4072131 h 4114800"/>
              <a:gd name="connsiteX5" fmla="*/ 1275589 w 2551176"/>
              <a:gd name="connsiteY5" fmla="*/ 3849459 h 4114800"/>
              <a:gd name="connsiteX6" fmla="*/ 1002391 w 2551176"/>
              <a:gd name="connsiteY6" fmla="*/ 4072131 h 4114800"/>
              <a:gd name="connsiteX7" fmla="*/ 998088 w 2551176"/>
              <a:gd name="connsiteY7" fmla="*/ 4114800 h 4114800"/>
              <a:gd name="connsiteX8" fmla="*/ 0 w 2551176"/>
              <a:gd name="connsiteY8"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1176" h="4114800">
                <a:moveTo>
                  <a:pt x="0" y="0"/>
                </a:moveTo>
                <a:lnTo>
                  <a:pt x="2551176" y="0"/>
                </a:lnTo>
                <a:lnTo>
                  <a:pt x="2551176" y="4114800"/>
                </a:lnTo>
                <a:lnTo>
                  <a:pt x="1553088" y="4114800"/>
                </a:lnTo>
                <a:lnTo>
                  <a:pt x="1548786" y="4072131"/>
                </a:lnTo>
                <a:cubicBezTo>
                  <a:pt x="1522779" y="3945067"/>
                  <a:pt x="1410329" y="3849459"/>
                  <a:pt x="1275589" y="3849459"/>
                </a:cubicBezTo>
                <a:cubicBezTo>
                  <a:pt x="1140848" y="3849459"/>
                  <a:pt x="1028398" y="3945067"/>
                  <a:pt x="1002391" y="4072131"/>
                </a:cubicBezTo>
                <a:lnTo>
                  <a:pt x="998088" y="4114800"/>
                </a:lnTo>
                <a:lnTo>
                  <a:pt x="0" y="4114800"/>
                </a:lnTo>
                <a:close/>
              </a:path>
            </a:pathLst>
          </a:custGeom>
          <a:solidFill>
            <a:schemeClr val="bg1">
              <a:lumMod val="75000"/>
            </a:schemeClr>
          </a:solidFill>
        </p:spPr>
        <p:txBody>
          <a:bodyPr vert="horz" lIns="0" tIns="0" rIns="0" bIns="0" rtlCol="0" anchor="ctr">
            <a:noAutofit/>
          </a:bodyPr>
          <a:lstStyle>
            <a:lvl1pPr>
              <a:defRPr lang="en-US" sz="1000" b="0"/>
            </a:lvl1pPr>
          </a:lstStyle>
          <a:p>
            <a:pPr lvl="0" algn="ctr"/>
            <a:r>
              <a:rPr lang="en-US"/>
              <a:t>Insert Photo</a:t>
            </a:r>
          </a:p>
        </p:txBody>
      </p:sp>
      <p:sp>
        <p:nvSpPr>
          <p:cNvPr id="21" name="Picture Placeholder 20">
            <a:extLst>
              <a:ext uri="{FF2B5EF4-FFF2-40B4-BE49-F238E27FC236}">
                <a16:creationId xmlns:a16="http://schemas.microsoft.com/office/drawing/2014/main" id="{71B1AAF4-337D-3CB6-B7EA-151F2D8CCC83}"/>
              </a:ext>
            </a:extLst>
          </p:cNvPr>
          <p:cNvSpPr>
            <a:spLocks noGrp="1"/>
          </p:cNvSpPr>
          <p:nvPr>
            <p:ph type="pic" sz="quarter" idx="17" hasCustomPrompt="1"/>
          </p:nvPr>
        </p:nvSpPr>
        <p:spPr>
          <a:xfrm>
            <a:off x="6224016" y="1790700"/>
            <a:ext cx="2551176" cy="4114800"/>
          </a:xfrm>
          <a:custGeom>
            <a:avLst/>
            <a:gdLst>
              <a:gd name="connsiteX0" fmla="*/ 0 w 2551176"/>
              <a:gd name="connsiteY0" fmla="*/ 0 h 4114800"/>
              <a:gd name="connsiteX1" fmla="*/ 2551176 w 2551176"/>
              <a:gd name="connsiteY1" fmla="*/ 0 h 4114800"/>
              <a:gd name="connsiteX2" fmla="*/ 2551176 w 2551176"/>
              <a:gd name="connsiteY2" fmla="*/ 4114800 h 4114800"/>
              <a:gd name="connsiteX3" fmla="*/ 1553088 w 2551176"/>
              <a:gd name="connsiteY3" fmla="*/ 4114800 h 4114800"/>
              <a:gd name="connsiteX4" fmla="*/ 1548786 w 2551176"/>
              <a:gd name="connsiteY4" fmla="*/ 4072131 h 4114800"/>
              <a:gd name="connsiteX5" fmla="*/ 1275589 w 2551176"/>
              <a:gd name="connsiteY5" fmla="*/ 3849459 h 4114800"/>
              <a:gd name="connsiteX6" fmla="*/ 1002391 w 2551176"/>
              <a:gd name="connsiteY6" fmla="*/ 4072131 h 4114800"/>
              <a:gd name="connsiteX7" fmla="*/ 998088 w 2551176"/>
              <a:gd name="connsiteY7" fmla="*/ 4114800 h 4114800"/>
              <a:gd name="connsiteX8" fmla="*/ 0 w 2551176"/>
              <a:gd name="connsiteY8"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1176" h="4114800">
                <a:moveTo>
                  <a:pt x="0" y="0"/>
                </a:moveTo>
                <a:lnTo>
                  <a:pt x="2551176" y="0"/>
                </a:lnTo>
                <a:lnTo>
                  <a:pt x="2551176" y="4114800"/>
                </a:lnTo>
                <a:lnTo>
                  <a:pt x="1553088" y="4114800"/>
                </a:lnTo>
                <a:lnTo>
                  <a:pt x="1548786" y="4072131"/>
                </a:lnTo>
                <a:cubicBezTo>
                  <a:pt x="1522779" y="3945067"/>
                  <a:pt x="1410329" y="3849459"/>
                  <a:pt x="1275589" y="3849459"/>
                </a:cubicBezTo>
                <a:cubicBezTo>
                  <a:pt x="1140848" y="3849459"/>
                  <a:pt x="1028398" y="3945067"/>
                  <a:pt x="1002391" y="4072131"/>
                </a:cubicBezTo>
                <a:lnTo>
                  <a:pt x="998088" y="4114800"/>
                </a:lnTo>
                <a:lnTo>
                  <a:pt x="0" y="4114800"/>
                </a:lnTo>
                <a:close/>
              </a:path>
            </a:pathLst>
          </a:custGeom>
          <a:solidFill>
            <a:schemeClr val="bg1">
              <a:lumMod val="75000"/>
            </a:schemeClr>
          </a:solidFill>
        </p:spPr>
        <p:txBody>
          <a:bodyPr vert="horz" lIns="0" tIns="0" rIns="0" bIns="0" rtlCol="0" anchor="ctr">
            <a:noAutofit/>
          </a:bodyPr>
          <a:lstStyle>
            <a:lvl1pPr>
              <a:defRPr lang="en-US" sz="1000" b="0"/>
            </a:lvl1pPr>
          </a:lstStyle>
          <a:p>
            <a:pPr lvl="0" algn="ctr"/>
            <a:r>
              <a:rPr lang="en-US"/>
              <a:t>Insert Photo</a:t>
            </a:r>
          </a:p>
        </p:txBody>
      </p:sp>
      <p:sp>
        <p:nvSpPr>
          <p:cNvPr id="17" name="Picture Placeholder 16">
            <a:extLst>
              <a:ext uri="{FF2B5EF4-FFF2-40B4-BE49-F238E27FC236}">
                <a16:creationId xmlns:a16="http://schemas.microsoft.com/office/drawing/2014/main" id="{10405F5B-EBBC-8883-AEC0-0BBF8A81CF81}"/>
              </a:ext>
            </a:extLst>
          </p:cNvPr>
          <p:cNvSpPr>
            <a:spLocks noGrp="1"/>
          </p:cNvSpPr>
          <p:nvPr>
            <p:ph type="pic" sz="quarter" idx="18" hasCustomPrompt="1"/>
          </p:nvPr>
        </p:nvSpPr>
        <p:spPr>
          <a:xfrm>
            <a:off x="9031224" y="1790700"/>
            <a:ext cx="2551176" cy="4114800"/>
          </a:xfrm>
          <a:custGeom>
            <a:avLst/>
            <a:gdLst>
              <a:gd name="connsiteX0" fmla="*/ 0 w 2551176"/>
              <a:gd name="connsiteY0" fmla="*/ 0 h 4114800"/>
              <a:gd name="connsiteX1" fmla="*/ 2551176 w 2551176"/>
              <a:gd name="connsiteY1" fmla="*/ 0 h 4114800"/>
              <a:gd name="connsiteX2" fmla="*/ 2551176 w 2551176"/>
              <a:gd name="connsiteY2" fmla="*/ 4114800 h 4114800"/>
              <a:gd name="connsiteX3" fmla="*/ 1554029 w 2551176"/>
              <a:gd name="connsiteY3" fmla="*/ 4114800 h 4114800"/>
              <a:gd name="connsiteX4" fmla="*/ 1548786 w 2551176"/>
              <a:gd name="connsiteY4" fmla="*/ 4062796 h 4114800"/>
              <a:gd name="connsiteX5" fmla="*/ 1275588 w 2551176"/>
              <a:gd name="connsiteY5" fmla="*/ 3840124 h 4114800"/>
              <a:gd name="connsiteX6" fmla="*/ 1002391 w 2551176"/>
              <a:gd name="connsiteY6" fmla="*/ 4062796 h 4114800"/>
              <a:gd name="connsiteX7" fmla="*/ 997147 w 2551176"/>
              <a:gd name="connsiteY7" fmla="*/ 4114800 h 4114800"/>
              <a:gd name="connsiteX8" fmla="*/ 0 w 2551176"/>
              <a:gd name="connsiteY8"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1176" h="4114800">
                <a:moveTo>
                  <a:pt x="0" y="0"/>
                </a:moveTo>
                <a:lnTo>
                  <a:pt x="2551176" y="0"/>
                </a:lnTo>
                <a:lnTo>
                  <a:pt x="2551176" y="4114800"/>
                </a:lnTo>
                <a:lnTo>
                  <a:pt x="1554029" y="4114800"/>
                </a:lnTo>
                <a:lnTo>
                  <a:pt x="1548786" y="4062796"/>
                </a:lnTo>
                <a:cubicBezTo>
                  <a:pt x="1522778" y="3935732"/>
                  <a:pt x="1410328" y="3840124"/>
                  <a:pt x="1275588" y="3840124"/>
                </a:cubicBezTo>
                <a:cubicBezTo>
                  <a:pt x="1140848" y="3840124"/>
                  <a:pt x="1028398" y="3935732"/>
                  <a:pt x="1002391" y="4062796"/>
                </a:cubicBezTo>
                <a:lnTo>
                  <a:pt x="997147" y="4114800"/>
                </a:lnTo>
                <a:lnTo>
                  <a:pt x="0" y="4114800"/>
                </a:lnTo>
                <a:close/>
              </a:path>
            </a:pathLst>
          </a:custGeom>
          <a:solidFill>
            <a:schemeClr val="bg1">
              <a:lumMod val="75000"/>
            </a:schemeClr>
          </a:solidFill>
        </p:spPr>
        <p:txBody>
          <a:bodyPr vert="horz" lIns="0" tIns="0" rIns="0" bIns="0" rtlCol="0" anchor="ctr">
            <a:noAutofit/>
          </a:bodyPr>
          <a:lstStyle>
            <a:lvl1pPr>
              <a:defRPr lang="en-US" sz="1000" b="0"/>
            </a:lvl1pPr>
          </a:lstStyle>
          <a:p>
            <a:pPr lvl="0" algn="ctr"/>
            <a:r>
              <a:rPr lang="en-US"/>
              <a:t>Insert Photo</a:t>
            </a:r>
          </a:p>
        </p:txBody>
      </p:sp>
      <p:grpSp>
        <p:nvGrpSpPr>
          <p:cNvPr id="24" name="Group 23">
            <a:extLst>
              <a:ext uri="{FF2B5EF4-FFF2-40B4-BE49-F238E27FC236}">
                <a16:creationId xmlns:a16="http://schemas.microsoft.com/office/drawing/2014/main" id="{66ED5DAD-CBDE-36C0-281E-B1CD97A3F16E}"/>
              </a:ext>
            </a:extLst>
          </p:cNvPr>
          <p:cNvGrpSpPr/>
          <p:nvPr userDrawn="1"/>
        </p:nvGrpSpPr>
        <p:grpSpPr>
          <a:xfrm rot="5400000" flipV="1">
            <a:off x="1606322" y="5649685"/>
            <a:ext cx="557732" cy="557728"/>
            <a:chOff x="10790180" y="2982466"/>
            <a:chExt cx="790041" cy="790037"/>
          </a:xfrm>
        </p:grpSpPr>
        <p:sp>
          <p:nvSpPr>
            <p:cNvPr id="25" name="Freeform: Shape 24">
              <a:extLst>
                <a:ext uri="{FF2B5EF4-FFF2-40B4-BE49-F238E27FC236}">
                  <a16:creationId xmlns:a16="http://schemas.microsoft.com/office/drawing/2014/main" id="{4A129AD9-1F5C-5825-AE7C-08A6D145B474}"/>
                </a:ext>
              </a:extLst>
            </p:cNvPr>
            <p:cNvSpPr/>
            <p:nvPr/>
          </p:nvSpPr>
          <p:spPr>
            <a:xfrm>
              <a:off x="10790180" y="2982466"/>
              <a:ext cx="395020" cy="790037"/>
            </a:xfrm>
            <a:custGeom>
              <a:avLst/>
              <a:gdLst>
                <a:gd name="connsiteX0" fmla="*/ 395021 w 395020"/>
                <a:gd name="connsiteY0" fmla="*/ 790037 h 790037"/>
                <a:gd name="connsiteX1" fmla="*/ 0 w 395020"/>
                <a:gd name="connsiteY1" fmla="*/ 395019 h 790037"/>
                <a:gd name="connsiteX2" fmla="*/ 395021 w 395020"/>
                <a:gd name="connsiteY2" fmla="*/ 0 h 790037"/>
                <a:gd name="connsiteX3" fmla="*/ 395021 w 395020"/>
                <a:gd name="connsiteY3" fmla="*/ 790037 h 790037"/>
              </a:gdLst>
              <a:ahLst/>
              <a:cxnLst>
                <a:cxn ang="0">
                  <a:pos x="connsiteX0" y="connsiteY0"/>
                </a:cxn>
                <a:cxn ang="0">
                  <a:pos x="connsiteX1" y="connsiteY1"/>
                </a:cxn>
                <a:cxn ang="0">
                  <a:pos x="connsiteX2" y="connsiteY2"/>
                </a:cxn>
                <a:cxn ang="0">
                  <a:pos x="connsiteX3" y="connsiteY3"/>
                </a:cxn>
              </a:cxnLst>
              <a:rect l="l" t="t" r="r" b="b"/>
              <a:pathLst>
                <a:path w="395020" h="790037">
                  <a:moveTo>
                    <a:pt x="395021" y="790037"/>
                  </a:moveTo>
                  <a:cubicBezTo>
                    <a:pt x="176890" y="790037"/>
                    <a:pt x="0" y="613148"/>
                    <a:pt x="0" y="395019"/>
                  </a:cubicBezTo>
                  <a:cubicBezTo>
                    <a:pt x="0" y="176889"/>
                    <a:pt x="176890" y="0"/>
                    <a:pt x="395021" y="0"/>
                  </a:cubicBezTo>
                  <a:lnTo>
                    <a:pt x="395021" y="790037"/>
                  </a:lnTo>
                  <a:close/>
                </a:path>
              </a:pathLst>
            </a:custGeom>
            <a:solidFill>
              <a:srgbClr val="93D500"/>
            </a:solidFill>
            <a:ln w="0"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0CA7AD01-D409-B276-D35E-89B5ED7B49DF}"/>
                </a:ext>
              </a:extLst>
            </p:cNvPr>
            <p:cNvSpPr/>
            <p:nvPr/>
          </p:nvSpPr>
          <p:spPr>
            <a:xfrm>
              <a:off x="11185201" y="2982466"/>
              <a:ext cx="395020" cy="790037"/>
            </a:xfrm>
            <a:custGeom>
              <a:avLst/>
              <a:gdLst>
                <a:gd name="connsiteX0" fmla="*/ 0 w 395020"/>
                <a:gd name="connsiteY0" fmla="*/ 0 h 790037"/>
                <a:gd name="connsiteX1" fmla="*/ 395021 w 395020"/>
                <a:gd name="connsiteY1" fmla="*/ 395019 h 790037"/>
                <a:gd name="connsiteX2" fmla="*/ 0 w 395020"/>
                <a:gd name="connsiteY2" fmla="*/ 790037 h 790037"/>
                <a:gd name="connsiteX3" fmla="*/ 0 w 395020"/>
                <a:gd name="connsiteY3" fmla="*/ 0 h 790037"/>
              </a:gdLst>
              <a:ahLst/>
              <a:cxnLst>
                <a:cxn ang="0">
                  <a:pos x="connsiteX0" y="connsiteY0"/>
                </a:cxn>
                <a:cxn ang="0">
                  <a:pos x="connsiteX1" y="connsiteY1"/>
                </a:cxn>
                <a:cxn ang="0">
                  <a:pos x="connsiteX2" y="connsiteY2"/>
                </a:cxn>
                <a:cxn ang="0">
                  <a:pos x="connsiteX3" y="connsiteY3"/>
                </a:cxn>
              </a:cxnLst>
              <a:rect l="l" t="t" r="r" b="b"/>
              <a:pathLst>
                <a:path w="395020" h="790037">
                  <a:moveTo>
                    <a:pt x="0" y="0"/>
                  </a:moveTo>
                  <a:cubicBezTo>
                    <a:pt x="218130" y="0"/>
                    <a:pt x="395021" y="176889"/>
                    <a:pt x="395021" y="395019"/>
                  </a:cubicBezTo>
                  <a:cubicBezTo>
                    <a:pt x="395021" y="613148"/>
                    <a:pt x="218130" y="790037"/>
                    <a:pt x="0" y="790037"/>
                  </a:cubicBezTo>
                  <a:lnTo>
                    <a:pt x="0" y="0"/>
                  </a:lnTo>
                  <a:close/>
                </a:path>
              </a:pathLst>
            </a:custGeom>
            <a:solidFill>
              <a:srgbClr val="000000"/>
            </a:solidFill>
            <a:ln w="0" cap="flat">
              <a:noFill/>
              <a:prstDash val="solid"/>
              <a:miter/>
            </a:ln>
          </p:spPr>
          <p:txBody>
            <a:bodyPr rtlCol="0" anchor="ctr"/>
            <a:lstStyle/>
            <a:p>
              <a:endParaRPr lang="en-US"/>
            </a:p>
          </p:txBody>
        </p:sp>
      </p:grpSp>
      <p:grpSp>
        <p:nvGrpSpPr>
          <p:cNvPr id="27" name="Group 26">
            <a:extLst>
              <a:ext uri="{FF2B5EF4-FFF2-40B4-BE49-F238E27FC236}">
                <a16:creationId xmlns:a16="http://schemas.microsoft.com/office/drawing/2014/main" id="{C23DF22E-6C5B-FFD9-EE32-21B34326B5FA}"/>
              </a:ext>
            </a:extLst>
          </p:cNvPr>
          <p:cNvGrpSpPr/>
          <p:nvPr userDrawn="1"/>
        </p:nvGrpSpPr>
        <p:grpSpPr>
          <a:xfrm rot="16200000">
            <a:off x="4413530" y="5649685"/>
            <a:ext cx="557732" cy="557728"/>
            <a:chOff x="10790180" y="2982466"/>
            <a:chExt cx="790041" cy="790037"/>
          </a:xfrm>
        </p:grpSpPr>
        <p:sp>
          <p:nvSpPr>
            <p:cNvPr id="28" name="Freeform: Shape 27">
              <a:extLst>
                <a:ext uri="{FF2B5EF4-FFF2-40B4-BE49-F238E27FC236}">
                  <a16:creationId xmlns:a16="http://schemas.microsoft.com/office/drawing/2014/main" id="{BA92C64A-C00A-0B29-EE39-10A9409ED893}"/>
                </a:ext>
              </a:extLst>
            </p:cNvPr>
            <p:cNvSpPr/>
            <p:nvPr/>
          </p:nvSpPr>
          <p:spPr>
            <a:xfrm>
              <a:off x="10790180" y="2982466"/>
              <a:ext cx="395020" cy="790037"/>
            </a:xfrm>
            <a:custGeom>
              <a:avLst/>
              <a:gdLst>
                <a:gd name="connsiteX0" fmla="*/ 395021 w 395020"/>
                <a:gd name="connsiteY0" fmla="*/ 790037 h 790037"/>
                <a:gd name="connsiteX1" fmla="*/ 0 w 395020"/>
                <a:gd name="connsiteY1" fmla="*/ 395019 h 790037"/>
                <a:gd name="connsiteX2" fmla="*/ 395021 w 395020"/>
                <a:gd name="connsiteY2" fmla="*/ 0 h 790037"/>
                <a:gd name="connsiteX3" fmla="*/ 395021 w 395020"/>
                <a:gd name="connsiteY3" fmla="*/ 790037 h 790037"/>
              </a:gdLst>
              <a:ahLst/>
              <a:cxnLst>
                <a:cxn ang="0">
                  <a:pos x="connsiteX0" y="connsiteY0"/>
                </a:cxn>
                <a:cxn ang="0">
                  <a:pos x="connsiteX1" y="connsiteY1"/>
                </a:cxn>
                <a:cxn ang="0">
                  <a:pos x="connsiteX2" y="connsiteY2"/>
                </a:cxn>
                <a:cxn ang="0">
                  <a:pos x="connsiteX3" y="connsiteY3"/>
                </a:cxn>
              </a:cxnLst>
              <a:rect l="l" t="t" r="r" b="b"/>
              <a:pathLst>
                <a:path w="395020" h="790037">
                  <a:moveTo>
                    <a:pt x="395021" y="790037"/>
                  </a:moveTo>
                  <a:cubicBezTo>
                    <a:pt x="176890" y="790037"/>
                    <a:pt x="0" y="613148"/>
                    <a:pt x="0" y="395019"/>
                  </a:cubicBezTo>
                  <a:cubicBezTo>
                    <a:pt x="0" y="176889"/>
                    <a:pt x="176890" y="0"/>
                    <a:pt x="395021" y="0"/>
                  </a:cubicBezTo>
                  <a:lnTo>
                    <a:pt x="395021" y="790037"/>
                  </a:lnTo>
                  <a:close/>
                </a:path>
              </a:pathLst>
            </a:custGeom>
            <a:solidFill>
              <a:srgbClr val="93D500"/>
            </a:solidFill>
            <a:ln w="0"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0719BC5A-CA11-DA4B-E611-BE90F16D668D}"/>
                </a:ext>
              </a:extLst>
            </p:cNvPr>
            <p:cNvSpPr/>
            <p:nvPr/>
          </p:nvSpPr>
          <p:spPr>
            <a:xfrm>
              <a:off x="11185201" y="2982466"/>
              <a:ext cx="395020" cy="790037"/>
            </a:xfrm>
            <a:custGeom>
              <a:avLst/>
              <a:gdLst>
                <a:gd name="connsiteX0" fmla="*/ 0 w 395020"/>
                <a:gd name="connsiteY0" fmla="*/ 0 h 790037"/>
                <a:gd name="connsiteX1" fmla="*/ 395021 w 395020"/>
                <a:gd name="connsiteY1" fmla="*/ 395019 h 790037"/>
                <a:gd name="connsiteX2" fmla="*/ 0 w 395020"/>
                <a:gd name="connsiteY2" fmla="*/ 790037 h 790037"/>
                <a:gd name="connsiteX3" fmla="*/ 0 w 395020"/>
                <a:gd name="connsiteY3" fmla="*/ 0 h 790037"/>
              </a:gdLst>
              <a:ahLst/>
              <a:cxnLst>
                <a:cxn ang="0">
                  <a:pos x="connsiteX0" y="connsiteY0"/>
                </a:cxn>
                <a:cxn ang="0">
                  <a:pos x="connsiteX1" y="connsiteY1"/>
                </a:cxn>
                <a:cxn ang="0">
                  <a:pos x="connsiteX2" y="connsiteY2"/>
                </a:cxn>
                <a:cxn ang="0">
                  <a:pos x="connsiteX3" y="connsiteY3"/>
                </a:cxn>
              </a:cxnLst>
              <a:rect l="l" t="t" r="r" b="b"/>
              <a:pathLst>
                <a:path w="395020" h="790037">
                  <a:moveTo>
                    <a:pt x="0" y="0"/>
                  </a:moveTo>
                  <a:cubicBezTo>
                    <a:pt x="218130" y="0"/>
                    <a:pt x="395021" y="176889"/>
                    <a:pt x="395021" y="395019"/>
                  </a:cubicBezTo>
                  <a:cubicBezTo>
                    <a:pt x="395021" y="613148"/>
                    <a:pt x="218130" y="790037"/>
                    <a:pt x="0" y="790037"/>
                  </a:cubicBezTo>
                  <a:lnTo>
                    <a:pt x="0" y="0"/>
                  </a:lnTo>
                  <a:close/>
                </a:path>
              </a:pathLst>
            </a:custGeom>
            <a:solidFill>
              <a:srgbClr val="000000"/>
            </a:solidFill>
            <a:ln w="0" cap="flat">
              <a:noFill/>
              <a:prstDash val="solid"/>
              <a:miter/>
            </a:ln>
          </p:spPr>
          <p:txBody>
            <a:bodyPr rtlCol="0" anchor="ctr"/>
            <a:lstStyle/>
            <a:p>
              <a:endParaRPr lang="en-US"/>
            </a:p>
          </p:txBody>
        </p:sp>
      </p:grpSp>
      <p:grpSp>
        <p:nvGrpSpPr>
          <p:cNvPr id="30" name="Group 29">
            <a:extLst>
              <a:ext uri="{FF2B5EF4-FFF2-40B4-BE49-F238E27FC236}">
                <a16:creationId xmlns:a16="http://schemas.microsoft.com/office/drawing/2014/main" id="{0C6FE544-F06F-572B-C721-23904D42AD80}"/>
              </a:ext>
            </a:extLst>
          </p:cNvPr>
          <p:cNvGrpSpPr/>
          <p:nvPr userDrawn="1"/>
        </p:nvGrpSpPr>
        <p:grpSpPr>
          <a:xfrm rot="5400000" flipV="1">
            <a:off x="7220738" y="5649685"/>
            <a:ext cx="557732" cy="557728"/>
            <a:chOff x="10790180" y="2982466"/>
            <a:chExt cx="790041" cy="790037"/>
          </a:xfrm>
        </p:grpSpPr>
        <p:sp>
          <p:nvSpPr>
            <p:cNvPr id="31" name="Freeform: Shape 30">
              <a:extLst>
                <a:ext uri="{FF2B5EF4-FFF2-40B4-BE49-F238E27FC236}">
                  <a16:creationId xmlns:a16="http://schemas.microsoft.com/office/drawing/2014/main" id="{F2598CAC-B1E6-5349-962B-36362C79F238}"/>
                </a:ext>
              </a:extLst>
            </p:cNvPr>
            <p:cNvSpPr/>
            <p:nvPr/>
          </p:nvSpPr>
          <p:spPr>
            <a:xfrm>
              <a:off x="10790180" y="2982466"/>
              <a:ext cx="395020" cy="790037"/>
            </a:xfrm>
            <a:custGeom>
              <a:avLst/>
              <a:gdLst>
                <a:gd name="connsiteX0" fmla="*/ 395021 w 395020"/>
                <a:gd name="connsiteY0" fmla="*/ 790037 h 790037"/>
                <a:gd name="connsiteX1" fmla="*/ 0 w 395020"/>
                <a:gd name="connsiteY1" fmla="*/ 395019 h 790037"/>
                <a:gd name="connsiteX2" fmla="*/ 395021 w 395020"/>
                <a:gd name="connsiteY2" fmla="*/ 0 h 790037"/>
                <a:gd name="connsiteX3" fmla="*/ 395021 w 395020"/>
                <a:gd name="connsiteY3" fmla="*/ 790037 h 790037"/>
              </a:gdLst>
              <a:ahLst/>
              <a:cxnLst>
                <a:cxn ang="0">
                  <a:pos x="connsiteX0" y="connsiteY0"/>
                </a:cxn>
                <a:cxn ang="0">
                  <a:pos x="connsiteX1" y="connsiteY1"/>
                </a:cxn>
                <a:cxn ang="0">
                  <a:pos x="connsiteX2" y="connsiteY2"/>
                </a:cxn>
                <a:cxn ang="0">
                  <a:pos x="connsiteX3" y="connsiteY3"/>
                </a:cxn>
              </a:cxnLst>
              <a:rect l="l" t="t" r="r" b="b"/>
              <a:pathLst>
                <a:path w="395020" h="790037">
                  <a:moveTo>
                    <a:pt x="395021" y="790037"/>
                  </a:moveTo>
                  <a:cubicBezTo>
                    <a:pt x="176890" y="790037"/>
                    <a:pt x="0" y="613148"/>
                    <a:pt x="0" y="395019"/>
                  </a:cubicBezTo>
                  <a:cubicBezTo>
                    <a:pt x="0" y="176889"/>
                    <a:pt x="176890" y="0"/>
                    <a:pt x="395021" y="0"/>
                  </a:cubicBezTo>
                  <a:lnTo>
                    <a:pt x="395021" y="790037"/>
                  </a:lnTo>
                  <a:close/>
                </a:path>
              </a:pathLst>
            </a:custGeom>
            <a:solidFill>
              <a:srgbClr val="93D500"/>
            </a:solidFill>
            <a:ln w="0"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B2245A5-FA98-894F-85CD-65806E90F958}"/>
                </a:ext>
              </a:extLst>
            </p:cNvPr>
            <p:cNvSpPr/>
            <p:nvPr/>
          </p:nvSpPr>
          <p:spPr>
            <a:xfrm>
              <a:off x="11185201" y="2982466"/>
              <a:ext cx="395020" cy="790037"/>
            </a:xfrm>
            <a:custGeom>
              <a:avLst/>
              <a:gdLst>
                <a:gd name="connsiteX0" fmla="*/ 0 w 395020"/>
                <a:gd name="connsiteY0" fmla="*/ 0 h 790037"/>
                <a:gd name="connsiteX1" fmla="*/ 395021 w 395020"/>
                <a:gd name="connsiteY1" fmla="*/ 395019 h 790037"/>
                <a:gd name="connsiteX2" fmla="*/ 0 w 395020"/>
                <a:gd name="connsiteY2" fmla="*/ 790037 h 790037"/>
                <a:gd name="connsiteX3" fmla="*/ 0 w 395020"/>
                <a:gd name="connsiteY3" fmla="*/ 0 h 790037"/>
              </a:gdLst>
              <a:ahLst/>
              <a:cxnLst>
                <a:cxn ang="0">
                  <a:pos x="connsiteX0" y="connsiteY0"/>
                </a:cxn>
                <a:cxn ang="0">
                  <a:pos x="connsiteX1" y="connsiteY1"/>
                </a:cxn>
                <a:cxn ang="0">
                  <a:pos x="connsiteX2" y="connsiteY2"/>
                </a:cxn>
                <a:cxn ang="0">
                  <a:pos x="connsiteX3" y="connsiteY3"/>
                </a:cxn>
              </a:cxnLst>
              <a:rect l="l" t="t" r="r" b="b"/>
              <a:pathLst>
                <a:path w="395020" h="790037">
                  <a:moveTo>
                    <a:pt x="0" y="0"/>
                  </a:moveTo>
                  <a:cubicBezTo>
                    <a:pt x="218130" y="0"/>
                    <a:pt x="395021" y="176889"/>
                    <a:pt x="395021" y="395019"/>
                  </a:cubicBezTo>
                  <a:cubicBezTo>
                    <a:pt x="395021" y="613148"/>
                    <a:pt x="218130" y="790037"/>
                    <a:pt x="0" y="790037"/>
                  </a:cubicBezTo>
                  <a:lnTo>
                    <a:pt x="0" y="0"/>
                  </a:lnTo>
                  <a:close/>
                </a:path>
              </a:pathLst>
            </a:custGeom>
            <a:solidFill>
              <a:srgbClr val="000000"/>
            </a:solidFill>
            <a:ln w="0" cap="flat">
              <a:noFill/>
              <a:prstDash val="solid"/>
              <a:miter/>
            </a:ln>
          </p:spPr>
          <p:txBody>
            <a:bodyPr rtlCol="0" anchor="ctr"/>
            <a:lstStyle/>
            <a:p>
              <a:endParaRPr lang="en-US"/>
            </a:p>
          </p:txBody>
        </p:sp>
      </p:grpSp>
      <p:grpSp>
        <p:nvGrpSpPr>
          <p:cNvPr id="33" name="Group 32">
            <a:extLst>
              <a:ext uri="{FF2B5EF4-FFF2-40B4-BE49-F238E27FC236}">
                <a16:creationId xmlns:a16="http://schemas.microsoft.com/office/drawing/2014/main" id="{8D7CC577-2F17-3EF7-7FD8-6F8A2A5F4651}"/>
              </a:ext>
            </a:extLst>
          </p:cNvPr>
          <p:cNvGrpSpPr/>
          <p:nvPr userDrawn="1"/>
        </p:nvGrpSpPr>
        <p:grpSpPr>
          <a:xfrm rot="16200000">
            <a:off x="10027946" y="5649685"/>
            <a:ext cx="557732" cy="557728"/>
            <a:chOff x="10790180" y="2982466"/>
            <a:chExt cx="790041" cy="790037"/>
          </a:xfrm>
        </p:grpSpPr>
        <p:sp>
          <p:nvSpPr>
            <p:cNvPr id="34" name="Freeform: Shape 33">
              <a:extLst>
                <a:ext uri="{FF2B5EF4-FFF2-40B4-BE49-F238E27FC236}">
                  <a16:creationId xmlns:a16="http://schemas.microsoft.com/office/drawing/2014/main" id="{4A6F6D48-0D01-E7AB-A30C-F1FFC17B1734}"/>
                </a:ext>
              </a:extLst>
            </p:cNvPr>
            <p:cNvSpPr/>
            <p:nvPr/>
          </p:nvSpPr>
          <p:spPr>
            <a:xfrm>
              <a:off x="10790180" y="2982466"/>
              <a:ext cx="395020" cy="790037"/>
            </a:xfrm>
            <a:custGeom>
              <a:avLst/>
              <a:gdLst>
                <a:gd name="connsiteX0" fmla="*/ 395021 w 395020"/>
                <a:gd name="connsiteY0" fmla="*/ 790037 h 790037"/>
                <a:gd name="connsiteX1" fmla="*/ 0 w 395020"/>
                <a:gd name="connsiteY1" fmla="*/ 395019 h 790037"/>
                <a:gd name="connsiteX2" fmla="*/ 395021 w 395020"/>
                <a:gd name="connsiteY2" fmla="*/ 0 h 790037"/>
                <a:gd name="connsiteX3" fmla="*/ 395021 w 395020"/>
                <a:gd name="connsiteY3" fmla="*/ 790037 h 790037"/>
              </a:gdLst>
              <a:ahLst/>
              <a:cxnLst>
                <a:cxn ang="0">
                  <a:pos x="connsiteX0" y="connsiteY0"/>
                </a:cxn>
                <a:cxn ang="0">
                  <a:pos x="connsiteX1" y="connsiteY1"/>
                </a:cxn>
                <a:cxn ang="0">
                  <a:pos x="connsiteX2" y="connsiteY2"/>
                </a:cxn>
                <a:cxn ang="0">
                  <a:pos x="connsiteX3" y="connsiteY3"/>
                </a:cxn>
              </a:cxnLst>
              <a:rect l="l" t="t" r="r" b="b"/>
              <a:pathLst>
                <a:path w="395020" h="790037">
                  <a:moveTo>
                    <a:pt x="395021" y="790037"/>
                  </a:moveTo>
                  <a:cubicBezTo>
                    <a:pt x="176890" y="790037"/>
                    <a:pt x="0" y="613148"/>
                    <a:pt x="0" y="395019"/>
                  </a:cubicBezTo>
                  <a:cubicBezTo>
                    <a:pt x="0" y="176889"/>
                    <a:pt x="176890" y="0"/>
                    <a:pt x="395021" y="0"/>
                  </a:cubicBezTo>
                  <a:lnTo>
                    <a:pt x="395021" y="790037"/>
                  </a:lnTo>
                  <a:close/>
                </a:path>
              </a:pathLst>
            </a:custGeom>
            <a:solidFill>
              <a:srgbClr val="93D500"/>
            </a:solidFill>
            <a:ln w="0"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5985A824-D9EB-90EA-540E-42D8B6A5E602}"/>
                </a:ext>
              </a:extLst>
            </p:cNvPr>
            <p:cNvSpPr/>
            <p:nvPr/>
          </p:nvSpPr>
          <p:spPr>
            <a:xfrm>
              <a:off x="11185201" y="2982466"/>
              <a:ext cx="395020" cy="790037"/>
            </a:xfrm>
            <a:custGeom>
              <a:avLst/>
              <a:gdLst>
                <a:gd name="connsiteX0" fmla="*/ 0 w 395020"/>
                <a:gd name="connsiteY0" fmla="*/ 0 h 790037"/>
                <a:gd name="connsiteX1" fmla="*/ 395021 w 395020"/>
                <a:gd name="connsiteY1" fmla="*/ 395019 h 790037"/>
                <a:gd name="connsiteX2" fmla="*/ 0 w 395020"/>
                <a:gd name="connsiteY2" fmla="*/ 790037 h 790037"/>
                <a:gd name="connsiteX3" fmla="*/ 0 w 395020"/>
                <a:gd name="connsiteY3" fmla="*/ 0 h 790037"/>
              </a:gdLst>
              <a:ahLst/>
              <a:cxnLst>
                <a:cxn ang="0">
                  <a:pos x="connsiteX0" y="connsiteY0"/>
                </a:cxn>
                <a:cxn ang="0">
                  <a:pos x="connsiteX1" y="connsiteY1"/>
                </a:cxn>
                <a:cxn ang="0">
                  <a:pos x="connsiteX2" y="connsiteY2"/>
                </a:cxn>
                <a:cxn ang="0">
                  <a:pos x="connsiteX3" y="connsiteY3"/>
                </a:cxn>
              </a:cxnLst>
              <a:rect l="l" t="t" r="r" b="b"/>
              <a:pathLst>
                <a:path w="395020" h="790037">
                  <a:moveTo>
                    <a:pt x="0" y="0"/>
                  </a:moveTo>
                  <a:cubicBezTo>
                    <a:pt x="218130" y="0"/>
                    <a:pt x="395021" y="176889"/>
                    <a:pt x="395021" y="395019"/>
                  </a:cubicBezTo>
                  <a:cubicBezTo>
                    <a:pt x="395021" y="613148"/>
                    <a:pt x="218130" y="790037"/>
                    <a:pt x="0" y="790037"/>
                  </a:cubicBezTo>
                  <a:lnTo>
                    <a:pt x="0" y="0"/>
                  </a:lnTo>
                  <a:close/>
                </a:path>
              </a:pathLst>
            </a:custGeom>
            <a:solidFill>
              <a:srgbClr val="000000"/>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160124439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tatistics">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p>
            <a:r>
              <a:rPr lang="en-US"/>
              <a:t>Click to edit Master title style</a:t>
            </a:r>
          </a:p>
        </p:txBody>
      </p:sp>
      <p:sp>
        <p:nvSpPr>
          <p:cNvPr id="33" name="Text Placeholder 33">
            <a:extLst>
              <a:ext uri="{FF2B5EF4-FFF2-40B4-BE49-F238E27FC236}">
                <a16:creationId xmlns:a16="http://schemas.microsoft.com/office/drawing/2014/main" id="{7E25B57A-249F-302B-B85D-FA5ED6A06A1A}"/>
              </a:ext>
            </a:extLst>
          </p:cNvPr>
          <p:cNvSpPr>
            <a:spLocks noGrp="1"/>
          </p:cNvSpPr>
          <p:nvPr>
            <p:ph type="body" sz="quarter" idx="30" hasCustomPrompt="1"/>
          </p:nvPr>
        </p:nvSpPr>
        <p:spPr>
          <a:xfrm>
            <a:off x="609599" y="1981432"/>
            <a:ext cx="1995949" cy="1015663"/>
          </a:xfrm>
        </p:spPr>
        <p:txBody>
          <a:bodyPr lIns="0" rIns="0" anchor="ctr">
            <a:noAutofit/>
          </a:bodyPr>
          <a:lstStyle>
            <a:lvl1pPr>
              <a:defRPr lang="en-US" sz="6000" dirty="0">
                <a:latin typeface="+mj-lt"/>
              </a:defRPr>
            </a:lvl1pPr>
          </a:lstStyle>
          <a:p>
            <a:pPr lvl="0"/>
            <a:r>
              <a:rPr lang="en-US"/>
              <a:t>00M</a:t>
            </a:r>
          </a:p>
        </p:txBody>
      </p:sp>
      <p:sp>
        <p:nvSpPr>
          <p:cNvPr id="34" name="Text Placeholder 33">
            <a:extLst>
              <a:ext uri="{FF2B5EF4-FFF2-40B4-BE49-F238E27FC236}">
                <a16:creationId xmlns:a16="http://schemas.microsoft.com/office/drawing/2014/main" id="{81332B9F-1F08-F247-B712-9C3A3624ECEC}"/>
              </a:ext>
            </a:extLst>
          </p:cNvPr>
          <p:cNvSpPr>
            <a:spLocks noGrp="1"/>
          </p:cNvSpPr>
          <p:nvPr>
            <p:ph type="body" sz="quarter" idx="31" hasCustomPrompt="1"/>
          </p:nvPr>
        </p:nvSpPr>
        <p:spPr>
          <a:xfrm>
            <a:off x="609599" y="3435635"/>
            <a:ext cx="1995949" cy="1015663"/>
          </a:xfrm>
        </p:spPr>
        <p:txBody>
          <a:bodyPr lIns="0" rIns="0" anchor="ctr">
            <a:noAutofit/>
          </a:bodyPr>
          <a:lstStyle>
            <a:lvl1pPr>
              <a:defRPr lang="en-US" sz="6000" dirty="0">
                <a:latin typeface="+mj-lt"/>
              </a:defRPr>
            </a:lvl1pPr>
          </a:lstStyle>
          <a:p>
            <a:pPr lvl="0"/>
            <a:r>
              <a:rPr lang="en-US"/>
              <a:t>00M</a:t>
            </a:r>
          </a:p>
        </p:txBody>
      </p:sp>
      <p:sp>
        <p:nvSpPr>
          <p:cNvPr id="35" name="Text Placeholder 33">
            <a:extLst>
              <a:ext uri="{FF2B5EF4-FFF2-40B4-BE49-F238E27FC236}">
                <a16:creationId xmlns:a16="http://schemas.microsoft.com/office/drawing/2014/main" id="{7393CE72-B83F-00E3-F8CD-862380C62E5C}"/>
              </a:ext>
            </a:extLst>
          </p:cNvPr>
          <p:cNvSpPr>
            <a:spLocks noGrp="1"/>
          </p:cNvSpPr>
          <p:nvPr>
            <p:ph type="body" sz="quarter" idx="32" hasCustomPrompt="1"/>
          </p:nvPr>
        </p:nvSpPr>
        <p:spPr>
          <a:xfrm>
            <a:off x="609599" y="4889838"/>
            <a:ext cx="1995949" cy="1015663"/>
          </a:xfrm>
        </p:spPr>
        <p:txBody>
          <a:bodyPr lIns="0" rIns="0" anchor="ctr">
            <a:noAutofit/>
          </a:bodyPr>
          <a:lstStyle>
            <a:lvl1pPr>
              <a:defRPr lang="en-US" sz="6000" dirty="0">
                <a:latin typeface="+mj-lt"/>
              </a:defRPr>
            </a:lvl1pPr>
          </a:lstStyle>
          <a:p>
            <a:pPr lvl="0"/>
            <a:r>
              <a:rPr lang="en-US"/>
              <a:t>00M</a:t>
            </a:r>
          </a:p>
        </p:txBody>
      </p:sp>
      <p:sp>
        <p:nvSpPr>
          <p:cNvPr id="41" name="Text Placeholder 33">
            <a:extLst>
              <a:ext uri="{FF2B5EF4-FFF2-40B4-BE49-F238E27FC236}">
                <a16:creationId xmlns:a16="http://schemas.microsoft.com/office/drawing/2014/main" id="{90333D83-CE3E-B927-4B86-D6DE7FF1E8D7}"/>
              </a:ext>
            </a:extLst>
          </p:cNvPr>
          <p:cNvSpPr>
            <a:spLocks noGrp="1"/>
          </p:cNvSpPr>
          <p:nvPr>
            <p:ph type="body" sz="quarter" idx="36" hasCustomPrompt="1"/>
          </p:nvPr>
        </p:nvSpPr>
        <p:spPr>
          <a:xfrm>
            <a:off x="6371303" y="1981432"/>
            <a:ext cx="1995949" cy="1015663"/>
          </a:xfrm>
        </p:spPr>
        <p:txBody>
          <a:bodyPr lIns="0" rIns="0" anchor="ctr">
            <a:noAutofit/>
          </a:bodyPr>
          <a:lstStyle>
            <a:lvl1pPr>
              <a:defRPr lang="en-US" sz="6000" dirty="0">
                <a:latin typeface="+mj-lt"/>
              </a:defRPr>
            </a:lvl1pPr>
          </a:lstStyle>
          <a:p>
            <a:pPr lvl="0"/>
            <a:r>
              <a:rPr lang="en-US"/>
              <a:t>00M</a:t>
            </a:r>
          </a:p>
        </p:txBody>
      </p:sp>
      <p:sp>
        <p:nvSpPr>
          <p:cNvPr id="42" name="Text Placeholder 33">
            <a:extLst>
              <a:ext uri="{FF2B5EF4-FFF2-40B4-BE49-F238E27FC236}">
                <a16:creationId xmlns:a16="http://schemas.microsoft.com/office/drawing/2014/main" id="{431E9520-FD4B-C5E8-75B7-42F0A83BEE61}"/>
              </a:ext>
            </a:extLst>
          </p:cNvPr>
          <p:cNvSpPr>
            <a:spLocks noGrp="1"/>
          </p:cNvSpPr>
          <p:nvPr>
            <p:ph type="body" sz="quarter" idx="37" hasCustomPrompt="1"/>
          </p:nvPr>
        </p:nvSpPr>
        <p:spPr>
          <a:xfrm>
            <a:off x="6371303" y="3435635"/>
            <a:ext cx="1995949" cy="1015663"/>
          </a:xfrm>
        </p:spPr>
        <p:txBody>
          <a:bodyPr lIns="0" rIns="0" anchor="ctr">
            <a:noAutofit/>
          </a:bodyPr>
          <a:lstStyle>
            <a:lvl1pPr>
              <a:defRPr lang="en-US" sz="6000" dirty="0">
                <a:latin typeface="+mj-lt"/>
              </a:defRPr>
            </a:lvl1pPr>
          </a:lstStyle>
          <a:p>
            <a:pPr lvl="0"/>
            <a:r>
              <a:rPr lang="en-US"/>
              <a:t>00M</a:t>
            </a:r>
          </a:p>
        </p:txBody>
      </p:sp>
      <p:sp>
        <p:nvSpPr>
          <p:cNvPr id="43" name="Text Placeholder 33">
            <a:extLst>
              <a:ext uri="{FF2B5EF4-FFF2-40B4-BE49-F238E27FC236}">
                <a16:creationId xmlns:a16="http://schemas.microsoft.com/office/drawing/2014/main" id="{13A258BC-65F7-7E99-1C10-1F7A78D89A4B}"/>
              </a:ext>
            </a:extLst>
          </p:cNvPr>
          <p:cNvSpPr>
            <a:spLocks noGrp="1"/>
          </p:cNvSpPr>
          <p:nvPr>
            <p:ph type="body" sz="quarter" idx="38" hasCustomPrompt="1"/>
          </p:nvPr>
        </p:nvSpPr>
        <p:spPr>
          <a:xfrm>
            <a:off x="6371303" y="4889838"/>
            <a:ext cx="1995949" cy="1015663"/>
          </a:xfrm>
        </p:spPr>
        <p:txBody>
          <a:bodyPr lIns="0" rIns="0" anchor="ctr">
            <a:noAutofit/>
          </a:bodyPr>
          <a:lstStyle>
            <a:lvl1pPr>
              <a:defRPr lang="en-US" sz="6000" dirty="0">
                <a:latin typeface="+mj-lt"/>
              </a:defRPr>
            </a:lvl1pPr>
          </a:lstStyle>
          <a:p>
            <a:pPr lvl="0"/>
            <a:r>
              <a:rPr lang="en-US"/>
              <a:t>00M</a:t>
            </a:r>
          </a:p>
        </p:txBody>
      </p:sp>
      <p:sp>
        <p:nvSpPr>
          <p:cNvPr id="7" name="Text Placeholder 33">
            <a:extLst>
              <a:ext uri="{FF2B5EF4-FFF2-40B4-BE49-F238E27FC236}">
                <a16:creationId xmlns:a16="http://schemas.microsoft.com/office/drawing/2014/main" id="{53E29BA2-2A65-DCC1-F92B-B16E116F89B8}"/>
              </a:ext>
            </a:extLst>
          </p:cNvPr>
          <p:cNvSpPr>
            <a:spLocks noGrp="1"/>
          </p:cNvSpPr>
          <p:nvPr>
            <p:ph type="body" sz="quarter" idx="29"/>
          </p:nvPr>
        </p:nvSpPr>
        <p:spPr>
          <a:xfrm>
            <a:off x="2969340" y="1981432"/>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8" name="Text Placeholder 33">
            <a:extLst>
              <a:ext uri="{FF2B5EF4-FFF2-40B4-BE49-F238E27FC236}">
                <a16:creationId xmlns:a16="http://schemas.microsoft.com/office/drawing/2014/main" id="{A7555289-4122-EEDC-87E0-6D6E5178ACED}"/>
              </a:ext>
            </a:extLst>
          </p:cNvPr>
          <p:cNvSpPr>
            <a:spLocks noGrp="1"/>
          </p:cNvSpPr>
          <p:nvPr>
            <p:ph type="body" sz="quarter" idx="39"/>
          </p:nvPr>
        </p:nvSpPr>
        <p:spPr>
          <a:xfrm>
            <a:off x="2969340" y="3435635"/>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11" name="Text Placeholder 33">
            <a:extLst>
              <a:ext uri="{FF2B5EF4-FFF2-40B4-BE49-F238E27FC236}">
                <a16:creationId xmlns:a16="http://schemas.microsoft.com/office/drawing/2014/main" id="{87D57193-8B70-088C-7CED-0D5D6475DF31}"/>
              </a:ext>
            </a:extLst>
          </p:cNvPr>
          <p:cNvSpPr>
            <a:spLocks noGrp="1"/>
          </p:cNvSpPr>
          <p:nvPr>
            <p:ph type="body" sz="quarter" idx="40"/>
          </p:nvPr>
        </p:nvSpPr>
        <p:spPr>
          <a:xfrm>
            <a:off x="2969340" y="4889838"/>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12" name="Text Placeholder 33">
            <a:extLst>
              <a:ext uri="{FF2B5EF4-FFF2-40B4-BE49-F238E27FC236}">
                <a16:creationId xmlns:a16="http://schemas.microsoft.com/office/drawing/2014/main" id="{1111471C-B4BB-C16C-20B6-9EABD7911DCE}"/>
              </a:ext>
            </a:extLst>
          </p:cNvPr>
          <p:cNvSpPr>
            <a:spLocks noGrp="1"/>
          </p:cNvSpPr>
          <p:nvPr>
            <p:ph type="body" sz="quarter" idx="41"/>
          </p:nvPr>
        </p:nvSpPr>
        <p:spPr>
          <a:xfrm>
            <a:off x="8731044" y="1981432"/>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13" name="Text Placeholder 33">
            <a:extLst>
              <a:ext uri="{FF2B5EF4-FFF2-40B4-BE49-F238E27FC236}">
                <a16:creationId xmlns:a16="http://schemas.microsoft.com/office/drawing/2014/main" id="{DE19B41B-36A1-A98B-A96B-28E331CA83AE}"/>
              </a:ext>
            </a:extLst>
          </p:cNvPr>
          <p:cNvSpPr>
            <a:spLocks noGrp="1"/>
          </p:cNvSpPr>
          <p:nvPr>
            <p:ph type="body" sz="quarter" idx="42"/>
          </p:nvPr>
        </p:nvSpPr>
        <p:spPr>
          <a:xfrm>
            <a:off x="8731044" y="3435635"/>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14" name="Text Placeholder 33">
            <a:extLst>
              <a:ext uri="{FF2B5EF4-FFF2-40B4-BE49-F238E27FC236}">
                <a16:creationId xmlns:a16="http://schemas.microsoft.com/office/drawing/2014/main" id="{7201346C-7F24-9A74-C424-0A91E7C05AB9}"/>
              </a:ext>
            </a:extLst>
          </p:cNvPr>
          <p:cNvSpPr>
            <a:spLocks noGrp="1"/>
          </p:cNvSpPr>
          <p:nvPr>
            <p:ph type="body" sz="quarter" idx="43"/>
          </p:nvPr>
        </p:nvSpPr>
        <p:spPr>
          <a:xfrm>
            <a:off x="8731044" y="4889838"/>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2" name="Date Placeholder 4">
            <a:extLst>
              <a:ext uri="{FF2B5EF4-FFF2-40B4-BE49-F238E27FC236}">
                <a16:creationId xmlns:a16="http://schemas.microsoft.com/office/drawing/2014/main" id="{10DD0599-157A-2B10-FC25-8F782FE55986}"/>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2701F099-C06A-4FA7-B2D7-8073F5E9C3B6}" type="datetime4">
              <a:rPr lang="en-US" smtClean="0"/>
              <a:t>May 17, 2025</a:t>
            </a:fld>
            <a:endParaRPr lang="en-US"/>
          </a:p>
        </p:txBody>
      </p:sp>
      <p:sp>
        <p:nvSpPr>
          <p:cNvPr id="15" name="Text Placeholder 7">
            <a:extLst>
              <a:ext uri="{FF2B5EF4-FFF2-40B4-BE49-F238E27FC236}">
                <a16:creationId xmlns:a16="http://schemas.microsoft.com/office/drawing/2014/main" id="{966CE636-D2E8-A795-F616-7764CB50FF11}"/>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Tree>
    <p:extLst>
      <p:ext uri="{BB962C8B-B14F-4D97-AF65-F5344CB8AC3E}">
        <p14:creationId xmlns:p14="http://schemas.microsoft.com/office/powerpoint/2010/main" val="22157925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1_Statistics">
    <p:bg>
      <p:bgPr>
        <a:solidFill>
          <a:schemeClr val="tx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bg1"/>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
        <p:nvSpPr>
          <p:cNvPr id="33" name="Text Placeholder 33">
            <a:extLst>
              <a:ext uri="{FF2B5EF4-FFF2-40B4-BE49-F238E27FC236}">
                <a16:creationId xmlns:a16="http://schemas.microsoft.com/office/drawing/2014/main" id="{7E25B57A-249F-302B-B85D-FA5ED6A06A1A}"/>
              </a:ext>
            </a:extLst>
          </p:cNvPr>
          <p:cNvSpPr>
            <a:spLocks noGrp="1"/>
          </p:cNvSpPr>
          <p:nvPr>
            <p:ph type="body" sz="quarter" idx="30" hasCustomPrompt="1"/>
          </p:nvPr>
        </p:nvSpPr>
        <p:spPr>
          <a:xfrm>
            <a:off x="609599" y="1981432"/>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34" name="Text Placeholder 33">
            <a:extLst>
              <a:ext uri="{FF2B5EF4-FFF2-40B4-BE49-F238E27FC236}">
                <a16:creationId xmlns:a16="http://schemas.microsoft.com/office/drawing/2014/main" id="{81332B9F-1F08-F247-B712-9C3A3624ECEC}"/>
              </a:ext>
            </a:extLst>
          </p:cNvPr>
          <p:cNvSpPr>
            <a:spLocks noGrp="1"/>
          </p:cNvSpPr>
          <p:nvPr>
            <p:ph type="body" sz="quarter" idx="31" hasCustomPrompt="1"/>
          </p:nvPr>
        </p:nvSpPr>
        <p:spPr>
          <a:xfrm>
            <a:off x="609599" y="3435635"/>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35" name="Text Placeholder 33">
            <a:extLst>
              <a:ext uri="{FF2B5EF4-FFF2-40B4-BE49-F238E27FC236}">
                <a16:creationId xmlns:a16="http://schemas.microsoft.com/office/drawing/2014/main" id="{7393CE72-B83F-00E3-F8CD-862380C62E5C}"/>
              </a:ext>
            </a:extLst>
          </p:cNvPr>
          <p:cNvSpPr>
            <a:spLocks noGrp="1"/>
          </p:cNvSpPr>
          <p:nvPr>
            <p:ph type="body" sz="quarter" idx="32" hasCustomPrompt="1"/>
          </p:nvPr>
        </p:nvSpPr>
        <p:spPr>
          <a:xfrm>
            <a:off x="609599" y="4889838"/>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41" name="Text Placeholder 33">
            <a:extLst>
              <a:ext uri="{FF2B5EF4-FFF2-40B4-BE49-F238E27FC236}">
                <a16:creationId xmlns:a16="http://schemas.microsoft.com/office/drawing/2014/main" id="{90333D83-CE3E-B927-4B86-D6DE7FF1E8D7}"/>
              </a:ext>
            </a:extLst>
          </p:cNvPr>
          <p:cNvSpPr>
            <a:spLocks noGrp="1"/>
          </p:cNvSpPr>
          <p:nvPr>
            <p:ph type="body" sz="quarter" idx="36" hasCustomPrompt="1"/>
          </p:nvPr>
        </p:nvSpPr>
        <p:spPr>
          <a:xfrm>
            <a:off x="6371303" y="1981432"/>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42" name="Text Placeholder 33">
            <a:extLst>
              <a:ext uri="{FF2B5EF4-FFF2-40B4-BE49-F238E27FC236}">
                <a16:creationId xmlns:a16="http://schemas.microsoft.com/office/drawing/2014/main" id="{431E9520-FD4B-C5E8-75B7-42F0A83BEE61}"/>
              </a:ext>
            </a:extLst>
          </p:cNvPr>
          <p:cNvSpPr>
            <a:spLocks noGrp="1"/>
          </p:cNvSpPr>
          <p:nvPr>
            <p:ph type="body" sz="quarter" idx="37" hasCustomPrompt="1"/>
          </p:nvPr>
        </p:nvSpPr>
        <p:spPr>
          <a:xfrm>
            <a:off x="6371303" y="3435635"/>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43" name="Text Placeholder 33">
            <a:extLst>
              <a:ext uri="{FF2B5EF4-FFF2-40B4-BE49-F238E27FC236}">
                <a16:creationId xmlns:a16="http://schemas.microsoft.com/office/drawing/2014/main" id="{13A258BC-65F7-7E99-1C10-1F7A78D89A4B}"/>
              </a:ext>
            </a:extLst>
          </p:cNvPr>
          <p:cNvSpPr>
            <a:spLocks noGrp="1"/>
          </p:cNvSpPr>
          <p:nvPr>
            <p:ph type="body" sz="quarter" idx="38" hasCustomPrompt="1"/>
          </p:nvPr>
        </p:nvSpPr>
        <p:spPr>
          <a:xfrm>
            <a:off x="6371303" y="4889838"/>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7" name="Text Placeholder 33">
            <a:extLst>
              <a:ext uri="{FF2B5EF4-FFF2-40B4-BE49-F238E27FC236}">
                <a16:creationId xmlns:a16="http://schemas.microsoft.com/office/drawing/2014/main" id="{53E29BA2-2A65-DCC1-F92B-B16E116F89B8}"/>
              </a:ext>
            </a:extLst>
          </p:cNvPr>
          <p:cNvSpPr>
            <a:spLocks noGrp="1"/>
          </p:cNvSpPr>
          <p:nvPr>
            <p:ph type="body" sz="quarter" idx="29"/>
          </p:nvPr>
        </p:nvSpPr>
        <p:spPr>
          <a:xfrm>
            <a:off x="2969340" y="1981432"/>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8" name="Text Placeholder 33">
            <a:extLst>
              <a:ext uri="{FF2B5EF4-FFF2-40B4-BE49-F238E27FC236}">
                <a16:creationId xmlns:a16="http://schemas.microsoft.com/office/drawing/2014/main" id="{A7555289-4122-EEDC-87E0-6D6E5178ACED}"/>
              </a:ext>
            </a:extLst>
          </p:cNvPr>
          <p:cNvSpPr>
            <a:spLocks noGrp="1"/>
          </p:cNvSpPr>
          <p:nvPr>
            <p:ph type="body" sz="quarter" idx="39"/>
          </p:nvPr>
        </p:nvSpPr>
        <p:spPr>
          <a:xfrm>
            <a:off x="2969340" y="3435635"/>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11" name="Text Placeholder 33">
            <a:extLst>
              <a:ext uri="{FF2B5EF4-FFF2-40B4-BE49-F238E27FC236}">
                <a16:creationId xmlns:a16="http://schemas.microsoft.com/office/drawing/2014/main" id="{87D57193-8B70-088C-7CED-0D5D6475DF31}"/>
              </a:ext>
            </a:extLst>
          </p:cNvPr>
          <p:cNvSpPr>
            <a:spLocks noGrp="1"/>
          </p:cNvSpPr>
          <p:nvPr>
            <p:ph type="body" sz="quarter" idx="40"/>
          </p:nvPr>
        </p:nvSpPr>
        <p:spPr>
          <a:xfrm>
            <a:off x="2969340" y="4889838"/>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12" name="Text Placeholder 33">
            <a:extLst>
              <a:ext uri="{FF2B5EF4-FFF2-40B4-BE49-F238E27FC236}">
                <a16:creationId xmlns:a16="http://schemas.microsoft.com/office/drawing/2014/main" id="{1111471C-B4BB-C16C-20B6-9EABD7911DCE}"/>
              </a:ext>
            </a:extLst>
          </p:cNvPr>
          <p:cNvSpPr>
            <a:spLocks noGrp="1"/>
          </p:cNvSpPr>
          <p:nvPr>
            <p:ph type="body" sz="quarter" idx="41"/>
          </p:nvPr>
        </p:nvSpPr>
        <p:spPr>
          <a:xfrm>
            <a:off x="8731044" y="1981432"/>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13" name="Text Placeholder 33">
            <a:extLst>
              <a:ext uri="{FF2B5EF4-FFF2-40B4-BE49-F238E27FC236}">
                <a16:creationId xmlns:a16="http://schemas.microsoft.com/office/drawing/2014/main" id="{DE19B41B-36A1-A98B-A96B-28E331CA83AE}"/>
              </a:ext>
            </a:extLst>
          </p:cNvPr>
          <p:cNvSpPr>
            <a:spLocks noGrp="1"/>
          </p:cNvSpPr>
          <p:nvPr>
            <p:ph type="body" sz="quarter" idx="42"/>
          </p:nvPr>
        </p:nvSpPr>
        <p:spPr>
          <a:xfrm>
            <a:off x="8731044" y="3435635"/>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14" name="Text Placeholder 33">
            <a:extLst>
              <a:ext uri="{FF2B5EF4-FFF2-40B4-BE49-F238E27FC236}">
                <a16:creationId xmlns:a16="http://schemas.microsoft.com/office/drawing/2014/main" id="{7201346C-7F24-9A74-C424-0A91E7C05AB9}"/>
              </a:ext>
            </a:extLst>
          </p:cNvPr>
          <p:cNvSpPr>
            <a:spLocks noGrp="1"/>
          </p:cNvSpPr>
          <p:nvPr>
            <p:ph type="body" sz="quarter" idx="43"/>
          </p:nvPr>
        </p:nvSpPr>
        <p:spPr>
          <a:xfrm>
            <a:off x="8731044" y="4889838"/>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5" name="Text Placeholder 7">
            <a:extLst>
              <a:ext uri="{FF2B5EF4-FFF2-40B4-BE49-F238E27FC236}">
                <a16:creationId xmlns:a16="http://schemas.microsoft.com/office/drawing/2014/main" id="{CA5FE8D1-CE4A-70FF-38C5-921E263BAFD0}"/>
              </a:ext>
            </a:extLst>
          </p:cNvPr>
          <p:cNvSpPr>
            <a:spLocks noGrp="1"/>
          </p:cNvSpPr>
          <p:nvPr>
            <p:ph type="body" sz="quarter" idx="25"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6" name="Date Placeholder 12">
            <a:extLst>
              <a:ext uri="{FF2B5EF4-FFF2-40B4-BE49-F238E27FC236}">
                <a16:creationId xmlns:a16="http://schemas.microsoft.com/office/drawing/2014/main" id="{9F001AA3-E8A3-08B5-EBAC-5BC79F1A0EF2}"/>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B7FCE19A-6763-449F-932A-B690384CB417}" type="datetime4">
              <a:rPr lang="en-US" smtClean="0"/>
              <a:t>May 17, 2025</a:t>
            </a:fld>
            <a:endParaRPr lang="en-US"/>
          </a:p>
        </p:txBody>
      </p:sp>
      <p:sp>
        <p:nvSpPr>
          <p:cNvPr id="10" name="Footer Placeholder 13">
            <a:extLst>
              <a:ext uri="{FF2B5EF4-FFF2-40B4-BE49-F238E27FC236}">
                <a16:creationId xmlns:a16="http://schemas.microsoft.com/office/drawing/2014/main" id="{1CBB0353-FBF5-B1E3-D1C1-03E34A43B192}"/>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a:t>© 2024 Guidehouse</a:t>
            </a:r>
          </a:p>
        </p:txBody>
      </p:sp>
      <p:sp>
        <p:nvSpPr>
          <p:cNvPr id="20" name="Slide Number Placeholder 14">
            <a:extLst>
              <a:ext uri="{FF2B5EF4-FFF2-40B4-BE49-F238E27FC236}">
                <a16:creationId xmlns:a16="http://schemas.microsoft.com/office/drawing/2014/main" id="{B51E7EAE-68E6-4D4C-35F1-39A661AF655D}"/>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a:p>
        </p:txBody>
      </p:sp>
      <p:pic>
        <p:nvPicPr>
          <p:cNvPr id="21" name="Graphic 20">
            <a:extLst>
              <a:ext uri="{FF2B5EF4-FFF2-40B4-BE49-F238E27FC236}">
                <a16:creationId xmlns:a16="http://schemas.microsoft.com/office/drawing/2014/main" id="{668416C8-DA1C-C6E9-68D4-3F01F4C55B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22" name="Straight Connector 21">
            <a:extLst>
              <a:ext uri="{FF2B5EF4-FFF2-40B4-BE49-F238E27FC236}">
                <a16:creationId xmlns:a16="http://schemas.microsoft.com/office/drawing/2014/main" id="{CFADCDA6-711B-3677-A59A-4F39CDDCE639}"/>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8B03EF-DCA7-985D-D7DF-092FA5C3E989}"/>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D26ABCD-AA8B-0812-FC27-ECCA4F55A68D}"/>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0444BC-6040-AD50-C04B-A7CF5F19A28D}"/>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75713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2 - Dark">
    <p:bg>
      <p:bgPr>
        <a:solidFill>
          <a:schemeClr val="tx2"/>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DE3CA1B0-623A-9E3F-9B2B-5EFA479D7D93}"/>
              </a:ext>
            </a:extLst>
          </p:cNvPr>
          <p:cNvSpPr>
            <a:spLocks noGrp="1"/>
          </p:cNvSpPr>
          <p:nvPr>
            <p:ph type="body" sz="quarter" idx="10" hasCustomPrompt="1"/>
          </p:nvPr>
        </p:nvSpPr>
        <p:spPr>
          <a:xfrm>
            <a:off x="938562" y="2453998"/>
            <a:ext cx="7552295" cy="2000804"/>
          </a:xfrm>
        </p:spPr>
        <p:txBody>
          <a:bodyPr wrap="square" anchor="t">
            <a:noAutofit/>
          </a:bodyPr>
          <a:lstStyle>
            <a:lvl1pPr>
              <a:lnSpc>
                <a:spcPct val="90000"/>
              </a:lnSpc>
              <a:spcAft>
                <a:spcPts val="0"/>
              </a:spcAft>
              <a:defRPr sz="7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a:t>
            </a:r>
            <a:br>
              <a:rPr lang="en-US"/>
            </a:br>
            <a:r>
              <a:rPr lang="en-US"/>
              <a:t>Title Here</a:t>
            </a:r>
          </a:p>
        </p:txBody>
      </p:sp>
      <p:sp>
        <p:nvSpPr>
          <p:cNvPr id="13" name="Text Placeholder 16">
            <a:extLst>
              <a:ext uri="{FF2B5EF4-FFF2-40B4-BE49-F238E27FC236}">
                <a16:creationId xmlns:a16="http://schemas.microsoft.com/office/drawing/2014/main" id="{353296DA-3EB1-2F89-5D2A-CD471FFD68DE}"/>
              </a:ext>
            </a:extLst>
          </p:cNvPr>
          <p:cNvSpPr>
            <a:spLocks noGrp="1"/>
          </p:cNvSpPr>
          <p:nvPr>
            <p:ph type="body" sz="quarter" idx="12" hasCustomPrompt="1"/>
          </p:nvPr>
        </p:nvSpPr>
        <p:spPr>
          <a:xfrm>
            <a:off x="938562" y="5956756"/>
            <a:ext cx="7552345" cy="215444"/>
          </a:xfrm>
        </p:spPr>
        <p:txBody>
          <a:bodyPr wrap="square" anchor="b">
            <a:noAutofit/>
          </a:bodyPr>
          <a:lstStyle>
            <a:lvl1pPr>
              <a:spcAft>
                <a:spcPts val="0"/>
              </a:spcAft>
              <a:defRPr sz="1400" b="1" cap="all" spc="300" baseline="0">
                <a:solidFill>
                  <a:schemeClr val="accent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dustry Name</a:t>
            </a:r>
          </a:p>
        </p:txBody>
      </p:sp>
      <p:pic>
        <p:nvPicPr>
          <p:cNvPr id="8" name="Graphic 7">
            <a:extLst>
              <a:ext uri="{FF2B5EF4-FFF2-40B4-BE49-F238E27FC236}">
                <a16:creationId xmlns:a16="http://schemas.microsoft.com/office/drawing/2014/main" id="{3AB37842-EC51-8631-1C75-0B1DCCBB6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2569"/>
            <a:ext cx="1799617" cy="457200"/>
          </a:xfrm>
          <a:prstGeom prst="rect">
            <a:avLst/>
          </a:prstGeom>
        </p:spPr>
      </p:pic>
      <p:sp>
        <p:nvSpPr>
          <p:cNvPr id="16" name="Text Placeholder 16">
            <a:extLst>
              <a:ext uri="{FF2B5EF4-FFF2-40B4-BE49-F238E27FC236}">
                <a16:creationId xmlns:a16="http://schemas.microsoft.com/office/drawing/2014/main" id="{73ECA860-D36F-D1ED-E741-2F6625B97D3D}"/>
              </a:ext>
            </a:extLst>
          </p:cNvPr>
          <p:cNvSpPr>
            <a:spLocks noGrp="1"/>
          </p:cNvSpPr>
          <p:nvPr>
            <p:ph type="body" sz="quarter" idx="11" hasCustomPrompt="1"/>
          </p:nvPr>
        </p:nvSpPr>
        <p:spPr>
          <a:xfrm>
            <a:off x="938562" y="4942006"/>
            <a:ext cx="7552295" cy="738664"/>
          </a:xfrm>
        </p:spPr>
        <p:txBody>
          <a:bodyPr anchor="b">
            <a:noAutofit/>
          </a:bodyPr>
          <a:lstStyle>
            <a:lvl1pPr algn="l">
              <a:spcAft>
                <a:spcPts val="0"/>
              </a:spcAft>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grpSp>
        <p:nvGrpSpPr>
          <p:cNvPr id="4" name="Group 3">
            <a:extLst>
              <a:ext uri="{FF2B5EF4-FFF2-40B4-BE49-F238E27FC236}">
                <a16:creationId xmlns:a16="http://schemas.microsoft.com/office/drawing/2014/main" id="{F1D1B2D9-69D8-BCE4-17C2-3031E4E8385D}"/>
              </a:ext>
            </a:extLst>
          </p:cNvPr>
          <p:cNvGrpSpPr/>
          <p:nvPr userDrawn="1"/>
        </p:nvGrpSpPr>
        <p:grpSpPr>
          <a:xfrm>
            <a:off x="938562" y="1983579"/>
            <a:ext cx="7552295" cy="0"/>
            <a:chOff x="938562" y="1983579"/>
            <a:chExt cx="7552295" cy="0"/>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flipH="1">
              <a:off x="938562" y="1983579"/>
              <a:ext cx="7552295"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1543059" y="1379082"/>
              <a:ext cx="0" cy="1208993"/>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6" name="Graphic 5">
            <a:extLst>
              <a:ext uri="{FF2B5EF4-FFF2-40B4-BE49-F238E27FC236}">
                <a16:creationId xmlns:a16="http://schemas.microsoft.com/office/drawing/2014/main" id="{5A739C11-B85C-1E6D-6FEF-0C04AE381823}"/>
              </a:ext>
            </a:extLst>
          </p:cNvPr>
          <p:cNvPicPr/>
          <p:nvPr userDrawn="1"/>
        </p:nvPicPr>
        <p:blipFill rotWithShape="1">
          <a:blip r:embed="rId4">
            <a:extLst>
              <a:ext uri="{96DAC541-7B7A-43D3-8B79-37D633B846F1}">
                <asvg:svgBlip xmlns:asvg="http://schemas.microsoft.com/office/drawing/2016/SVG/main" r:embed="rId5"/>
              </a:ext>
            </a:extLst>
          </a:blip>
          <a:srcRect t="2988" b="2988"/>
          <a:stretch/>
        </p:blipFill>
        <p:spPr>
          <a:xfrm>
            <a:off x="9566275" y="0"/>
            <a:ext cx="2260386" cy="6858000"/>
          </a:xfrm>
          <a:prstGeom prst="rect">
            <a:avLst/>
          </a:prstGeom>
        </p:spPr>
      </p:pic>
    </p:spTree>
    <p:extLst>
      <p:ext uri="{BB962C8B-B14F-4D97-AF65-F5344CB8AC3E}">
        <p14:creationId xmlns:p14="http://schemas.microsoft.com/office/powerpoint/2010/main" val="132335587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p>
            <a:r>
              <a:rPr lang="en-US"/>
              <a:t>Click to edit Master title style</a:t>
            </a:r>
          </a:p>
        </p:txBody>
      </p:sp>
      <p:sp>
        <p:nvSpPr>
          <p:cNvPr id="17" name="Text Placeholder 33">
            <a:extLst>
              <a:ext uri="{FF2B5EF4-FFF2-40B4-BE49-F238E27FC236}">
                <a16:creationId xmlns:a16="http://schemas.microsoft.com/office/drawing/2014/main" id="{A3FF7FE9-7C3E-9E3F-5E98-C14306A5E661}"/>
              </a:ext>
            </a:extLst>
          </p:cNvPr>
          <p:cNvSpPr>
            <a:spLocks noGrp="1"/>
          </p:cNvSpPr>
          <p:nvPr>
            <p:ph type="body" sz="quarter" idx="30"/>
          </p:nvPr>
        </p:nvSpPr>
        <p:spPr>
          <a:xfrm>
            <a:off x="609600"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23" name="Text Placeholder 33">
            <a:extLst>
              <a:ext uri="{FF2B5EF4-FFF2-40B4-BE49-F238E27FC236}">
                <a16:creationId xmlns:a16="http://schemas.microsoft.com/office/drawing/2014/main" id="{7040573E-FA4E-F880-7253-8F615D3A556D}"/>
              </a:ext>
            </a:extLst>
          </p:cNvPr>
          <p:cNvSpPr>
            <a:spLocks noGrp="1"/>
          </p:cNvSpPr>
          <p:nvPr>
            <p:ph type="body" sz="quarter" idx="31"/>
          </p:nvPr>
        </p:nvSpPr>
        <p:spPr>
          <a:xfrm>
            <a:off x="2847975"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32" name="Text Placeholder 33">
            <a:extLst>
              <a:ext uri="{FF2B5EF4-FFF2-40B4-BE49-F238E27FC236}">
                <a16:creationId xmlns:a16="http://schemas.microsoft.com/office/drawing/2014/main" id="{FC9FDCE9-3F2A-8273-3A90-940BD2FB45CB}"/>
              </a:ext>
            </a:extLst>
          </p:cNvPr>
          <p:cNvSpPr>
            <a:spLocks noGrp="1"/>
          </p:cNvSpPr>
          <p:nvPr>
            <p:ph type="body" sz="quarter" idx="32"/>
          </p:nvPr>
        </p:nvSpPr>
        <p:spPr>
          <a:xfrm>
            <a:off x="5086350"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36" name="Text Placeholder 33">
            <a:extLst>
              <a:ext uri="{FF2B5EF4-FFF2-40B4-BE49-F238E27FC236}">
                <a16:creationId xmlns:a16="http://schemas.microsoft.com/office/drawing/2014/main" id="{C73D29D7-D2B7-C2E6-E294-7211B43A0E0E}"/>
              </a:ext>
            </a:extLst>
          </p:cNvPr>
          <p:cNvSpPr>
            <a:spLocks noGrp="1"/>
          </p:cNvSpPr>
          <p:nvPr>
            <p:ph type="body" sz="quarter" idx="33"/>
          </p:nvPr>
        </p:nvSpPr>
        <p:spPr>
          <a:xfrm>
            <a:off x="7324725"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37" name="Text Placeholder 33">
            <a:extLst>
              <a:ext uri="{FF2B5EF4-FFF2-40B4-BE49-F238E27FC236}">
                <a16:creationId xmlns:a16="http://schemas.microsoft.com/office/drawing/2014/main" id="{9E8DB932-E00E-7098-CC9F-DB7146FCD551}"/>
              </a:ext>
            </a:extLst>
          </p:cNvPr>
          <p:cNvSpPr>
            <a:spLocks noGrp="1"/>
          </p:cNvSpPr>
          <p:nvPr>
            <p:ph type="body" sz="quarter" idx="34"/>
          </p:nvPr>
        </p:nvSpPr>
        <p:spPr>
          <a:xfrm>
            <a:off x="9563100"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38" name="Text Placeholder 33">
            <a:extLst>
              <a:ext uri="{FF2B5EF4-FFF2-40B4-BE49-F238E27FC236}">
                <a16:creationId xmlns:a16="http://schemas.microsoft.com/office/drawing/2014/main" id="{029791F1-18D9-6ADC-173D-2DB273FF26BD}"/>
              </a:ext>
            </a:extLst>
          </p:cNvPr>
          <p:cNvSpPr>
            <a:spLocks noGrp="1"/>
          </p:cNvSpPr>
          <p:nvPr>
            <p:ph type="body" sz="quarter" idx="35" hasCustomPrompt="1"/>
          </p:nvPr>
        </p:nvSpPr>
        <p:spPr>
          <a:xfrm>
            <a:off x="609600" y="2461210"/>
            <a:ext cx="812799" cy="430887"/>
          </a:xfrm>
        </p:spPr>
        <p:txBody>
          <a:bodyPr lIns="0" anchor="ctr">
            <a:noAutofit/>
          </a:bodyPr>
          <a:lstStyle>
            <a:lvl1pPr>
              <a:defRPr lang="en-US" sz="2400" dirty="0"/>
            </a:lvl1pPr>
          </a:lstStyle>
          <a:p>
            <a:pPr lvl="0"/>
            <a:r>
              <a:rPr lang="en-US"/>
              <a:t>00</a:t>
            </a:r>
          </a:p>
        </p:txBody>
      </p:sp>
      <p:sp>
        <p:nvSpPr>
          <p:cNvPr id="56" name="Text Placeholder 33">
            <a:extLst>
              <a:ext uri="{FF2B5EF4-FFF2-40B4-BE49-F238E27FC236}">
                <a16:creationId xmlns:a16="http://schemas.microsoft.com/office/drawing/2014/main" id="{E648E2D6-1714-3A97-3AFB-36501C0AE417}"/>
              </a:ext>
            </a:extLst>
          </p:cNvPr>
          <p:cNvSpPr>
            <a:spLocks noGrp="1"/>
          </p:cNvSpPr>
          <p:nvPr>
            <p:ph type="body" sz="quarter" idx="36" hasCustomPrompt="1"/>
          </p:nvPr>
        </p:nvSpPr>
        <p:spPr>
          <a:xfrm>
            <a:off x="2847975" y="2461210"/>
            <a:ext cx="812799" cy="430887"/>
          </a:xfrm>
        </p:spPr>
        <p:txBody>
          <a:bodyPr lIns="0" anchor="ctr">
            <a:noAutofit/>
          </a:bodyPr>
          <a:lstStyle>
            <a:lvl1pPr>
              <a:defRPr lang="en-US" sz="2400" dirty="0"/>
            </a:lvl1pPr>
          </a:lstStyle>
          <a:p>
            <a:pPr lvl="0"/>
            <a:r>
              <a:rPr lang="en-US"/>
              <a:t>00</a:t>
            </a:r>
          </a:p>
        </p:txBody>
      </p:sp>
      <p:sp>
        <p:nvSpPr>
          <p:cNvPr id="61" name="Text Placeholder 33">
            <a:extLst>
              <a:ext uri="{FF2B5EF4-FFF2-40B4-BE49-F238E27FC236}">
                <a16:creationId xmlns:a16="http://schemas.microsoft.com/office/drawing/2014/main" id="{7796FB6B-A7D4-62B6-13B5-27FC13C31C62}"/>
              </a:ext>
            </a:extLst>
          </p:cNvPr>
          <p:cNvSpPr>
            <a:spLocks noGrp="1"/>
          </p:cNvSpPr>
          <p:nvPr>
            <p:ph type="body" sz="quarter" idx="37" hasCustomPrompt="1"/>
          </p:nvPr>
        </p:nvSpPr>
        <p:spPr>
          <a:xfrm>
            <a:off x="5086350" y="2461210"/>
            <a:ext cx="812799" cy="430887"/>
          </a:xfrm>
        </p:spPr>
        <p:txBody>
          <a:bodyPr lIns="0" anchor="ctr">
            <a:noAutofit/>
          </a:bodyPr>
          <a:lstStyle>
            <a:lvl1pPr>
              <a:defRPr lang="en-US" sz="2400" dirty="0"/>
            </a:lvl1pPr>
          </a:lstStyle>
          <a:p>
            <a:pPr lvl="0"/>
            <a:r>
              <a:rPr lang="en-US"/>
              <a:t>00</a:t>
            </a:r>
          </a:p>
        </p:txBody>
      </p:sp>
      <p:sp>
        <p:nvSpPr>
          <p:cNvPr id="62" name="Text Placeholder 33">
            <a:extLst>
              <a:ext uri="{FF2B5EF4-FFF2-40B4-BE49-F238E27FC236}">
                <a16:creationId xmlns:a16="http://schemas.microsoft.com/office/drawing/2014/main" id="{7C8A7C98-FB2F-39E1-5A63-E3CE3009615B}"/>
              </a:ext>
            </a:extLst>
          </p:cNvPr>
          <p:cNvSpPr>
            <a:spLocks noGrp="1"/>
          </p:cNvSpPr>
          <p:nvPr>
            <p:ph type="body" sz="quarter" idx="38" hasCustomPrompt="1"/>
          </p:nvPr>
        </p:nvSpPr>
        <p:spPr>
          <a:xfrm>
            <a:off x="7324725" y="2461210"/>
            <a:ext cx="812799" cy="430887"/>
          </a:xfrm>
        </p:spPr>
        <p:txBody>
          <a:bodyPr lIns="0" anchor="ctr">
            <a:noAutofit/>
          </a:bodyPr>
          <a:lstStyle>
            <a:lvl1pPr>
              <a:defRPr lang="en-US" sz="2400" dirty="0"/>
            </a:lvl1pPr>
          </a:lstStyle>
          <a:p>
            <a:pPr lvl="0"/>
            <a:r>
              <a:rPr lang="en-US"/>
              <a:t>00</a:t>
            </a:r>
          </a:p>
        </p:txBody>
      </p:sp>
      <p:sp>
        <p:nvSpPr>
          <p:cNvPr id="63" name="Text Placeholder 33">
            <a:extLst>
              <a:ext uri="{FF2B5EF4-FFF2-40B4-BE49-F238E27FC236}">
                <a16:creationId xmlns:a16="http://schemas.microsoft.com/office/drawing/2014/main" id="{377A0E12-8209-F77D-D443-47B6CC416C91}"/>
              </a:ext>
            </a:extLst>
          </p:cNvPr>
          <p:cNvSpPr>
            <a:spLocks noGrp="1"/>
          </p:cNvSpPr>
          <p:nvPr>
            <p:ph type="body" sz="quarter" idx="39" hasCustomPrompt="1"/>
          </p:nvPr>
        </p:nvSpPr>
        <p:spPr>
          <a:xfrm>
            <a:off x="9563100" y="2461210"/>
            <a:ext cx="812799" cy="430887"/>
          </a:xfrm>
        </p:spPr>
        <p:txBody>
          <a:bodyPr lIns="0" anchor="ctr">
            <a:noAutofit/>
          </a:bodyPr>
          <a:lstStyle>
            <a:lvl1pPr>
              <a:defRPr lang="en-US" sz="2400" dirty="0"/>
            </a:lvl1pPr>
          </a:lstStyle>
          <a:p>
            <a:pPr lvl="0"/>
            <a:r>
              <a:rPr lang="en-US"/>
              <a:t>00</a:t>
            </a:r>
          </a:p>
        </p:txBody>
      </p:sp>
      <p:sp>
        <p:nvSpPr>
          <p:cNvPr id="7" name="Date Placeholder 4">
            <a:extLst>
              <a:ext uri="{FF2B5EF4-FFF2-40B4-BE49-F238E27FC236}">
                <a16:creationId xmlns:a16="http://schemas.microsoft.com/office/drawing/2014/main" id="{11028E06-0590-49EE-428F-4F698DA8C098}"/>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7E188797-EBD3-44EC-B195-8F88FB48BCB0}" type="datetime4">
              <a:rPr lang="en-US" smtClean="0"/>
              <a:t>May 17, 2025</a:t>
            </a:fld>
            <a:endParaRPr lang="en-US"/>
          </a:p>
        </p:txBody>
      </p:sp>
      <p:sp>
        <p:nvSpPr>
          <p:cNvPr id="8" name="Text Placeholder 7">
            <a:extLst>
              <a:ext uri="{FF2B5EF4-FFF2-40B4-BE49-F238E27FC236}">
                <a16:creationId xmlns:a16="http://schemas.microsoft.com/office/drawing/2014/main" id="{B2370188-3E8A-4A8B-B64A-337B723DF375}"/>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4" name="Picture Placeholder 44">
            <a:extLst>
              <a:ext uri="{FF2B5EF4-FFF2-40B4-BE49-F238E27FC236}">
                <a16:creationId xmlns:a16="http://schemas.microsoft.com/office/drawing/2014/main" id="{D0A1BF89-346C-EEBA-9A68-27A8CAD66F79}"/>
              </a:ext>
            </a:extLst>
          </p:cNvPr>
          <p:cNvSpPr>
            <a:spLocks noGrp="1"/>
          </p:cNvSpPr>
          <p:nvPr>
            <p:ph type="pic" sz="quarter" idx="45" hasCustomPrompt="1"/>
          </p:nvPr>
        </p:nvSpPr>
        <p:spPr>
          <a:xfrm>
            <a:off x="598967" y="3353587"/>
            <a:ext cx="475488" cy="475488"/>
          </a:xfrm>
          <a:noFill/>
        </p:spPr>
        <p:txBody>
          <a:bodyPr/>
          <a:lstStyle>
            <a:lvl1pPr>
              <a:defRPr sz="1100">
                <a:solidFill>
                  <a:schemeClr val="tx1"/>
                </a:solidFill>
              </a:defRPr>
            </a:lvl1pPr>
          </a:lstStyle>
          <a:p>
            <a:r>
              <a:rPr lang="en-US"/>
              <a:t>Click icon o add picture</a:t>
            </a:r>
          </a:p>
        </p:txBody>
      </p:sp>
      <p:sp>
        <p:nvSpPr>
          <p:cNvPr id="25" name="Picture Placeholder 44">
            <a:extLst>
              <a:ext uri="{FF2B5EF4-FFF2-40B4-BE49-F238E27FC236}">
                <a16:creationId xmlns:a16="http://schemas.microsoft.com/office/drawing/2014/main" id="{FE4CEB3D-C869-490C-EFE4-65AB3D7F0E10}"/>
              </a:ext>
            </a:extLst>
          </p:cNvPr>
          <p:cNvSpPr>
            <a:spLocks noGrp="1"/>
          </p:cNvSpPr>
          <p:nvPr>
            <p:ph type="pic" sz="quarter" idx="46"/>
          </p:nvPr>
        </p:nvSpPr>
        <p:spPr>
          <a:xfrm>
            <a:off x="2853067" y="3353587"/>
            <a:ext cx="475488" cy="475488"/>
          </a:xfrm>
          <a:noFill/>
        </p:spPr>
        <p:txBody>
          <a:bodyPr/>
          <a:lstStyle>
            <a:lvl1pPr>
              <a:defRPr sz="1100">
                <a:solidFill>
                  <a:schemeClr val="tx1"/>
                </a:solidFill>
              </a:defRPr>
            </a:lvl1pPr>
          </a:lstStyle>
          <a:p>
            <a:r>
              <a:rPr lang="en-US"/>
              <a:t>Click icon to add picture</a:t>
            </a:r>
          </a:p>
        </p:txBody>
      </p:sp>
      <p:sp>
        <p:nvSpPr>
          <p:cNvPr id="26" name="Picture Placeholder 44">
            <a:extLst>
              <a:ext uri="{FF2B5EF4-FFF2-40B4-BE49-F238E27FC236}">
                <a16:creationId xmlns:a16="http://schemas.microsoft.com/office/drawing/2014/main" id="{FECB9004-6F8E-2D42-833B-F1BDC8A2FA33}"/>
              </a:ext>
            </a:extLst>
          </p:cNvPr>
          <p:cNvSpPr>
            <a:spLocks noGrp="1"/>
          </p:cNvSpPr>
          <p:nvPr>
            <p:ph type="pic" sz="quarter" idx="47"/>
          </p:nvPr>
        </p:nvSpPr>
        <p:spPr>
          <a:xfrm>
            <a:off x="5085892" y="3353587"/>
            <a:ext cx="475488" cy="475488"/>
          </a:xfrm>
          <a:noFill/>
        </p:spPr>
        <p:txBody>
          <a:bodyPr/>
          <a:lstStyle>
            <a:lvl1pPr>
              <a:defRPr sz="1100">
                <a:solidFill>
                  <a:schemeClr val="tx1"/>
                </a:solidFill>
              </a:defRPr>
            </a:lvl1pPr>
          </a:lstStyle>
          <a:p>
            <a:r>
              <a:rPr lang="en-US"/>
              <a:t>Click icon to add picture</a:t>
            </a:r>
          </a:p>
        </p:txBody>
      </p:sp>
      <p:sp>
        <p:nvSpPr>
          <p:cNvPr id="27" name="Picture Placeholder 44">
            <a:extLst>
              <a:ext uri="{FF2B5EF4-FFF2-40B4-BE49-F238E27FC236}">
                <a16:creationId xmlns:a16="http://schemas.microsoft.com/office/drawing/2014/main" id="{CFDE9957-DCA0-56F8-F7F3-DDD5207EF344}"/>
              </a:ext>
            </a:extLst>
          </p:cNvPr>
          <p:cNvSpPr>
            <a:spLocks noGrp="1"/>
          </p:cNvSpPr>
          <p:nvPr>
            <p:ph type="pic" sz="quarter" idx="40"/>
          </p:nvPr>
        </p:nvSpPr>
        <p:spPr>
          <a:xfrm>
            <a:off x="7308087" y="3353587"/>
            <a:ext cx="475488" cy="475488"/>
          </a:xfrm>
          <a:noFill/>
        </p:spPr>
        <p:txBody>
          <a:bodyPr/>
          <a:lstStyle>
            <a:lvl1pPr>
              <a:defRPr sz="1100">
                <a:solidFill>
                  <a:schemeClr val="tx1"/>
                </a:solidFill>
              </a:defRPr>
            </a:lvl1pPr>
          </a:lstStyle>
          <a:p>
            <a:r>
              <a:rPr lang="en-US"/>
              <a:t>Click icon to add picture</a:t>
            </a:r>
          </a:p>
        </p:txBody>
      </p:sp>
      <p:sp>
        <p:nvSpPr>
          <p:cNvPr id="28" name="Picture Placeholder 44">
            <a:extLst>
              <a:ext uri="{FF2B5EF4-FFF2-40B4-BE49-F238E27FC236}">
                <a16:creationId xmlns:a16="http://schemas.microsoft.com/office/drawing/2014/main" id="{77BFB51C-3B11-D42A-30D2-2F1372EA298F}"/>
              </a:ext>
            </a:extLst>
          </p:cNvPr>
          <p:cNvSpPr>
            <a:spLocks noGrp="1"/>
          </p:cNvSpPr>
          <p:nvPr>
            <p:ph type="pic" sz="quarter" idx="41"/>
          </p:nvPr>
        </p:nvSpPr>
        <p:spPr>
          <a:xfrm>
            <a:off x="9583454" y="3353587"/>
            <a:ext cx="475488" cy="475488"/>
          </a:xfrm>
          <a:noFill/>
        </p:spPr>
        <p:txBody>
          <a:bodyPr/>
          <a:lstStyle>
            <a:lvl1pPr>
              <a:defRPr sz="1100">
                <a:solidFill>
                  <a:schemeClr val="tx1"/>
                </a:solidFill>
              </a:defRPr>
            </a:lvl1pPr>
          </a:lstStyle>
          <a:p>
            <a:r>
              <a:rPr lang="en-US"/>
              <a:t>Click icon to add picture</a:t>
            </a:r>
          </a:p>
        </p:txBody>
      </p:sp>
    </p:spTree>
    <p:extLst>
      <p:ext uri="{BB962C8B-B14F-4D97-AF65-F5344CB8AC3E}">
        <p14:creationId xmlns:p14="http://schemas.microsoft.com/office/powerpoint/2010/main" val="243399772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Quadrant Charts">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p>
            <a:r>
              <a:rPr lang="en-US"/>
              <a:t>Click to edit Master title style</a:t>
            </a:r>
          </a:p>
        </p:txBody>
      </p:sp>
      <p:sp>
        <p:nvSpPr>
          <p:cNvPr id="2" name="Chart Placeholder 2">
            <a:extLst>
              <a:ext uri="{FF2B5EF4-FFF2-40B4-BE49-F238E27FC236}">
                <a16:creationId xmlns:a16="http://schemas.microsoft.com/office/drawing/2014/main" id="{0DFBDD93-FDE3-C5C5-3401-38180D1BD0DD}"/>
              </a:ext>
            </a:extLst>
          </p:cNvPr>
          <p:cNvSpPr>
            <a:spLocks noGrp="1"/>
          </p:cNvSpPr>
          <p:nvPr>
            <p:ph type="chart" sz="quarter" idx="31"/>
          </p:nvPr>
        </p:nvSpPr>
        <p:spPr>
          <a:xfrm>
            <a:off x="6172200" y="1898650"/>
            <a:ext cx="5410200" cy="1924050"/>
          </a:xfrm>
        </p:spPr>
        <p:txBody>
          <a:bodyPr/>
          <a:lstStyle/>
          <a:p>
            <a:r>
              <a:rPr lang="en-US"/>
              <a:t>Click icon to add chart</a:t>
            </a:r>
          </a:p>
        </p:txBody>
      </p:sp>
      <p:sp>
        <p:nvSpPr>
          <p:cNvPr id="7" name="Chart Placeholder 2">
            <a:extLst>
              <a:ext uri="{FF2B5EF4-FFF2-40B4-BE49-F238E27FC236}">
                <a16:creationId xmlns:a16="http://schemas.microsoft.com/office/drawing/2014/main" id="{7280B777-A22D-280B-3187-F8EABE1B0879}"/>
              </a:ext>
            </a:extLst>
          </p:cNvPr>
          <p:cNvSpPr>
            <a:spLocks noGrp="1"/>
          </p:cNvSpPr>
          <p:nvPr>
            <p:ph type="chart" sz="quarter" idx="32"/>
          </p:nvPr>
        </p:nvSpPr>
        <p:spPr>
          <a:xfrm>
            <a:off x="6172200" y="3972609"/>
            <a:ext cx="5410200" cy="1924050"/>
          </a:xfrm>
        </p:spPr>
        <p:txBody>
          <a:bodyPr/>
          <a:lstStyle/>
          <a:p>
            <a:r>
              <a:rPr lang="en-US"/>
              <a:t>Click icon to add chart</a:t>
            </a:r>
          </a:p>
        </p:txBody>
      </p:sp>
      <p:sp>
        <p:nvSpPr>
          <p:cNvPr id="14" name="Chart Placeholder 2">
            <a:extLst>
              <a:ext uri="{FF2B5EF4-FFF2-40B4-BE49-F238E27FC236}">
                <a16:creationId xmlns:a16="http://schemas.microsoft.com/office/drawing/2014/main" id="{2C11B0B6-19E8-0F46-62A9-191A5728893D}"/>
              </a:ext>
            </a:extLst>
          </p:cNvPr>
          <p:cNvSpPr>
            <a:spLocks noGrp="1"/>
          </p:cNvSpPr>
          <p:nvPr>
            <p:ph type="chart" sz="quarter" idx="33"/>
          </p:nvPr>
        </p:nvSpPr>
        <p:spPr>
          <a:xfrm>
            <a:off x="609600" y="1898650"/>
            <a:ext cx="5410200" cy="1924050"/>
          </a:xfrm>
        </p:spPr>
        <p:txBody>
          <a:bodyPr/>
          <a:lstStyle/>
          <a:p>
            <a:r>
              <a:rPr lang="en-US"/>
              <a:t>Click icon to add chart</a:t>
            </a:r>
          </a:p>
        </p:txBody>
      </p:sp>
      <p:sp>
        <p:nvSpPr>
          <p:cNvPr id="15" name="Chart Placeholder 2">
            <a:extLst>
              <a:ext uri="{FF2B5EF4-FFF2-40B4-BE49-F238E27FC236}">
                <a16:creationId xmlns:a16="http://schemas.microsoft.com/office/drawing/2014/main" id="{6AA788D3-78E3-DC72-05D2-6C3AE0CB3374}"/>
              </a:ext>
            </a:extLst>
          </p:cNvPr>
          <p:cNvSpPr>
            <a:spLocks noGrp="1"/>
          </p:cNvSpPr>
          <p:nvPr>
            <p:ph type="chart" sz="quarter" idx="34"/>
          </p:nvPr>
        </p:nvSpPr>
        <p:spPr>
          <a:xfrm>
            <a:off x="609600" y="3972609"/>
            <a:ext cx="5410200" cy="1924050"/>
          </a:xfrm>
        </p:spPr>
        <p:txBody>
          <a:bodyPr/>
          <a:lstStyle/>
          <a:p>
            <a:r>
              <a:rPr lang="en-US"/>
              <a:t>Click icon to add chart</a:t>
            </a:r>
          </a:p>
        </p:txBody>
      </p:sp>
      <p:sp>
        <p:nvSpPr>
          <p:cNvPr id="8" name="Date Placeholder 4">
            <a:extLst>
              <a:ext uri="{FF2B5EF4-FFF2-40B4-BE49-F238E27FC236}">
                <a16:creationId xmlns:a16="http://schemas.microsoft.com/office/drawing/2014/main" id="{25371273-63D4-ADA3-419B-F6E1D0936929}"/>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96DFA3E3-A7BE-4477-834B-06DC1C0BB938}" type="datetime4">
              <a:rPr lang="en-US" smtClean="0"/>
              <a:t>May 17, 2025</a:t>
            </a:fld>
            <a:endParaRPr lang="en-US"/>
          </a:p>
        </p:txBody>
      </p:sp>
      <p:sp>
        <p:nvSpPr>
          <p:cNvPr id="11" name="Text Placeholder 7">
            <a:extLst>
              <a:ext uri="{FF2B5EF4-FFF2-40B4-BE49-F238E27FC236}">
                <a16:creationId xmlns:a16="http://schemas.microsoft.com/office/drawing/2014/main" id="{D0BE35F7-12FC-E8A7-DEBE-1ECEB88FD8FF}"/>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Tree>
    <p:extLst>
      <p:ext uri="{BB962C8B-B14F-4D97-AF65-F5344CB8AC3E}">
        <p14:creationId xmlns:p14="http://schemas.microsoft.com/office/powerpoint/2010/main" val="101801210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able Slide">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p>
            <a:r>
              <a:rPr lang="en-US"/>
              <a:t>Click to edit Master title style</a:t>
            </a:r>
          </a:p>
        </p:txBody>
      </p:sp>
      <p:sp>
        <p:nvSpPr>
          <p:cNvPr id="12" name="Table Placeholder 10">
            <a:extLst>
              <a:ext uri="{FF2B5EF4-FFF2-40B4-BE49-F238E27FC236}">
                <a16:creationId xmlns:a16="http://schemas.microsoft.com/office/drawing/2014/main" id="{40D724CC-2F7D-C8B4-1533-9B5820DA74FD}"/>
              </a:ext>
            </a:extLst>
          </p:cNvPr>
          <p:cNvSpPr>
            <a:spLocks noGrp="1"/>
          </p:cNvSpPr>
          <p:nvPr>
            <p:ph type="tbl" sz="quarter" idx="35"/>
          </p:nvPr>
        </p:nvSpPr>
        <p:spPr>
          <a:xfrm>
            <a:off x="609600" y="1898650"/>
            <a:ext cx="10972800" cy="4006850"/>
          </a:xfrm>
        </p:spPr>
        <p:txBody>
          <a:bodyPr/>
          <a:lstStyle/>
          <a:p>
            <a:r>
              <a:rPr lang="en-US"/>
              <a:t>Click icon to add table</a:t>
            </a:r>
          </a:p>
        </p:txBody>
      </p:sp>
      <p:sp>
        <p:nvSpPr>
          <p:cNvPr id="2" name="Date Placeholder 4">
            <a:extLst>
              <a:ext uri="{FF2B5EF4-FFF2-40B4-BE49-F238E27FC236}">
                <a16:creationId xmlns:a16="http://schemas.microsoft.com/office/drawing/2014/main" id="{18D02B29-16EA-4C5A-95FD-C3FE8CDDCD53}"/>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E022535A-5A5D-499B-AEA0-D8D0837D5420}" type="datetime4">
              <a:rPr lang="en-US" smtClean="0"/>
              <a:t>May 17, 2025</a:t>
            </a:fld>
            <a:endParaRPr lang="en-US"/>
          </a:p>
        </p:txBody>
      </p:sp>
      <p:sp>
        <p:nvSpPr>
          <p:cNvPr id="7" name="Text Placeholder 7">
            <a:extLst>
              <a:ext uri="{FF2B5EF4-FFF2-40B4-BE49-F238E27FC236}">
                <a16:creationId xmlns:a16="http://schemas.microsoft.com/office/drawing/2014/main" id="{4ED771DD-A8E7-36F6-47C3-66B79E0249F5}"/>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Tree>
    <p:extLst>
      <p:ext uri="{BB962C8B-B14F-4D97-AF65-F5344CB8AC3E}">
        <p14:creationId xmlns:p14="http://schemas.microsoft.com/office/powerpoint/2010/main" val="5695238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One-column + Image">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854700" cy="615553"/>
          </a:xfrm>
        </p:spPr>
        <p:txBody>
          <a:bodyPr>
            <a:noAutofit/>
          </a:bodyPr>
          <a:lstStyle>
            <a:lvl1pPr>
              <a:defRPr sz="4000"/>
            </a:lvl1pPr>
          </a:lstStyle>
          <a:p>
            <a:r>
              <a:rPr lang="en-US"/>
              <a:t>Click to edit Master title sty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2196559"/>
            <a:ext cx="5854700"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7019924" y="0"/>
            <a:ext cx="5172076" cy="6858000"/>
          </a:xfrm>
          <a:solidFill>
            <a:schemeClr val="bg1">
              <a:lumMod val="75000"/>
            </a:schemeClr>
          </a:solidFill>
        </p:spPr>
        <p:txBody>
          <a:bodyPr anchor="ctr"/>
          <a:lstStyle>
            <a:lvl1pPr algn="ctr">
              <a:defRPr sz="1000" b="0"/>
            </a:lvl1pPr>
          </a:lstStyle>
          <a:p>
            <a:r>
              <a:rPr lang="en-US"/>
              <a:t>Insert Photo</a:t>
            </a:r>
          </a:p>
        </p:txBody>
      </p:sp>
    </p:spTree>
    <p:extLst>
      <p:ext uri="{BB962C8B-B14F-4D97-AF65-F5344CB8AC3E}">
        <p14:creationId xmlns:p14="http://schemas.microsoft.com/office/powerpoint/2010/main" val="189048999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ntact Slide">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556BBD-E905-984B-4075-604E21C91A06}"/>
              </a:ext>
            </a:extLst>
          </p:cNvPr>
          <p:cNvSpPr>
            <a:spLocks noGrp="1"/>
          </p:cNvSpPr>
          <p:nvPr>
            <p:ph type="title" hasCustomPrompt="1"/>
          </p:nvPr>
        </p:nvSpPr>
        <p:spPr>
          <a:xfrm>
            <a:off x="609600" y="1030476"/>
            <a:ext cx="2844800" cy="557588"/>
          </a:xfrm>
        </p:spPr>
        <p:txBody>
          <a:bodyPr vert="horz" lIns="0" tIns="0" rIns="0" bIns="0" rtlCol="0" anchor="b" anchorCtr="0">
            <a:noAutofit/>
          </a:bodyPr>
          <a:lstStyle>
            <a:lvl1pPr>
              <a:defRPr lang="en-US" sz="4000" dirty="0">
                <a:solidFill>
                  <a:schemeClr val="bg1"/>
                </a:solidFill>
              </a:defRPr>
            </a:lvl1pPr>
          </a:lstStyle>
          <a:p>
            <a:pPr marL="0" lvl="0"/>
            <a:r>
              <a:rPr lang="en-US"/>
              <a:t>Contact Us</a:t>
            </a:r>
          </a:p>
        </p:txBody>
      </p:sp>
      <p:sp>
        <p:nvSpPr>
          <p:cNvPr id="4" name="Slide Number Placeholder 3">
            <a:extLst>
              <a:ext uri="{FF2B5EF4-FFF2-40B4-BE49-F238E27FC236}">
                <a16:creationId xmlns:a16="http://schemas.microsoft.com/office/drawing/2014/main" id="{311F2AC4-4CDC-2C50-1F85-6A0BB78D2083}"/>
              </a:ext>
            </a:extLst>
          </p:cNvPr>
          <p:cNvSpPr>
            <a:spLocks noGrp="1"/>
          </p:cNvSpPr>
          <p:nvPr>
            <p:ph type="sldNum" sz="quarter" idx="11"/>
          </p:nvPr>
        </p:nvSpPr>
        <p:spPr>
          <a:xfrm>
            <a:off x="11248008" y="6504057"/>
            <a:ext cx="334392" cy="153888"/>
          </a:xfrm>
          <a:prstGeom prst="rect">
            <a:avLst/>
          </a:prstGeom>
        </p:spPr>
        <p:txBody>
          <a:bodyPr/>
          <a:lstStyle>
            <a:lvl1pPr marL="0" algn="r" defTabSz="914400" rtl="0" eaLnBrk="1" latinLnBrk="0" hangingPunct="1">
              <a:lnSpc>
                <a:spcPct val="100000"/>
              </a:lnSpc>
              <a:defRPr lang="en-US" sz="1000" kern="1200" smtClean="0">
                <a:solidFill>
                  <a:schemeClr val="tx1">
                    <a:tint val="75000"/>
                  </a:schemeClr>
                </a:solidFill>
                <a:latin typeface="+mn-lt"/>
                <a:ea typeface="+mn-ea"/>
                <a:cs typeface="+mn-cs"/>
              </a:defRPr>
            </a:lvl1pPr>
          </a:lstStyle>
          <a:p>
            <a:fld id="{FD814145-5B10-4F3F-A6BF-3641B91211CF}" type="slidenum">
              <a:rPr lang="en-US" smtClean="0"/>
              <a:pPr/>
              <a:t>‹#›</a:t>
            </a:fld>
            <a:endParaRPr lang="en-US"/>
          </a:p>
        </p:txBody>
      </p:sp>
      <p:sp>
        <p:nvSpPr>
          <p:cNvPr id="8" name="Footer Placeholder 13">
            <a:extLst>
              <a:ext uri="{FF2B5EF4-FFF2-40B4-BE49-F238E27FC236}">
                <a16:creationId xmlns:a16="http://schemas.microsoft.com/office/drawing/2014/main" id="{921022F6-082E-070C-4DB3-B094BAC8F06A}"/>
              </a:ext>
            </a:extLst>
          </p:cNvPr>
          <p:cNvSpPr>
            <a:spLocks noGrp="1"/>
          </p:cNvSpPr>
          <p:nvPr>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a:t>© 2024 Guidehouse</a:t>
            </a:r>
          </a:p>
        </p:txBody>
      </p:sp>
      <p:cxnSp>
        <p:nvCxnSpPr>
          <p:cNvPr id="9" name="Straight Connector 8">
            <a:extLst>
              <a:ext uri="{FF2B5EF4-FFF2-40B4-BE49-F238E27FC236}">
                <a16:creationId xmlns:a16="http://schemas.microsoft.com/office/drawing/2014/main" id="{D4F8EC44-A14B-04DD-722C-DF999D485AB7}"/>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79AEE561-F1DF-C182-2D00-A201CFF5B50E}"/>
              </a:ext>
            </a:extLst>
          </p:cNvPr>
          <p:cNvSpPr>
            <a:spLocks noGrp="1"/>
          </p:cNvSpPr>
          <p:nvPr>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E7B4B7-4D67-15CD-FAE2-B9C5F23DD6EA}"/>
              </a:ext>
            </a:extLst>
          </p:cNvPr>
          <p:cNvCxnSpPr>
            <a:cxnSpLocks/>
          </p:cNvCxnSpPr>
          <p:nvPr/>
        </p:nvCxnSpPr>
        <p:spPr>
          <a:xfrm>
            <a:off x="0" y="426998"/>
            <a:ext cx="41656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28" name="Graphic 27">
            <a:extLst>
              <a:ext uri="{FF2B5EF4-FFF2-40B4-BE49-F238E27FC236}">
                <a16:creationId xmlns:a16="http://schemas.microsoft.com/office/drawing/2014/main" id="{3206FDDC-B4E4-B862-C400-9BE84AC048F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0038" y="4434699"/>
            <a:ext cx="255772" cy="255772"/>
          </a:xfrm>
          <a:prstGeom prst="rect">
            <a:avLst/>
          </a:prstGeom>
        </p:spPr>
      </p:pic>
      <p:pic>
        <p:nvPicPr>
          <p:cNvPr id="29" name="Graphic 28">
            <a:extLst>
              <a:ext uri="{FF2B5EF4-FFF2-40B4-BE49-F238E27FC236}">
                <a16:creationId xmlns:a16="http://schemas.microsoft.com/office/drawing/2014/main" id="{D21F0717-32ED-EB7B-05F5-B8C9E6E6E6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9600" y="5244372"/>
            <a:ext cx="256648" cy="256648"/>
          </a:xfrm>
          <a:prstGeom prst="rect">
            <a:avLst/>
          </a:prstGeom>
        </p:spPr>
      </p:pic>
      <p:pic>
        <p:nvPicPr>
          <p:cNvPr id="30" name="Graphic 29">
            <a:extLst>
              <a:ext uri="{FF2B5EF4-FFF2-40B4-BE49-F238E27FC236}">
                <a16:creationId xmlns:a16="http://schemas.microsoft.com/office/drawing/2014/main" id="{BBAB294A-E131-F955-1109-D240A2C9C3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9955" y="4836476"/>
            <a:ext cx="255938" cy="255938"/>
          </a:xfrm>
          <a:prstGeom prst="rect">
            <a:avLst/>
          </a:prstGeom>
        </p:spPr>
      </p:pic>
      <p:sp>
        <p:nvSpPr>
          <p:cNvPr id="32" name="Freeform 43">
            <a:extLst>
              <a:ext uri="{FF2B5EF4-FFF2-40B4-BE49-F238E27FC236}">
                <a16:creationId xmlns:a16="http://schemas.microsoft.com/office/drawing/2014/main" id="{6127DE7E-C870-F0DF-B8E2-9EDEABB6E149}"/>
              </a:ext>
            </a:extLst>
          </p:cNvPr>
          <p:cNvSpPr/>
          <p:nvPr/>
        </p:nvSpPr>
        <p:spPr>
          <a:xfrm>
            <a:off x="612731" y="5655112"/>
            <a:ext cx="250388" cy="250388"/>
          </a:xfrm>
          <a:custGeom>
            <a:avLst/>
            <a:gdLst>
              <a:gd name="connsiteX0" fmla="*/ 225288 w 450576"/>
              <a:gd name="connsiteY0" fmla="*/ 0 h 450576"/>
              <a:gd name="connsiteX1" fmla="*/ 0 w 450576"/>
              <a:gd name="connsiteY1" fmla="*/ 225288 h 450576"/>
              <a:gd name="connsiteX2" fmla="*/ 225288 w 450576"/>
              <a:gd name="connsiteY2" fmla="*/ 450576 h 450576"/>
              <a:gd name="connsiteX3" fmla="*/ 450576 w 450576"/>
              <a:gd name="connsiteY3" fmla="*/ 225288 h 450576"/>
              <a:gd name="connsiteX4" fmla="*/ 225288 w 450576"/>
              <a:gd name="connsiteY4" fmla="*/ 0 h 450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76" h="450576">
                <a:moveTo>
                  <a:pt x="225288" y="0"/>
                </a:moveTo>
                <a:cubicBezTo>
                  <a:pt x="100869" y="0"/>
                  <a:pt x="0" y="100869"/>
                  <a:pt x="0" y="225288"/>
                </a:cubicBezTo>
                <a:cubicBezTo>
                  <a:pt x="0" y="349707"/>
                  <a:pt x="100869" y="450576"/>
                  <a:pt x="225288" y="450576"/>
                </a:cubicBezTo>
                <a:cubicBezTo>
                  <a:pt x="349707" y="450576"/>
                  <a:pt x="450576" y="349707"/>
                  <a:pt x="450576" y="225288"/>
                </a:cubicBezTo>
                <a:cubicBezTo>
                  <a:pt x="450576" y="100869"/>
                  <a:pt x="349707" y="0"/>
                  <a:pt x="225288" y="0"/>
                </a:cubicBezTo>
                <a:close/>
              </a:path>
            </a:pathLst>
          </a:custGeom>
          <a:solidFill>
            <a:schemeClr val="accent2"/>
          </a:solidFill>
          <a:ln w="365" cap="flat">
            <a:noFill/>
            <a:prstDash val="solid"/>
            <a:miter/>
          </a:ln>
        </p:spPr>
        <p:txBody>
          <a:bodyPr rtlCol="0" anchor="ctr"/>
          <a:lstStyle/>
          <a:p>
            <a:endParaRPr lang="en-US">
              <a:solidFill>
                <a:schemeClr val="bg1"/>
              </a:solidFill>
            </a:endParaRPr>
          </a:p>
        </p:txBody>
      </p:sp>
      <p:cxnSp>
        <p:nvCxnSpPr>
          <p:cNvPr id="6" name="Straight Connector 5">
            <a:extLst>
              <a:ext uri="{FF2B5EF4-FFF2-40B4-BE49-F238E27FC236}">
                <a16:creationId xmlns:a16="http://schemas.microsoft.com/office/drawing/2014/main" id="{6E616624-F30E-25E7-BBCE-E9478B045916}"/>
              </a:ext>
            </a:extLst>
          </p:cNvPr>
          <p:cNvCxnSpPr>
            <a:cxnSpLocks/>
          </p:cNvCxnSpPr>
          <p:nvPr userDrawn="1"/>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B804AFB-D8C9-4FCF-8CBC-A80B114B9A68}"/>
              </a:ext>
            </a:extLst>
          </p:cNvPr>
          <p:cNvCxnSpPr>
            <a:cxnSpLocks/>
          </p:cNvCxnSpPr>
          <p:nvPr userDrawn="1"/>
        </p:nvCxnSpPr>
        <p:spPr>
          <a:xfrm>
            <a:off x="0" y="426998"/>
            <a:ext cx="41656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CA1DA7B2-7934-1637-79DE-26D4B8B0A234}"/>
              </a:ext>
            </a:extLst>
          </p:cNvPr>
          <p:cNvGrpSpPr/>
          <p:nvPr userDrawn="1"/>
        </p:nvGrpSpPr>
        <p:grpSpPr>
          <a:xfrm>
            <a:off x="609601" y="1921054"/>
            <a:ext cx="2843783" cy="254588"/>
            <a:chOff x="609601" y="3820887"/>
            <a:chExt cx="4876798" cy="0"/>
          </a:xfrm>
        </p:grpSpPr>
        <p:cxnSp>
          <p:nvCxnSpPr>
            <p:cNvPr id="11" name="Straight Connector 10">
              <a:extLst>
                <a:ext uri="{FF2B5EF4-FFF2-40B4-BE49-F238E27FC236}">
                  <a16:creationId xmlns:a16="http://schemas.microsoft.com/office/drawing/2014/main" id="{22617C65-3034-A252-8D5D-4D880171BE48}"/>
                </a:ext>
              </a:extLst>
            </p:cNvPr>
            <p:cNvCxnSpPr>
              <a:cxnSpLocks/>
            </p:cNvCxnSpPr>
            <p:nvPr/>
          </p:nvCxnSpPr>
          <p:spPr>
            <a:xfrm flipH="1">
              <a:off x="609601" y="3820887"/>
              <a:ext cx="48767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63F618-8C33-3A96-D317-D5BC7F24CB54}"/>
                </a:ext>
              </a:extLst>
            </p:cNvPr>
            <p:cNvCxnSpPr>
              <a:cxnSpLocks/>
            </p:cNvCxnSpPr>
            <p:nvPr/>
          </p:nvCxnSpPr>
          <p:spPr>
            <a:xfrm rot="5400000" flipH="1">
              <a:off x="1274547" y="3155941"/>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Text Placeholder 33">
            <a:extLst>
              <a:ext uri="{FF2B5EF4-FFF2-40B4-BE49-F238E27FC236}">
                <a16:creationId xmlns:a16="http://schemas.microsoft.com/office/drawing/2014/main" id="{858712D1-1827-7705-6D36-46E29414ECF9}"/>
              </a:ext>
            </a:extLst>
          </p:cNvPr>
          <p:cNvSpPr>
            <a:spLocks noGrp="1"/>
          </p:cNvSpPr>
          <p:nvPr>
            <p:ph type="body" sz="quarter" idx="29"/>
          </p:nvPr>
        </p:nvSpPr>
        <p:spPr>
          <a:xfrm>
            <a:off x="609599" y="2274130"/>
            <a:ext cx="2843785" cy="1227104"/>
          </a:xfrm>
          <a:noFill/>
        </p:spPr>
        <p:txBody>
          <a:bodyPr wrap="square" lIns="0" anchor="t">
            <a:noAutofit/>
          </a:bodyPr>
          <a:lstStyle>
            <a:lvl1pPr>
              <a:defRPr lang="en-US" sz="1800" dirty="0">
                <a:solidFill>
                  <a:schemeClr val="bg1"/>
                </a:solidFill>
              </a:defRPr>
            </a:lvl1pPr>
          </a:lstStyle>
          <a:p>
            <a:pPr lvl="0"/>
            <a:r>
              <a:rPr lang="en-US"/>
              <a:t>Click to edit Master text styles</a:t>
            </a:r>
          </a:p>
        </p:txBody>
      </p:sp>
      <p:pic>
        <p:nvPicPr>
          <p:cNvPr id="23" name="Picture 22" descr="A black background with a black square&#10;&#10;Description automatically generated with medium confidence">
            <a:extLst>
              <a:ext uri="{FF2B5EF4-FFF2-40B4-BE49-F238E27FC236}">
                <a16:creationId xmlns:a16="http://schemas.microsoft.com/office/drawing/2014/main" id="{DFBAD531-1DE5-2FEF-5FE0-87AF88C485D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54677" y="5685779"/>
            <a:ext cx="174441" cy="174441"/>
          </a:xfrm>
          <a:prstGeom prst="rect">
            <a:avLst/>
          </a:prstGeom>
        </p:spPr>
      </p:pic>
      <p:sp>
        <p:nvSpPr>
          <p:cNvPr id="34" name="Text Placeholder 7">
            <a:extLst>
              <a:ext uri="{FF2B5EF4-FFF2-40B4-BE49-F238E27FC236}">
                <a16:creationId xmlns:a16="http://schemas.microsoft.com/office/drawing/2014/main" id="{3BDC7183-C322-7F39-32D6-7D94F281050D}"/>
              </a:ext>
            </a:extLst>
          </p:cNvPr>
          <p:cNvSpPr>
            <a:spLocks noGrp="1"/>
          </p:cNvSpPr>
          <p:nvPr>
            <p:ph type="body" sz="quarter" idx="22" hasCustomPrompt="1"/>
          </p:nvPr>
        </p:nvSpPr>
        <p:spPr>
          <a:xfrm>
            <a:off x="973495" y="4496375"/>
            <a:ext cx="2641598" cy="249603"/>
          </a:xfrm>
        </p:spPr>
        <p:txBody>
          <a:bodyPr>
            <a:noAutofit/>
          </a:bodyPr>
          <a:lstStyle>
            <a:lvl1pPr>
              <a:defRPr sz="1000" u="sng">
                <a:solidFill>
                  <a:schemeClr val="bg1"/>
                </a:solidFill>
              </a:defRPr>
            </a:lvl1pPr>
          </a:lstStyle>
          <a:p>
            <a:pPr lvl="0"/>
            <a:r>
              <a:rPr lang="en-US"/>
              <a:t>Name@Guidehouse.com</a:t>
            </a:r>
          </a:p>
        </p:txBody>
      </p:sp>
      <p:sp>
        <p:nvSpPr>
          <p:cNvPr id="35" name="Text Placeholder 7">
            <a:extLst>
              <a:ext uri="{FF2B5EF4-FFF2-40B4-BE49-F238E27FC236}">
                <a16:creationId xmlns:a16="http://schemas.microsoft.com/office/drawing/2014/main" id="{DA457577-EF3C-20D8-129A-576EBE386AE7}"/>
              </a:ext>
            </a:extLst>
          </p:cNvPr>
          <p:cNvSpPr>
            <a:spLocks noGrp="1"/>
          </p:cNvSpPr>
          <p:nvPr>
            <p:ph type="body" sz="quarter" idx="30" hasCustomPrompt="1"/>
          </p:nvPr>
        </p:nvSpPr>
        <p:spPr>
          <a:xfrm>
            <a:off x="973495" y="4885046"/>
            <a:ext cx="2641598" cy="249603"/>
          </a:xfrm>
        </p:spPr>
        <p:txBody>
          <a:bodyPr>
            <a:noAutofit/>
          </a:bodyPr>
          <a:lstStyle>
            <a:lvl1pPr>
              <a:defRPr sz="1000" u="sng">
                <a:solidFill>
                  <a:schemeClr val="bg1"/>
                </a:solidFill>
              </a:defRPr>
            </a:lvl1pPr>
          </a:lstStyle>
          <a:p>
            <a:pPr lvl="0"/>
            <a:r>
              <a:rPr lang="en-US"/>
              <a:t>Web Address</a:t>
            </a:r>
          </a:p>
        </p:txBody>
      </p:sp>
      <p:sp>
        <p:nvSpPr>
          <p:cNvPr id="36" name="Text Placeholder 7">
            <a:extLst>
              <a:ext uri="{FF2B5EF4-FFF2-40B4-BE49-F238E27FC236}">
                <a16:creationId xmlns:a16="http://schemas.microsoft.com/office/drawing/2014/main" id="{C57DEAE3-AE01-CA08-315B-36CADEA30957}"/>
              </a:ext>
            </a:extLst>
          </p:cNvPr>
          <p:cNvSpPr>
            <a:spLocks noGrp="1"/>
          </p:cNvSpPr>
          <p:nvPr>
            <p:ph type="body" sz="quarter" idx="31" hasCustomPrompt="1"/>
          </p:nvPr>
        </p:nvSpPr>
        <p:spPr>
          <a:xfrm>
            <a:off x="973495" y="5302491"/>
            <a:ext cx="2641598" cy="249603"/>
          </a:xfrm>
        </p:spPr>
        <p:txBody>
          <a:bodyPr>
            <a:noAutofit/>
          </a:bodyPr>
          <a:lstStyle>
            <a:lvl1pPr>
              <a:defRPr sz="1000" u="sng">
                <a:solidFill>
                  <a:schemeClr val="bg1"/>
                </a:solidFill>
              </a:defRPr>
            </a:lvl1pPr>
          </a:lstStyle>
          <a:p>
            <a:pPr lvl="0"/>
            <a:r>
              <a:rPr lang="en-US"/>
              <a:t>LinkedIn Page</a:t>
            </a:r>
          </a:p>
        </p:txBody>
      </p:sp>
      <p:sp>
        <p:nvSpPr>
          <p:cNvPr id="37" name="Text Placeholder 7">
            <a:extLst>
              <a:ext uri="{FF2B5EF4-FFF2-40B4-BE49-F238E27FC236}">
                <a16:creationId xmlns:a16="http://schemas.microsoft.com/office/drawing/2014/main" id="{1D4A47DE-32B1-7824-7BFD-27892B192ADD}"/>
              </a:ext>
            </a:extLst>
          </p:cNvPr>
          <p:cNvSpPr>
            <a:spLocks noGrp="1"/>
          </p:cNvSpPr>
          <p:nvPr>
            <p:ph type="body" sz="quarter" idx="32" hasCustomPrompt="1"/>
          </p:nvPr>
        </p:nvSpPr>
        <p:spPr>
          <a:xfrm>
            <a:off x="973495" y="5707274"/>
            <a:ext cx="2641598" cy="249603"/>
          </a:xfrm>
        </p:spPr>
        <p:txBody>
          <a:bodyPr>
            <a:noAutofit/>
          </a:bodyPr>
          <a:lstStyle>
            <a:lvl1pPr>
              <a:defRPr sz="1000" u="sng">
                <a:solidFill>
                  <a:schemeClr val="bg1"/>
                </a:solidFill>
              </a:defRPr>
            </a:lvl1pPr>
          </a:lstStyle>
          <a:p>
            <a:pPr lvl="0"/>
            <a:r>
              <a:rPr lang="en-US"/>
              <a:t>Guidehouse YouTube</a:t>
            </a:r>
          </a:p>
        </p:txBody>
      </p:sp>
      <p:sp>
        <p:nvSpPr>
          <p:cNvPr id="42" name="Picture Placeholder 11">
            <a:extLst>
              <a:ext uri="{FF2B5EF4-FFF2-40B4-BE49-F238E27FC236}">
                <a16:creationId xmlns:a16="http://schemas.microsoft.com/office/drawing/2014/main" id="{1FF9DD26-55C4-2B04-094D-64B96B73C564}"/>
              </a:ext>
            </a:extLst>
          </p:cNvPr>
          <p:cNvSpPr>
            <a:spLocks noGrp="1"/>
          </p:cNvSpPr>
          <p:nvPr>
            <p:ph type="pic" sz="quarter" idx="14" hasCustomPrompt="1"/>
          </p:nvPr>
        </p:nvSpPr>
        <p:spPr>
          <a:xfrm>
            <a:off x="4062982" y="0"/>
            <a:ext cx="8129017" cy="6858000"/>
          </a:xfrm>
          <a:solidFill>
            <a:schemeClr val="bg1">
              <a:lumMod val="75000"/>
            </a:schemeClr>
          </a:solidFill>
        </p:spPr>
        <p:txBody>
          <a:bodyPr vert="horz" lIns="0" tIns="0" rIns="0" bIns="0" rtlCol="0" anchor="ctr">
            <a:noAutofit/>
          </a:bodyPr>
          <a:lstStyle>
            <a:lvl1pPr>
              <a:defRPr lang="en-US" sz="1000" b="0"/>
            </a:lvl1pPr>
          </a:lstStyle>
          <a:p>
            <a:pPr lvl="0" algn="ctr"/>
            <a:r>
              <a:rPr lang="en-US"/>
              <a:t>Insert Photo</a:t>
            </a:r>
          </a:p>
        </p:txBody>
      </p:sp>
    </p:spTree>
    <p:extLst>
      <p:ext uri="{BB962C8B-B14F-4D97-AF65-F5344CB8AC3E}">
        <p14:creationId xmlns:p14="http://schemas.microsoft.com/office/powerpoint/2010/main" val="25068559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ntact Slide 2">
    <p:bg>
      <p:bgPr>
        <a:solidFill>
          <a:srgbClr val="F3F3F3"/>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FC4F1AD-EC45-7E34-BADB-AAF710BD4B93}"/>
              </a:ext>
            </a:extLst>
          </p:cNvPr>
          <p:cNvSpPr/>
          <p:nvPr/>
        </p:nvSpPr>
        <p:spPr>
          <a:xfrm>
            <a:off x="0" y="-1"/>
            <a:ext cx="4063995" cy="685799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243C5BA8-7179-8270-C9BB-2F55B7B00C0F}"/>
              </a:ext>
            </a:extLst>
          </p:cNvPr>
          <p:cNvSpPr/>
          <p:nvPr/>
        </p:nvSpPr>
        <p:spPr>
          <a:xfrm>
            <a:off x="627177" y="5265507"/>
            <a:ext cx="221494" cy="22149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6809E94E-2FFC-A969-42EF-4BAE752C498A}"/>
              </a:ext>
            </a:extLst>
          </p:cNvPr>
          <p:cNvSpPr/>
          <p:nvPr/>
        </p:nvSpPr>
        <p:spPr>
          <a:xfrm>
            <a:off x="627177" y="4860694"/>
            <a:ext cx="221494" cy="22149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FA80DCDB-CF74-D037-968C-C968F2A24000}"/>
              </a:ext>
            </a:extLst>
          </p:cNvPr>
          <p:cNvSpPr/>
          <p:nvPr/>
        </p:nvSpPr>
        <p:spPr>
          <a:xfrm>
            <a:off x="627177" y="4451119"/>
            <a:ext cx="221494" cy="22149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2556BBD-E905-984B-4075-604E21C91A06}"/>
              </a:ext>
            </a:extLst>
          </p:cNvPr>
          <p:cNvSpPr>
            <a:spLocks noGrp="1"/>
          </p:cNvSpPr>
          <p:nvPr>
            <p:ph type="title" hasCustomPrompt="1"/>
          </p:nvPr>
        </p:nvSpPr>
        <p:spPr>
          <a:xfrm>
            <a:off x="609600" y="1023088"/>
            <a:ext cx="2844800" cy="557589"/>
          </a:xfrm>
        </p:spPr>
        <p:txBody>
          <a:bodyPr anchor="b">
            <a:noAutofit/>
          </a:bodyPr>
          <a:lstStyle>
            <a:lvl1pPr>
              <a:lnSpc>
                <a:spcPct val="90000"/>
              </a:lnSpc>
              <a:defRPr sz="4000">
                <a:solidFill>
                  <a:schemeClr val="tx2"/>
                </a:solidFill>
              </a:defRPr>
            </a:lvl1pPr>
          </a:lstStyle>
          <a:p>
            <a:r>
              <a:rPr lang="en-US"/>
              <a:t>Contact Us</a:t>
            </a:r>
          </a:p>
        </p:txBody>
      </p:sp>
      <p:grpSp>
        <p:nvGrpSpPr>
          <p:cNvPr id="8" name="Group 7">
            <a:extLst>
              <a:ext uri="{FF2B5EF4-FFF2-40B4-BE49-F238E27FC236}">
                <a16:creationId xmlns:a16="http://schemas.microsoft.com/office/drawing/2014/main" id="{54AE3EC1-342D-FB6B-FDAF-2F58C6189DDB}"/>
              </a:ext>
            </a:extLst>
          </p:cNvPr>
          <p:cNvGrpSpPr/>
          <p:nvPr/>
        </p:nvGrpSpPr>
        <p:grpSpPr>
          <a:xfrm>
            <a:off x="609601" y="1921054"/>
            <a:ext cx="2843783" cy="254588"/>
            <a:chOff x="609601" y="3820887"/>
            <a:chExt cx="4876798" cy="0"/>
          </a:xfrm>
        </p:grpSpPr>
        <p:cxnSp>
          <p:nvCxnSpPr>
            <p:cNvPr id="9" name="Straight Connector 8">
              <a:extLst>
                <a:ext uri="{FF2B5EF4-FFF2-40B4-BE49-F238E27FC236}">
                  <a16:creationId xmlns:a16="http://schemas.microsoft.com/office/drawing/2014/main" id="{B3C93084-9653-E1AF-4113-3BB3C129DF94}"/>
                </a:ext>
              </a:extLst>
            </p:cNvPr>
            <p:cNvCxnSpPr>
              <a:cxnSpLocks/>
            </p:cNvCxnSpPr>
            <p:nvPr/>
          </p:nvCxnSpPr>
          <p:spPr>
            <a:xfrm flipH="1">
              <a:off x="609601" y="3820887"/>
              <a:ext cx="487679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CA2CD75-5FAC-A4AE-07DB-DE9C3B9D3512}"/>
                </a:ext>
              </a:extLst>
            </p:cNvPr>
            <p:cNvCxnSpPr>
              <a:cxnSpLocks/>
            </p:cNvCxnSpPr>
            <p:nvPr/>
          </p:nvCxnSpPr>
          <p:spPr>
            <a:xfrm rot="5400000" flipH="1">
              <a:off x="1274547" y="3155941"/>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 name="Text Placeholder 33">
            <a:extLst>
              <a:ext uri="{FF2B5EF4-FFF2-40B4-BE49-F238E27FC236}">
                <a16:creationId xmlns:a16="http://schemas.microsoft.com/office/drawing/2014/main" id="{1E8F9C8A-8AC9-0DE6-19FE-EAB935A283E0}"/>
              </a:ext>
            </a:extLst>
          </p:cNvPr>
          <p:cNvSpPr>
            <a:spLocks noGrp="1"/>
          </p:cNvSpPr>
          <p:nvPr>
            <p:ph type="body" sz="quarter" idx="29"/>
          </p:nvPr>
        </p:nvSpPr>
        <p:spPr>
          <a:xfrm>
            <a:off x="609599" y="2274130"/>
            <a:ext cx="2843785" cy="1227104"/>
          </a:xfrm>
          <a:noFill/>
        </p:spPr>
        <p:txBody>
          <a:bodyPr wrap="square" lIns="0" anchor="t">
            <a:noAutofit/>
          </a:bodyPr>
          <a:lstStyle>
            <a:lvl1pPr>
              <a:defRPr lang="en-US" sz="1800" dirty="0">
                <a:solidFill>
                  <a:schemeClr val="tx2"/>
                </a:solidFill>
              </a:defRPr>
            </a:lvl1pPr>
          </a:lstStyle>
          <a:p>
            <a:pPr lvl="0"/>
            <a:r>
              <a:rPr lang="en-US"/>
              <a:t>Click to edit Master text styles</a:t>
            </a:r>
          </a:p>
        </p:txBody>
      </p:sp>
      <p:cxnSp>
        <p:nvCxnSpPr>
          <p:cNvPr id="14" name="Straight Connector 13">
            <a:extLst>
              <a:ext uri="{FF2B5EF4-FFF2-40B4-BE49-F238E27FC236}">
                <a16:creationId xmlns:a16="http://schemas.microsoft.com/office/drawing/2014/main" id="{6B3C5C9F-C92E-B834-72C9-77EC61FB67B0}"/>
              </a:ext>
            </a:extLst>
          </p:cNvPr>
          <p:cNvCxnSpPr>
            <a:cxnSpLocks/>
          </p:cNvCxnSpPr>
          <p:nvPr/>
        </p:nvCxnSpPr>
        <p:spPr>
          <a:xfrm>
            <a:off x="0" y="426998"/>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5A54784-CAED-1766-179C-AC6CC1A23556}"/>
              </a:ext>
            </a:extLst>
          </p:cNvPr>
          <p:cNvCxnSpPr>
            <a:cxnSpLocks/>
          </p:cNvCxnSpPr>
          <p:nvPr/>
        </p:nvCxnSpPr>
        <p:spPr>
          <a:xfrm>
            <a:off x="0" y="6431003"/>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A03F72ED-D877-6AA8-3532-0EEF5C677946}"/>
              </a:ext>
            </a:extLst>
          </p:cNvPr>
          <p:cNvSpPr>
            <a:spLocks noGrp="1"/>
          </p:cNvSpPr>
          <p:nvPr>
            <p:ph type="body" sz="quarter" idx="30" hasCustomPrompt="1"/>
          </p:nvPr>
        </p:nvSpPr>
        <p:spPr>
          <a:xfrm>
            <a:off x="609600" y="136647"/>
            <a:ext cx="2843782" cy="153888"/>
          </a:xfrm>
        </p:spPr>
        <p:txBody>
          <a:bodyPr wrap="square"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7" name="Footer Placeholder 4">
            <a:extLst>
              <a:ext uri="{FF2B5EF4-FFF2-40B4-BE49-F238E27FC236}">
                <a16:creationId xmlns:a16="http://schemas.microsoft.com/office/drawing/2014/main" id="{4DF17159-DFB7-30F8-507F-ABDD81012B8C}"/>
              </a:ext>
            </a:extLst>
          </p:cNvPr>
          <p:cNvSpPr>
            <a:spLocks noGrp="1"/>
          </p:cNvSpPr>
          <p:nvPr>
            <p:ph type="ftr" sz="quarter" idx="11"/>
          </p:nvPr>
        </p:nvSpPr>
        <p:spPr>
          <a:xfrm>
            <a:off x="609600" y="6567465"/>
            <a:ext cx="2843782" cy="153888"/>
          </a:xfrm>
          <a:prstGeom prst="rect">
            <a:avLst/>
          </a:prstGeom>
        </p:spPr>
        <p:txBody>
          <a:bodyPr>
            <a:noAutofit/>
          </a:bodyPr>
          <a:lstStyle>
            <a:lvl1pPr>
              <a:defRPr>
                <a:solidFill>
                  <a:schemeClr val="tx1">
                    <a:lumMod val="75000"/>
                    <a:lumOff val="25000"/>
                  </a:schemeClr>
                </a:solidFill>
              </a:defRPr>
            </a:lvl1pPr>
          </a:lstStyle>
          <a:p>
            <a:r>
              <a:rPr lang="en-US"/>
              <a:t>© 2024 Guidehouse</a:t>
            </a:r>
          </a:p>
        </p:txBody>
      </p:sp>
      <p:sp>
        <p:nvSpPr>
          <p:cNvPr id="20" name="Date Placeholder 12">
            <a:extLst>
              <a:ext uri="{FF2B5EF4-FFF2-40B4-BE49-F238E27FC236}">
                <a16:creationId xmlns:a16="http://schemas.microsoft.com/office/drawing/2014/main" id="{219FF7E9-1687-B3C1-8EFB-348AC1E3D542}"/>
              </a:ext>
            </a:extLst>
          </p:cNvPr>
          <p:cNvSpPr>
            <a:spLocks noGrp="1"/>
          </p:cNvSpPr>
          <p:nvPr>
            <p:ph type="dt" sz="half" idx="26"/>
          </p:nvPr>
        </p:nvSpPr>
        <p:spPr>
          <a:xfrm>
            <a:off x="10236555" y="138027"/>
            <a:ext cx="1345845" cy="153888"/>
          </a:xfrm>
        </p:spPr>
        <p:txBody>
          <a:bodyPr/>
          <a:lstStyle>
            <a:lvl1pPr>
              <a:defRPr>
                <a:solidFill>
                  <a:schemeClr val="bg1">
                    <a:lumMod val="65000"/>
                  </a:schemeClr>
                </a:solidFill>
              </a:defRPr>
            </a:lvl1pPr>
          </a:lstStyle>
          <a:p>
            <a:fld id="{5AFAB103-A3CA-4344-B6C7-19F361844E18}" type="datetime4">
              <a:rPr lang="en-US" smtClean="0"/>
              <a:t>May 17, 2025</a:t>
            </a:fld>
            <a:endParaRPr lang="en-US"/>
          </a:p>
        </p:txBody>
      </p:sp>
      <p:sp>
        <p:nvSpPr>
          <p:cNvPr id="21" name="Slide Number Placeholder 14">
            <a:extLst>
              <a:ext uri="{FF2B5EF4-FFF2-40B4-BE49-F238E27FC236}">
                <a16:creationId xmlns:a16="http://schemas.microsoft.com/office/drawing/2014/main" id="{CEA6CC5D-E02E-1C35-AC63-68030821FC77}"/>
              </a:ext>
            </a:extLst>
          </p:cNvPr>
          <p:cNvSpPr txBox="1">
            <a:spLocks/>
          </p:cNvSpPr>
          <p:nvPr/>
        </p:nvSpPr>
        <p:spPr>
          <a:xfrm>
            <a:off x="11248008" y="6566085"/>
            <a:ext cx="334392" cy="153888"/>
          </a:xfrm>
          <a:prstGeom prst="rect">
            <a:avLst/>
          </a:prstGeom>
        </p:spPr>
        <p:txBody>
          <a:bodyPr vert="horz" lIns="0" tIns="0" rIns="0" bIns="0" rtlCol="0" anchor="ctr">
            <a:spAutoFit/>
          </a:bodyPr>
          <a:lstStyle>
            <a:defPPr>
              <a:defRPr lang="en-US"/>
            </a:defPPr>
            <a:lvl1pPr marL="0" algn="r" defTabSz="914400" rtl="0" eaLnBrk="1" latinLnBrk="0" hangingPunct="1">
              <a:lnSpc>
                <a:spcPct val="100000"/>
              </a:lnSpc>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814145-5B10-4F3F-A6BF-3641B91211CF}" type="slidenum">
              <a:rPr lang="en-US" smtClean="0"/>
              <a:pPr/>
              <a:t>‹#›</a:t>
            </a:fld>
            <a:endParaRPr lang="en-US"/>
          </a:p>
        </p:txBody>
      </p:sp>
      <p:sp>
        <p:nvSpPr>
          <p:cNvPr id="22" name="Picture Placeholder 11">
            <a:extLst>
              <a:ext uri="{FF2B5EF4-FFF2-40B4-BE49-F238E27FC236}">
                <a16:creationId xmlns:a16="http://schemas.microsoft.com/office/drawing/2014/main" id="{A10A5E3D-27CE-9262-4C32-FE8CE267134E}"/>
              </a:ext>
            </a:extLst>
          </p:cNvPr>
          <p:cNvSpPr>
            <a:spLocks noGrp="1"/>
          </p:cNvSpPr>
          <p:nvPr>
            <p:ph type="pic" sz="quarter" idx="14" hasCustomPrompt="1"/>
          </p:nvPr>
        </p:nvSpPr>
        <p:spPr>
          <a:xfrm>
            <a:off x="4062982" y="0"/>
            <a:ext cx="8129017" cy="6858000"/>
          </a:xfrm>
          <a:solidFill>
            <a:schemeClr val="bg1">
              <a:lumMod val="75000"/>
            </a:schemeClr>
          </a:solidFill>
        </p:spPr>
        <p:txBody>
          <a:bodyPr vert="horz" lIns="0" tIns="0" rIns="0" bIns="0" rtlCol="0" anchor="ctr">
            <a:noAutofit/>
          </a:bodyPr>
          <a:lstStyle>
            <a:lvl1pPr>
              <a:defRPr lang="en-US" sz="1000" b="0" dirty="0"/>
            </a:lvl1pPr>
          </a:lstStyle>
          <a:p>
            <a:pPr lvl="0" algn="ctr"/>
            <a:r>
              <a:rPr lang="en-US"/>
              <a:t>Insert Photo</a:t>
            </a:r>
          </a:p>
        </p:txBody>
      </p:sp>
      <p:pic>
        <p:nvPicPr>
          <p:cNvPr id="23" name="Graphic 22">
            <a:extLst>
              <a:ext uri="{FF2B5EF4-FFF2-40B4-BE49-F238E27FC236}">
                <a16:creationId xmlns:a16="http://schemas.microsoft.com/office/drawing/2014/main" id="{3DFB2677-8D81-4667-DC9C-5569D06C79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0038" y="4434699"/>
            <a:ext cx="255772" cy="255772"/>
          </a:xfrm>
          <a:prstGeom prst="rect">
            <a:avLst/>
          </a:prstGeom>
        </p:spPr>
      </p:pic>
      <p:pic>
        <p:nvPicPr>
          <p:cNvPr id="24" name="Graphic 23">
            <a:extLst>
              <a:ext uri="{FF2B5EF4-FFF2-40B4-BE49-F238E27FC236}">
                <a16:creationId xmlns:a16="http://schemas.microsoft.com/office/drawing/2014/main" id="{FE926014-B7E9-F267-91D1-9F25679AF6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9600" y="5247930"/>
            <a:ext cx="256648" cy="256648"/>
          </a:xfrm>
          <a:prstGeom prst="rect">
            <a:avLst/>
          </a:prstGeom>
        </p:spPr>
      </p:pic>
      <p:pic>
        <p:nvPicPr>
          <p:cNvPr id="25" name="Graphic 24">
            <a:extLst>
              <a:ext uri="{FF2B5EF4-FFF2-40B4-BE49-F238E27FC236}">
                <a16:creationId xmlns:a16="http://schemas.microsoft.com/office/drawing/2014/main" id="{B6DD699B-36A2-9182-CFE9-0D306C832B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9955" y="4841212"/>
            <a:ext cx="255938" cy="255938"/>
          </a:xfrm>
          <a:prstGeom prst="rect">
            <a:avLst/>
          </a:prstGeom>
        </p:spPr>
      </p:pic>
      <p:sp>
        <p:nvSpPr>
          <p:cNvPr id="27" name="Freeform 43">
            <a:extLst>
              <a:ext uri="{FF2B5EF4-FFF2-40B4-BE49-F238E27FC236}">
                <a16:creationId xmlns:a16="http://schemas.microsoft.com/office/drawing/2014/main" id="{D80268B0-17B8-1E47-DE57-CA0612B25B42}"/>
              </a:ext>
            </a:extLst>
          </p:cNvPr>
          <p:cNvSpPr/>
          <p:nvPr/>
        </p:nvSpPr>
        <p:spPr>
          <a:xfrm>
            <a:off x="612731" y="5655112"/>
            <a:ext cx="250388" cy="250388"/>
          </a:xfrm>
          <a:custGeom>
            <a:avLst/>
            <a:gdLst>
              <a:gd name="connsiteX0" fmla="*/ 225288 w 450576"/>
              <a:gd name="connsiteY0" fmla="*/ 0 h 450576"/>
              <a:gd name="connsiteX1" fmla="*/ 0 w 450576"/>
              <a:gd name="connsiteY1" fmla="*/ 225288 h 450576"/>
              <a:gd name="connsiteX2" fmla="*/ 225288 w 450576"/>
              <a:gd name="connsiteY2" fmla="*/ 450576 h 450576"/>
              <a:gd name="connsiteX3" fmla="*/ 450576 w 450576"/>
              <a:gd name="connsiteY3" fmla="*/ 225288 h 450576"/>
              <a:gd name="connsiteX4" fmla="*/ 225288 w 450576"/>
              <a:gd name="connsiteY4" fmla="*/ 0 h 450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76" h="450576">
                <a:moveTo>
                  <a:pt x="225288" y="0"/>
                </a:moveTo>
                <a:cubicBezTo>
                  <a:pt x="100869" y="0"/>
                  <a:pt x="0" y="100869"/>
                  <a:pt x="0" y="225288"/>
                </a:cubicBezTo>
                <a:cubicBezTo>
                  <a:pt x="0" y="349707"/>
                  <a:pt x="100869" y="450576"/>
                  <a:pt x="225288" y="450576"/>
                </a:cubicBezTo>
                <a:cubicBezTo>
                  <a:pt x="349707" y="450576"/>
                  <a:pt x="450576" y="349707"/>
                  <a:pt x="450576" y="225288"/>
                </a:cubicBezTo>
                <a:cubicBezTo>
                  <a:pt x="450576" y="100869"/>
                  <a:pt x="349707" y="0"/>
                  <a:pt x="225288" y="0"/>
                </a:cubicBezTo>
                <a:close/>
              </a:path>
            </a:pathLst>
          </a:custGeom>
          <a:solidFill>
            <a:schemeClr val="accent2"/>
          </a:solidFill>
          <a:ln w="365" cap="flat">
            <a:noFill/>
            <a:prstDash val="solid"/>
            <a:miter/>
          </a:ln>
        </p:spPr>
        <p:txBody>
          <a:bodyPr rtlCol="0" anchor="ctr"/>
          <a:lstStyle/>
          <a:p>
            <a:endParaRPr lang="en-US">
              <a:solidFill>
                <a:schemeClr val="bg1"/>
              </a:solidFill>
            </a:endParaRPr>
          </a:p>
        </p:txBody>
      </p:sp>
      <p:sp>
        <p:nvSpPr>
          <p:cNvPr id="37" name="Slide Number Placeholder 14">
            <a:extLst>
              <a:ext uri="{FF2B5EF4-FFF2-40B4-BE49-F238E27FC236}">
                <a16:creationId xmlns:a16="http://schemas.microsoft.com/office/drawing/2014/main" id="{7DB715CD-AAC8-4DE0-2CF6-615B258E0FBB}"/>
              </a:ext>
            </a:extLst>
          </p:cNvPr>
          <p:cNvSpPr txBox="1">
            <a:spLocks/>
          </p:cNvSpPr>
          <p:nvPr userDrawn="1"/>
        </p:nvSpPr>
        <p:spPr>
          <a:xfrm>
            <a:off x="11248008" y="6566085"/>
            <a:ext cx="334392" cy="153888"/>
          </a:xfrm>
          <a:prstGeom prst="rect">
            <a:avLst/>
          </a:prstGeom>
        </p:spPr>
        <p:txBody>
          <a:bodyPr vert="horz" lIns="0" tIns="0" rIns="0" bIns="0" rtlCol="0" anchor="ctr">
            <a:spAutoFit/>
          </a:bodyPr>
          <a:lstStyle>
            <a:defPPr>
              <a:defRPr lang="en-US"/>
            </a:defPPr>
            <a:lvl1pPr marL="0" algn="r" defTabSz="914400" rtl="0" eaLnBrk="1" latinLnBrk="0" hangingPunct="1">
              <a:lnSpc>
                <a:spcPct val="100000"/>
              </a:lnSpc>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814145-5B10-4F3F-A6BF-3641B91211CF}" type="slidenum">
              <a:rPr lang="en-US" smtClean="0"/>
              <a:pPr/>
              <a:t>‹#›</a:t>
            </a:fld>
            <a:endParaRPr lang="en-US"/>
          </a:p>
        </p:txBody>
      </p:sp>
      <p:pic>
        <p:nvPicPr>
          <p:cNvPr id="38" name="Graphic 37">
            <a:extLst>
              <a:ext uri="{FF2B5EF4-FFF2-40B4-BE49-F238E27FC236}">
                <a16:creationId xmlns:a16="http://schemas.microsoft.com/office/drawing/2014/main" id="{E16BC054-6701-5333-7F73-290EE0139A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0038" y="4434699"/>
            <a:ext cx="255772" cy="255772"/>
          </a:xfrm>
          <a:prstGeom prst="rect">
            <a:avLst/>
          </a:prstGeom>
        </p:spPr>
      </p:pic>
      <p:pic>
        <p:nvPicPr>
          <p:cNvPr id="40" name="Graphic 39">
            <a:extLst>
              <a:ext uri="{FF2B5EF4-FFF2-40B4-BE49-F238E27FC236}">
                <a16:creationId xmlns:a16="http://schemas.microsoft.com/office/drawing/2014/main" id="{E85BEBAA-9656-9114-4EAB-75429C62C56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09955" y="4841212"/>
            <a:ext cx="255938" cy="255938"/>
          </a:xfrm>
          <a:prstGeom prst="rect">
            <a:avLst/>
          </a:prstGeom>
        </p:spPr>
      </p:pic>
      <p:pic>
        <p:nvPicPr>
          <p:cNvPr id="32" name="Picture 31" descr="A black background with a black square&#10;&#10;Description automatically generated with medium confidence">
            <a:extLst>
              <a:ext uri="{FF2B5EF4-FFF2-40B4-BE49-F238E27FC236}">
                <a16:creationId xmlns:a16="http://schemas.microsoft.com/office/drawing/2014/main" id="{7BE7C63A-6876-037F-5D98-59BDEC67AE3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54677" y="5694846"/>
            <a:ext cx="174441" cy="174441"/>
          </a:xfrm>
          <a:prstGeom prst="rect">
            <a:avLst/>
          </a:prstGeom>
        </p:spPr>
      </p:pic>
      <p:sp>
        <p:nvSpPr>
          <p:cNvPr id="19" name="Text Placeholder 7">
            <a:extLst>
              <a:ext uri="{FF2B5EF4-FFF2-40B4-BE49-F238E27FC236}">
                <a16:creationId xmlns:a16="http://schemas.microsoft.com/office/drawing/2014/main" id="{71B28B1C-6151-F70E-912A-4B5C8F317EA7}"/>
              </a:ext>
            </a:extLst>
          </p:cNvPr>
          <p:cNvSpPr>
            <a:spLocks noGrp="1"/>
          </p:cNvSpPr>
          <p:nvPr>
            <p:ph type="body" sz="quarter" idx="22" hasCustomPrompt="1"/>
          </p:nvPr>
        </p:nvSpPr>
        <p:spPr>
          <a:xfrm>
            <a:off x="973495" y="4496375"/>
            <a:ext cx="2641598" cy="249603"/>
          </a:xfrm>
        </p:spPr>
        <p:txBody>
          <a:bodyPr>
            <a:noAutofit/>
          </a:bodyPr>
          <a:lstStyle>
            <a:lvl1pPr>
              <a:defRPr sz="1000" u="sng">
                <a:solidFill>
                  <a:schemeClr val="tx1"/>
                </a:solidFill>
              </a:defRPr>
            </a:lvl1pPr>
          </a:lstStyle>
          <a:p>
            <a:pPr lvl="0"/>
            <a:r>
              <a:rPr lang="en-US"/>
              <a:t>Name@Guidehouse.com</a:t>
            </a:r>
          </a:p>
        </p:txBody>
      </p:sp>
      <p:sp>
        <p:nvSpPr>
          <p:cNvPr id="26" name="Text Placeholder 7">
            <a:extLst>
              <a:ext uri="{FF2B5EF4-FFF2-40B4-BE49-F238E27FC236}">
                <a16:creationId xmlns:a16="http://schemas.microsoft.com/office/drawing/2014/main" id="{AA8C0C5F-DE09-41A6-96CE-2CB52349DB92}"/>
              </a:ext>
            </a:extLst>
          </p:cNvPr>
          <p:cNvSpPr>
            <a:spLocks noGrp="1"/>
          </p:cNvSpPr>
          <p:nvPr>
            <p:ph type="body" sz="quarter" idx="31" hasCustomPrompt="1"/>
          </p:nvPr>
        </p:nvSpPr>
        <p:spPr>
          <a:xfrm>
            <a:off x="973495" y="4885046"/>
            <a:ext cx="2641598" cy="249603"/>
          </a:xfrm>
        </p:spPr>
        <p:txBody>
          <a:bodyPr>
            <a:noAutofit/>
          </a:bodyPr>
          <a:lstStyle>
            <a:lvl1pPr>
              <a:defRPr sz="1000" u="sng">
                <a:solidFill>
                  <a:schemeClr val="tx1"/>
                </a:solidFill>
              </a:defRPr>
            </a:lvl1pPr>
          </a:lstStyle>
          <a:p>
            <a:pPr lvl="0"/>
            <a:r>
              <a:rPr lang="en-US"/>
              <a:t>Web Address</a:t>
            </a:r>
          </a:p>
        </p:txBody>
      </p:sp>
      <p:sp>
        <p:nvSpPr>
          <p:cNvPr id="28" name="Text Placeholder 7">
            <a:extLst>
              <a:ext uri="{FF2B5EF4-FFF2-40B4-BE49-F238E27FC236}">
                <a16:creationId xmlns:a16="http://schemas.microsoft.com/office/drawing/2014/main" id="{DDE61524-C943-DC13-B6C6-3FB449B2D4C9}"/>
              </a:ext>
            </a:extLst>
          </p:cNvPr>
          <p:cNvSpPr>
            <a:spLocks noGrp="1"/>
          </p:cNvSpPr>
          <p:nvPr>
            <p:ph type="body" sz="quarter" idx="32" hasCustomPrompt="1"/>
          </p:nvPr>
        </p:nvSpPr>
        <p:spPr>
          <a:xfrm>
            <a:off x="973495" y="5302491"/>
            <a:ext cx="2641598" cy="249603"/>
          </a:xfrm>
        </p:spPr>
        <p:txBody>
          <a:bodyPr>
            <a:noAutofit/>
          </a:bodyPr>
          <a:lstStyle>
            <a:lvl1pPr>
              <a:defRPr sz="1000" u="sng">
                <a:solidFill>
                  <a:schemeClr val="tx1"/>
                </a:solidFill>
              </a:defRPr>
            </a:lvl1pPr>
          </a:lstStyle>
          <a:p>
            <a:pPr lvl="0"/>
            <a:r>
              <a:rPr lang="en-US"/>
              <a:t>LinkedIn Page</a:t>
            </a:r>
          </a:p>
        </p:txBody>
      </p:sp>
      <p:sp>
        <p:nvSpPr>
          <p:cNvPr id="29" name="Text Placeholder 7">
            <a:extLst>
              <a:ext uri="{FF2B5EF4-FFF2-40B4-BE49-F238E27FC236}">
                <a16:creationId xmlns:a16="http://schemas.microsoft.com/office/drawing/2014/main" id="{79D1D1C5-B723-01B2-7FF2-2CA862FB33B2}"/>
              </a:ext>
            </a:extLst>
          </p:cNvPr>
          <p:cNvSpPr>
            <a:spLocks noGrp="1"/>
          </p:cNvSpPr>
          <p:nvPr>
            <p:ph type="body" sz="quarter" idx="33" hasCustomPrompt="1"/>
          </p:nvPr>
        </p:nvSpPr>
        <p:spPr>
          <a:xfrm>
            <a:off x="973495" y="5707274"/>
            <a:ext cx="2641598" cy="249603"/>
          </a:xfrm>
        </p:spPr>
        <p:txBody>
          <a:bodyPr>
            <a:noAutofit/>
          </a:bodyPr>
          <a:lstStyle>
            <a:lvl1pPr>
              <a:defRPr sz="1000" u="sng">
                <a:solidFill>
                  <a:schemeClr val="tx1"/>
                </a:solidFill>
              </a:defRPr>
            </a:lvl1pPr>
          </a:lstStyle>
          <a:p>
            <a:pPr lvl="0"/>
            <a:r>
              <a:rPr lang="en-US"/>
              <a:t>Guidehouse YouTube</a:t>
            </a:r>
          </a:p>
        </p:txBody>
      </p:sp>
    </p:spTree>
    <p:extLst>
      <p:ext uri="{BB962C8B-B14F-4D97-AF65-F5344CB8AC3E}">
        <p14:creationId xmlns:p14="http://schemas.microsoft.com/office/powerpoint/2010/main" val="18238653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Conclusion - Dark">
    <p:bg>
      <p:bgPr>
        <a:solidFill>
          <a:schemeClr val="tx2"/>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AF9C81B7-A5E3-CFE9-A53F-0799F9D9D01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4922" y="4871631"/>
            <a:ext cx="6753678" cy="774308"/>
          </a:xfrm>
          <a:prstGeom prst="rect">
            <a:avLst/>
          </a:prstGeom>
        </p:spPr>
      </p:pic>
      <p:cxnSp>
        <p:nvCxnSpPr>
          <p:cNvPr id="12" name="Straight Connector 11">
            <a:extLst>
              <a:ext uri="{FF2B5EF4-FFF2-40B4-BE49-F238E27FC236}">
                <a16:creationId xmlns:a16="http://schemas.microsoft.com/office/drawing/2014/main" id="{B5BAF25B-04F0-0E9E-EE99-41526B4A0F45}"/>
              </a:ext>
            </a:extLst>
          </p:cNvPr>
          <p:cNvCxnSpPr>
            <a:cxnSpLocks/>
          </p:cNvCxnSpPr>
          <p:nvPr/>
        </p:nvCxnSpPr>
        <p:spPr>
          <a:xfrm flipH="1">
            <a:off x="609600" y="0"/>
            <a:ext cx="0" cy="6857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F80EF6-F585-EBDB-78CB-8A490CB37079}"/>
              </a:ext>
            </a:extLst>
          </p:cNvPr>
          <p:cNvCxnSpPr>
            <a:cxnSpLocks/>
          </p:cNvCxnSpPr>
          <p:nvPr/>
        </p:nvCxnSpPr>
        <p:spPr>
          <a:xfrm flipH="1">
            <a:off x="609600" y="4518121"/>
            <a:ext cx="0" cy="148132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0" name="Graphic 7">
            <a:extLst>
              <a:ext uri="{FF2B5EF4-FFF2-40B4-BE49-F238E27FC236}">
                <a16:creationId xmlns:a16="http://schemas.microsoft.com/office/drawing/2014/main" id="{0071CE00-4746-CC55-5BC6-40F38BEB682E}"/>
              </a:ext>
            </a:extLst>
          </p:cNvPr>
          <p:cNvGrpSpPr/>
          <p:nvPr/>
        </p:nvGrpSpPr>
        <p:grpSpPr>
          <a:xfrm>
            <a:off x="1094922" y="618057"/>
            <a:ext cx="2338095" cy="591593"/>
            <a:chOff x="609600" y="557212"/>
            <a:chExt cx="2670098" cy="675598"/>
          </a:xfrm>
        </p:grpSpPr>
        <p:sp>
          <p:nvSpPr>
            <p:cNvPr id="21" name="Freeform: Shape 20">
              <a:extLst>
                <a:ext uri="{FF2B5EF4-FFF2-40B4-BE49-F238E27FC236}">
                  <a16:creationId xmlns:a16="http://schemas.microsoft.com/office/drawing/2014/main" id="{23879F54-97B4-F7C3-10E6-BAA18E487EDA}"/>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24B68200-DB43-792E-71EC-C6AE421B0EEF}"/>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F9060205-FE3B-4340-5EB2-6566F1F24035}"/>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a:p>
          </p:txBody>
        </p:sp>
      </p:grpSp>
      <p:pic>
        <p:nvPicPr>
          <p:cNvPr id="48" name="Graphic 47">
            <a:extLst>
              <a:ext uri="{FF2B5EF4-FFF2-40B4-BE49-F238E27FC236}">
                <a16:creationId xmlns:a16="http://schemas.microsoft.com/office/drawing/2014/main" id="{3C7E5846-B97D-9495-EFF3-E8E8BB25B1BD}"/>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t="16112" r="2378"/>
          <a:stretch/>
        </p:blipFill>
        <p:spPr>
          <a:xfrm>
            <a:off x="6829137" y="0"/>
            <a:ext cx="5362864" cy="4608395"/>
          </a:xfrm>
          <a:prstGeom prst="rect">
            <a:avLst/>
          </a:prstGeom>
        </p:spPr>
      </p:pic>
    </p:spTree>
    <p:extLst>
      <p:ext uri="{BB962C8B-B14F-4D97-AF65-F5344CB8AC3E}">
        <p14:creationId xmlns:p14="http://schemas.microsoft.com/office/powerpoint/2010/main" val="1942127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Conclusion - Light">
    <p:bg>
      <p:bgPr>
        <a:solidFill>
          <a:srgbClr val="F3F3F3"/>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EB833B88-89EF-37DD-D0B2-ADAEC5BEB8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4922" y="4871631"/>
            <a:ext cx="6753678" cy="774308"/>
          </a:xfrm>
          <a:prstGeom prst="rect">
            <a:avLst/>
          </a:prstGeom>
        </p:spPr>
      </p:pic>
      <p:pic>
        <p:nvPicPr>
          <p:cNvPr id="6" name="Graphic 5">
            <a:extLst>
              <a:ext uri="{FF2B5EF4-FFF2-40B4-BE49-F238E27FC236}">
                <a16:creationId xmlns:a16="http://schemas.microsoft.com/office/drawing/2014/main" id="{648416DC-291E-222B-2DEB-6D4A007A495A}"/>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t="16509" r="2867" b="-1"/>
          <a:stretch/>
        </p:blipFill>
        <p:spPr>
          <a:xfrm>
            <a:off x="6819901" y="0"/>
            <a:ext cx="5372100" cy="4617631"/>
          </a:xfrm>
          <a:prstGeom prst="rect">
            <a:avLst/>
          </a:prstGeom>
        </p:spPr>
      </p:pic>
      <p:grpSp>
        <p:nvGrpSpPr>
          <p:cNvPr id="5" name="Group 4">
            <a:extLst>
              <a:ext uri="{FF2B5EF4-FFF2-40B4-BE49-F238E27FC236}">
                <a16:creationId xmlns:a16="http://schemas.microsoft.com/office/drawing/2014/main" id="{2567EC2D-0286-8A6B-681F-A39AF8DA669A}"/>
              </a:ext>
            </a:extLst>
          </p:cNvPr>
          <p:cNvGrpSpPr/>
          <p:nvPr userDrawn="1"/>
        </p:nvGrpSpPr>
        <p:grpSpPr>
          <a:xfrm>
            <a:off x="609600" y="0"/>
            <a:ext cx="0" cy="6857999"/>
            <a:chOff x="609600" y="0"/>
            <a:chExt cx="0" cy="6857999"/>
          </a:xfrm>
        </p:grpSpPr>
        <p:cxnSp>
          <p:nvCxnSpPr>
            <p:cNvPr id="3" name="Straight Connector 2">
              <a:extLst>
                <a:ext uri="{FF2B5EF4-FFF2-40B4-BE49-F238E27FC236}">
                  <a16:creationId xmlns:a16="http://schemas.microsoft.com/office/drawing/2014/main" id="{36D2E5ED-C185-3DC1-26E6-2864460B5349}"/>
                </a:ext>
              </a:extLst>
            </p:cNvPr>
            <p:cNvCxnSpPr>
              <a:cxnSpLocks/>
            </p:cNvCxnSpPr>
            <p:nvPr/>
          </p:nvCxnSpPr>
          <p:spPr>
            <a:xfrm flipH="1">
              <a:off x="609600" y="0"/>
              <a:ext cx="0" cy="685799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952DA0B-BA15-6F93-5059-E69C8AFAE597}"/>
                </a:ext>
              </a:extLst>
            </p:cNvPr>
            <p:cNvCxnSpPr>
              <a:cxnSpLocks/>
            </p:cNvCxnSpPr>
            <p:nvPr/>
          </p:nvCxnSpPr>
          <p:spPr>
            <a:xfrm flipH="1">
              <a:off x="609600" y="4518121"/>
              <a:ext cx="0" cy="148132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1" name="Graphic 10">
            <a:extLst>
              <a:ext uri="{FF2B5EF4-FFF2-40B4-BE49-F238E27FC236}">
                <a16:creationId xmlns:a16="http://schemas.microsoft.com/office/drawing/2014/main" id="{944BDD3E-7F49-55AC-5477-FED2F88914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4922" y="618058"/>
            <a:ext cx="2338096" cy="594003"/>
          </a:xfrm>
          <a:prstGeom prst="rect">
            <a:avLst/>
          </a:prstGeom>
        </p:spPr>
      </p:pic>
    </p:spTree>
    <p:extLst>
      <p:ext uri="{BB962C8B-B14F-4D97-AF65-F5344CB8AC3E}">
        <p14:creationId xmlns:p14="http://schemas.microsoft.com/office/powerpoint/2010/main" val="177010286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hank You 2 - Dark">
    <p:bg>
      <p:bgPr>
        <a:solidFill>
          <a:schemeClr val="tx2"/>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DE3CA1B0-623A-9E3F-9B2B-5EFA479D7D93}"/>
              </a:ext>
            </a:extLst>
          </p:cNvPr>
          <p:cNvSpPr>
            <a:spLocks noGrp="1"/>
          </p:cNvSpPr>
          <p:nvPr>
            <p:ph type="body" sz="quarter" idx="10" hasCustomPrompt="1"/>
          </p:nvPr>
        </p:nvSpPr>
        <p:spPr>
          <a:xfrm>
            <a:off x="938562" y="2453998"/>
            <a:ext cx="7227537" cy="1125116"/>
          </a:xfrm>
        </p:spPr>
        <p:txBody>
          <a:bodyPr wrap="square" anchor="t">
            <a:noAutofit/>
          </a:bodyPr>
          <a:lstStyle>
            <a:lvl1pPr>
              <a:lnSpc>
                <a:spcPct val="80000"/>
              </a:lnSpc>
              <a:spcAft>
                <a:spcPts val="0"/>
              </a:spcAft>
              <a:defRPr sz="8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a:t>
            </a:r>
          </a:p>
        </p:txBody>
      </p:sp>
      <p:grpSp>
        <p:nvGrpSpPr>
          <p:cNvPr id="4" name="Group 3">
            <a:extLst>
              <a:ext uri="{FF2B5EF4-FFF2-40B4-BE49-F238E27FC236}">
                <a16:creationId xmlns:a16="http://schemas.microsoft.com/office/drawing/2014/main" id="{72E9ACEB-AC65-3A5B-7C63-992A9120364E}"/>
              </a:ext>
            </a:extLst>
          </p:cNvPr>
          <p:cNvGrpSpPr/>
          <p:nvPr userDrawn="1"/>
        </p:nvGrpSpPr>
        <p:grpSpPr>
          <a:xfrm>
            <a:off x="1" y="1983579"/>
            <a:ext cx="12191999" cy="0"/>
            <a:chOff x="1" y="1983579"/>
            <a:chExt cx="12191999" cy="0"/>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flipH="1">
              <a:off x="1" y="1983579"/>
              <a:ext cx="12191999"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1543059" y="1379082"/>
              <a:ext cx="0" cy="1208993"/>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8" name="Graphic 7">
            <a:extLst>
              <a:ext uri="{FF2B5EF4-FFF2-40B4-BE49-F238E27FC236}">
                <a16:creationId xmlns:a16="http://schemas.microsoft.com/office/drawing/2014/main" id="{3AB37842-EC51-8631-1C75-0B1DCCBB6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2569"/>
            <a:ext cx="1799617" cy="457200"/>
          </a:xfrm>
          <a:prstGeom prst="rect">
            <a:avLst/>
          </a:prstGeom>
        </p:spPr>
      </p:pic>
      <p:pic>
        <p:nvPicPr>
          <p:cNvPr id="15" name="Graphic 14">
            <a:extLst>
              <a:ext uri="{FF2B5EF4-FFF2-40B4-BE49-F238E27FC236}">
                <a16:creationId xmlns:a16="http://schemas.microsoft.com/office/drawing/2014/main" id="{3F3CE916-7E55-F8DE-3538-C3D9756ED4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8563" y="5961888"/>
            <a:ext cx="1834388" cy="210312"/>
          </a:xfrm>
          <a:prstGeom prst="rect">
            <a:avLst/>
          </a:prstGeom>
        </p:spPr>
      </p:pic>
      <p:pic>
        <p:nvPicPr>
          <p:cNvPr id="5" name="Graphic 4">
            <a:extLst>
              <a:ext uri="{FF2B5EF4-FFF2-40B4-BE49-F238E27FC236}">
                <a16:creationId xmlns:a16="http://schemas.microsoft.com/office/drawing/2014/main" id="{B2F6610E-AA8A-AA03-9940-957C1FB8B0C9}"/>
              </a:ext>
            </a:extLst>
          </p:cNvPr>
          <p:cNvPicPr/>
          <p:nvPr userDrawn="1"/>
        </p:nvPicPr>
        <p:blipFill>
          <a:blip r:embed="rId6">
            <a:extLst>
              <a:ext uri="{96DAC541-7B7A-43D3-8B79-37D633B846F1}">
                <asvg:svgBlip xmlns:asvg="http://schemas.microsoft.com/office/drawing/2016/SVG/main" r:embed="rId7"/>
              </a:ext>
            </a:extLst>
          </a:blip>
          <a:stretch>
            <a:fillRect/>
          </a:stretch>
        </p:blipFill>
        <p:spPr>
          <a:xfrm>
            <a:off x="8268938" y="2931518"/>
            <a:ext cx="2984500" cy="2978543"/>
          </a:xfrm>
          <a:prstGeom prst="rect">
            <a:avLst/>
          </a:prstGeom>
        </p:spPr>
      </p:pic>
    </p:spTree>
    <p:extLst>
      <p:ext uri="{BB962C8B-B14F-4D97-AF65-F5344CB8AC3E}">
        <p14:creationId xmlns:p14="http://schemas.microsoft.com/office/powerpoint/2010/main" val="274722825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hank You 2 - Light">
    <p:bg>
      <p:bgPr>
        <a:solidFill>
          <a:srgbClr val="F3F3F3"/>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DE3CA1B0-623A-9E3F-9B2B-5EFA479D7D93}"/>
              </a:ext>
            </a:extLst>
          </p:cNvPr>
          <p:cNvSpPr>
            <a:spLocks noGrp="1"/>
          </p:cNvSpPr>
          <p:nvPr>
            <p:ph type="body" sz="quarter" idx="10" hasCustomPrompt="1"/>
          </p:nvPr>
        </p:nvSpPr>
        <p:spPr>
          <a:xfrm>
            <a:off x="938562" y="2453998"/>
            <a:ext cx="7176738" cy="1125116"/>
          </a:xfrm>
        </p:spPr>
        <p:txBody>
          <a:bodyPr wrap="square" anchor="t">
            <a:noAutofit/>
          </a:bodyPr>
          <a:lstStyle>
            <a:lvl1pPr>
              <a:lnSpc>
                <a:spcPct val="80000"/>
              </a:lnSpc>
              <a:spcAft>
                <a:spcPts val="0"/>
              </a:spcAft>
              <a:defRPr sz="88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a:t>
            </a:r>
          </a:p>
        </p:txBody>
      </p:sp>
      <p:grpSp>
        <p:nvGrpSpPr>
          <p:cNvPr id="5" name="Group 4">
            <a:extLst>
              <a:ext uri="{FF2B5EF4-FFF2-40B4-BE49-F238E27FC236}">
                <a16:creationId xmlns:a16="http://schemas.microsoft.com/office/drawing/2014/main" id="{EA392F83-2467-8DF1-A072-47811A39DF5F}"/>
              </a:ext>
            </a:extLst>
          </p:cNvPr>
          <p:cNvGrpSpPr/>
          <p:nvPr/>
        </p:nvGrpSpPr>
        <p:grpSpPr>
          <a:xfrm>
            <a:off x="1" y="1983579"/>
            <a:ext cx="12191999" cy="0"/>
            <a:chOff x="1" y="1983579"/>
            <a:chExt cx="12191999" cy="0"/>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flipH="1">
              <a:off x="1" y="1983579"/>
              <a:ext cx="121919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1543059" y="1379082"/>
              <a:ext cx="0" cy="1208993"/>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4" name="Graphic 3">
            <a:extLst>
              <a:ext uri="{FF2B5EF4-FFF2-40B4-BE49-F238E27FC236}">
                <a16:creationId xmlns:a16="http://schemas.microsoft.com/office/drawing/2014/main" id="{F6EA8AA0-F903-6C8E-6D87-56CECC2A2D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6649"/>
            <a:ext cx="1783555" cy="453120"/>
          </a:xfrm>
          <a:prstGeom prst="rect">
            <a:avLst/>
          </a:prstGeom>
        </p:spPr>
      </p:pic>
      <p:pic>
        <p:nvPicPr>
          <p:cNvPr id="8" name="Graphic 7">
            <a:extLst>
              <a:ext uri="{FF2B5EF4-FFF2-40B4-BE49-F238E27FC236}">
                <a16:creationId xmlns:a16="http://schemas.microsoft.com/office/drawing/2014/main" id="{E4938A9D-779B-9E93-E00C-DB40A81BC40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38563" y="5961888"/>
            <a:ext cx="1834388" cy="210312"/>
          </a:xfrm>
          <a:prstGeom prst="rect">
            <a:avLst/>
          </a:prstGeom>
        </p:spPr>
      </p:pic>
      <p:pic>
        <p:nvPicPr>
          <p:cNvPr id="6" name="Graphic 5">
            <a:extLst>
              <a:ext uri="{FF2B5EF4-FFF2-40B4-BE49-F238E27FC236}">
                <a16:creationId xmlns:a16="http://schemas.microsoft.com/office/drawing/2014/main" id="{2A060178-C7DC-1546-A061-11499B0B9C77}"/>
              </a:ext>
            </a:extLst>
          </p:cNvPr>
          <p:cNvPicPr/>
          <p:nvPr userDrawn="1"/>
        </p:nvPicPr>
        <p:blipFill>
          <a:blip r:embed="rId6">
            <a:extLst>
              <a:ext uri="{96DAC541-7B7A-43D3-8B79-37D633B846F1}">
                <asvg:svgBlip xmlns:asvg="http://schemas.microsoft.com/office/drawing/2016/SVG/main" r:embed="rId7"/>
              </a:ext>
            </a:extLst>
          </a:blip>
          <a:stretch>
            <a:fillRect/>
          </a:stretch>
        </p:blipFill>
        <p:spPr>
          <a:xfrm>
            <a:off x="8268937" y="2931517"/>
            <a:ext cx="2984501" cy="2978544"/>
          </a:xfrm>
          <a:prstGeom prst="rect">
            <a:avLst/>
          </a:prstGeom>
        </p:spPr>
      </p:pic>
    </p:spTree>
    <p:extLst>
      <p:ext uri="{BB962C8B-B14F-4D97-AF65-F5344CB8AC3E}">
        <p14:creationId xmlns:p14="http://schemas.microsoft.com/office/powerpoint/2010/main" val="25963921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2 - Light">
    <p:bg>
      <p:bgPr>
        <a:solidFill>
          <a:srgbClr val="F3F3F3"/>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A392F83-2467-8DF1-A072-47811A39DF5F}"/>
              </a:ext>
            </a:extLst>
          </p:cNvPr>
          <p:cNvGrpSpPr/>
          <p:nvPr/>
        </p:nvGrpSpPr>
        <p:grpSpPr>
          <a:xfrm>
            <a:off x="938562" y="1983578"/>
            <a:ext cx="7556215" cy="1"/>
            <a:chOff x="938562" y="1983578"/>
            <a:chExt cx="7556215" cy="1"/>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flipH="1">
              <a:off x="938562" y="1983578"/>
              <a:ext cx="755621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1543059" y="1379082"/>
              <a:ext cx="0" cy="1208993"/>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4" name="Graphic 3">
            <a:extLst>
              <a:ext uri="{FF2B5EF4-FFF2-40B4-BE49-F238E27FC236}">
                <a16:creationId xmlns:a16="http://schemas.microsoft.com/office/drawing/2014/main" id="{F6EA8AA0-F903-6C8E-6D87-56CECC2A2D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6649"/>
            <a:ext cx="1783555" cy="453120"/>
          </a:xfrm>
          <a:prstGeom prst="rect">
            <a:avLst/>
          </a:prstGeom>
        </p:spPr>
      </p:pic>
      <p:sp>
        <p:nvSpPr>
          <p:cNvPr id="15" name="Text Placeholder 14">
            <a:extLst>
              <a:ext uri="{FF2B5EF4-FFF2-40B4-BE49-F238E27FC236}">
                <a16:creationId xmlns:a16="http://schemas.microsoft.com/office/drawing/2014/main" id="{1CA173CA-8280-BC75-9ADA-A758945C9B57}"/>
              </a:ext>
            </a:extLst>
          </p:cNvPr>
          <p:cNvSpPr>
            <a:spLocks noGrp="1"/>
          </p:cNvSpPr>
          <p:nvPr>
            <p:ph type="body" sz="quarter" idx="10" hasCustomPrompt="1"/>
          </p:nvPr>
        </p:nvSpPr>
        <p:spPr>
          <a:xfrm>
            <a:off x="938562" y="2453998"/>
            <a:ext cx="7552944" cy="2000804"/>
          </a:xfrm>
        </p:spPr>
        <p:txBody>
          <a:bodyPr wrap="square" anchor="t">
            <a:noAutofit/>
          </a:bodyPr>
          <a:lstStyle>
            <a:lvl1pPr>
              <a:lnSpc>
                <a:spcPct val="90000"/>
              </a:lnSpc>
              <a:spcAft>
                <a:spcPts val="0"/>
              </a:spcAft>
              <a:defRPr sz="7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a:t>
            </a:r>
            <a:br>
              <a:rPr lang="en-US"/>
            </a:br>
            <a:r>
              <a:rPr lang="en-US"/>
              <a:t>Title Here</a:t>
            </a:r>
          </a:p>
        </p:txBody>
      </p:sp>
      <p:sp>
        <p:nvSpPr>
          <p:cNvPr id="16" name="Text Placeholder 16">
            <a:extLst>
              <a:ext uri="{FF2B5EF4-FFF2-40B4-BE49-F238E27FC236}">
                <a16:creationId xmlns:a16="http://schemas.microsoft.com/office/drawing/2014/main" id="{0A035E54-E921-86F2-0D4B-5D1D8B09F809}"/>
              </a:ext>
            </a:extLst>
          </p:cNvPr>
          <p:cNvSpPr>
            <a:spLocks noGrp="1"/>
          </p:cNvSpPr>
          <p:nvPr>
            <p:ph type="body" sz="quarter" idx="12" hasCustomPrompt="1"/>
          </p:nvPr>
        </p:nvSpPr>
        <p:spPr>
          <a:xfrm>
            <a:off x="938562" y="5956756"/>
            <a:ext cx="7552944" cy="215444"/>
          </a:xfrm>
        </p:spPr>
        <p:txBody>
          <a:bodyPr anchor="b">
            <a:noAutofit/>
          </a:bodyPr>
          <a:lstStyle>
            <a:lvl1pPr>
              <a:spcAft>
                <a:spcPts val="0"/>
              </a:spcAft>
              <a:defRPr sz="14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dustry name</a:t>
            </a:r>
          </a:p>
        </p:txBody>
      </p:sp>
      <p:sp>
        <p:nvSpPr>
          <p:cNvPr id="17" name="Text Placeholder 16">
            <a:extLst>
              <a:ext uri="{FF2B5EF4-FFF2-40B4-BE49-F238E27FC236}">
                <a16:creationId xmlns:a16="http://schemas.microsoft.com/office/drawing/2014/main" id="{F319FCB8-4E4F-F7FC-F575-05569591DC4D}"/>
              </a:ext>
            </a:extLst>
          </p:cNvPr>
          <p:cNvSpPr>
            <a:spLocks noGrp="1"/>
          </p:cNvSpPr>
          <p:nvPr>
            <p:ph type="body" sz="quarter" idx="11" hasCustomPrompt="1"/>
          </p:nvPr>
        </p:nvSpPr>
        <p:spPr>
          <a:xfrm>
            <a:off x="938562" y="4942006"/>
            <a:ext cx="7552295" cy="738664"/>
          </a:xfrm>
        </p:spPr>
        <p:txBody>
          <a:bodyPr anchor="b">
            <a:noAutofit/>
          </a:bodyPr>
          <a:lstStyle>
            <a:lvl1pPr algn="l">
              <a:spcAft>
                <a:spcPts val="0"/>
              </a:spcAft>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6" name="Graphic 5">
            <a:extLst>
              <a:ext uri="{FF2B5EF4-FFF2-40B4-BE49-F238E27FC236}">
                <a16:creationId xmlns:a16="http://schemas.microsoft.com/office/drawing/2014/main" id="{905D1414-51F8-1738-37D9-17673BA3272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2950" b="2950"/>
          <a:stretch/>
        </p:blipFill>
        <p:spPr>
          <a:xfrm>
            <a:off x="9568093" y="1"/>
            <a:ext cx="2258568" cy="6858000"/>
          </a:xfrm>
          <a:prstGeom prst="rect">
            <a:avLst/>
          </a:prstGeom>
        </p:spPr>
      </p:pic>
    </p:spTree>
    <p:extLst>
      <p:ext uri="{BB962C8B-B14F-4D97-AF65-F5344CB8AC3E}">
        <p14:creationId xmlns:p14="http://schemas.microsoft.com/office/powerpoint/2010/main" val="363352452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hank You 3 - Dark">
    <p:bg>
      <p:bgPr>
        <a:solidFill>
          <a:schemeClr val="tx2"/>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DE3CA1B0-623A-9E3F-9B2B-5EFA479D7D93}"/>
              </a:ext>
            </a:extLst>
          </p:cNvPr>
          <p:cNvSpPr>
            <a:spLocks noGrp="1"/>
          </p:cNvSpPr>
          <p:nvPr>
            <p:ph type="body" sz="quarter" idx="10" hasCustomPrompt="1"/>
          </p:nvPr>
        </p:nvSpPr>
        <p:spPr>
          <a:xfrm>
            <a:off x="938563" y="2875002"/>
            <a:ext cx="4052538" cy="1107996"/>
          </a:xfrm>
        </p:spPr>
        <p:txBody>
          <a:bodyPr wrap="square" anchor="ctr">
            <a:noAutofit/>
          </a:bodyPr>
          <a:lstStyle>
            <a:lvl1pPr>
              <a:lnSpc>
                <a:spcPct val="100000"/>
              </a:lnSpc>
              <a:spcAft>
                <a:spcPts val="0"/>
              </a:spcAft>
              <a:defRPr sz="7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a:t>
            </a:r>
          </a:p>
        </p:txBody>
      </p:sp>
      <p:grpSp>
        <p:nvGrpSpPr>
          <p:cNvPr id="4" name="Group 3">
            <a:extLst>
              <a:ext uri="{FF2B5EF4-FFF2-40B4-BE49-F238E27FC236}">
                <a16:creationId xmlns:a16="http://schemas.microsoft.com/office/drawing/2014/main" id="{A864A7B1-01CA-74D7-5CA7-9E6002A2544A}"/>
              </a:ext>
            </a:extLst>
          </p:cNvPr>
          <p:cNvGrpSpPr/>
          <p:nvPr userDrawn="1"/>
        </p:nvGrpSpPr>
        <p:grpSpPr>
          <a:xfrm rot="16200000">
            <a:off x="-2819401" y="3428999"/>
            <a:ext cx="6858001" cy="0"/>
            <a:chOff x="1" y="1983579"/>
            <a:chExt cx="6858001" cy="0"/>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rot="5400000">
              <a:off x="3429002" y="-1445422"/>
              <a:ext cx="0" cy="6858001"/>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3429000" y="1379082"/>
              <a:ext cx="0" cy="1208993"/>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8" name="Graphic 7">
            <a:extLst>
              <a:ext uri="{FF2B5EF4-FFF2-40B4-BE49-F238E27FC236}">
                <a16:creationId xmlns:a16="http://schemas.microsoft.com/office/drawing/2014/main" id="{3AB37842-EC51-8631-1C75-0B1DCCBB6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2569"/>
            <a:ext cx="1799617" cy="457200"/>
          </a:xfrm>
          <a:prstGeom prst="rect">
            <a:avLst/>
          </a:prstGeom>
        </p:spPr>
      </p:pic>
      <p:pic>
        <p:nvPicPr>
          <p:cNvPr id="15" name="Graphic 14">
            <a:extLst>
              <a:ext uri="{FF2B5EF4-FFF2-40B4-BE49-F238E27FC236}">
                <a16:creationId xmlns:a16="http://schemas.microsoft.com/office/drawing/2014/main" id="{3F3CE916-7E55-F8DE-3538-C3D9756ED4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8563" y="5961888"/>
            <a:ext cx="1834388" cy="210312"/>
          </a:xfrm>
          <a:prstGeom prst="rect">
            <a:avLst/>
          </a:prstGeom>
        </p:spPr>
      </p:pic>
      <p:sp>
        <p:nvSpPr>
          <p:cNvPr id="6" name="Picture Placeholder 11">
            <a:extLst>
              <a:ext uri="{FF2B5EF4-FFF2-40B4-BE49-F238E27FC236}">
                <a16:creationId xmlns:a16="http://schemas.microsoft.com/office/drawing/2014/main" id="{19D49CF5-B256-D13A-3A62-029D9B36D9C3}"/>
              </a:ext>
            </a:extLst>
          </p:cNvPr>
          <p:cNvSpPr>
            <a:spLocks noGrp="1"/>
          </p:cNvSpPr>
          <p:nvPr>
            <p:ph type="pic" sz="quarter" idx="14" hasCustomPrompt="1"/>
          </p:nvPr>
        </p:nvSpPr>
        <p:spPr>
          <a:xfrm>
            <a:off x="6096000" y="0"/>
            <a:ext cx="6095999" cy="6858000"/>
          </a:xfrm>
          <a:solidFill>
            <a:schemeClr val="bg1">
              <a:lumMod val="75000"/>
            </a:schemeClr>
          </a:solidFill>
        </p:spPr>
        <p:txBody>
          <a:bodyPr vert="horz" lIns="0" tIns="0" rIns="0" bIns="0" rtlCol="0" anchor="ctr">
            <a:noAutofit/>
          </a:bodyPr>
          <a:lstStyle>
            <a:lvl1pPr>
              <a:defRPr lang="en-US" sz="1000" b="0"/>
            </a:lvl1pPr>
          </a:lstStyle>
          <a:p>
            <a:pPr lvl="0" algn="ctr"/>
            <a:r>
              <a:rPr lang="en-US"/>
              <a:t>Insert Photo</a:t>
            </a:r>
          </a:p>
        </p:txBody>
      </p:sp>
    </p:spTree>
    <p:extLst>
      <p:ext uri="{BB962C8B-B14F-4D97-AF65-F5344CB8AC3E}">
        <p14:creationId xmlns:p14="http://schemas.microsoft.com/office/powerpoint/2010/main" val="33683067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and Map">
    <p:bg>
      <p:bgPr>
        <a:solidFill>
          <a:srgbClr val="F3F3F3"/>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BC176DF-9D05-69AA-11F1-229243D036F3}"/>
              </a:ext>
            </a:extLst>
          </p:cNvPr>
          <p:cNvGrpSpPr/>
          <p:nvPr userDrawn="1"/>
        </p:nvGrpSpPr>
        <p:grpSpPr>
          <a:xfrm>
            <a:off x="850900" y="0"/>
            <a:ext cx="10490200" cy="6314858"/>
            <a:chOff x="850900" y="0"/>
            <a:chExt cx="10490200" cy="6314858"/>
          </a:xfrm>
        </p:grpSpPr>
        <p:sp>
          <p:nvSpPr>
            <p:cNvPr id="5" name="Freeform 33">
              <a:extLst>
                <a:ext uri="{FF2B5EF4-FFF2-40B4-BE49-F238E27FC236}">
                  <a16:creationId xmlns:a16="http://schemas.microsoft.com/office/drawing/2014/main" id="{C32CC898-F0A8-4972-5297-5ED2EB060A9C}"/>
                </a:ext>
              </a:extLst>
            </p:cNvPr>
            <p:cNvSpPr>
              <a:spLocks noChangeAspect="1"/>
            </p:cNvSpPr>
            <p:nvPr userDrawn="1"/>
          </p:nvSpPr>
          <p:spPr bwMode="gray">
            <a:xfrm>
              <a:off x="6350709" y="4900384"/>
              <a:ext cx="276084" cy="303320"/>
            </a:xfrm>
            <a:custGeom>
              <a:avLst/>
              <a:gdLst>
                <a:gd name="T0" fmla="*/ 0 w 518"/>
                <a:gd name="T1" fmla="*/ 2147483647 h 534"/>
                <a:gd name="T2" fmla="*/ 0 w 518"/>
                <a:gd name="T3" fmla="*/ 2147483647 h 534"/>
                <a:gd name="T4" fmla="*/ 2147483647 w 518"/>
                <a:gd name="T5" fmla="*/ 2147483647 h 534"/>
                <a:gd name="T6" fmla="*/ 2147483647 w 518"/>
                <a:gd name="T7" fmla="*/ 2147483647 h 534"/>
                <a:gd name="T8" fmla="*/ 2147483647 w 518"/>
                <a:gd name="T9" fmla="*/ 0 h 534"/>
                <a:gd name="T10" fmla="*/ 2147483647 w 518"/>
                <a:gd name="T11" fmla="*/ 0 h 534"/>
                <a:gd name="T12" fmla="*/ 2147483647 w 518"/>
                <a:gd name="T13" fmla="*/ 0 h 534"/>
                <a:gd name="T14" fmla="*/ 2147483647 w 518"/>
                <a:gd name="T15" fmla="*/ 0 h 534"/>
                <a:gd name="T16" fmla="*/ 2147483647 w 518"/>
                <a:gd name="T17" fmla="*/ 0 h 534"/>
                <a:gd name="T18" fmla="*/ 2147483647 w 518"/>
                <a:gd name="T19" fmla="*/ 0 h 534"/>
                <a:gd name="T20" fmla="*/ 2147483647 w 518"/>
                <a:gd name="T21" fmla="*/ 0 h 534"/>
                <a:gd name="T22" fmla="*/ 2147483647 w 518"/>
                <a:gd name="T23" fmla="*/ 0 h 534"/>
                <a:gd name="T24" fmla="*/ 2147483647 w 518"/>
                <a:gd name="T25" fmla="*/ 0 h 534"/>
                <a:gd name="T26" fmla="*/ 2147483647 w 518"/>
                <a:gd name="T27" fmla="*/ 0 h 534"/>
                <a:gd name="T28" fmla="*/ 2147483647 w 518"/>
                <a:gd name="T29" fmla="*/ 0 h 534"/>
                <a:gd name="T30" fmla="*/ 2147483647 w 518"/>
                <a:gd name="T31" fmla="*/ 2147483647 h 534"/>
                <a:gd name="T32" fmla="*/ 2147483647 w 518"/>
                <a:gd name="T33" fmla="*/ 2147483647 h 534"/>
                <a:gd name="T34" fmla="*/ 2147483647 w 518"/>
                <a:gd name="T35" fmla="*/ 2147483647 h 534"/>
                <a:gd name="T36" fmla="*/ 2147483647 w 518"/>
                <a:gd name="T37" fmla="*/ 2147483647 h 534"/>
                <a:gd name="T38" fmla="*/ 2147483647 w 518"/>
                <a:gd name="T39" fmla="*/ 2147483647 h 534"/>
                <a:gd name="T40" fmla="*/ 2147483647 w 518"/>
                <a:gd name="T41" fmla="*/ 2147483647 h 534"/>
                <a:gd name="T42" fmla="*/ 2147483647 w 518"/>
                <a:gd name="T43" fmla="*/ 2147483647 h 534"/>
                <a:gd name="T44" fmla="*/ 2147483647 w 518"/>
                <a:gd name="T45" fmla="*/ 2147483647 h 534"/>
                <a:gd name="T46" fmla="*/ 2147483647 w 518"/>
                <a:gd name="T47" fmla="*/ 2147483647 h 534"/>
                <a:gd name="T48" fmla="*/ 2147483647 w 518"/>
                <a:gd name="T49" fmla="*/ 2147483647 h 534"/>
                <a:gd name="T50" fmla="*/ 2147483647 w 518"/>
                <a:gd name="T51" fmla="*/ 2147483647 h 534"/>
                <a:gd name="T52" fmla="*/ 2147483647 w 518"/>
                <a:gd name="T53" fmla="*/ 2147483647 h 534"/>
                <a:gd name="T54" fmla="*/ 2147483647 w 518"/>
                <a:gd name="T55" fmla="*/ 2147483647 h 534"/>
                <a:gd name="T56" fmla="*/ 2147483647 w 518"/>
                <a:gd name="T57" fmla="*/ 2147483647 h 534"/>
                <a:gd name="T58" fmla="*/ 2147483647 w 518"/>
                <a:gd name="T59" fmla="*/ 2147483647 h 534"/>
                <a:gd name="T60" fmla="*/ 2147483647 w 518"/>
                <a:gd name="T61" fmla="*/ 2147483647 h 534"/>
                <a:gd name="T62" fmla="*/ 2147483647 w 518"/>
                <a:gd name="T63" fmla="*/ 2147483647 h 534"/>
                <a:gd name="T64" fmla="*/ 2147483647 w 518"/>
                <a:gd name="T65" fmla="*/ 2147483647 h 534"/>
                <a:gd name="T66" fmla="*/ 2147483647 w 518"/>
                <a:gd name="T67" fmla="*/ 2147483647 h 534"/>
                <a:gd name="T68" fmla="*/ 2147483647 w 518"/>
                <a:gd name="T69" fmla="*/ 2147483647 h 534"/>
                <a:gd name="T70" fmla="*/ 2147483647 w 518"/>
                <a:gd name="T71" fmla="*/ 2147483647 h 534"/>
                <a:gd name="T72" fmla="*/ 2147483647 w 518"/>
                <a:gd name="T73" fmla="*/ 2147483647 h 534"/>
                <a:gd name="T74" fmla="*/ 2147483647 w 518"/>
                <a:gd name="T75" fmla="*/ 2147483647 h 534"/>
                <a:gd name="T76" fmla="*/ 2147483647 w 518"/>
                <a:gd name="T77" fmla="*/ 2147483647 h 534"/>
                <a:gd name="T78" fmla="*/ 0 w 518"/>
                <a:gd name="T79" fmla="*/ 2147483647 h 534"/>
                <a:gd name="T80" fmla="*/ 2147483647 w 518"/>
                <a:gd name="T81" fmla="*/ 2147483647 h 534"/>
                <a:gd name="T82" fmla="*/ 2147483647 w 518"/>
                <a:gd name="T83" fmla="*/ 2147483647 h 534"/>
                <a:gd name="T84" fmla="*/ 0 w 518"/>
                <a:gd name="T85" fmla="*/ 2147483647 h 534"/>
                <a:gd name="T86" fmla="*/ 0 w 518"/>
                <a:gd name="T87" fmla="*/ 2147483647 h 534"/>
                <a:gd name="T88" fmla="*/ 0 w 518"/>
                <a:gd name="T89" fmla="*/ 2147483647 h 534"/>
                <a:gd name="T90" fmla="*/ 0 w 518"/>
                <a:gd name="T91" fmla="*/ 2147483647 h 5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18"/>
                <a:gd name="T139" fmla="*/ 0 h 534"/>
                <a:gd name="T140" fmla="*/ 518 w 518"/>
                <a:gd name="T141" fmla="*/ 534 h 5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 name="Freeform 23">
              <a:extLst>
                <a:ext uri="{FF2B5EF4-FFF2-40B4-BE49-F238E27FC236}">
                  <a16:creationId xmlns:a16="http://schemas.microsoft.com/office/drawing/2014/main" id="{EA1C6CBA-1809-9FC7-0DF6-96F1453AB425}"/>
                </a:ext>
              </a:extLst>
            </p:cNvPr>
            <p:cNvSpPr>
              <a:spLocks noChangeAspect="1"/>
            </p:cNvSpPr>
            <p:nvPr userDrawn="1"/>
          </p:nvSpPr>
          <p:spPr bwMode="gray">
            <a:xfrm>
              <a:off x="6728272" y="4632121"/>
              <a:ext cx="95510" cy="248448"/>
            </a:xfrm>
            <a:custGeom>
              <a:avLst/>
              <a:gdLst>
                <a:gd name="T0" fmla="*/ 2147483647 w 175"/>
                <a:gd name="T1" fmla="*/ 0 h 431"/>
                <a:gd name="T2" fmla="*/ 0 w 175"/>
                <a:gd name="T3" fmla="*/ 0 h 431"/>
                <a:gd name="T4" fmla="*/ 0 w 175"/>
                <a:gd name="T5" fmla="*/ 0 h 431"/>
                <a:gd name="T6" fmla="*/ 0 w 175"/>
                <a:gd name="T7" fmla="*/ 0 h 431"/>
                <a:gd name="T8" fmla="*/ 0 w 175"/>
                <a:gd name="T9" fmla="*/ 0 h 431"/>
                <a:gd name="T10" fmla="*/ 0 w 175"/>
                <a:gd name="T11" fmla="*/ 0 h 431"/>
                <a:gd name="T12" fmla="*/ 2147483647 w 175"/>
                <a:gd name="T13" fmla="*/ 0 h 431"/>
                <a:gd name="T14" fmla="*/ 0 w 175"/>
                <a:gd name="T15" fmla="*/ 2147483647 h 431"/>
                <a:gd name="T16" fmla="*/ 0 w 175"/>
                <a:gd name="T17" fmla="*/ 2147483647 h 431"/>
                <a:gd name="T18" fmla="*/ 0 w 175"/>
                <a:gd name="T19" fmla="*/ 2147483647 h 431"/>
                <a:gd name="T20" fmla="*/ 0 w 175"/>
                <a:gd name="T21" fmla="*/ 2147483647 h 431"/>
                <a:gd name="T22" fmla="*/ 0 w 175"/>
                <a:gd name="T23" fmla="*/ 2147483647 h 431"/>
                <a:gd name="T24" fmla="*/ 0 w 175"/>
                <a:gd name="T25" fmla="*/ 2147483647 h 431"/>
                <a:gd name="T26" fmla="*/ 0 w 175"/>
                <a:gd name="T27" fmla="*/ 2147483647 h 431"/>
                <a:gd name="T28" fmla="*/ 0 w 175"/>
                <a:gd name="T29" fmla="*/ 2147483647 h 431"/>
                <a:gd name="T30" fmla="*/ 0 w 175"/>
                <a:gd name="T31" fmla="*/ 2147483647 h 431"/>
                <a:gd name="T32" fmla="*/ 0 w 175"/>
                <a:gd name="T33" fmla="*/ 2147483647 h 431"/>
                <a:gd name="T34" fmla="*/ 0 w 175"/>
                <a:gd name="T35" fmla="*/ 2147483647 h 431"/>
                <a:gd name="T36" fmla="*/ 2147483647 w 175"/>
                <a:gd name="T37" fmla="*/ 2147483647 h 431"/>
                <a:gd name="T38" fmla="*/ 2147483647 w 175"/>
                <a:gd name="T39" fmla="*/ 2147483647 h 431"/>
                <a:gd name="T40" fmla="*/ 2147483647 w 175"/>
                <a:gd name="T41" fmla="*/ 2147483647 h 431"/>
                <a:gd name="T42" fmla="*/ 2147483647 w 175"/>
                <a:gd name="T43" fmla="*/ 2147483647 h 431"/>
                <a:gd name="T44" fmla="*/ 2147483647 w 175"/>
                <a:gd name="T45" fmla="*/ 2147483647 h 431"/>
                <a:gd name="T46" fmla="*/ 2147483647 w 175"/>
                <a:gd name="T47" fmla="*/ 2147483647 h 431"/>
                <a:gd name="T48" fmla="*/ 2147483647 w 175"/>
                <a:gd name="T49" fmla="*/ 2147483647 h 431"/>
                <a:gd name="T50" fmla="*/ 2147483647 w 175"/>
                <a:gd name="T51" fmla="*/ 2147483647 h 431"/>
                <a:gd name="T52" fmla="*/ 2147483647 w 175"/>
                <a:gd name="T53" fmla="*/ 2147483647 h 431"/>
                <a:gd name="T54" fmla="*/ 2147483647 w 175"/>
                <a:gd name="T55" fmla="*/ 2147483647 h 431"/>
                <a:gd name="T56" fmla="*/ 2147483647 w 175"/>
                <a:gd name="T57" fmla="*/ 2147483647 h 431"/>
                <a:gd name="T58" fmla="*/ 2147483647 w 175"/>
                <a:gd name="T59" fmla="*/ 2147483647 h 431"/>
                <a:gd name="T60" fmla="*/ 2147483647 w 175"/>
                <a:gd name="T61" fmla="*/ 2147483647 h 431"/>
                <a:gd name="T62" fmla="*/ 2147483647 w 175"/>
                <a:gd name="T63" fmla="*/ 2147483647 h 431"/>
                <a:gd name="T64" fmla="*/ 2147483647 w 175"/>
                <a:gd name="T65" fmla="*/ 2147483647 h 431"/>
                <a:gd name="T66" fmla="*/ 2147483647 w 175"/>
                <a:gd name="T67" fmla="*/ 2147483647 h 431"/>
                <a:gd name="T68" fmla="*/ 2147483647 w 175"/>
                <a:gd name="T69" fmla="*/ 2147483647 h 431"/>
                <a:gd name="T70" fmla="*/ 2147483647 w 175"/>
                <a:gd name="T71" fmla="*/ 2147483647 h 431"/>
                <a:gd name="T72" fmla="*/ 2147483647 w 175"/>
                <a:gd name="T73" fmla="*/ 2147483647 h 431"/>
                <a:gd name="T74" fmla="*/ 2147483647 w 175"/>
                <a:gd name="T75" fmla="*/ 2147483647 h 431"/>
                <a:gd name="T76" fmla="*/ 2147483647 w 175"/>
                <a:gd name="T77" fmla="*/ 2147483647 h 431"/>
                <a:gd name="T78" fmla="*/ 2147483647 w 175"/>
                <a:gd name="T79" fmla="*/ 2147483647 h 431"/>
                <a:gd name="T80" fmla="*/ 2147483647 w 175"/>
                <a:gd name="T81" fmla="*/ 2147483647 h 431"/>
                <a:gd name="T82" fmla="*/ 2147483647 w 175"/>
                <a:gd name="T83" fmla="*/ 2147483647 h 431"/>
                <a:gd name="T84" fmla="*/ 2147483647 w 175"/>
                <a:gd name="T85" fmla="*/ 2147483647 h 431"/>
                <a:gd name="T86" fmla="*/ 2147483647 w 175"/>
                <a:gd name="T87" fmla="*/ 2147483647 h 431"/>
                <a:gd name="T88" fmla="*/ 2147483647 w 175"/>
                <a:gd name="T89" fmla="*/ 2147483647 h 431"/>
                <a:gd name="T90" fmla="*/ 2147483647 w 175"/>
                <a:gd name="T91" fmla="*/ 2147483647 h 431"/>
                <a:gd name="T92" fmla="*/ 2147483647 w 175"/>
                <a:gd name="T93" fmla="*/ 2147483647 h 431"/>
                <a:gd name="T94" fmla="*/ 2147483647 w 175"/>
                <a:gd name="T95" fmla="*/ 2147483647 h 431"/>
                <a:gd name="T96" fmla="*/ 2147483647 w 175"/>
                <a:gd name="T97" fmla="*/ 0 h 431"/>
                <a:gd name="T98" fmla="*/ 2147483647 w 175"/>
                <a:gd name="T99" fmla="*/ 0 h 431"/>
                <a:gd name="T100" fmla="*/ 2147483647 w 175"/>
                <a:gd name="T101" fmla="*/ 0 h 431"/>
                <a:gd name="T102" fmla="*/ 2147483647 w 175"/>
                <a:gd name="T103" fmla="*/ 0 h 43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5"/>
                <a:gd name="T157" fmla="*/ 0 h 431"/>
                <a:gd name="T158" fmla="*/ 175 w 175"/>
                <a:gd name="T159" fmla="*/ 431 h 43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 name="Freeform 26">
              <a:extLst>
                <a:ext uri="{FF2B5EF4-FFF2-40B4-BE49-F238E27FC236}">
                  <a16:creationId xmlns:a16="http://schemas.microsoft.com/office/drawing/2014/main" id="{BF42B0B5-BDF6-F740-4CA4-FB52754FE1A8}"/>
                </a:ext>
              </a:extLst>
            </p:cNvPr>
            <p:cNvSpPr>
              <a:spLocks noChangeAspect="1"/>
            </p:cNvSpPr>
            <p:nvPr userDrawn="1"/>
          </p:nvSpPr>
          <p:spPr bwMode="gray">
            <a:xfrm>
              <a:off x="6110442" y="4520854"/>
              <a:ext cx="368608" cy="387152"/>
            </a:xfrm>
            <a:custGeom>
              <a:avLst/>
              <a:gdLst>
                <a:gd name="T0" fmla="*/ 0 w 692"/>
                <a:gd name="T1" fmla="*/ 2147483647 h 684"/>
                <a:gd name="T2" fmla="*/ 0 w 692"/>
                <a:gd name="T3" fmla="*/ 2147483647 h 684"/>
                <a:gd name="T4" fmla="*/ 0 w 692"/>
                <a:gd name="T5" fmla="*/ 2147483647 h 684"/>
                <a:gd name="T6" fmla="*/ 0 w 692"/>
                <a:gd name="T7" fmla="*/ 2147483647 h 684"/>
                <a:gd name="T8" fmla="*/ 0 w 692"/>
                <a:gd name="T9" fmla="*/ 2147483647 h 684"/>
                <a:gd name="T10" fmla="*/ 0 w 692"/>
                <a:gd name="T11" fmla="*/ 2147483647 h 684"/>
                <a:gd name="T12" fmla="*/ 0 w 692"/>
                <a:gd name="T13" fmla="*/ 0 h 684"/>
                <a:gd name="T14" fmla="*/ 0 w 692"/>
                <a:gd name="T15" fmla="*/ 0 h 684"/>
                <a:gd name="T16" fmla="*/ 0 w 692"/>
                <a:gd name="T17" fmla="*/ 0 h 684"/>
                <a:gd name="T18" fmla="*/ 0 w 692"/>
                <a:gd name="T19" fmla="*/ 0 h 684"/>
                <a:gd name="T20" fmla="*/ 0 w 692"/>
                <a:gd name="T21" fmla="*/ 0 h 684"/>
                <a:gd name="T22" fmla="*/ 0 w 692"/>
                <a:gd name="T23" fmla="*/ 0 h 684"/>
                <a:gd name="T24" fmla="*/ 0 w 692"/>
                <a:gd name="T25" fmla="*/ 0 h 684"/>
                <a:gd name="T26" fmla="*/ 0 w 692"/>
                <a:gd name="T27" fmla="*/ 0 h 684"/>
                <a:gd name="T28" fmla="*/ 0 w 692"/>
                <a:gd name="T29" fmla="*/ 0 h 684"/>
                <a:gd name="T30" fmla="*/ 0 w 692"/>
                <a:gd name="T31" fmla="*/ 0 h 684"/>
                <a:gd name="T32" fmla="*/ 0 w 692"/>
                <a:gd name="T33" fmla="*/ 0 h 684"/>
                <a:gd name="T34" fmla="*/ 0 w 692"/>
                <a:gd name="T35" fmla="*/ 0 h 684"/>
                <a:gd name="T36" fmla="*/ 2147483647 w 692"/>
                <a:gd name="T37" fmla="*/ 0 h 684"/>
                <a:gd name="T38" fmla="*/ 2147483647 w 692"/>
                <a:gd name="T39" fmla="*/ 0 h 684"/>
                <a:gd name="T40" fmla="*/ 2147483647 w 692"/>
                <a:gd name="T41" fmla="*/ 0 h 684"/>
                <a:gd name="T42" fmla="*/ 2147483647 w 692"/>
                <a:gd name="T43" fmla="*/ 0 h 684"/>
                <a:gd name="T44" fmla="*/ 2147483647 w 692"/>
                <a:gd name="T45" fmla="*/ 0 h 684"/>
                <a:gd name="T46" fmla="*/ 2147483647 w 692"/>
                <a:gd name="T47" fmla="*/ 0 h 684"/>
                <a:gd name="T48" fmla="*/ 2147483647 w 692"/>
                <a:gd name="T49" fmla="*/ 0 h 684"/>
                <a:gd name="T50" fmla="*/ 2147483647 w 692"/>
                <a:gd name="T51" fmla="*/ 0 h 684"/>
                <a:gd name="T52" fmla="*/ 2147483647 w 692"/>
                <a:gd name="T53" fmla="*/ 0 h 684"/>
                <a:gd name="T54" fmla="*/ 2147483647 w 692"/>
                <a:gd name="T55" fmla="*/ 0 h 684"/>
                <a:gd name="T56" fmla="*/ 2147483647 w 692"/>
                <a:gd name="T57" fmla="*/ 0 h 684"/>
                <a:gd name="T58" fmla="*/ 2147483647 w 692"/>
                <a:gd name="T59" fmla="*/ 0 h 684"/>
                <a:gd name="T60" fmla="*/ 2147483647 w 692"/>
                <a:gd name="T61" fmla="*/ 0 h 684"/>
                <a:gd name="T62" fmla="*/ 2147483647 w 692"/>
                <a:gd name="T63" fmla="*/ 0 h 684"/>
                <a:gd name="T64" fmla="*/ 2147483647 w 692"/>
                <a:gd name="T65" fmla="*/ 0 h 684"/>
                <a:gd name="T66" fmla="*/ 2147483647 w 692"/>
                <a:gd name="T67" fmla="*/ 2147483647 h 684"/>
                <a:gd name="T68" fmla="*/ 2147483647 w 692"/>
                <a:gd name="T69" fmla="*/ 2147483647 h 684"/>
                <a:gd name="T70" fmla="*/ 2147483647 w 692"/>
                <a:gd name="T71" fmla="*/ 2147483647 h 684"/>
                <a:gd name="T72" fmla="*/ 2147483647 w 692"/>
                <a:gd name="T73" fmla="*/ 2147483647 h 684"/>
                <a:gd name="T74" fmla="*/ 2147483647 w 692"/>
                <a:gd name="T75" fmla="*/ 2147483647 h 684"/>
                <a:gd name="T76" fmla="*/ 2147483647 w 692"/>
                <a:gd name="T77" fmla="*/ 2147483647 h 684"/>
                <a:gd name="T78" fmla="*/ 2147483647 w 692"/>
                <a:gd name="T79" fmla="*/ 2147483647 h 684"/>
                <a:gd name="T80" fmla="*/ 2147483647 w 692"/>
                <a:gd name="T81" fmla="*/ 2147483647 h 684"/>
                <a:gd name="T82" fmla="*/ 2147483647 w 692"/>
                <a:gd name="T83" fmla="*/ 2147483647 h 684"/>
                <a:gd name="T84" fmla="*/ 2147483647 w 692"/>
                <a:gd name="T85" fmla="*/ 2147483647 h 684"/>
                <a:gd name="T86" fmla="*/ 0 w 692"/>
                <a:gd name="T87" fmla="*/ 2147483647 h 684"/>
                <a:gd name="T88" fmla="*/ 0 w 692"/>
                <a:gd name="T89" fmla="*/ 2147483647 h 684"/>
                <a:gd name="T90" fmla="*/ 0 w 692"/>
                <a:gd name="T91" fmla="*/ 2147483647 h 684"/>
                <a:gd name="T92" fmla="*/ 0 w 692"/>
                <a:gd name="T93" fmla="*/ 2147483647 h 684"/>
                <a:gd name="T94" fmla="*/ 0 w 692"/>
                <a:gd name="T95" fmla="*/ 2147483647 h 6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92"/>
                <a:gd name="T145" fmla="*/ 0 h 684"/>
                <a:gd name="T146" fmla="*/ 692 w 692"/>
                <a:gd name="T147" fmla="*/ 684 h 6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 name="Freeform 29">
              <a:extLst>
                <a:ext uri="{FF2B5EF4-FFF2-40B4-BE49-F238E27FC236}">
                  <a16:creationId xmlns:a16="http://schemas.microsoft.com/office/drawing/2014/main" id="{4C383FE9-4EE4-DEDF-34B6-5DB0F1858C33}"/>
                </a:ext>
              </a:extLst>
            </p:cNvPr>
            <p:cNvSpPr>
              <a:spLocks noChangeAspect="1"/>
            </p:cNvSpPr>
            <p:nvPr userDrawn="1"/>
          </p:nvSpPr>
          <p:spPr bwMode="gray">
            <a:xfrm>
              <a:off x="6414880" y="4595541"/>
              <a:ext cx="341746" cy="312465"/>
            </a:xfrm>
            <a:custGeom>
              <a:avLst/>
              <a:gdLst>
                <a:gd name="T0" fmla="*/ 0 w 640"/>
                <a:gd name="T1" fmla="*/ 2147483647 h 552"/>
                <a:gd name="T2" fmla="*/ 2147483647 w 640"/>
                <a:gd name="T3" fmla="*/ 2147483647 h 552"/>
                <a:gd name="T4" fmla="*/ 2147483647 w 640"/>
                <a:gd name="T5" fmla="*/ 2147483647 h 552"/>
                <a:gd name="T6" fmla="*/ 2147483647 w 640"/>
                <a:gd name="T7" fmla="*/ 2147483647 h 552"/>
                <a:gd name="T8" fmla="*/ 2147483647 w 640"/>
                <a:gd name="T9" fmla="*/ 2147483647 h 552"/>
                <a:gd name="T10" fmla="*/ 2147483647 w 640"/>
                <a:gd name="T11" fmla="*/ 2147483647 h 552"/>
                <a:gd name="T12" fmla="*/ 2147483647 w 640"/>
                <a:gd name="T13" fmla="*/ 2147483647 h 552"/>
                <a:gd name="T14" fmla="*/ 2147483647 w 640"/>
                <a:gd name="T15" fmla="*/ 2147483647 h 552"/>
                <a:gd name="T16" fmla="*/ 2147483647 w 640"/>
                <a:gd name="T17" fmla="*/ 2147483647 h 552"/>
                <a:gd name="T18" fmla="*/ 2147483647 w 640"/>
                <a:gd name="T19" fmla="*/ 2147483647 h 552"/>
                <a:gd name="T20" fmla="*/ 2147483647 w 640"/>
                <a:gd name="T21" fmla="*/ 2147483647 h 552"/>
                <a:gd name="T22" fmla="*/ 2147483647 w 640"/>
                <a:gd name="T23" fmla="*/ 2147483647 h 552"/>
                <a:gd name="T24" fmla="*/ 2147483647 w 640"/>
                <a:gd name="T25" fmla="*/ 2147483647 h 552"/>
                <a:gd name="T26" fmla="*/ 2147483647 w 640"/>
                <a:gd name="T27" fmla="*/ 2147483647 h 552"/>
                <a:gd name="T28" fmla="*/ 2147483647 w 640"/>
                <a:gd name="T29" fmla="*/ 2147483647 h 552"/>
                <a:gd name="T30" fmla="*/ 2147483647 w 640"/>
                <a:gd name="T31" fmla="*/ 2147483647 h 552"/>
                <a:gd name="T32" fmla="*/ 2147483647 w 640"/>
                <a:gd name="T33" fmla="*/ 2147483647 h 552"/>
                <a:gd name="T34" fmla="*/ 2147483647 w 640"/>
                <a:gd name="T35" fmla="*/ 2147483647 h 552"/>
                <a:gd name="T36" fmla="*/ 2147483647 w 640"/>
                <a:gd name="T37" fmla="*/ 2147483647 h 552"/>
                <a:gd name="T38" fmla="*/ 2147483647 w 640"/>
                <a:gd name="T39" fmla="*/ 2147483647 h 552"/>
                <a:gd name="T40" fmla="*/ 2147483647 w 640"/>
                <a:gd name="T41" fmla="*/ 0 h 552"/>
                <a:gd name="T42" fmla="*/ 2147483647 w 640"/>
                <a:gd name="T43" fmla="*/ 0 h 552"/>
                <a:gd name="T44" fmla="*/ 2147483647 w 640"/>
                <a:gd name="T45" fmla="*/ 0 h 552"/>
                <a:gd name="T46" fmla="*/ 2147483647 w 640"/>
                <a:gd name="T47" fmla="*/ 0 h 552"/>
                <a:gd name="T48" fmla="*/ 2147483647 w 640"/>
                <a:gd name="T49" fmla="*/ 0 h 552"/>
                <a:gd name="T50" fmla="*/ 2147483647 w 640"/>
                <a:gd name="T51" fmla="*/ 0 h 552"/>
                <a:gd name="T52" fmla="*/ 2147483647 w 640"/>
                <a:gd name="T53" fmla="*/ 0 h 552"/>
                <a:gd name="T54" fmla="*/ 2147483647 w 640"/>
                <a:gd name="T55" fmla="*/ 0 h 552"/>
                <a:gd name="T56" fmla="*/ 2147483647 w 640"/>
                <a:gd name="T57" fmla="*/ 2147483647 h 552"/>
                <a:gd name="T58" fmla="*/ 2147483647 w 640"/>
                <a:gd name="T59" fmla="*/ 2147483647 h 552"/>
                <a:gd name="T60" fmla="*/ 2147483647 w 640"/>
                <a:gd name="T61" fmla="*/ 2147483647 h 552"/>
                <a:gd name="T62" fmla="*/ 2147483647 w 640"/>
                <a:gd name="T63" fmla="*/ 2147483647 h 552"/>
                <a:gd name="T64" fmla="*/ 2147483647 w 640"/>
                <a:gd name="T65" fmla="*/ 2147483647 h 552"/>
                <a:gd name="T66" fmla="*/ 2147483647 w 640"/>
                <a:gd name="T67" fmla="*/ 2147483647 h 552"/>
                <a:gd name="T68" fmla="*/ 2147483647 w 640"/>
                <a:gd name="T69" fmla="*/ 2147483647 h 552"/>
                <a:gd name="T70" fmla="*/ 2147483647 w 640"/>
                <a:gd name="T71" fmla="*/ 2147483647 h 552"/>
                <a:gd name="T72" fmla="*/ 2147483647 w 640"/>
                <a:gd name="T73" fmla="*/ 2147483647 h 552"/>
                <a:gd name="T74" fmla="*/ 2147483647 w 640"/>
                <a:gd name="T75" fmla="*/ 2147483647 h 552"/>
                <a:gd name="T76" fmla="*/ 2147483647 w 640"/>
                <a:gd name="T77" fmla="*/ 2147483647 h 552"/>
                <a:gd name="T78" fmla="*/ 2147483647 w 640"/>
                <a:gd name="T79" fmla="*/ 2147483647 h 552"/>
                <a:gd name="T80" fmla="*/ 2147483647 w 640"/>
                <a:gd name="T81" fmla="*/ 2147483647 h 552"/>
                <a:gd name="T82" fmla="*/ 2147483647 w 640"/>
                <a:gd name="T83" fmla="*/ 2147483647 h 552"/>
                <a:gd name="T84" fmla="*/ 2147483647 w 640"/>
                <a:gd name="T85" fmla="*/ 2147483647 h 552"/>
                <a:gd name="T86" fmla="*/ 2147483647 w 640"/>
                <a:gd name="T87" fmla="*/ 2147483647 h 552"/>
                <a:gd name="T88" fmla="*/ 2147483647 w 640"/>
                <a:gd name="T89" fmla="*/ 2147483647 h 552"/>
                <a:gd name="T90" fmla="*/ 2147483647 w 640"/>
                <a:gd name="T91" fmla="*/ 2147483647 h 552"/>
                <a:gd name="T92" fmla="*/ 2147483647 w 640"/>
                <a:gd name="T93" fmla="*/ 2147483647 h 552"/>
                <a:gd name="T94" fmla="*/ 2147483647 w 640"/>
                <a:gd name="T95" fmla="*/ 2147483647 h 552"/>
                <a:gd name="T96" fmla="*/ 2147483647 w 640"/>
                <a:gd name="T97" fmla="*/ 2147483647 h 552"/>
                <a:gd name="T98" fmla="*/ 2147483647 w 640"/>
                <a:gd name="T99" fmla="*/ 2147483647 h 552"/>
                <a:gd name="T100" fmla="*/ 2147483647 w 640"/>
                <a:gd name="T101" fmla="*/ 2147483647 h 552"/>
                <a:gd name="T102" fmla="*/ 2147483647 w 640"/>
                <a:gd name="T103" fmla="*/ 2147483647 h 552"/>
                <a:gd name="T104" fmla="*/ 2147483647 w 640"/>
                <a:gd name="T105" fmla="*/ 2147483647 h 552"/>
                <a:gd name="T106" fmla="*/ 2147483647 w 640"/>
                <a:gd name="T107" fmla="*/ 2147483647 h 552"/>
                <a:gd name="T108" fmla="*/ 0 w 640"/>
                <a:gd name="T109" fmla="*/ 2147483647 h 552"/>
                <a:gd name="T110" fmla="*/ 0 w 640"/>
                <a:gd name="T111" fmla="*/ 2147483647 h 55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40"/>
                <a:gd name="T169" fmla="*/ 0 h 552"/>
                <a:gd name="T170" fmla="*/ 640 w 640"/>
                <a:gd name="T171" fmla="*/ 552 h 55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 name="Freeform 32">
              <a:extLst>
                <a:ext uri="{FF2B5EF4-FFF2-40B4-BE49-F238E27FC236}">
                  <a16:creationId xmlns:a16="http://schemas.microsoft.com/office/drawing/2014/main" id="{306B5B93-A9D4-EA04-ACD6-77D0BB456DEA}"/>
                </a:ext>
              </a:extLst>
            </p:cNvPr>
            <p:cNvSpPr>
              <a:spLocks noChangeAspect="1"/>
            </p:cNvSpPr>
            <p:nvPr userDrawn="1"/>
          </p:nvSpPr>
          <p:spPr bwMode="gray">
            <a:xfrm>
              <a:off x="6650670" y="4667179"/>
              <a:ext cx="310407" cy="531952"/>
            </a:xfrm>
            <a:custGeom>
              <a:avLst/>
              <a:gdLst>
                <a:gd name="T0" fmla="*/ 2147483647 w 586"/>
                <a:gd name="T1" fmla="*/ 0 h 937"/>
                <a:gd name="T2" fmla="*/ 2147483647 w 586"/>
                <a:gd name="T3" fmla="*/ 0 h 937"/>
                <a:gd name="T4" fmla="*/ 2147483647 w 586"/>
                <a:gd name="T5" fmla="*/ 2147483647 h 937"/>
                <a:gd name="T6" fmla="*/ 2147483647 w 586"/>
                <a:gd name="T7" fmla="*/ 2147483647 h 937"/>
                <a:gd name="T8" fmla="*/ 2147483647 w 586"/>
                <a:gd name="T9" fmla="*/ 2147483647 h 937"/>
                <a:gd name="T10" fmla="*/ 2147483647 w 586"/>
                <a:gd name="T11" fmla="*/ 2147483647 h 937"/>
                <a:gd name="T12" fmla="*/ 2147483647 w 586"/>
                <a:gd name="T13" fmla="*/ 2147483647 h 937"/>
                <a:gd name="T14" fmla="*/ 2147483647 w 586"/>
                <a:gd name="T15" fmla="*/ 2147483647 h 937"/>
                <a:gd name="T16" fmla="*/ 2147483647 w 586"/>
                <a:gd name="T17" fmla="*/ 2147483647 h 937"/>
                <a:gd name="T18" fmla="*/ 2147483647 w 586"/>
                <a:gd name="T19" fmla="*/ 2147483647 h 937"/>
                <a:gd name="T20" fmla="*/ 2147483647 w 586"/>
                <a:gd name="T21" fmla="*/ 2147483647 h 937"/>
                <a:gd name="T22" fmla="*/ 2147483647 w 586"/>
                <a:gd name="T23" fmla="*/ 2147483647 h 937"/>
                <a:gd name="T24" fmla="*/ 2147483647 w 586"/>
                <a:gd name="T25" fmla="*/ 2147483647 h 937"/>
                <a:gd name="T26" fmla="*/ 2147483647 w 586"/>
                <a:gd name="T27" fmla="*/ 2147483647 h 937"/>
                <a:gd name="T28" fmla="*/ 2147483647 w 586"/>
                <a:gd name="T29" fmla="*/ 2147483647 h 937"/>
                <a:gd name="T30" fmla="*/ 2147483647 w 586"/>
                <a:gd name="T31" fmla="*/ 2147483647 h 937"/>
                <a:gd name="T32" fmla="*/ 2147483647 w 586"/>
                <a:gd name="T33" fmla="*/ 2147483647 h 937"/>
                <a:gd name="T34" fmla="*/ 2147483647 w 586"/>
                <a:gd name="T35" fmla="*/ 2147483647 h 937"/>
                <a:gd name="T36" fmla="*/ 2147483647 w 586"/>
                <a:gd name="T37" fmla="*/ 2147483647 h 937"/>
                <a:gd name="T38" fmla="*/ 2147483647 w 586"/>
                <a:gd name="T39" fmla="*/ 2147483647 h 937"/>
                <a:gd name="T40" fmla="*/ 2147483647 w 586"/>
                <a:gd name="T41" fmla="*/ 2147483647 h 937"/>
                <a:gd name="T42" fmla="*/ 2147483647 w 586"/>
                <a:gd name="T43" fmla="*/ 2147483647 h 937"/>
                <a:gd name="T44" fmla="*/ 2147483647 w 586"/>
                <a:gd name="T45" fmla="*/ 2147483647 h 937"/>
                <a:gd name="T46" fmla="*/ 2147483647 w 586"/>
                <a:gd name="T47" fmla="*/ 2147483647 h 937"/>
                <a:gd name="T48" fmla="*/ 2147483647 w 586"/>
                <a:gd name="T49" fmla="*/ 2147483647 h 937"/>
                <a:gd name="T50" fmla="*/ 2147483647 w 586"/>
                <a:gd name="T51" fmla="*/ 2147483647 h 937"/>
                <a:gd name="T52" fmla="*/ 2147483647 w 586"/>
                <a:gd name="T53" fmla="*/ 2147483647 h 937"/>
                <a:gd name="T54" fmla="*/ 2147483647 w 586"/>
                <a:gd name="T55" fmla="*/ 2147483647 h 937"/>
                <a:gd name="T56" fmla="*/ 2147483647 w 586"/>
                <a:gd name="T57" fmla="*/ 2147483647 h 937"/>
                <a:gd name="T58" fmla="*/ 2147483647 w 586"/>
                <a:gd name="T59" fmla="*/ 2147483647 h 937"/>
                <a:gd name="T60" fmla="*/ 2147483647 w 586"/>
                <a:gd name="T61" fmla="*/ 2147483647 h 937"/>
                <a:gd name="T62" fmla="*/ 2147483647 w 586"/>
                <a:gd name="T63" fmla="*/ 2147483647 h 937"/>
                <a:gd name="T64" fmla="*/ 2147483647 w 586"/>
                <a:gd name="T65" fmla="*/ 2147483647 h 937"/>
                <a:gd name="T66" fmla="*/ 0 w 586"/>
                <a:gd name="T67" fmla="*/ 2147483647 h 937"/>
                <a:gd name="T68" fmla="*/ 0 w 586"/>
                <a:gd name="T69" fmla="*/ 2147483647 h 937"/>
                <a:gd name="T70" fmla="*/ 2147483647 w 586"/>
                <a:gd name="T71" fmla="*/ 2147483647 h 937"/>
                <a:gd name="T72" fmla="*/ 2147483647 w 586"/>
                <a:gd name="T73" fmla="*/ 2147483647 h 937"/>
                <a:gd name="T74" fmla="*/ 2147483647 w 586"/>
                <a:gd name="T75" fmla="*/ 2147483647 h 937"/>
                <a:gd name="T76" fmla="*/ 2147483647 w 586"/>
                <a:gd name="T77" fmla="*/ 2147483647 h 937"/>
                <a:gd name="T78" fmla="*/ 2147483647 w 586"/>
                <a:gd name="T79" fmla="*/ 2147483647 h 937"/>
                <a:gd name="T80" fmla="*/ 2147483647 w 586"/>
                <a:gd name="T81" fmla="*/ 2147483647 h 937"/>
                <a:gd name="T82" fmla="*/ 2147483647 w 586"/>
                <a:gd name="T83" fmla="*/ 2147483647 h 937"/>
                <a:gd name="T84" fmla="*/ 2147483647 w 586"/>
                <a:gd name="T85" fmla="*/ 2147483647 h 937"/>
                <a:gd name="T86" fmla="*/ 2147483647 w 586"/>
                <a:gd name="T87" fmla="*/ 2147483647 h 937"/>
                <a:gd name="T88" fmla="*/ 2147483647 w 586"/>
                <a:gd name="T89" fmla="*/ 2147483647 h 937"/>
                <a:gd name="T90" fmla="*/ 2147483647 w 586"/>
                <a:gd name="T91" fmla="*/ 2147483647 h 937"/>
                <a:gd name="T92" fmla="*/ 2147483647 w 586"/>
                <a:gd name="T93" fmla="*/ 2147483647 h 937"/>
                <a:gd name="T94" fmla="*/ 2147483647 w 586"/>
                <a:gd name="T95" fmla="*/ 2147483647 h 937"/>
                <a:gd name="T96" fmla="*/ 2147483647 w 586"/>
                <a:gd name="T97" fmla="*/ 2147483647 h 937"/>
                <a:gd name="T98" fmla="*/ 2147483647 w 586"/>
                <a:gd name="T99" fmla="*/ 2147483647 h 937"/>
                <a:gd name="T100" fmla="*/ 2147483647 w 586"/>
                <a:gd name="T101" fmla="*/ 2147483647 h 937"/>
                <a:gd name="T102" fmla="*/ 2147483647 w 586"/>
                <a:gd name="T103" fmla="*/ 0 h 937"/>
                <a:gd name="T104" fmla="*/ 2147483647 w 586"/>
                <a:gd name="T105" fmla="*/ 0 h 937"/>
                <a:gd name="T106" fmla="*/ 2147483647 w 586"/>
                <a:gd name="T107" fmla="*/ 0 h 937"/>
                <a:gd name="T108" fmla="*/ 2147483647 w 586"/>
                <a:gd name="T109" fmla="*/ 0 h 937"/>
                <a:gd name="T110" fmla="*/ 2147483647 w 586"/>
                <a:gd name="T111" fmla="*/ 0 h 937"/>
                <a:gd name="T112" fmla="*/ 2147483647 w 586"/>
                <a:gd name="T113" fmla="*/ 0 h 937"/>
                <a:gd name="T114" fmla="*/ 2147483647 w 586"/>
                <a:gd name="T115" fmla="*/ 0 h 9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86"/>
                <a:gd name="T175" fmla="*/ 0 h 937"/>
                <a:gd name="T176" fmla="*/ 586 w 586"/>
                <a:gd name="T177" fmla="*/ 937 h 9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 name="Freeform 21">
              <a:extLst>
                <a:ext uri="{FF2B5EF4-FFF2-40B4-BE49-F238E27FC236}">
                  <a16:creationId xmlns:a16="http://schemas.microsoft.com/office/drawing/2014/main" id="{5F581DF3-9D99-3437-3B4E-577070140EEA}"/>
                </a:ext>
              </a:extLst>
            </p:cNvPr>
            <p:cNvSpPr>
              <a:spLocks noChangeAspect="1"/>
            </p:cNvSpPr>
            <p:nvPr userDrawn="1"/>
          </p:nvSpPr>
          <p:spPr bwMode="gray">
            <a:xfrm>
              <a:off x="6673055" y="5167122"/>
              <a:ext cx="34324" cy="50299"/>
            </a:xfrm>
            <a:custGeom>
              <a:avLst/>
              <a:gdLst>
                <a:gd name="T0" fmla="*/ 2147483647 w 67"/>
                <a:gd name="T1" fmla="*/ 0 h 90"/>
                <a:gd name="T2" fmla="*/ 2147483647 w 67"/>
                <a:gd name="T3" fmla="*/ 0 h 90"/>
                <a:gd name="T4" fmla="*/ 2147483647 w 67"/>
                <a:gd name="T5" fmla="*/ 0 h 90"/>
                <a:gd name="T6" fmla="*/ 2147483647 w 67"/>
                <a:gd name="T7" fmla="*/ 0 h 90"/>
                <a:gd name="T8" fmla="*/ 0 w 67"/>
                <a:gd name="T9" fmla="*/ 0 h 90"/>
                <a:gd name="T10" fmla="*/ 0 w 67"/>
                <a:gd name="T11" fmla="*/ 0 h 90"/>
                <a:gd name="T12" fmla="*/ 0 w 67"/>
                <a:gd name="T13" fmla="*/ 0 h 90"/>
                <a:gd name="T14" fmla="*/ 0 w 67"/>
                <a:gd name="T15" fmla="*/ 0 h 90"/>
                <a:gd name="T16" fmla="*/ 0 w 67"/>
                <a:gd name="T17" fmla="*/ 0 h 90"/>
                <a:gd name="T18" fmla="*/ 0 w 67"/>
                <a:gd name="T19" fmla="*/ 0 h 90"/>
                <a:gd name="T20" fmla="*/ 0 w 67"/>
                <a:gd name="T21" fmla="*/ 0 h 90"/>
                <a:gd name="T22" fmla="*/ 0 w 67"/>
                <a:gd name="T23" fmla="*/ 2147483647 h 90"/>
                <a:gd name="T24" fmla="*/ 0 w 67"/>
                <a:gd name="T25" fmla="*/ 2147483647 h 90"/>
                <a:gd name="T26" fmla="*/ 0 w 67"/>
                <a:gd name="T27" fmla="*/ 2147483647 h 90"/>
                <a:gd name="T28" fmla="*/ 0 w 67"/>
                <a:gd name="T29" fmla="*/ 2147483647 h 90"/>
                <a:gd name="T30" fmla="*/ 0 w 67"/>
                <a:gd name="T31" fmla="*/ 0 h 90"/>
                <a:gd name="T32" fmla="*/ 2147483647 w 67"/>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90"/>
                <a:gd name="T53" fmla="*/ 67 w 67"/>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 name="Freeform 22">
              <a:extLst>
                <a:ext uri="{FF2B5EF4-FFF2-40B4-BE49-F238E27FC236}">
                  <a16:creationId xmlns:a16="http://schemas.microsoft.com/office/drawing/2014/main" id="{5F59AFFF-E4EE-42E6-6C42-E2DEE125312A}"/>
                </a:ext>
              </a:extLst>
            </p:cNvPr>
            <p:cNvSpPr>
              <a:spLocks noChangeAspect="1"/>
            </p:cNvSpPr>
            <p:nvPr userDrawn="1"/>
          </p:nvSpPr>
          <p:spPr bwMode="gray">
            <a:xfrm>
              <a:off x="6252214" y="5043661"/>
              <a:ext cx="480534" cy="446596"/>
            </a:xfrm>
            <a:custGeom>
              <a:avLst/>
              <a:gdLst>
                <a:gd name="T0" fmla="*/ 2147483647 w 898"/>
                <a:gd name="T1" fmla="*/ 2147483647 h 791"/>
                <a:gd name="T2" fmla="*/ 2147483647 w 898"/>
                <a:gd name="T3" fmla="*/ 2147483647 h 791"/>
                <a:gd name="T4" fmla="*/ 2147483647 w 898"/>
                <a:gd name="T5" fmla="*/ 2147483647 h 791"/>
                <a:gd name="T6" fmla="*/ 2147483647 w 898"/>
                <a:gd name="T7" fmla="*/ 2147483647 h 791"/>
                <a:gd name="T8" fmla="*/ 0 w 898"/>
                <a:gd name="T9" fmla="*/ 2147483647 h 791"/>
                <a:gd name="T10" fmla="*/ 0 w 898"/>
                <a:gd name="T11" fmla="*/ 2147483647 h 791"/>
                <a:gd name="T12" fmla="*/ 0 w 898"/>
                <a:gd name="T13" fmla="*/ 2147483647 h 791"/>
                <a:gd name="T14" fmla="*/ 2147483647 w 898"/>
                <a:gd name="T15" fmla="*/ 2147483647 h 791"/>
                <a:gd name="T16" fmla="*/ 2147483647 w 898"/>
                <a:gd name="T17" fmla="*/ 2147483647 h 791"/>
                <a:gd name="T18" fmla="*/ 2147483647 w 898"/>
                <a:gd name="T19" fmla="*/ 2147483647 h 791"/>
                <a:gd name="T20" fmla="*/ 2147483647 w 898"/>
                <a:gd name="T21" fmla="*/ 2147483647 h 791"/>
                <a:gd name="T22" fmla="*/ 2147483647 w 898"/>
                <a:gd name="T23" fmla="*/ 2147483647 h 791"/>
                <a:gd name="T24" fmla="*/ 2147483647 w 898"/>
                <a:gd name="T25" fmla="*/ 2147483647 h 791"/>
                <a:gd name="T26" fmla="*/ 2147483647 w 898"/>
                <a:gd name="T27" fmla="*/ 2147483647 h 791"/>
                <a:gd name="T28" fmla="*/ 2147483647 w 898"/>
                <a:gd name="T29" fmla="*/ 2147483647 h 791"/>
                <a:gd name="T30" fmla="*/ 2147483647 w 898"/>
                <a:gd name="T31" fmla="*/ 2147483647 h 791"/>
                <a:gd name="T32" fmla="*/ 2147483647 w 898"/>
                <a:gd name="T33" fmla="*/ 2147483647 h 791"/>
                <a:gd name="T34" fmla="*/ 2147483647 w 898"/>
                <a:gd name="T35" fmla="*/ 2147483647 h 791"/>
                <a:gd name="T36" fmla="*/ 2147483647 w 898"/>
                <a:gd name="T37" fmla="*/ 2147483647 h 791"/>
                <a:gd name="T38" fmla="*/ 2147483647 w 898"/>
                <a:gd name="T39" fmla="*/ 2147483647 h 791"/>
                <a:gd name="T40" fmla="*/ 2147483647 w 898"/>
                <a:gd name="T41" fmla="*/ 2147483647 h 791"/>
                <a:gd name="T42" fmla="*/ 2147483647 w 898"/>
                <a:gd name="T43" fmla="*/ 2147483647 h 791"/>
                <a:gd name="T44" fmla="*/ 2147483647 w 898"/>
                <a:gd name="T45" fmla="*/ 2147483647 h 791"/>
                <a:gd name="T46" fmla="*/ 2147483647 w 898"/>
                <a:gd name="T47" fmla="*/ 2147483647 h 791"/>
                <a:gd name="T48" fmla="*/ 2147483647 w 898"/>
                <a:gd name="T49" fmla="*/ 2147483647 h 791"/>
                <a:gd name="T50" fmla="*/ 2147483647 w 898"/>
                <a:gd name="T51" fmla="*/ 2147483647 h 791"/>
                <a:gd name="T52" fmla="*/ 2147483647 w 898"/>
                <a:gd name="T53" fmla="*/ 2147483647 h 791"/>
                <a:gd name="T54" fmla="*/ 2147483647 w 898"/>
                <a:gd name="T55" fmla="*/ 2147483647 h 791"/>
                <a:gd name="T56" fmla="*/ 2147483647 w 898"/>
                <a:gd name="T57" fmla="*/ 2147483647 h 791"/>
                <a:gd name="T58" fmla="*/ 2147483647 w 898"/>
                <a:gd name="T59" fmla="*/ 2147483647 h 791"/>
                <a:gd name="T60" fmla="*/ 2147483647 w 898"/>
                <a:gd name="T61" fmla="*/ 2147483647 h 791"/>
                <a:gd name="T62" fmla="*/ 2147483647 w 898"/>
                <a:gd name="T63" fmla="*/ 2147483647 h 791"/>
                <a:gd name="T64" fmla="*/ 2147483647 w 898"/>
                <a:gd name="T65" fmla="*/ 2147483647 h 791"/>
                <a:gd name="T66" fmla="*/ 2147483647 w 898"/>
                <a:gd name="T67" fmla="*/ 2147483647 h 791"/>
                <a:gd name="T68" fmla="*/ 2147483647 w 898"/>
                <a:gd name="T69" fmla="*/ 2147483647 h 791"/>
                <a:gd name="T70" fmla="*/ 2147483647 w 898"/>
                <a:gd name="T71" fmla="*/ 2147483647 h 791"/>
                <a:gd name="T72" fmla="*/ 2147483647 w 898"/>
                <a:gd name="T73" fmla="*/ 0 h 791"/>
                <a:gd name="T74" fmla="*/ 2147483647 w 898"/>
                <a:gd name="T75" fmla="*/ 0 h 791"/>
                <a:gd name="T76" fmla="*/ 2147483647 w 898"/>
                <a:gd name="T77" fmla="*/ 0 h 791"/>
                <a:gd name="T78" fmla="*/ 2147483647 w 898"/>
                <a:gd name="T79" fmla="*/ 0 h 791"/>
                <a:gd name="T80" fmla="*/ 2147483647 w 898"/>
                <a:gd name="T81" fmla="*/ 0 h 791"/>
                <a:gd name="T82" fmla="*/ 2147483647 w 898"/>
                <a:gd name="T83" fmla="*/ 2147483647 h 791"/>
                <a:gd name="T84" fmla="*/ 2147483647 w 898"/>
                <a:gd name="T85" fmla="*/ 2147483647 h 791"/>
                <a:gd name="T86" fmla="*/ 2147483647 w 898"/>
                <a:gd name="T87" fmla="*/ 2147483647 h 791"/>
                <a:gd name="T88" fmla="*/ 2147483647 w 898"/>
                <a:gd name="T89" fmla="*/ 2147483647 h 791"/>
                <a:gd name="T90" fmla="*/ 2147483647 w 898"/>
                <a:gd name="T91" fmla="*/ 2147483647 h 791"/>
                <a:gd name="T92" fmla="*/ 2147483647 w 898"/>
                <a:gd name="T93" fmla="*/ 2147483647 h 791"/>
                <a:gd name="T94" fmla="*/ 2147483647 w 898"/>
                <a:gd name="T95" fmla="*/ 2147483647 h 791"/>
                <a:gd name="T96" fmla="*/ 2147483647 w 898"/>
                <a:gd name="T97" fmla="*/ 2147483647 h 791"/>
                <a:gd name="T98" fmla="*/ 2147483647 w 898"/>
                <a:gd name="T99" fmla="*/ 2147483647 h 79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98"/>
                <a:gd name="T151" fmla="*/ 0 h 791"/>
                <a:gd name="T152" fmla="*/ 898 w 898"/>
                <a:gd name="T153" fmla="*/ 791 h 79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 name="Freeform 24">
              <a:extLst>
                <a:ext uri="{FF2B5EF4-FFF2-40B4-BE49-F238E27FC236}">
                  <a16:creationId xmlns:a16="http://schemas.microsoft.com/office/drawing/2014/main" id="{23319402-D269-A30B-A6C5-3EA37CA8458D}"/>
                </a:ext>
              </a:extLst>
            </p:cNvPr>
            <p:cNvSpPr>
              <a:spLocks noChangeAspect="1"/>
            </p:cNvSpPr>
            <p:nvPr userDrawn="1"/>
          </p:nvSpPr>
          <p:spPr bwMode="gray">
            <a:xfrm>
              <a:off x="7032709" y="4719002"/>
              <a:ext cx="208928" cy="443547"/>
            </a:xfrm>
            <a:custGeom>
              <a:avLst/>
              <a:gdLst>
                <a:gd name="T0" fmla="*/ 2147483647 w 391"/>
                <a:gd name="T1" fmla="*/ 2147483647 h 776"/>
                <a:gd name="T2" fmla="*/ 2147483647 w 391"/>
                <a:gd name="T3" fmla="*/ 2147483647 h 776"/>
                <a:gd name="T4" fmla="*/ 2147483647 w 391"/>
                <a:gd name="T5" fmla="*/ 2147483647 h 776"/>
                <a:gd name="T6" fmla="*/ 2147483647 w 391"/>
                <a:gd name="T7" fmla="*/ 2147483647 h 776"/>
                <a:gd name="T8" fmla="*/ 2147483647 w 391"/>
                <a:gd name="T9" fmla="*/ 2147483647 h 776"/>
                <a:gd name="T10" fmla="*/ 2147483647 w 391"/>
                <a:gd name="T11" fmla="*/ 2147483647 h 776"/>
                <a:gd name="T12" fmla="*/ 2147483647 w 391"/>
                <a:gd name="T13" fmla="*/ 2147483647 h 776"/>
                <a:gd name="T14" fmla="*/ 2147483647 w 391"/>
                <a:gd name="T15" fmla="*/ 2147483647 h 776"/>
                <a:gd name="T16" fmla="*/ 2147483647 w 391"/>
                <a:gd name="T17" fmla="*/ 2147483647 h 776"/>
                <a:gd name="T18" fmla="*/ 2147483647 w 391"/>
                <a:gd name="T19" fmla="*/ 2147483647 h 776"/>
                <a:gd name="T20" fmla="*/ 2147483647 w 391"/>
                <a:gd name="T21" fmla="*/ 2147483647 h 776"/>
                <a:gd name="T22" fmla="*/ 2147483647 w 391"/>
                <a:gd name="T23" fmla="*/ 2147483647 h 776"/>
                <a:gd name="T24" fmla="*/ 2147483647 w 391"/>
                <a:gd name="T25" fmla="*/ 2147483647 h 776"/>
                <a:gd name="T26" fmla="*/ 2147483647 w 391"/>
                <a:gd name="T27" fmla="*/ 2147483647 h 776"/>
                <a:gd name="T28" fmla="*/ 2147483647 w 391"/>
                <a:gd name="T29" fmla="*/ 2147483647 h 776"/>
                <a:gd name="T30" fmla="*/ 2147483647 w 391"/>
                <a:gd name="T31" fmla="*/ 2147483647 h 776"/>
                <a:gd name="T32" fmla="*/ 2147483647 w 391"/>
                <a:gd name="T33" fmla="*/ 2147483647 h 776"/>
                <a:gd name="T34" fmla="*/ 2147483647 w 391"/>
                <a:gd name="T35" fmla="*/ 0 h 776"/>
                <a:gd name="T36" fmla="*/ 2147483647 w 391"/>
                <a:gd name="T37" fmla="*/ 0 h 776"/>
                <a:gd name="T38" fmla="*/ 2147483647 w 391"/>
                <a:gd name="T39" fmla="*/ 0 h 776"/>
                <a:gd name="T40" fmla="*/ 2147483647 w 391"/>
                <a:gd name="T41" fmla="*/ 0 h 776"/>
                <a:gd name="T42" fmla="*/ 2147483647 w 391"/>
                <a:gd name="T43" fmla="*/ 0 h 776"/>
                <a:gd name="T44" fmla="*/ 2147483647 w 391"/>
                <a:gd name="T45" fmla="*/ 2147483647 h 776"/>
                <a:gd name="T46" fmla="*/ 2147483647 w 391"/>
                <a:gd name="T47" fmla="*/ 2147483647 h 776"/>
                <a:gd name="T48" fmla="*/ 2147483647 w 391"/>
                <a:gd name="T49" fmla="*/ 2147483647 h 776"/>
                <a:gd name="T50" fmla="*/ 2147483647 w 391"/>
                <a:gd name="T51" fmla="*/ 2147483647 h 776"/>
                <a:gd name="T52" fmla="*/ 2147483647 w 391"/>
                <a:gd name="T53" fmla="*/ 2147483647 h 776"/>
                <a:gd name="T54" fmla="*/ 2147483647 w 391"/>
                <a:gd name="T55" fmla="*/ 2147483647 h 776"/>
                <a:gd name="T56" fmla="*/ 2147483647 w 391"/>
                <a:gd name="T57" fmla="*/ 2147483647 h 776"/>
                <a:gd name="T58" fmla="*/ 2147483647 w 391"/>
                <a:gd name="T59" fmla="*/ 2147483647 h 776"/>
                <a:gd name="T60" fmla="*/ 2147483647 w 391"/>
                <a:gd name="T61" fmla="*/ 2147483647 h 776"/>
                <a:gd name="T62" fmla="*/ 2147483647 w 391"/>
                <a:gd name="T63" fmla="*/ 2147483647 h 776"/>
                <a:gd name="T64" fmla="*/ 2147483647 w 391"/>
                <a:gd name="T65" fmla="*/ 2147483647 h 776"/>
                <a:gd name="T66" fmla="*/ 2147483647 w 391"/>
                <a:gd name="T67" fmla="*/ 2147483647 h 776"/>
                <a:gd name="T68" fmla="*/ 2147483647 w 391"/>
                <a:gd name="T69" fmla="*/ 2147483647 h 776"/>
                <a:gd name="T70" fmla="*/ 2147483647 w 391"/>
                <a:gd name="T71" fmla="*/ 2147483647 h 776"/>
                <a:gd name="T72" fmla="*/ 2147483647 w 391"/>
                <a:gd name="T73" fmla="*/ 2147483647 h 776"/>
                <a:gd name="T74" fmla="*/ 2147483647 w 391"/>
                <a:gd name="T75" fmla="*/ 2147483647 h 776"/>
                <a:gd name="T76" fmla="*/ 0 w 391"/>
                <a:gd name="T77" fmla="*/ 2147483647 h 776"/>
                <a:gd name="T78" fmla="*/ 0 w 391"/>
                <a:gd name="T79" fmla="*/ 2147483647 h 776"/>
                <a:gd name="T80" fmla="*/ 0 w 391"/>
                <a:gd name="T81" fmla="*/ 2147483647 h 776"/>
                <a:gd name="T82" fmla="*/ 0 w 391"/>
                <a:gd name="T83" fmla="*/ 2147483647 h 776"/>
                <a:gd name="T84" fmla="*/ 0 w 391"/>
                <a:gd name="T85" fmla="*/ 2147483647 h 776"/>
                <a:gd name="T86" fmla="*/ 0 w 391"/>
                <a:gd name="T87" fmla="*/ 2147483647 h 776"/>
                <a:gd name="T88" fmla="*/ 2147483647 w 391"/>
                <a:gd name="T89" fmla="*/ 2147483647 h 776"/>
                <a:gd name="T90" fmla="*/ 2147483647 w 391"/>
                <a:gd name="T91" fmla="*/ 2147483647 h 776"/>
                <a:gd name="T92" fmla="*/ 2147483647 w 391"/>
                <a:gd name="T93" fmla="*/ 2147483647 h 776"/>
                <a:gd name="T94" fmla="*/ 2147483647 w 391"/>
                <a:gd name="T95" fmla="*/ 2147483647 h 7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1"/>
                <a:gd name="T145" fmla="*/ 0 h 776"/>
                <a:gd name="T146" fmla="*/ 391 w 391"/>
                <a:gd name="T147" fmla="*/ 776 h 77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 name="Freeform 28">
              <a:extLst>
                <a:ext uri="{FF2B5EF4-FFF2-40B4-BE49-F238E27FC236}">
                  <a16:creationId xmlns:a16="http://schemas.microsoft.com/office/drawing/2014/main" id="{D1A18B43-3CC1-9B3E-3003-B15B763F9927}"/>
                </a:ext>
              </a:extLst>
            </p:cNvPr>
            <p:cNvSpPr>
              <a:spLocks noChangeAspect="1"/>
            </p:cNvSpPr>
            <p:nvPr userDrawn="1"/>
          </p:nvSpPr>
          <p:spPr bwMode="gray">
            <a:xfrm>
              <a:off x="6564114" y="5263147"/>
              <a:ext cx="67155" cy="73163"/>
            </a:xfrm>
            <a:custGeom>
              <a:avLst/>
              <a:gdLst>
                <a:gd name="T0" fmla="*/ 2147483647 w 127"/>
                <a:gd name="T1" fmla="*/ 0 h 131"/>
                <a:gd name="T2" fmla="*/ 2147483647 w 127"/>
                <a:gd name="T3" fmla="*/ 0 h 131"/>
                <a:gd name="T4" fmla="*/ 2147483647 w 127"/>
                <a:gd name="T5" fmla="*/ 0 h 131"/>
                <a:gd name="T6" fmla="*/ 2147483647 w 127"/>
                <a:gd name="T7" fmla="*/ 2147483647 h 131"/>
                <a:gd name="T8" fmla="*/ 2147483647 w 127"/>
                <a:gd name="T9" fmla="*/ 2147483647 h 131"/>
                <a:gd name="T10" fmla="*/ 2147483647 w 127"/>
                <a:gd name="T11" fmla="*/ 2147483647 h 131"/>
                <a:gd name="T12" fmla="*/ 0 w 127"/>
                <a:gd name="T13" fmla="*/ 2147483647 h 131"/>
                <a:gd name="T14" fmla="*/ 0 w 127"/>
                <a:gd name="T15" fmla="*/ 2147483647 h 131"/>
                <a:gd name="T16" fmla="*/ 0 w 127"/>
                <a:gd name="T17" fmla="*/ 2147483647 h 131"/>
                <a:gd name="T18" fmla="*/ 0 w 127"/>
                <a:gd name="T19" fmla="*/ 2147483647 h 131"/>
                <a:gd name="T20" fmla="*/ 0 w 127"/>
                <a:gd name="T21" fmla="*/ 2147483647 h 131"/>
                <a:gd name="T22" fmla="*/ 0 w 127"/>
                <a:gd name="T23" fmla="*/ 0 h 131"/>
                <a:gd name="T24" fmla="*/ 0 w 127"/>
                <a:gd name="T25" fmla="*/ 0 h 131"/>
                <a:gd name="T26" fmla="*/ 0 w 127"/>
                <a:gd name="T27" fmla="*/ 0 h 131"/>
                <a:gd name="T28" fmla="*/ 0 w 127"/>
                <a:gd name="T29" fmla="*/ 0 h 131"/>
                <a:gd name="T30" fmla="*/ 2147483647 w 127"/>
                <a:gd name="T31" fmla="*/ 0 h 131"/>
                <a:gd name="T32" fmla="*/ 2147483647 w 127"/>
                <a:gd name="T33" fmla="*/ 0 h 131"/>
                <a:gd name="T34" fmla="*/ 2147483647 w 127"/>
                <a:gd name="T35" fmla="*/ 0 h 131"/>
                <a:gd name="T36" fmla="*/ 2147483647 w 127"/>
                <a:gd name="T37" fmla="*/ 0 h 131"/>
                <a:gd name="T38" fmla="*/ 2147483647 w 127"/>
                <a:gd name="T39" fmla="*/ 0 h 131"/>
                <a:gd name="T40" fmla="*/ 2147483647 w 127"/>
                <a:gd name="T41" fmla="*/ 0 h 131"/>
                <a:gd name="T42" fmla="*/ 2147483647 w 127"/>
                <a:gd name="T43" fmla="*/ 0 h 1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131"/>
                <a:gd name="T68" fmla="*/ 127 w 127"/>
                <a:gd name="T69" fmla="*/ 131 h 1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 name="Freeform 30">
              <a:extLst>
                <a:ext uri="{FF2B5EF4-FFF2-40B4-BE49-F238E27FC236}">
                  <a16:creationId xmlns:a16="http://schemas.microsoft.com/office/drawing/2014/main" id="{E78DB743-278C-AD06-8A23-C6E68EAB7D8B}"/>
                </a:ext>
              </a:extLst>
            </p:cNvPr>
            <p:cNvSpPr>
              <a:spLocks noChangeAspect="1"/>
            </p:cNvSpPr>
            <p:nvPr userDrawn="1"/>
          </p:nvSpPr>
          <p:spPr bwMode="gray">
            <a:xfrm>
              <a:off x="6508897" y="4830269"/>
              <a:ext cx="225344" cy="230157"/>
            </a:xfrm>
            <a:custGeom>
              <a:avLst/>
              <a:gdLst>
                <a:gd name="T0" fmla="*/ 2147483647 w 428"/>
                <a:gd name="T1" fmla="*/ 0 h 405"/>
                <a:gd name="T2" fmla="*/ 2147483647 w 428"/>
                <a:gd name="T3" fmla="*/ 0 h 405"/>
                <a:gd name="T4" fmla="*/ 2147483647 w 428"/>
                <a:gd name="T5" fmla="*/ 0 h 405"/>
                <a:gd name="T6" fmla="*/ 2147483647 w 428"/>
                <a:gd name="T7" fmla="*/ 0 h 405"/>
                <a:gd name="T8" fmla="*/ 2147483647 w 428"/>
                <a:gd name="T9" fmla="*/ 0 h 405"/>
                <a:gd name="T10" fmla="*/ 2147483647 w 428"/>
                <a:gd name="T11" fmla="*/ 0 h 405"/>
                <a:gd name="T12" fmla="*/ 2147483647 w 428"/>
                <a:gd name="T13" fmla="*/ 0 h 405"/>
                <a:gd name="T14" fmla="*/ 2147483647 w 428"/>
                <a:gd name="T15" fmla="*/ 2147483647 h 405"/>
                <a:gd name="T16" fmla="*/ 2147483647 w 428"/>
                <a:gd name="T17" fmla="*/ 2147483647 h 405"/>
                <a:gd name="T18" fmla="*/ 2147483647 w 428"/>
                <a:gd name="T19" fmla="*/ 2147483647 h 405"/>
                <a:gd name="T20" fmla="*/ 2147483647 w 428"/>
                <a:gd name="T21" fmla="*/ 2147483647 h 405"/>
                <a:gd name="T22" fmla="*/ 2147483647 w 428"/>
                <a:gd name="T23" fmla="*/ 2147483647 h 405"/>
                <a:gd name="T24" fmla="*/ 2147483647 w 428"/>
                <a:gd name="T25" fmla="*/ 2147483647 h 405"/>
                <a:gd name="T26" fmla="*/ 2147483647 w 428"/>
                <a:gd name="T27" fmla="*/ 2147483647 h 405"/>
                <a:gd name="T28" fmla="*/ 2147483647 w 428"/>
                <a:gd name="T29" fmla="*/ 2147483647 h 405"/>
                <a:gd name="T30" fmla="*/ 2147483647 w 428"/>
                <a:gd name="T31" fmla="*/ 2147483647 h 405"/>
                <a:gd name="T32" fmla="*/ 2147483647 w 428"/>
                <a:gd name="T33" fmla="*/ 2147483647 h 405"/>
                <a:gd name="T34" fmla="*/ 2147483647 w 428"/>
                <a:gd name="T35" fmla="*/ 2147483647 h 405"/>
                <a:gd name="T36" fmla="*/ 2147483647 w 428"/>
                <a:gd name="T37" fmla="*/ 2147483647 h 405"/>
                <a:gd name="T38" fmla="*/ 2147483647 w 428"/>
                <a:gd name="T39" fmla="*/ 2147483647 h 405"/>
                <a:gd name="T40" fmla="*/ 0 w 428"/>
                <a:gd name="T41" fmla="*/ 2147483647 h 405"/>
                <a:gd name="T42" fmla="*/ 0 w 428"/>
                <a:gd name="T43" fmla="*/ 2147483647 h 405"/>
                <a:gd name="T44" fmla="*/ 0 w 428"/>
                <a:gd name="T45" fmla="*/ 2147483647 h 405"/>
                <a:gd name="T46" fmla="*/ 0 w 428"/>
                <a:gd name="T47" fmla="*/ 2147483647 h 405"/>
                <a:gd name="T48" fmla="*/ 0 w 428"/>
                <a:gd name="T49" fmla="*/ 2147483647 h 405"/>
                <a:gd name="T50" fmla="*/ 0 w 428"/>
                <a:gd name="T51" fmla="*/ 2147483647 h 405"/>
                <a:gd name="T52" fmla="*/ 2147483647 w 428"/>
                <a:gd name="T53" fmla="*/ 2147483647 h 405"/>
                <a:gd name="T54" fmla="*/ 2147483647 w 428"/>
                <a:gd name="T55" fmla="*/ 2147483647 h 405"/>
                <a:gd name="T56" fmla="*/ 2147483647 w 428"/>
                <a:gd name="T57" fmla="*/ 2147483647 h 405"/>
                <a:gd name="T58" fmla="*/ 2147483647 w 428"/>
                <a:gd name="T59" fmla="*/ 2147483647 h 405"/>
                <a:gd name="T60" fmla="*/ 2147483647 w 428"/>
                <a:gd name="T61" fmla="*/ 2147483647 h 405"/>
                <a:gd name="T62" fmla="*/ 2147483647 w 428"/>
                <a:gd name="T63" fmla="*/ 2147483647 h 405"/>
                <a:gd name="T64" fmla="*/ 2147483647 w 428"/>
                <a:gd name="T65" fmla="*/ 2147483647 h 405"/>
                <a:gd name="T66" fmla="*/ 2147483647 w 428"/>
                <a:gd name="T67" fmla="*/ 2147483647 h 405"/>
                <a:gd name="T68" fmla="*/ 2147483647 w 428"/>
                <a:gd name="T69" fmla="*/ 2147483647 h 405"/>
                <a:gd name="T70" fmla="*/ 2147483647 w 428"/>
                <a:gd name="T71" fmla="*/ 2147483647 h 405"/>
                <a:gd name="T72" fmla="*/ 2147483647 w 428"/>
                <a:gd name="T73" fmla="*/ 2147483647 h 405"/>
                <a:gd name="T74" fmla="*/ 2147483647 w 428"/>
                <a:gd name="T75" fmla="*/ 2147483647 h 405"/>
                <a:gd name="T76" fmla="*/ 2147483647 w 428"/>
                <a:gd name="T77" fmla="*/ 2147483647 h 405"/>
                <a:gd name="T78" fmla="*/ 2147483647 w 428"/>
                <a:gd name="T79" fmla="*/ 2147483647 h 405"/>
                <a:gd name="T80" fmla="*/ 2147483647 w 428"/>
                <a:gd name="T81" fmla="*/ 2147483647 h 405"/>
                <a:gd name="T82" fmla="*/ 2147483647 w 428"/>
                <a:gd name="T83" fmla="*/ 2147483647 h 405"/>
                <a:gd name="T84" fmla="*/ 2147483647 w 428"/>
                <a:gd name="T85" fmla="*/ 2147483647 h 405"/>
                <a:gd name="T86" fmla="*/ 2147483647 w 428"/>
                <a:gd name="T87" fmla="*/ 2147483647 h 405"/>
                <a:gd name="T88" fmla="*/ 2147483647 w 428"/>
                <a:gd name="T89" fmla="*/ 2147483647 h 405"/>
                <a:gd name="T90" fmla="*/ 2147483647 w 428"/>
                <a:gd name="T91" fmla="*/ 2147483647 h 405"/>
                <a:gd name="T92" fmla="*/ 2147483647 w 428"/>
                <a:gd name="T93" fmla="*/ 2147483647 h 405"/>
                <a:gd name="T94" fmla="*/ 2147483647 w 428"/>
                <a:gd name="T95" fmla="*/ 2147483647 h 405"/>
                <a:gd name="T96" fmla="*/ 2147483647 w 428"/>
                <a:gd name="T97" fmla="*/ 0 h 405"/>
                <a:gd name="T98" fmla="*/ 2147483647 w 428"/>
                <a:gd name="T99" fmla="*/ 0 h 405"/>
                <a:gd name="T100" fmla="*/ 2147483647 w 428"/>
                <a:gd name="T101" fmla="*/ 0 h 405"/>
                <a:gd name="T102" fmla="*/ 2147483647 w 428"/>
                <a:gd name="T103" fmla="*/ 0 h 405"/>
                <a:gd name="T104" fmla="*/ 2147483647 w 428"/>
                <a:gd name="T105" fmla="*/ 0 h 405"/>
                <a:gd name="T106" fmla="*/ 2147483647 w 428"/>
                <a:gd name="T107" fmla="*/ 0 h 405"/>
                <a:gd name="T108" fmla="*/ 2147483647 w 428"/>
                <a:gd name="T109" fmla="*/ 0 h 405"/>
                <a:gd name="T110" fmla="*/ 2147483647 w 428"/>
                <a:gd name="T111" fmla="*/ 0 h 405"/>
                <a:gd name="T112" fmla="*/ 2147483647 w 428"/>
                <a:gd name="T113" fmla="*/ 0 h 405"/>
                <a:gd name="T114" fmla="*/ 2147483647 w 428"/>
                <a:gd name="T115" fmla="*/ 0 h 405"/>
                <a:gd name="T116" fmla="*/ 2147483647 w 428"/>
                <a:gd name="T117" fmla="*/ 0 h 405"/>
                <a:gd name="T118" fmla="*/ 2147483647 w 428"/>
                <a:gd name="T119" fmla="*/ 0 h 405"/>
                <a:gd name="T120" fmla="*/ 2147483647 w 428"/>
                <a:gd name="T121" fmla="*/ 0 h 405"/>
                <a:gd name="T122" fmla="*/ 2147483647 w 428"/>
                <a:gd name="T123" fmla="*/ 0 h 4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28"/>
                <a:gd name="T187" fmla="*/ 0 h 405"/>
                <a:gd name="T188" fmla="*/ 428 w 428"/>
                <a:gd name="T189" fmla="*/ 405 h 4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 name="Freeform 31">
              <a:extLst>
                <a:ext uri="{FF2B5EF4-FFF2-40B4-BE49-F238E27FC236}">
                  <a16:creationId xmlns:a16="http://schemas.microsoft.com/office/drawing/2014/main" id="{2140B490-0D0C-9CBC-06A8-3FD686BAD3EB}"/>
                </a:ext>
              </a:extLst>
            </p:cNvPr>
            <p:cNvSpPr>
              <a:spLocks noChangeAspect="1"/>
            </p:cNvSpPr>
            <p:nvPr userDrawn="1"/>
          </p:nvSpPr>
          <p:spPr bwMode="gray">
            <a:xfrm>
              <a:off x="6110442" y="4871424"/>
              <a:ext cx="392485" cy="411539"/>
            </a:xfrm>
            <a:custGeom>
              <a:avLst/>
              <a:gdLst>
                <a:gd name="T0" fmla="*/ 2147483647 w 734"/>
                <a:gd name="T1" fmla="*/ 0 h 722"/>
                <a:gd name="T2" fmla="*/ 2147483647 w 734"/>
                <a:gd name="T3" fmla="*/ 0 h 722"/>
                <a:gd name="T4" fmla="*/ 2147483647 w 734"/>
                <a:gd name="T5" fmla="*/ 0 h 722"/>
                <a:gd name="T6" fmla="*/ 2147483647 w 734"/>
                <a:gd name="T7" fmla="*/ 0 h 722"/>
                <a:gd name="T8" fmla="*/ 0 w 734"/>
                <a:gd name="T9" fmla="*/ 0 h 722"/>
                <a:gd name="T10" fmla="*/ 0 w 734"/>
                <a:gd name="T11" fmla="*/ 0 h 722"/>
                <a:gd name="T12" fmla="*/ 0 w 734"/>
                <a:gd name="T13" fmla="*/ 0 h 722"/>
                <a:gd name="T14" fmla="*/ 0 w 734"/>
                <a:gd name="T15" fmla="*/ 2147483647 h 722"/>
                <a:gd name="T16" fmla="*/ 0 w 734"/>
                <a:gd name="T17" fmla="*/ 2147483647 h 722"/>
                <a:gd name="T18" fmla="*/ 0 w 734"/>
                <a:gd name="T19" fmla="*/ 2147483647 h 722"/>
                <a:gd name="T20" fmla="*/ 2147483647 w 734"/>
                <a:gd name="T21" fmla="*/ 2147483647 h 722"/>
                <a:gd name="T22" fmla="*/ 2147483647 w 734"/>
                <a:gd name="T23" fmla="*/ 2147483647 h 722"/>
                <a:gd name="T24" fmla="*/ 2147483647 w 734"/>
                <a:gd name="T25" fmla="*/ 2147483647 h 722"/>
                <a:gd name="T26" fmla="*/ 2147483647 w 734"/>
                <a:gd name="T27" fmla="*/ 2147483647 h 722"/>
                <a:gd name="T28" fmla="*/ 2147483647 w 734"/>
                <a:gd name="T29" fmla="*/ 2147483647 h 722"/>
                <a:gd name="T30" fmla="*/ 2147483647 w 734"/>
                <a:gd name="T31" fmla="*/ 2147483647 h 722"/>
                <a:gd name="T32" fmla="*/ 2147483647 w 734"/>
                <a:gd name="T33" fmla="*/ 2147483647 h 722"/>
                <a:gd name="T34" fmla="*/ 2147483647 w 734"/>
                <a:gd name="T35" fmla="*/ 2147483647 h 722"/>
                <a:gd name="T36" fmla="*/ 2147483647 w 734"/>
                <a:gd name="T37" fmla="*/ 2147483647 h 722"/>
                <a:gd name="T38" fmla="*/ 2147483647 w 734"/>
                <a:gd name="T39" fmla="*/ 2147483647 h 722"/>
                <a:gd name="T40" fmla="*/ 2147483647 w 734"/>
                <a:gd name="T41" fmla="*/ 2147483647 h 722"/>
                <a:gd name="T42" fmla="*/ 2147483647 w 734"/>
                <a:gd name="T43" fmla="*/ 2147483647 h 722"/>
                <a:gd name="T44" fmla="*/ 2147483647 w 734"/>
                <a:gd name="T45" fmla="*/ 2147483647 h 722"/>
                <a:gd name="T46" fmla="*/ 2147483647 w 734"/>
                <a:gd name="T47" fmla="*/ 2147483647 h 722"/>
                <a:gd name="T48" fmla="*/ 2147483647 w 734"/>
                <a:gd name="T49" fmla="*/ 2147483647 h 722"/>
                <a:gd name="T50" fmla="*/ 2147483647 w 734"/>
                <a:gd name="T51" fmla="*/ 2147483647 h 722"/>
                <a:gd name="T52" fmla="*/ 2147483647 w 734"/>
                <a:gd name="T53" fmla="*/ 2147483647 h 722"/>
                <a:gd name="T54" fmla="*/ 2147483647 w 734"/>
                <a:gd name="T55" fmla="*/ 2147483647 h 722"/>
                <a:gd name="T56" fmla="*/ 2147483647 w 734"/>
                <a:gd name="T57" fmla="*/ 2147483647 h 722"/>
                <a:gd name="T58" fmla="*/ 2147483647 w 734"/>
                <a:gd name="T59" fmla="*/ 2147483647 h 722"/>
                <a:gd name="T60" fmla="*/ 2147483647 w 734"/>
                <a:gd name="T61" fmla="*/ 2147483647 h 722"/>
                <a:gd name="T62" fmla="*/ 2147483647 w 734"/>
                <a:gd name="T63" fmla="*/ 2147483647 h 722"/>
                <a:gd name="T64" fmla="*/ 2147483647 w 734"/>
                <a:gd name="T65" fmla="*/ 2147483647 h 722"/>
                <a:gd name="T66" fmla="*/ 2147483647 w 734"/>
                <a:gd name="T67" fmla="*/ 2147483647 h 722"/>
                <a:gd name="T68" fmla="*/ 2147483647 w 734"/>
                <a:gd name="T69" fmla="*/ 0 h 722"/>
                <a:gd name="T70" fmla="*/ 2147483647 w 734"/>
                <a:gd name="T71" fmla="*/ 2147483647 h 722"/>
                <a:gd name="T72" fmla="*/ 2147483647 w 734"/>
                <a:gd name="T73" fmla="*/ 2147483647 h 722"/>
                <a:gd name="T74" fmla="*/ 2147483647 w 734"/>
                <a:gd name="T75" fmla="*/ 0 h 722"/>
                <a:gd name="T76" fmla="*/ 2147483647 w 734"/>
                <a:gd name="T77" fmla="*/ 0 h 722"/>
                <a:gd name="T78" fmla="*/ 2147483647 w 734"/>
                <a:gd name="T79" fmla="*/ 0 h 722"/>
                <a:gd name="T80" fmla="*/ 2147483647 w 734"/>
                <a:gd name="T81" fmla="*/ 0 h 722"/>
                <a:gd name="T82" fmla="*/ 2147483647 w 734"/>
                <a:gd name="T83" fmla="*/ 0 h 722"/>
                <a:gd name="T84" fmla="*/ 2147483647 w 734"/>
                <a:gd name="T85" fmla="*/ 0 h 722"/>
                <a:gd name="T86" fmla="*/ 2147483647 w 734"/>
                <a:gd name="T87" fmla="*/ 0 h 722"/>
                <a:gd name="T88" fmla="*/ 2147483647 w 734"/>
                <a:gd name="T89" fmla="*/ 0 h 722"/>
                <a:gd name="T90" fmla="*/ 2147483647 w 734"/>
                <a:gd name="T91" fmla="*/ 0 h 72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34"/>
                <a:gd name="T139" fmla="*/ 0 h 722"/>
                <a:gd name="T140" fmla="*/ 734 w 734"/>
                <a:gd name="T141" fmla="*/ 722 h 72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 name="Freeform 3">
              <a:extLst>
                <a:ext uri="{FF2B5EF4-FFF2-40B4-BE49-F238E27FC236}">
                  <a16:creationId xmlns:a16="http://schemas.microsoft.com/office/drawing/2014/main" id="{9E0973C6-B4F3-A15D-08BB-8F242ED19904}"/>
                </a:ext>
              </a:extLst>
            </p:cNvPr>
            <p:cNvSpPr>
              <a:spLocks noChangeAspect="1"/>
            </p:cNvSpPr>
            <p:nvPr userDrawn="1"/>
          </p:nvSpPr>
          <p:spPr bwMode="gray">
            <a:xfrm>
              <a:off x="5677663" y="3991950"/>
              <a:ext cx="131326" cy="205770"/>
            </a:xfrm>
            <a:custGeom>
              <a:avLst/>
              <a:gdLst>
                <a:gd name="T0" fmla="*/ 2147483647 w 242"/>
                <a:gd name="T1" fmla="*/ 2147483647 h 356"/>
                <a:gd name="T2" fmla="*/ 2147483647 w 242"/>
                <a:gd name="T3" fmla="*/ 2147483647 h 356"/>
                <a:gd name="T4" fmla="*/ 2147483647 w 242"/>
                <a:gd name="T5" fmla="*/ 2147483647 h 356"/>
                <a:gd name="T6" fmla="*/ 2147483647 w 242"/>
                <a:gd name="T7" fmla="*/ 2147483647 h 356"/>
                <a:gd name="T8" fmla="*/ 2147483647 w 242"/>
                <a:gd name="T9" fmla="*/ 2147483647 h 356"/>
                <a:gd name="T10" fmla="*/ 2147483647 w 242"/>
                <a:gd name="T11" fmla="*/ 2147483647 h 356"/>
                <a:gd name="T12" fmla="*/ 2147483647 w 242"/>
                <a:gd name="T13" fmla="*/ 0 h 356"/>
                <a:gd name="T14" fmla="*/ 2147483647 w 242"/>
                <a:gd name="T15" fmla="*/ 0 h 356"/>
                <a:gd name="T16" fmla="*/ 2147483647 w 242"/>
                <a:gd name="T17" fmla="*/ 0 h 356"/>
                <a:gd name="T18" fmla="*/ 2147483647 w 242"/>
                <a:gd name="T19" fmla="*/ 0 h 356"/>
                <a:gd name="T20" fmla="*/ 2147483647 w 242"/>
                <a:gd name="T21" fmla="*/ 0 h 356"/>
                <a:gd name="T22" fmla="*/ 2147483647 w 242"/>
                <a:gd name="T23" fmla="*/ 0 h 356"/>
                <a:gd name="T24" fmla="*/ 2147483647 w 242"/>
                <a:gd name="T25" fmla="*/ 0 h 356"/>
                <a:gd name="T26" fmla="*/ 2147483647 w 242"/>
                <a:gd name="T27" fmla="*/ 0 h 356"/>
                <a:gd name="T28" fmla="*/ 2147483647 w 242"/>
                <a:gd name="T29" fmla="*/ 0 h 356"/>
                <a:gd name="T30" fmla="*/ 2147483647 w 242"/>
                <a:gd name="T31" fmla="*/ 0 h 356"/>
                <a:gd name="T32" fmla="*/ 2147483647 w 242"/>
                <a:gd name="T33" fmla="*/ 0 h 356"/>
                <a:gd name="T34" fmla="*/ 0 w 242"/>
                <a:gd name="T35" fmla="*/ 0 h 356"/>
                <a:gd name="T36" fmla="*/ 0 w 242"/>
                <a:gd name="T37" fmla="*/ 0 h 356"/>
                <a:gd name="T38" fmla="*/ 0 w 242"/>
                <a:gd name="T39" fmla="*/ 0 h 356"/>
                <a:gd name="T40" fmla="*/ 0 w 242"/>
                <a:gd name="T41" fmla="*/ 0 h 356"/>
                <a:gd name="T42" fmla="*/ 0 w 242"/>
                <a:gd name="T43" fmla="*/ 0 h 356"/>
                <a:gd name="T44" fmla="*/ 0 w 242"/>
                <a:gd name="T45" fmla="*/ 2147483647 h 356"/>
                <a:gd name="T46" fmla="*/ 0 w 242"/>
                <a:gd name="T47" fmla="*/ 2147483647 h 356"/>
                <a:gd name="T48" fmla="*/ 0 w 242"/>
                <a:gd name="T49" fmla="*/ 2147483647 h 356"/>
                <a:gd name="T50" fmla="*/ 0 w 242"/>
                <a:gd name="T51" fmla="*/ 2147483647 h 356"/>
                <a:gd name="T52" fmla="*/ 0 w 242"/>
                <a:gd name="T53" fmla="*/ 2147483647 h 356"/>
                <a:gd name="T54" fmla="*/ 0 w 242"/>
                <a:gd name="T55" fmla="*/ 2147483647 h 356"/>
                <a:gd name="T56" fmla="*/ 0 w 242"/>
                <a:gd name="T57" fmla="*/ 2147483647 h 356"/>
                <a:gd name="T58" fmla="*/ 0 w 242"/>
                <a:gd name="T59" fmla="*/ 2147483647 h 356"/>
                <a:gd name="T60" fmla="*/ 0 w 242"/>
                <a:gd name="T61" fmla="*/ 2147483647 h 356"/>
                <a:gd name="T62" fmla="*/ 0 w 242"/>
                <a:gd name="T63" fmla="*/ 2147483647 h 356"/>
                <a:gd name="T64" fmla="*/ 0 w 242"/>
                <a:gd name="T65" fmla="*/ 2147483647 h 356"/>
                <a:gd name="T66" fmla="*/ 0 w 242"/>
                <a:gd name="T67" fmla="*/ 2147483647 h 356"/>
                <a:gd name="T68" fmla="*/ 0 w 242"/>
                <a:gd name="T69" fmla="*/ 2147483647 h 356"/>
                <a:gd name="T70" fmla="*/ 0 w 242"/>
                <a:gd name="T71" fmla="*/ 2147483647 h 356"/>
                <a:gd name="T72" fmla="*/ 0 w 242"/>
                <a:gd name="T73" fmla="*/ 2147483647 h 356"/>
                <a:gd name="T74" fmla="*/ 0 w 242"/>
                <a:gd name="T75" fmla="*/ 2147483647 h 356"/>
                <a:gd name="T76" fmla="*/ 0 w 242"/>
                <a:gd name="T77" fmla="*/ 2147483647 h 356"/>
                <a:gd name="T78" fmla="*/ 0 w 242"/>
                <a:gd name="T79" fmla="*/ 2147483647 h 356"/>
                <a:gd name="T80" fmla="*/ 0 w 242"/>
                <a:gd name="T81" fmla="*/ 2147483647 h 356"/>
                <a:gd name="T82" fmla="*/ 2147483647 w 242"/>
                <a:gd name="T83" fmla="*/ 2147483647 h 356"/>
                <a:gd name="T84" fmla="*/ 2147483647 w 242"/>
                <a:gd name="T85" fmla="*/ 2147483647 h 356"/>
                <a:gd name="T86" fmla="*/ 2147483647 w 242"/>
                <a:gd name="T87" fmla="*/ 2147483647 h 356"/>
                <a:gd name="T88" fmla="*/ 2147483647 w 242"/>
                <a:gd name="T89" fmla="*/ 2147483647 h 356"/>
                <a:gd name="T90" fmla="*/ 2147483647 w 242"/>
                <a:gd name="T91" fmla="*/ 2147483647 h 356"/>
                <a:gd name="T92" fmla="*/ 2147483647 w 242"/>
                <a:gd name="T93" fmla="*/ 2147483647 h 356"/>
                <a:gd name="T94" fmla="*/ 2147483647 w 242"/>
                <a:gd name="T95" fmla="*/ 2147483647 h 35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2"/>
                <a:gd name="T145" fmla="*/ 0 h 356"/>
                <a:gd name="T146" fmla="*/ 242 w 242"/>
                <a:gd name="T147" fmla="*/ 356 h 35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 name="Freeform 4">
              <a:extLst>
                <a:ext uri="{FF2B5EF4-FFF2-40B4-BE49-F238E27FC236}">
                  <a16:creationId xmlns:a16="http://schemas.microsoft.com/office/drawing/2014/main" id="{22495665-FFFD-CAFA-B26E-E18CB9FAC92B}"/>
                </a:ext>
              </a:extLst>
            </p:cNvPr>
            <p:cNvSpPr>
              <a:spLocks noChangeAspect="1"/>
            </p:cNvSpPr>
            <p:nvPr userDrawn="1"/>
          </p:nvSpPr>
          <p:spPr bwMode="gray">
            <a:xfrm>
              <a:off x="5619461" y="3870012"/>
              <a:ext cx="220867" cy="173761"/>
            </a:xfrm>
            <a:custGeom>
              <a:avLst/>
              <a:gdLst>
                <a:gd name="T0" fmla="*/ 2147483647 w 417"/>
                <a:gd name="T1" fmla="*/ 0 h 307"/>
                <a:gd name="T2" fmla="*/ 2147483647 w 417"/>
                <a:gd name="T3" fmla="*/ 0 h 307"/>
                <a:gd name="T4" fmla="*/ 2147483647 w 417"/>
                <a:gd name="T5" fmla="*/ 2147483647 h 307"/>
                <a:gd name="T6" fmla="*/ 2147483647 w 417"/>
                <a:gd name="T7" fmla="*/ 2147483647 h 307"/>
                <a:gd name="T8" fmla="*/ 2147483647 w 417"/>
                <a:gd name="T9" fmla="*/ 2147483647 h 307"/>
                <a:gd name="T10" fmla="*/ 0 w 417"/>
                <a:gd name="T11" fmla="*/ 2147483647 h 307"/>
                <a:gd name="T12" fmla="*/ 0 w 417"/>
                <a:gd name="T13" fmla="*/ 2147483647 h 307"/>
                <a:gd name="T14" fmla="*/ 0 w 417"/>
                <a:gd name="T15" fmla="*/ 2147483647 h 307"/>
                <a:gd name="T16" fmla="*/ 0 w 417"/>
                <a:gd name="T17" fmla="*/ 2147483647 h 307"/>
                <a:gd name="T18" fmla="*/ 0 w 417"/>
                <a:gd name="T19" fmla="*/ 2147483647 h 307"/>
                <a:gd name="T20" fmla="*/ 0 w 417"/>
                <a:gd name="T21" fmla="*/ 2147483647 h 307"/>
                <a:gd name="T22" fmla="*/ 0 w 417"/>
                <a:gd name="T23" fmla="*/ 2147483647 h 307"/>
                <a:gd name="T24" fmla="*/ 0 w 417"/>
                <a:gd name="T25" fmla="*/ 2147483647 h 307"/>
                <a:gd name="T26" fmla="*/ 0 w 417"/>
                <a:gd name="T27" fmla="*/ 2147483647 h 307"/>
                <a:gd name="T28" fmla="*/ 0 w 417"/>
                <a:gd name="T29" fmla="*/ 2147483647 h 307"/>
                <a:gd name="T30" fmla="*/ 2147483647 w 417"/>
                <a:gd name="T31" fmla="*/ 2147483647 h 307"/>
                <a:gd name="T32" fmla="*/ 2147483647 w 417"/>
                <a:gd name="T33" fmla="*/ 2147483647 h 307"/>
                <a:gd name="T34" fmla="*/ 2147483647 w 417"/>
                <a:gd name="T35" fmla="*/ 2147483647 h 307"/>
                <a:gd name="T36" fmla="*/ 2147483647 w 417"/>
                <a:gd name="T37" fmla="*/ 2147483647 h 307"/>
                <a:gd name="T38" fmla="*/ 2147483647 w 417"/>
                <a:gd name="T39" fmla="*/ 2147483647 h 307"/>
                <a:gd name="T40" fmla="*/ 2147483647 w 417"/>
                <a:gd name="T41" fmla="*/ 2147483647 h 307"/>
                <a:gd name="T42" fmla="*/ 2147483647 w 417"/>
                <a:gd name="T43" fmla="*/ 2147483647 h 307"/>
                <a:gd name="T44" fmla="*/ 2147483647 w 417"/>
                <a:gd name="T45" fmla="*/ 2147483647 h 307"/>
                <a:gd name="T46" fmla="*/ 2147483647 w 417"/>
                <a:gd name="T47" fmla="*/ 2147483647 h 307"/>
                <a:gd name="T48" fmla="*/ 2147483647 w 417"/>
                <a:gd name="T49" fmla="*/ 2147483647 h 307"/>
                <a:gd name="T50" fmla="*/ 2147483647 w 417"/>
                <a:gd name="T51" fmla="*/ 2147483647 h 307"/>
                <a:gd name="T52" fmla="*/ 2147483647 w 417"/>
                <a:gd name="T53" fmla="*/ 2147483647 h 307"/>
                <a:gd name="T54" fmla="*/ 2147483647 w 417"/>
                <a:gd name="T55" fmla="*/ 2147483647 h 307"/>
                <a:gd name="T56" fmla="*/ 2147483647 w 417"/>
                <a:gd name="T57" fmla="*/ 2147483647 h 307"/>
                <a:gd name="T58" fmla="*/ 2147483647 w 417"/>
                <a:gd name="T59" fmla="*/ 2147483647 h 307"/>
                <a:gd name="T60" fmla="*/ 2147483647 w 417"/>
                <a:gd name="T61" fmla="*/ 2147483647 h 307"/>
                <a:gd name="T62" fmla="*/ 2147483647 w 417"/>
                <a:gd name="T63" fmla="*/ 2147483647 h 307"/>
                <a:gd name="T64" fmla="*/ 2147483647 w 417"/>
                <a:gd name="T65" fmla="*/ 2147483647 h 307"/>
                <a:gd name="T66" fmla="*/ 2147483647 w 417"/>
                <a:gd name="T67" fmla="*/ 2147483647 h 307"/>
                <a:gd name="T68" fmla="*/ 2147483647 w 417"/>
                <a:gd name="T69" fmla="*/ 2147483647 h 307"/>
                <a:gd name="T70" fmla="*/ 2147483647 w 417"/>
                <a:gd name="T71" fmla="*/ 2147483647 h 307"/>
                <a:gd name="T72" fmla="*/ 2147483647 w 417"/>
                <a:gd name="T73" fmla="*/ 2147483647 h 307"/>
                <a:gd name="T74" fmla="*/ 2147483647 w 417"/>
                <a:gd name="T75" fmla="*/ 2147483647 h 307"/>
                <a:gd name="T76" fmla="*/ 2147483647 w 417"/>
                <a:gd name="T77" fmla="*/ 2147483647 h 307"/>
                <a:gd name="T78" fmla="*/ 2147483647 w 417"/>
                <a:gd name="T79" fmla="*/ 2147483647 h 307"/>
                <a:gd name="T80" fmla="*/ 2147483647 w 417"/>
                <a:gd name="T81" fmla="*/ 2147483647 h 307"/>
                <a:gd name="T82" fmla="*/ 2147483647 w 417"/>
                <a:gd name="T83" fmla="*/ 2147483647 h 307"/>
                <a:gd name="T84" fmla="*/ 2147483647 w 417"/>
                <a:gd name="T85" fmla="*/ 2147483647 h 307"/>
                <a:gd name="T86" fmla="*/ 2147483647 w 417"/>
                <a:gd name="T87" fmla="*/ 0 h 307"/>
                <a:gd name="T88" fmla="*/ 2147483647 w 417"/>
                <a:gd name="T89" fmla="*/ 0 h 307"/>
                <a:gd name="T90" fmla="*/ 2147483647 w 417"/>
                <a:gd name="T91" fmla="*/ 0 h 307"/>
                <a:gd name="T92" fmla="*/ 2147483647 w 417"/>
                <a:gd name="T93" fmla="*/ 0 h 30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7"/>
                <a:gd name="T142" fmla="*/ 0 h 307"/>
                <a:gd name="T143" fmla="*/ 417 w 417"/>
                <a:gd name="T144" fmla="*/ 307 h 30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 name="Freeform 5">
              <a:extLst>
                <a:ext uri="{FF2B5EF4-FFF2-40B4-BE49-F238E27FC236}">
                  <a16:creationId xmlns:a16="http://schemas.microsoft.com/office/drawing/2014/main" id="{B58D7A6D-B4EF-7AB3-DEF2-B2A44AB7D4A9}"/>
                </a:ext>
              </a:extLst>
            </p:cNvPr>
            <p:cNvSpPr>
              <a:spLocks noChangeAspect="1"/>
            </p:cNvSpPr>
            <p:nvPr userDrawn="1"/>
          </p:nvSpPr>
          <p:spPr bwMode="gray">
            <a:xfrm>
              <a:off x="6016424" y="3940127"/>
              <a:ext cx="223851" cy="350570"/>
            </a:xfrm>
            <a:custGeom>
              <a:avLst/>
              <a:gdLst>
                <a:gd name="T0" fmla="*/ 2147483647 w 420"/>
                <a:gd name="T1" fmla="*/ 2147483647 h 615"/>
                <a:gd name="T2" fmla="*/ 2147483647 w 420"/>
                <a:gd name="T3" fmla="*/ 2147483647 h 615"/>
                <a:gd name="T4" fmla="*/ 2147483647 w 420"/>
                <a:gd name="T5" fmla="*/ 2147483647 h 615"/>
                <a:gd name="T6" fmla="*/ 2147483647 w 420"/>
                <a:gd name="T7" fmla="*/ 2147483647 h 615"/>
                <a:gd name="T8" fmla="*/ 2147483647 w 420"/>
                <a:gd name="T9" fmla="*/ 2147483647 h 615"/>
                <a:gd name="T10" fmla="*/ 2147483647 w 420"/>
                <a:gd name="T11" fmla="*/ 2147483647 h 615"/>
                <a:gd name="T12" fmla="*/ 2147483647 w 420"/>
                <a:gd name="T13" fmla="*/ 2147483647 h 615"/>
                <a:gd name="T14" fmla="*/ 2147483647 w 420"/>
                <a:gd name="T15" fmla="*/ 2147483647 h 615"/>
                <a:gd name="T16" fmla="*/ 0 w 420"/>
                <a:gd name="T17" fmla="*/ 2147483647 h 615"/>
                <a:gd name="T18" fmla="*/ 0 w 420"/>
                <a:gd name="T19" fmla="*/ 2147483647 h 615"/>
                <a:gd name="T20" fmla="*/ 0 w 420"/>
                <a:gd name="T21" fmla="*/ 2147483647 h 615"/>
                <a:gd name="T22" fmla="*/ 0 w 420"/>
                <a:gd name="T23" fmla="*/ 2147483647 h 615"/>
                <a:gd name="T24" fmla="*/ 0 w 420"/>
                <a:gd name="T25" fmla="*/ 2147483647 h 615"/>
                <a:gd name="T26" fmla="*/ 0 w 420"/>
                <a:gd name="T27" fmla="*/ 2147483647 h 615"/>
                <a:gd name="T28" fmla="*/ 2147483647 w 420"/>
                <a:gd name="T29" fmla="*/ 2147483647 h 615"/>
                <a:gd name="T30" fmla="*/ 2147483647 w 420"/>
                <a:gd name="T31" fmla="*/ 2147483647 h 615"/>
                <a:gd name="T32" fmla="*/ 2147483647 w 420"/>
                <a:gd name="T33" fmla="*/ 2147483647 h 615"/>
                <a:gd name="T34" fmla="*/ 2147483647 w 420"/>
                <a:gd name="T35" fmla="*/ 2147483647 h 615"/>
                <a:gd name="T36" fmla="*/ 2147483647 w 420"/>
                <a:gd name="T37" fmla="*/ 2147483647 h 615"/>
                <a:gd name="T38" fmla="*/ 2147483647 w 420"/>
                <a:gd name="T39" fmla="*/ 2147483647 h 615"/>
                <a:gd name="T40" fmla="*/ 2147483647 w 420"/>
                <a:gd name="T41" fmla="*/ 2147483647 h 615"/>
                <a:gd name="T42" fmla="*/ 2147483647 w 420"/>
                <a:gd name="T43" fmla="*/ 2147483647 h 615"/>
                <a:gd name="T44" fmla="*/ 2147483647 w 420"/>
                <a:gd name="T45" fmla="*/ 2147483647 h 615"/>
                <a:gd name="T46" fmla="*/ 2147483647 w 420"/>
                <a:gd name="T47" fmla="*/ 2147483647 h 615"/>
                <a:gd name="T48" fmla="*/ 2147483647 w 420"/>
                <a:gd name="T49" fmla="*/ 2147483647 h 615"/>
                <a:gd name="T50" fmla="*/ 2147483647 w 420"/>
                <a:gd name="T51" fmla="*/ 2147483647 h 615"/>
                <a:gd name="T52" fmla="*/ 2147483647 w 420"/>
                <a:gd name="T53" fmla="*/ 0 h 615"/>
                <a:gd name="T54" fmla="*/ 2147483647 w 420"/>
                <a:gd name="T55" fmla="*/ 0 h 615"/>
                <a:gd name="T56" fmla="*/ 2147483647 w 420"/>
                <a:gd name="T57" fmla="*/ 0 h 615"/>
                <a:gd name="T58" fmla="*/ 2147483647 w 420"/>
                <a:gd name="T59" fmla="*/ 0 h 615"/>
                <a:gd name="T60" fmla="*/ 2147483647 w 420"/>
                <a:gd name="T61" fmla="*/ 0 h 615"/>
                <a:gd name="T62" fmla="*/ 2147483647 w 420"/>
                <a:gd name="T63" fmla="*/ 0 h 615"/>
                <a:gd name="T64" fmla="*/ 2147483647 w 420"/>
                <a:gd name="T65" fmla="*/ 2147483647 h 615"/>
                <a:gd name="T66" fmla="*/ 2147483647 w 420"/>
                <a:gd name="T67" fmla="*/ 2147483647 h 615"/>
                <a:gd name="T68" fmla="*/ 2147483647 w 420"/>
                <a:gd name="T69" fmla="*/ 2147483647 h 615"/>
                <a:gd name="T70" fmla="*/ 2147483647 w 420"/>
                <a:gd name="T71" fmla="*/ 2147483647 h 615"/>
                <a:gd name="T72" fmla="*/ 2147483647 w 420"/>
                <a:gd name="T73" fmla="*/ 2147483647 h 615"/>
                <a:gd name="T74" fmla="*/ 2147483647 w 420"/>
                <a:gd name="T75" fmla="*/ 2147483647 h 615"/>
                <a:gd name="T76" fmla="*/ 2147483647 w 420"/>
                <a:gd name="T77" fmla="*/ 2147483647 h 615"/>
                <a:gd name="T78" fmla="*/ 2147483647 w 420"/>
                <a:gd name="T79" fmla="*/ 2147483647 h 615"/>
                <a:gd name="T80" fmla="*/ 2147483647 w 420"/>
                <a:gd name="T81" fmla="*/ 2147483647 h 615"/>
                <a:gd name="T82" fmla="*/ 2147483647 w 420"/>
                <a:gd name="T83" fmla="*/ 2147483647 h 615"/>
                <a:gd name="T84" fmla="*/ 2147483647 w 420"/>
                <a:gd name="T85" fmla="*/ 2147483647 h 615"/>
                <a:gd name="T86" fmla="*/ 2147483647 w 420"/>
                <a:gd name="T87" fmla="*/ 2147483647 h 615"/>
                <a:gd name="T88" fmla="*/ 2147483647 w 420"/>
                <a:gd name="T89" fmla="*/ 2147483647 h 615"/>
                <a:gd name="T90" fmla="*/ 2147483647 w 420"/>
                <a:gd name="T91" fmla="*/ 2147483647 h 615"/>
                <a:gd name="T92" fmla="*/ 2147483647 w 420"/>
                <a:gd name="T93" fmla="*/ 2147483647 h 615"/>
                <a:gd name="T94" fmla="*/ 2147483647 w 420"/>
                <a:gd name="T95" fmla="*/ 2147483647 h 615"/>
                <a:gd name="T96" fmla="*/ 2147483647 w 420"/>
                <a:gd name="T97" fmla="*/ 2147483647 h 615"/>
                <a:gd name="T98" fmla="*/ 2147483647 w 420"/>
                <a:gd name="T99" fmla="*/ 2147483647 h 6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20"/>
                <a:gd name="T151" fmla="*/ 0 h 615"/>
                <a:gd name="T152" fmla="*/ 420 w 420"/>
                <a:gd name="T153" fmla="*/ 615 h 61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 name="Freeform 6">
              <a:extLst>
                <a:ext uri="{FF2B5EF4-FFF2-40B4-BE49-F238E27FC236}">
                  <a16:creationId xmlns:a16="http://schemas.microsoft.com/office/drawing/2014/main" id="{00063A2F-AB0F-5096-7CFF-C51324DF803E}"/>
                </a:ext>
              </a:extLst>
            </p:cNvPr>
            <p:cNvSpPr>
              <a:spLocks noChangeAspect="1"/>
            </p:cNvSpPr>
            <p:nvPr userDrawn="1"/>
          </p:nvSpPr>
          <p:spPr bwMode="gray">
            <a:xfrm>
              <a:off x="5792573" y="3950796"/>
              <a:ext cx="88049" cy="193575"/>
            </a:xfrm>
            <a:custGeom>
              <a:avLst/>
              <a:gdLst>
                <a:gd name="T0" fmla="*/ 2147483647 w 166"/>
                <a:gd name="T1" fmla="*/ 0 h 340"/>
                <a:gd name="T2" fmla="*/ 2147483647 w 166"/>
                <a:gd name="T3" fmla="*/ 0 h 340"/>
                <a:gd name="T4" fmla="*/ 2147483647 w 166"/>
                <a:gd name="T5" fmla="*/ 0 h 340"/>
                <a:gd name="T6" fmla="*/ 2147483647 w 166"/>
                <a:gd name="T7" fmla="*/ 0 h 340"/>
                <a:gd name="T8" fmla="*/ 2147483647 w 166"/>
                <a:gd name="T9" fmla="*/ 0 h 340"/>
                <a:gd name="T10" fmla="*/ 2147483647 w 166"/>
                <a:gd name="T11" fmla="*/ 0 h 340"/>
                <a:gd name="T12" fmla="*/ 2147483647 w 166"/>
                <a:gd name="T13" fmla="*/ 0 h 340"/>
                <a:gd name="T14" fmla="*/ 2147483647 w 166"/>
                <a:gd name="T15" fmla="*/ 0 h 340"/>
                <a:gd name="T16" fmla="*/ 2147483647 w 166"/>
                <a:gd name="T17" fmla="*/ 0 h 340"/>
                <a:gd name="T18" fmla="*/ 2147483647 w 166"/>
                <a:gd name="T19" fmla="*/ 0 h 340"/>
                <a:gd name="T20" fmla="*/ 2147483647 w 166"/>
                <a:gd name="T21" fmla="*/ 0 h 340"/>
                <a:gd name="T22" fmla="*/ 0 w 166"/>
                <a:gd name="T23" fmla="*/ 0 h 340"/>
                <a:gd name="T24" fmla="*/ 0 w 166"/>
                <a:gd name="T25" fmla="*/ 0 h 340"/>
                <a:gd name="T26" fmla="*/ 0 w 166"/>
                <a:gd name="T27" fmla="*/ 0 h 340"/>
                <a:gd name="T28" fmla="*/ 0 w 166"/>
                <a:gd name="T29" fmla="*/ 0 h 340"/>
                <a:gd name="T30" fmla="*/ 0 w 166"/>
                <a:gd name="T31" fmla="*/ 0 h 340"/>
                <a:gd name="T32" fmla="*/ 0 w 166"/>
                <a:gd name="T33" fmla="*/ 2147483647 h 340"/>
                <a:gd name="T34" fmla="*/ 0 w 166"/>
                <a:gd name="T35" fmla="*/ 2147483647 h 340"/>
                <a:gd name="T36" fmla="*/ 0 w 166"/>
                <a:gd name="T37" fmla="*/ 2147483647 h 340"/>
                <a:gd name="T38" fmla="*/ 0 w 166"/>
                <a:gd name="T39" fmla="*/ 2147483647 h 340"/>
                <a:gd name="T40" fmla="*/ 0 w 166"/>
                <a:gd name="T41" fmla="*/ 2147483647 h 340"/>
                <a:gd name="T42" fmla="*/ 0 w 166"/>
                <a:gd name="T43" fmla="*/ 2147483647 h 340"/>
                <a:gd name="T44" fmla="*/ 2147483647 w 166"/>
                <a:gd name="T45" fmla="*/ 2147483647 h 340"/>
                <a:gd name="T46" fmla="*/ 2147483647 w 166"/>
                <a:gd name="T47" fmla="*/ 2147483647 h 340"/>
                <a:gd name="T48" fmla="*/ 2147483647 w 166"/>
                <a:gd name="T49" fmla="*/ 2147483647 h 340"/>
                <a:gd name="T50" fmla="*/ 2147483647 w 166"/>
                <a:gd name="T51" fmla="*/ 2147483647 h 340"/>
                <a:gd name="T52" fmla="*/ 2147483647 w 166"/>
                <a:gd name="T53" fmla="*/ 2147483647 h 340"/>
                <a:gd name="T54" fmla="*/ 2147483647 w 166"/>
                <a:gd name="T55" fmla="*/ 2147483647 h 340"/>
                <a:gd name="T56" fmla="*/ 2147483647 w 166"/>
                <a:gd name="T57" fmla="*/ 2147483647 h 340"/>
                <a:gd name="T58" fmla="*/ 2147483647 w 166"/>
                <a:gd name="T59" fmla="*/ 2147483647 h 340"/>
                <a:gd name="T60" fmla="*/ 2147483647 w 166"/>
                <a:gd name="T61" fmla="*/ 2147483647 h 340"/>
                <a:gd name="T62" fmla="*/ 2147483647 w 166"/>
                <a:gd name="T63" fmla="*/ 2147483647 h 340"/>
                <a:gd name="T64" fmla="*/ 2147483647 w 166"/>
                <a:gd name="T65" fmla="*/ 2147483647 h 340"/>
                <a:gd name="T66" fmla="*/ 2147483647 w 166"/>
                <a:gd name="T67" fmla="*/ 2147483647 h 340"/>
                <a:gd name="T68" fmla="*/ 2147483647 w 166"/>
                <a:gd name="T69" fmla="*/ 2147483647 h 340"/>
                <a:gd name="T70" fmla="*/ 2147483647 w 166"/>
                <a:gd name="T71" fmla="*/ 2147483647 h 340"/>
                <a:gd name="T72" fmla="*/ 2147483647 w 166"/>
                <a:gd name="T73" fmla="*/ 2147483647 h 340"/>
                <a:gd name="T74" fmla="*/ 2147483647 w 166"/>
                <a:gd name="T75" fmla="*/ 2147483647 h 340"/>
                <a:gd name="T76" fmla="*/ 2147483647 w 166"/>
                <a:gd name="T77" fmla="*/ 2147483647 h 340"/>
                <a:gd name="T78" fmla="*/ 2147483647 w 166"/>
                <a:gd name="T79" fmla="*/ 2147483647 h 340"/>
                <a:gd name="T80" fmla="*/ 2147483647 w 166"/>
                <a:gd name="T81" fmla="*/ 0 h 340"/>
                <a:gd name="T82" fmla="*/ 2147483647 w 166"/>
                <a:gd name="T83" fmla="*/ 0 h 340"/>
                <a:gd name="T84" fmla="*/ 2147483647 w 166"/>
                <a:gd name="T85" fmla="*/ 0 h 3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6"/>
                <a:gd name="T130" fmla="*/ 0 h 340"/>
                <a:gd name="T131" fmla="*/ 166 w 166"/>
                <a:gd name="T132" fmla="*/ 340 h 3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 name="Freeform 7">
              <a:extLst>
                <a:ext uri="{FF2B5EF4-FFF2-40B4-BE49-F238E27FC236}">
                  <a16:creationId xmlns:a16="http://schemas.microsoft.com/office/drawing/2014/main" id="{5D4B5F02-327A-A239-496E-0428CD7C855D}"/>
                </a:ext>
              </a:extLst>
            </p:cNvPr>
            <p:cNvSpPr>
              <a:spLocks noChangeAspect="1"/>
            </p:cNvSpPr>
            <p:nvPr userDrawn="1"/>
          </p:nvSpPr>
          <p:spPr bwMode="gray">
            <a:xfrm>
              <a:off x="6161182" y="3595654"/>
              <a:ext cx="314884" cy="512137"/>
            </a:xfrm>
            <a:custGeom>
              <a:avLst/>
              <a:gdLst>
                <a:gd name="T0" fmla="*/ 2147483647 w 588"/>
                <a:gd name="T1" fmla="*/ 2147483647 h 905"/>
                <a:gd name="T2" fmla="*/ 2147483647 w 588"/>
                <a:gd name="T3" fmla="*/ 2147483647 h 905"/>
                <a:gd name="T4" fmla="*/ 2147483647 w 588"/>
                <a:gd name="T5" fmla="*/ 2147483647 h 905"/>
                <a:gd name="T6" fmla="*/ 2147483647 w 588"/>
                <a:gd name="T7" fmla="*/ 2147483647 h 905"/>
                <a:gd name="T8" fmla="*/ 0 w 588"/>
                <a:gd name="T9" fmla="*/ 2147483647 h 905"/>
                <a:gd name="T10" fmla="*/ 0 w 588"/>
                <a:gd name="T11" fmla="*/ 2147483647 h 905"/>
                <a:gd name="T12" fmla="*/ 0 w 588"/>
                <a:gd name="T13" fmla="*/ 2147483647 h 905"/>
                <a:gd name="T14" fmla="*/ 0 w 588"/>
                <a:gd name="T15" fmla="*/ 2147483647 h 905"/>
                <a:gd name="T16" fmla="*/ 2147483647 w 588"/>
                <a:gd name="T17" fmla="*/ 2147483647 h 905"/>
                <a:gd name="T18" fmla="*/ 2147483647 w 588"/>
                <a:gd name="T19" fmla="*/ 2147483647 h 905"/>
                <a:gd name="T20" fmla="*/ 2147483647 w 588"/>
                <a:gd name="T21" fmla="*/ 2147483647 h 905"/>
                <a:gd name="T22" fmla="*/ 2147483647 w 588"/>
                <a:gd name="T23" fmla="*/ 2147483647 h 905"/>
                <a:gd name="T24" fmla="*/ 2147483647 w 588"/>
                <a:gd name="T25" fmla="*/ 2147483647 h 905"/>
                <a:gd name="T26" fmla="*/ 2147483647 w 588"/>
                <a:gd name="T27" fmla="*/ 2147483647 h 905"/>
                <a:gd name="T28" fmla="*/ 2147483647 w 588"/>
                <a:gd name="T29" fmla="*/ 2147483647 h 905"/>
                <a:gd name="T30" fmla="*/ 2147483647 w 588"/>
                <a:gd name="T31" fmla="*/ 2147483647 h 905"/>
                <a:gd name="T32" fmla="*/ 2147483647 w 588"/>
                <a:gd name="T33" fmla="*/ 2147483647 h 905"/>
                <a:gd name="T34" fmla="*/ 2147483647 w 588"/>
                <a:gd name="T35" fmla="*/ 2147483647 h 905"/>
                <a:gd name="T36" fmla="*/ 0 w 588"/>
                <a:gd name="T37" fmla="*/ 2147483647 h 905"/>
                <a:gd name="T38" fmla="*/ 2147483647 w 588"/>
                <a:gd name="T39" fmla="*/ 2147483647 h 905"/>
                <a:gd name="T40" fmla="*/ 2147483647 w 588"/>
                <a:gd name="T41" fmla="*/ 2147483647 h 905"/>
                <a:gd name="T42" fmla="*/ 2147483647 w 588"/>
                <a:gd name="T43" fmla="*/ 2147483647 h 905"/>
                <a:gd name="T44" fmla="*/ 2147483647 w 588"/>
                <a:gd name="T45" fmla="*/ 2147483647 h 905"/>
                <a:gd name="T46" fmla="*/ 2147483647 w 588"/>
                <a:gd name="T47" fmla="*/ 2147483647 h 905"/>
                <a:gd name="T48" fmla="*/ 2147483647 w 588"/>
                <a:gd name="T49" fmla="*/ 2147483647 h 905"/>
                <a:gd name="T50" fmla="*/ 2147483647 w 588"/>
                <a:gd name="T51" fmla="*/ 2147483647 h 905"/>
                <a:gd name="T52" fmla="*/ 2147483647 w 588"/>
                <a:gd name="T53" fmla="*/ 2147483647 h 905"/>
                <a:gd name="T54" fmla="*/ 2147483647 w 588"/>
                <a:gd name="T55" fmla="*/ 2147483647 h 905"/>
                <a:gd name="T56" fmla="*/ 2147483647 w 588"/>
                <a:gd name="T57" fmla="*/ 2147483647 h 905"/>
                <a:gd name="T58" fmla="*/ 2147483647 w 588"/>
                <a:gd name="T59" fmla="*/ 2147483647 h 905"/>
                <a:gd name="T60" fmla="*/ 2147483647 w 588"/>
                <a:gd name="T61" fmla="*/ 2147483647 h 905"/>
                <a:gd name="T62" fmla="*/ 2147483647 w 588"/>
                <a:gd name="T63" fmla="*/ 2147483647 h 905"/>
                <a:gd name="T64" fmla="*/ 2147483647 w 588"/>
                <a:gd name="T65" fmla="*/ 2147483647 h 905"/>
                <a:gd name="T66" fmla="*/ 2147483647 w 588"/>
                <a:gd name="T67" fmla="*/ 2147483647 h 905"/>
                <a:gd name="T68" fmla="*/ 2147483647 w 588"/>
                <a:gd name="T69" fmla="*/ 2147483647 h 905"/>
                <a:gd name="T70" fmla="*/ 2147483647 w 588"/>
                <a:gd name="T71" fmla="*/ 2147483647 h 905"/>
                <a:gd name="T72" fmla="*/ 2147483647 w 588"/>
                <a:gd name="T73" fmla="*/ 2147483647 h 905"/>
                <a:gd name="T74" fmla="*/ 2147483647 w 588"/>
                <a:gd name="T75" fmla="*/ 2147483647 h 905"/>
                <a:gd name="T76" fmla="*/ 2147483647 w 588"/>
                <a:gd name="T77" fmla="*/ 2147483647 h 905"/>
                <a:gd name="T78" fmla="*/ 2147483647 w 588"/>
                <a:gd name="T79" fmla="*/ 2147483647 h 905"/>
                <a:gd name="T80" fmla="*/ 2147483647 w 588"/>
                <a:gd name="T81" fmla="*/ 2147483647 h 905"/>
                <a:gd name="T82" fmla="*/ 2147483647 w 588"/>
                <a:gd name="T83" fmla="*/ 2147483647 h 905"/>
                <a:gd name="T84" fmla="*/ 2147483647 w 588"/>
                <a:gd name="T85" fmla="*/ 2147483647 h 905"/>
                <a:gd name="T86" fmla="*/ 2147483647 w 588"/>
                <a:gd name="T87" fmla="*/ 2147483647 h 905"/>
                <a:gd name="T88" fmla="*/ 2147483647 w 588"/>
                <a:gd name="T89" fmla="*/ 2147483647 h 905"/>
                <a:gd name="T90" fmla="*/ 2147483647 w 588"/>
                <a:gd name="T91" fmla="*/ 2147483647 h 905"/>
                <a:gd name="T92" fmla="*/ 2147483647 w 588"/>
                <a:gd name="T93" fmla="*/ 2147483647 h 905"/>
                <a:gd name="T94" fmla="*/ 2147483647 w 588"/>
                <a:gd name="T95" fmla="*/ 2147483647 h 905"/>
                <a:gd name="T96" fmla="*/ 2147483647 w 588"/>
                <a:gd name="T97" fmla="*/ 2147483647 h 905"/>
                <a:gd name="T98" fmla="*/ 2147483647 w 588"/>
                <a:gd name="T99" fmla="*/ 2147483647 h 905"/>
                <a:gd name="T100" fmla="*/ 2147483647 w 588"/>
                <a:gd name="T101" fmla="*/ 2147483647 h 905"/>
                <a:gd name="T102" fmla="*/ 2147483647 w 588"/>
                <a:gd name="T103" fmla="*/ 2147483647 h 905"/>
                <a:gd name="T104" fmla="*/ 2147483647 w 588"/>
                <a:gd name="T105" fmla="*/ 2147483647 h 905"/>
                <a:gd name="T106" fmla="*/ 2147483647 w 588"/>
                <a:gd name="T107" fmla="*/ 2147483647 h 905"/>
                <a:gd name="T108" fmla="*/ 2147483647 w 588"/>
                <a:gd name="T109" fmla="*/ 2147483647 h 905"/>
                <a:gd name="T110" fmla="*/ 2147483647 w 588"/>
                <a:gd name="T111" fmla="*/ 2147483647 h 905"/>
                <a:gd name="T112" fmla="*/ 2147483647 w 588"/>
                <a:gd name="T113" fmla="*/ 2147483647 h 905"/>
                <a:gd name="T114" fmla="*/ 2147483647 w 588"/>
                <a:gd name="T115" fmla="*/ 2147483647 h 905"/>
                <a:gd name="T116" fmla="*/ 2147483647 w 588"/>
                <a:gd name="T117" fmla="*/ 2147483647 h 905"/>
                <a:gd name="T118" fmla="*/ 2147483647 w 588"/>
                <a:gd name="T119" fmla="*/ 2147483647 h 905"/>
                <a:gd name="T120" fmla="*/ 2147483647 w 588"/>
                <a:gd name="T121" fmla="*/ 0 h 905"/>
                <a:gd name="T122" fmla="*/ 2147483647 w 588"/>
                <a:gd name="T123" fmla="*/ 0 h 905"/>
                <a:gd name="T124" fmla="*/ 2147483647 w 588"/>
                <a:gd name="T125" fmla="*/ 2147483647 h 90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88"/>
                <a:gd name="T190" fmla="*/ 0 h 905"/>
                <a:gd name="T191" fmla="*/ 588 w 588"/>
                <a:gd name="T192" fmla="*/ 905 h 90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 name="Freeform 8">
              <a:extLst>
                <a:ext uri="{FF2B5EF4-FFF2-40B4-BE49-F238E27FC236}">
                  <a16:creationId xmlns:a16="http://schemas.microsoft.com/office/drawing/2014/main" id="{C38E831E-AF79-F823-35ED-18A8AECA0397}"/>
                </a:ext>
              </a:extLst>
            </p:cNvPr>
            <p:cNvSpPr>
              <a:spLocks noChangeAspect="1"/>
            </p:cNvSpPr>
            <p:nvPr userDrawn="1"/>
          </p:nvSpPr>
          <p:spPr bwMode="gray">
            <a:xfrm>
              <a:off x="6838705" y="3769414"/>
              <a:ext cx="192512" cy="185955"/>
            </a:xfrm>
            <a:custGeom>
              <a:avLst/>
              <a:gdLst>
                <a:gd name="T0" fmla="*/ 2147483647 w 360"/>
                <a:gd name="T1" fmla="*/ 0 h 324"/>
                <a:gd name="T2" fmla="*/ 2147483647 w 360"/>
                <a:gd name="T3" fmla="*/ 0 h 324"/>
                <a:gd name="T4" fmla="*/ 0 w 360"/>
                <a:gd name="T5" fmla="*/ 0 h 324"/>
                <a:gd name="T6" fmla="*/ 0 w 360"/>
                <a:gd name="T7" fmla="*/ 2147483647 h 324"/>
                <a:gd name="T8" fmla="*/ 0 w 360"/>
                <a:gd name="T9" fmla="*/ 2147483647 h 324"/>
                <a:gd name="T10" fmla="*/ 0 w 360"/>
                <a:gd name="T11" fmla="*/ 2147483647 h 324"/>
                <a:gd name="T12" fmla="*/ 0 w 360"/>
                <a:gd name="T13" fmla="*/ 2147483647 h 324"/>
                <a:gd name="T14" fmla="*/ 0 w 360"/>
                <a:gd name="T15" fmla="*/ 2147483647 h 324"/>
                <a:gd name="T16" fmla="*/ 0 w 360"/>
                <a:gd name="T17" fmla="*/ 2147483647 h 324"/>
                <a:gd name="T18" fmla="*/ 2147483647 w 360"/>
                <a:gd name="T19" fmla="*/ 2147483647 h 324"/>
                <a:gd name="T20" fmla="*/ 2147483647 w 360"/>
                <a:gd name="T21" fmla="*/ 2147483647 h 324"/>
                <a:gd name="T22" fmla="*/ 2147483647 w 360"/>
                <a:gd name="T23" fmla="*/ 2147483647 h 324"/>
                <a:gd name="T24" fmla="*/ 2147483647 w 360"/>
                <a:gd name="T25" fmla="*/ 2147483647 h 324"/>
                <a:gd name="T26" fmla="*/ 2147483647 w 360"/>
                <a:gd name="T27" fmla="*/ 2147483647 h 324"/>
                <a:gd name="T28" fmla="*/ 2147483647 w 360"/>
                <a:gd name="T29" fmla="*/ 2147483647 h 324"/>
                <a:gd name="T30" fmla="*/ 2147483647 w 360"/>
                <a:gd name="T31" fmla="*/ 2147483647 h 324"/>
                <a:gd name="T32" fmla="*/ 2147483647 w 360"/>
                <a:gd name="T33" fmla="*/ 2147483647 h 324"/>
                <a:gd name="T34" fmla="*/ 2147483647 w 360"/>
                <a:gd name="T35" fmla="*/ 2147483647 h 324"/>
                <a:gd name="T36" fmla="*/ 2147483647 w 360"/>
                <a:gd name="T37" fmla="*/ 2147483647 h 324"/>
                <a:gd name="T38" fmla="*/ 2147483647 w 360"/>
                <a:gd name="T39" fmla="*/ 2147483647 h 324"/>
                <a:gd name="T40" fmla="*/ 2147483647 w 360"/>
                <a:gd name="T41" fmla="*/ 2147483647 h 324"/>
                <a:gd name="T42" fmla="*/ 2147483647 w 360"/>
                <a:gd name="T43" fmla="*/ 2147483647 h 324"/>
                <a:gd name="T44" fmla="*/ 2147483647 w 360"/>
                <a:gd name="T45" fmla="*/ 2147483647 h 324"/>
                <a:gd name="T46" fmla="*/ 2147483647 w 360"/>
                <a:gd name="T47" fmla="*/ 2147483647 h 324"/>
                <a:gd name="T48" fmla="*/ 2147483647 w 360"/>
                <a:gd name="T49" fmla="*/ 2147483647 h 324"/>
                <a:gd name="T50" fmla="*/ 2147483647 w 360"/>
                <a:gd name="T51" fmla="*/ 2147483647 h 324"/>
                <a:gd name="T52" fmla="*/ 2147483647 w 360"/>
                <a:gd name="T53" fmla="*/ 2147483647 h 324"/>
                <a:gd name="T54" fmla="*/ 2147483647 w 360"/>
                <a:gd name="T55" fmla="*/ 2147483647 h 324"/>
                <a:gd name="T56" fmla="*/ 2147483647 w 360"/>
                <a:gd name="T57" fmla="*/ 2147483647 h 324"/>
                <a:gd name="T58" fmla="*/ 2147483647 w 360"/>
                <a:gd name="T59" fmla="*/ 2147483647 h 324"/>
                <a:gd name="T60" fmla="*/ 2147483647 w 360"/>
                <a:gd name="T61" fmla="*/ 2147483647 h 324"/>
                <a:gd name="T62" fmla="*/ 2147483647 w 360"/>
                <a:gd name="T63" fmla="*/ 2147483647 h 324"/>
                <a:gd name="T64" fmla="*/ 2147483647 w 360"/>
                <a:gd name="T65" fmla="*/ 2147483647 h 324"/>
                <a:gd name="T66" fmla="*/ 2147483647 w 360"/>
                <a:gd name="T67" fmla="*/ 2147483647 h 324"/>
                <a:gd name="T68" fmla="*/ 2147483647 w 360"/>
                <a:gd name="T69" fmla="*/ 2147483647 h 324"/>
                <a:gd name="T70" fmla="*/ 2147483647 w 360"/>
                <a:gd name="T71" fmla="*/ 2147483647 h 324"/>
                <a:gd name="T72" fmla="*/ 2147483647 w 360"/>
                <a:gd name="T73" fmla="*/ 2147483647 h 324"/>
                <a:gd name="T74" fmla="*/ 2147483647 w 360"/>
                <a:gd name="T75" fmla="*/ 2147483647 h 324"/>
                <a:gd name="T76" fmla="*/ 2147483647 w 360"/>
                <a:gd name="T77" fmla="*/ 2147483647 h 324"/>
                <a:gd name="T78" fmla="*/ 2147483647 w 360"/>
                <a:gd name="T79" fmla="*/ 2147483647 h 324"/>
                <a:gd name="T80" fmla="*/ 2147483647 w 360"/>
                <a:gd name="T81" fmla="*/ 2147483647 h 324"/>
                <a:gd name="T82" fmla="*/ 2147483647 w 360"/>
                <a:gd name="T83" fmla="*/ 2147483647 h 324"/>
                <a:gd name="T84" fmla="*/ 2147483647 w 360"/>
                <a:gd name="T85" fmla="*/ 2147483647 h 324"/>
                <a:gd name="T86" fmla="*/ 2147483647 w 360"/>
                <a:gd name="T87" fmla="*/ 2147483647 h 324"/>
                <a:gd name="T88" fmla="*/ 2147483647 w 360"/>
                <a:gd name="T89" fmla="*/ 2147483647 h 324"/>
                <a:gd name="T90" fmla="*/ 2147483647 w 360"/>
                <a:gd name="T91" fmla="*/ 0 h 324"/>
                <a:gd name="T92" fmla="*/ 2147483647 w 360"/>
                <a:gd name="T93" fmla="*/ 0 h 324"/>
                <a:gd name="T94" fmla="*/ 2147483647 w 360"/>
                <a:gd name="T95" fmla="*/ 0 h 324"/>
                <a:gd name="T96" fmla="*/ 2147483647 w 360"/>
                <a:gd name="T97" fmla="*/ 0 h 32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0"/>
                <a:gd name="T148" fmla="*/ 0 h 324"/>
                <a:gd name="T149" fmla="*/ 360 w 360"/>
                <a:gd name="T150" fmla="*/ 324 h 32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 name="Freeform 9">
              <a:extLst>
                <a:ext uri="{FF2B5EF4-FFF2-40B4-BE49-F238E27FC236}">
                  <a16:creationId xmlns:a16="http://schemas.microsoft.com/office/drawing/2014/main" id="{51F64AED-AEB5-03F8-89A5-00489313A9C6}"/>
                </a:ext>
              </a:extLst>
            </p:cNvPr>
            <p:cNvSpPr>
              <a:spLocks noChangeAspect="1"/>
            </p:cNvSpPr>
            <p:nvPr userDrawn="1"/>
          </p:nvSpPr>
          <p:spPr bwMode="gray">
            <a:xfrm>
              <a:off x="5417995" y="3539258"/>
              <a:ext cx="473072" cy="483177"/>
            </a:xfrm>
            <a:custGeom>
              <a:avLst/>
              <a:gdLst>
                <a:gd name="T0" fmla="*/ 2147483647 w 891"/>
                <a:gd name="T1" fmla="*/ 2147483647 h 851"/>
                <a:gd name="T2" fmla="*/ 2147483647 w 891"/>
                <a:gd name="T3" fmla="*/ 2147483647 h 851"/>
                <a:gd name="T4" fmla="*/ 2147483647 w 891"/>
                <a:gd name="T5" fmla="*/ 2147483647 h 851"/>
                <a:gd name="T6" fmla="*/ 2147483647 w 891"/>
                <a:gd name="T7" fmla="*/ 2147483647 h 851"/>
                <a:gd name="T8" fmla="*/ 2147483647 w 891"/>
                <a:gd name="T9" fmla="*/ 2147483647 h 851"/>
                <a:gd name="T10" fmla="*/ 2147483647 w 891"/>
                <a:gd name="T11" fmla="*/ 2147483647 h 851"/>
                <a:gd name="T12" fmla="*/ 2147483647 w 891"/>
                <a:gd name="T13" fmla="*/ 2147483647 h 851"/>
                <a:gd name="T14" fmla="*/ 2147483647 w 891"/>
                <a:gd name="T15" fmla="*/ 2147483647 h 851"/>
                <a:gd name="T16" fmla="*/ 2147483647 w 891"/>
                <a:gd name="T17" fmla="*/ 2147483647 h 851"/>
                <a:gd name="T18" fmla="*/ 2147483647 w 891"/>
                <a:gd name="T19" fmla="*/ 2147483647 h 851"/>
                <a:gd name="T20" fmla="*/ 2147483647 w 891"/>
                <a:gd name="T21" fmla="*/ 2147483647 h 851"/>
                <a:gd name="T22" fmla="*/ 2147483647 w 891"/>
                <a:gd name="T23" fmla="*/ 2147483647 h 851"/>
                <a:gd name="T24" fmla="*/ 2147483647 w 891"/>
                <a:gd name="T25" fmla="*/ 2147483647 h 851"/>
                <a:gd name="T26" fmla="*/ 2147483647 w 891"/>
                <a:gd name="T27" fmla="*/ 2147483647 h 851"/>
                <a:gd name="T28" fmla="*/ 2147483647 w 891"/>
                <a:gd name="T29" fmla="*/ 2147483647 h 851"/>
                <a:gd name="T30" fmla="*/ 2147483647 w 891"/>
                <a:gd name="T31" fmla="*/ 2147483647 h 851"/>
                <a:gd name="T32" fmla="*/ 2147483647 w 891"/>
                <a:gd name="T33" fmla="*/ 2147483647 h 851"/>
                <a:gd name="T34" fmla="*/ 2147483647 w 891"/>
                <a:gd name="T35" fmla="*/ 2147483647 h 851"/>
                <a:gd name="T36" fmla="*/ 2147483647 w 891"/>
                <a:gd name="T37" fmla="*/ 2147483647 h 851"/>
                <a:gd name="T38" fmla="*/ 2147483647 w 891"/>
                <a:gd name="T39" fmla="*/ 2147483647 h 851"/>
                <a:gd name="T40" fmla="*/ 2147483647 w 891"/>
                <a:gd name="T41" fmla="*/ 2147483647 h 851"/>
                <a:gd name="T42" fmla="*/ 2147483647 w 891"/>
                <a:gd name="T43" fmla="*/ 2147483647 h 851"/>
                <a:gd name="T44" fmla="*/ 2147483647 w 891"/>
                <a:gd name="T45" fmla="*/ 2147483647 h 851"/>
                <a:gd name="T46" fmla="*/ 2147483647 w 891"/>
                <a:gd name="T47" fmla="*/ 2147483647 h 851"/>
                <a:gd name="T48" fmla="*/ 2147483647 w 891"/>
                <a:gd name="T49" fmla="*/ 2147483647 h 851"/>
                <a:gd name="T50" fmla="*/ 2147483647 w 891"/>
                <a:gd name="T51" fmla="*/ 2147483647 h 851"/>
                <a:gd name="T52" fmla="*/ 2147483647 w 891"/>
                <a:gd name="T53" fmla="*/ 2147483647 h 851"/>
                <a:gd name="T54" fmla="*/ 2147483647 w 891"/>
                <a:gd name="T55" fmla="*/ 2147483647 h 851"/>
                <a:gd name="T56" fmla="*/ 2147483647 w 891"/>
                <a:gd name="T57" fmla="*/ 2147483647 h 851"/>
                <a:gd name="T58" fmla="*/ 2147483647 w 891"/>
                <a:gd name="T59" fmla="*/ 2147483647 h 851"/>
                <a:gd name="T60" fmla="*/ 2147483647 w 891"/>
                <a:gd name="T61" fmla="*/ 2147483647 h 851"/>
                <a:gd name="T62" fmla="*/ 2147483647 w 891"/>
                <a:gd name="T63" fmla="*/ 2147483647 h 851"/>
                <a:gd name="T64" fmla="*/ 2147483647 w 891"/>
                <a:gd name="T65" fmla="*/ 2147483647 h 851"/>
                <a:gd name="T66" fmla="*/ 2147483647 w 891"/>
                <a:gd name="T67" fmla="*/ 2147483647 h 851"/>
                <a:gd name="T68" fmla="*/ 2147483647 w 891"/>
                <a:gd name="T69" fmla="*/ 2147483647 h 851"/>
                <a:gd name="T70" fmla="*/ 2147483647 w 891"/>
                <a:gd name="T71" fmla="*/ 2147483647 h 851"/>
                <a:gd name="T72" fmla="*/ 2147483647 w 891"/>
                <a:gd name="T73" fmla="*/ 2147483647 h 851"/>
                <a:gd name="T74" fmla="*/ 2147483647 w 891"/>
                <a:gd name="T75" fmla="*/ 2147483647 h 851"/>
                <a:gd name="T76" fmla="*/ 2147483647 w 891"/>
                <a:gd name="T77" fmla="*/ 2147483647 h 851"/>
                <a:gd name="T78" fmla="*/ 2147483647 w 891"/>
                <a:gd name="T79" fmla="*/ 2147483647 h 851"/>
                <a:gd name="T80" fmla="*/ 0 w 891"/>
                <a:gd name="T81" fmla="*/ 2147483647 h 851"/>
                <a:gd name="T82" fmla="*/ 0 w 891"/>
                <a:gd name="T83" fmla="*/ 2147483647 h 851"/>
                <a:gd name="T84" fmla="*/ 0 w 891"/>
                <a:gd name="T85" fmla="*/ 2147483647 h 851"/>
                <a:gd name="T86" fmla="*/ 0 w 891"/>
                <a:gd name="T87" fmla="*/ 2147483647 h 851"/>
                <a:gd name="T88" fmla="*/ 0 w 891"/>
                <a:gd name="T89" fmla="*/ 2147483647 h 851"/>
                <a:gd name="T90" fmla="*/ 0 w 891"/>
                <a:gd name="T91" fmla="*/ 2147483647 h 851"/>
                <a:gd name="T92" fmla="*/ 0 w 891"/>
                <a:gd name="T93" fmla="*/ 2147483647 h 851"/>
                <a:gd name="T94" fmla="*/ 0 w 891"/>
                <a:gd name="T95" fmla="*/ 2147483647 h 851"/>
                <a:gd name="T96" fmla="*/ 0 w 891"/>
                <a:gd name="T97" fmla="*/ 2147483647 h 851"/>
                <a:gd name="T98" fmla="*/ 0 w 891"/>
                <a:gd name="T99" fmla="*/ 2147483647 h 851"/>
                <a:gd name="T100" fmla="*/ 2147483647 w 891"/>
                <a:gd name="T101" fmla="*/ 2147483647 h 851"/>
                <a:gd name="T102" fmla="*/ 2147483647 w 891"/>
                <a:gd name="T103" fmla="*/ 2147483647 h 851"/>
                <a:gd name="T104" fmla="*/ 2147483647 w 891"/>
                <a:gd name="T105" fmla="*/ 2147483647 h 851"/>
                <a:gd name="T106" fmla="*/ 2147483647 w 891"/>
                <a:gd name="T107" fmla="*/ 2147483647 h 8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91"/>
                <a:gd name="T163" fmla="*/ 0 h 851"/>
                <a:gd name="T164" fmla="*/ 891 w 891"/>
                <a:gd name="T165" fmla="*/ 851 h 85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 name="Freeform 10">
              <a:extLst>
                <a:ext uri="{FF2B5EF4-FFF2-40B4-BE49-F238E27FC236}">
                  <a16:creationId xmlns:a16="http://schemas.microsoft.com/office/drawing/2014/main" id="{C5A623AD-6ED5-F17C-490E-D6870780D3D5}"/>
                </a:ext>
              </a:extLst>
            </p:cNvPr>
            <p:cNvSpPr>
              <a:spLocks noChangeAspect="1"/>
            </p:cNvSpPr>
            <p:nvPr userDrawn="1"/>
          </p:nvSpPr>
          <p:spPr bwMode="gray">
            <a:xfrm>
              <a:off x="5985085" y="3089613"/>
              <a:ext cx="117895" cy="265214"/>
            </a:xfrm>
            <a:custGeom>
              <a:avLst/>
              <a:gdLst>
                <a:gd name="T0" fmla="*/ 2147483647 w 218"/>
                <a:gd name="T1" fmla="*/ 2147483647 h 462"/>
                <a:gd name="T2" fmla="*/ 2147483647 w 218"/>
                <a:gd name="T3" fmla="*/ 2147483647 h 462"/>
                <a:gd name="T4" fmla="*/ 2147483647 w 218"/>
                <a:gd name="T5" fmla="*/ 2147483647 h 462"/>
                <a:gd name="T6" fmla="*/ 2147483647 w 218"/>
                <a:gd name="T7" fmla="*/ 2147483647 h 462"/>
                <a:gd name="T8" fmla="*/ 2147483647 w 218"/>
                <a:gd name="T9" fmla="*/ 2147483647 h 462"/>
                <a:gd name="T10" fmla="*/ 2147483647 w 218"/>
                <a:gd name="T11" fmla="*/ 2147483647 h 462"/>
                <a:gd name="T12" fmla="*/ 2147483647 w 218"/>
                <a:gd name="T13" fmla="*/ 2147483647 h 462"/>
                <a:gd name="T14" fmla="*/ 2147483647 w 218"/>
                <a:gd name="T15" fmla="*/ 2147483647 h 462"/>
                <a:gd name="T16" fmla="*/ 2147483647 w 218"/>
                <a:gd name="T17" fmla="*/ 2147483647 h 462"/>
                <a:gd name="T18" fmla="*/ 2147483647 w 218"/>
                <a:gd name="T19" fmla="*/ 2147483647 h 462"/>
                <a:gd name="T20" fmla="*/ 2147483647 w 218"/>
                <a:gd name="T21" fmla="*/ 2147483647 h 462"/>
                <a:gd name="T22" fmla="*/ 2147483647 w 218"/>
                <a:gd name="T23" fmla="*/ 2147483647 h 462"/>
                <a:gd name="T24" fmla="*/ 2147483647 w 218"/>
                <a:gd name="T25" fmla="*/ 2147483647 h 462"/>
                <a:gd name="T26" fmla="*/ 2147483647 w 218"/>
                <a:gd name="T27" fmla="*/ 2147483647 h 462"/>
                <a:gd name="T28" fmla="*/ 2147483647 w 218"/>
                <a:gd name="T29" fmla="*/ 2147483647 h 462"/>
                <a:gd name="T30" fmla="*/ 2147483647 w 218"/>
                <a:gd name="T31" fmla="*/ 2147483647 h 462"/>
                <a:gd name="T32" fmla="*/ 2147483647 w 218"/>
                <a:gd name="T33" fmla="*/ 2147483647 h 462"/>
                <a:gd name="T34" fmla="*/ 2147483647 w 218"/>
                <a:gd name="T35" fmla="*/ 2147483647 h 462"/>
                <a:gd name="T36" fmla="*/ 2147483647 w 218"/>
                <a:gd name="T37" fmla="*/ 2147483647 h 462"/>
                <a:gd name="T38" fmla="*/ 2147483647 w 218"/>
                <a:gd name="T39" fmla="*/ 2147483647 h 462"/>
                <a:gd name="T40" fmla="*/ 2147483647 w 218"/>
                <a:gd name="T41" fmla="*/ 2147483647 h 462"/>
                <a:gd name="T42" fmla="*/ 2147483647 w 218"/>
                <a:gd name="T43" fmla="*/ 2147483647 h 462"/>
                <a:gd name="T44" fmla="*/ 2147483647 w 218"/>
                <a:gd name="T45" fmla="*/ 2147483647 h 462"/>
                <a:gd name="T46" fmla="*/ 2147483647 w 218"/>
                <a:gd name="T47" fmla="*/ 2147483647 h 462"/>
                <a:gd name="T48" fmla="*/ 2147483647 w 218"/>
                <a:gd name="T49" fmla="*/ 2147483647 h 462"/>
                <a:gd name="T50" fmla="*/ 2147483647 w 218"/>
                <a:gd name="T51" fmla="*/ 0 h 462"/>
                <a:gd name="T52" fmla="*/ 2147483647 w 218"/>
                <a:gd name="T53" fmla="*/ 0 h 462"/>
                <a:gd name="T54" fmla="*/ 2147483647 w 218"/>
                <a:gd name="T55" fmla="*/ 0 h 462"/>
                <a:gd name="T56" fmla="*/ 2147483647 w 218"/>
                <a:gd name="T57" fmla="*/ 0 h 462"/>
                <a:gd name="T58" fmla="*/ 2147483647 w 218"/>
                <a:gd name="T59" fmla="*/ 0 h 462"/>
                <a:gd name="T60" fmla="*/ 2147483647 w 218"/>
                <a:gd name="T61" fmla="*/ 0 h 462"/>
                <a:gd name="T62" fmla="*/ 2147483647 w 218"/>
                <a:gd name="T63" fmla="*/ 0 h 462"/>
                <a:gd name="T64" fmla="*/ 2147483647 w 218"/>
                <a:gd name="T65" fmla="*/ 0 h 462"/>
                <a:gd name="T66" fmla="*/ 2147483647 w 218"/>
                <a:gd name="T67" fmla="*/ 0 h 462"/>
                <a:gd name="T68" fmla="*/ 2147483647 w 218"/>
                <a:gd name="T69" fmla="*/ 0 h 462"/>
                <a:gd name="T70" fmla="*/ 2147483647 w 218"/>
                <a:gd name="T71" fmla="*/ 0 h 462"/>
                <a:gd name="T72" fmla="*/ 2147483647 w 218"/>
                <a:gd name="T73" fmla="*/ 0 h 462"/>
                <a:gd name="T74" fmla="*/ 2147483647 w 218"/>
                <a:gd name="T75" fmla="*/ 0 h 462"/>
                <a:gd name="T76" fmla="*/ 2147483647 w 218"/>
                <a:gd name="T77" fmla="*/ 0 h 462"/>
                <a:gd name="T78" fmla="*/ 2147483647 w 218"/>
                <a:gd name="T79" fmla="*/ 0 h 462"/>
                <a:gd name="T80" fmla="*/ 2147483647 w 218"/>
                <a:gd name="T81" fmla="*/ 2147483647 h 462"/>
                <a:gd name="T82" fmla="*/ 2147483647 w 218"/>
                <a:gd name="T83" fmla="*/ 2147483647 h 462"/>
                <a:gd name="T84" fmla="*/ 2147483647 w 218"/>
                <a:gd name="T85" fmla="*/ 2147483647 h 462"/>
                <a:gd name="T86" fmla="*/ 2147483647 w 218"/>
                <a:gd name="T87" fmla="*/ 2147483647 h 462"/>
                <a:gd name="T88" fmla="*/ 0 w 218"/>
                <a:gd name="T89" fmla="*/ 2147483647 h 462"/>
                <a:gd name="T90" fmla="*/ 0 w 218"/>
                <a:gd name="T91" fmla="*/ 2147483647 h 462"/>
                <a:gd name="T92" fmla="*/ 0 w 218"/>
                <a:gd name="T93" fmla="*/ 2147483647 h 462"/>
                <a:gd name="T94" fmla="*/ 0 w 218"/>
                <a:gd name="T95" fmla="*/ 2147483647 h 462"/>
                <a:gd name="T96" fmla="*/ 0 w 218"/>
                <a:gd name="T97" fmla="*/ 2147483647 h 462"/>
                <a:gd name="T98" fmla="*/ 0 w 218"/>
                <a:gd name="T99" fmla="*/ 2147483647 h 462"/>
                <a:gd name="T100" fmla="*/ 0 w 218"/>
                <a:gd name="T101" fmla="*/ 2147483647 h 462"/>
                <a:gd name="T102" fmla="*/ 2147483647 w 218"/>
                <a:gd name="T103" fmla="*/ 2147483647 h 462"/>
                <a:gd name="T104" fmla="*/ 2147483647 w 218"/>
                <a:gd name="T105" fmla="*/ 2147483647 h 462"/>
                <a:gd name="T106" fmla="*/ 2147483647 w 218"/>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8"/>
                <a:gd name="T163" fmla="*/ 0 h 462"/>
                <a:gd name="T164" fmla="*/ 218 w 218"/>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 name="Freeform 11">
              <a:extLst>
                <a:ext uri="{FF2B5EF4-FFF2-40B4-BE49-F238E27FC236}">
                  <a16:creationId xmlns:a16="http://schemas.microsoft.com/office/drawing/2014/main" id="{9D5ABFED-350C-2CE3-12D6-D66C9A6CE981}"/>
                </a:ext>
              </a:extLst>
            </p:cNvPr>
            <p:cNvSpPr>
              <a:spLocks noChangeAspect="1"/>
            </p:cNvSpPr>
            <p:nvPr userDrawn="1"/>
          </p:nvSpPr>
          <p:spPr bwMode="gray">
            <a:xfrm>
              <a:off x="6489497" y="3307576"/>
              <a:ext cx="328315" cy="341424"/>
            </a:xfrm>
            <a:custGeom>
              <a:avLst/>
              <a:gdLst>
                <a:gd name="T0" fmla="*/ 0 w 612"/>
                <a:gd name="T1" fmla="*/ 2147483647 h 605"/>
                <a:gd name="T2" fmla="*/ 0 w 612"/>
                <a:gd name="T3" fmla="*/ 2147483647 h 605"/>
                <a:gd name="T4" fmla="*/ 0 w 612"/>
                <a:gd name="T5" fmla="*/ 2147483647 h 605"/>
                <a:gd name="T6" fmla="*/ 0 w 612"/>
                <a:gd name="T7" fmla="*/ 2147483647 h 605"/>
                <a:gd name="T8" fmla="*/ 0 w 612"/>
                <a:gd name="T9" fmla="*/ 2147483647 h 605"/>
                <a:gd name="T10" fmla="*/ 0 w 612"/>
                <a:gd name="T11" fmla="*/ 0 h 605"/>
                <a:gd name="T12" fmla="*/ 0 w 612"/>
                <a:gd name="T13" fmla="*/ 0 h 605"/>
                <a:gd name="T14" fmla="*/ 0 w 612"/>
                <a:gd name="T15" fmla="*/ 0 h 605"/>
                <a:gd name="T16" fmla="*/ 0 w 612"/>
                <a:gd name="T17" fmla="*/ 0 h 605"/>
                <a:gd name="T18" fmla="*/ 2147483647 w 612"/>
                <a:gd name="T19" fmla="*/ 0 h 605"/>
                <a:gd name="T20" fmla="*/ 2147483647 w 612"/>
                <a:gd name="T21" fmla="*/ 0 h 605"/>
                <a:gd name="T22" fmla="*/ 2147483647 w 612"/>
                <a:gd name="T23" fmla="*/ 0 h 605"/>
                <a:gd name="T24" fmla="*/ 2147483647 w 612"/>
                <a:gd name="T25" fmla="*/ 0 h 605"/>
                <a:gd name="T26" fmla="*/ 2147483647 w 612"/>
                <a:gd name="T27" fmla="*/ 0 h 605"/>
                <a:gd name="T28" fmla="*/ 2147483647 w 612"/>
                <a:gd name="T29" fmla="*/ 0 h 605"/>
                <a:gd name="T30" fmla="*/ 2147483647 w 612"/>
                <a:gd name="T31" fmla="*/ 0 h 605"/>
                <a:gd name="T32" fmla="*/ 2147483647 w 612"/>
                <a:gd name="T33" fmla="*/ 0 h 605"/>
                <a:gd name="T34" fmla="*/ 2147483647 w 612"/>
                <a:gd name="T35" fmla="*/ 0 h 605"/>
                <a:gd name="T36" fmla="*/ 2147483647 w 612"/>
                <a:gd name="T37" fmla="*/ 0 h 605"/>
                <a:gd name="T38" fmla="*/ 2147483647 w 612"/>
                <a:gd name="T39" fmla="*/ 0 h 605"/>
                <a:gd name="T40" fmla="*/ 2147483647 w 612"/>
                <a:gd name="T41" fmla="*/ 0 h 605"/>
                <a:gd name="T42" fmla="*/ 2147483647 w 612"/>
                <a:gd name="T43" fmla="*/ 0 h 605"/>
                <a:gd name="T44" fmla="*/ 2147483647 w 612"/>
                <a:gd name="T45" fmla="*/ 0 h 605"/>
                <a:gd name="T46" fmla="*/ 2147483647 w 612"/>
                <a:gd name="T47" fmla="*/ 0 h 605"/>
                <a:gd name="T48" fmla="*/ 2147483647 w 612"/>
                <a:gd name="T49" fmla="*/ 0 h 605"/>
                <a:gd name="T50" fmla="*/ 2147483647 w 612"/>
                <a:gd name="T51" fmla="*/ 0 h 605"/>
                <a:gd name="T52" fmla="*/ 2147483647 w 612"/>
                <a:gd name="T53" fmla="*/ 2147483647 h 605"/>
                <a:gd name="T54" fmla="*/ 2147483647 w 612"/>
                <a:gd name="T55" fmla="*/ 2147483647 h 605"/>
                <a:gd name="T56" fmla="*/ 2147483647 w 612"/>
                <a:gd name="T57" fmla="*/ 2147483647 h 605"/>
                <a:gd name="T58" fmla="*/ 2147483647 w 612"/>
                <a:gd name="T59" fmla="*/ 2147483647 h 605"/>
                <a:gd name="T60" fmla="*/ 2147483647 w 612"/>
                <a:gd name="T61" fmla="*/ 2147483647 h 605"/>
                <a:gd name="T62" fmla="*/ 2147483647 w 612"/>
                <a:gd name="T63" fmla="*/ 2147483647 h 605"/>
                <a:gd name="T64" fmla="*/ 2147483647 w 612"/>
                <a:gd name="T65" fmla="*/ 2147483647 h 605"/>
                <a:gd name="T66" fmla="*/ 2147483647 w 612"/>
                <a:gd name="T67" fmla="*/ 2147483647 h 605"/>
                <a:gd name="T68" fmla="*/ 2147483647 w 612"/>
                <a:gd name="T69" fmla="*/ 2147483647 h 605"/>
                <a:gd name="T70" fmla="*/ 2147483647 w 612"/>
                <a:gd name="T71" fmla="*/ 2147483647 h 605"/>
                <a:gd name="T72" fmla="*/ 2147483647 w 612"/>
                <a:gd name="T73" fmla="*/ 2147483647 h 605"/>
                <a:gd name="T74" fmla="*/ 2147483647 w 612"/>
                <a:gd name="T75" fmla="*/ 2147483647 h 605"/>
                <a:gd name="T76" fmla="*/ 2147483647 w 612"/>
                <a:gd name="T77" fmla="*/ 2147483647 h 605"/>
                <a:gd name="T78" fmla="*/ 2147483647 w 612"/>
                <a:gd name="T79" fmla="*/ 2147483647 h 605"/>
                <a:gd name="T80" fmla="*/ 2147483647 w 612"/>
                <a:gd name="T81" fmla="*/ 2147483647 h 605"/>
                <a:gd name="T82" fmla="*/ 2147483647 w 612"/>
                <a:gd name="T83" fmla="*/ 2147483647 h 605"/>
                <a:gd name="T84" fmla="*/ 2147483647 w 612"/>
                <a:gd name="T85" fmla="*/ 2147483647 h 605"/>
                <a:gd name="T86" fmla="*/ 2147483647 w 612"/>
                <a:gd name="T87" fmla="*/ 2147483647 h 605"/>
                <a:gd name="T88" fmla="*/ 2147483647 w 612"/>
                <a:gd name="T89" fmla="*/ 2147483647 h 605"/>
                <a:gd name="T90" fmla="*/ 2147483647 w 612"/>
                <a:gd name="T91" fmla="*/ 2147483647 h 605"/>
                <a:gd name="T92" fmla="*/ 2147483647 w 612"/>
                <a:gd name="T93" fmla="*/ 2147483647 h 605"/>
                <a:gd name="T94" fmla="*/ 2147483647 w 612"/>
                <a:gd name="T95" fmla="*/ 2147483647 h 605"/>
                <a:gd name="T96" fmla="*/ 2147483647 w 612"/>
                <a:gd name="T97" fmla="*/ 2147483647 h 605"/>
                <a:gd name="T98" fmla="*/ 2147483647 w 612"/>
                <a:gd name="T99" fmla="*/ 2147483647 h 605"/>
                <a:gd name="T100" fmla="*/ 2147483647 w 612"/>
                <a:gd name="T101" fmla="*/ 2147483647 h 605"/>
                <a:gd name="T102" fmla="*/ 2147483647 w 612"/>
                <a:gd name="T103" fmla="*/ 2147483647 h 605"/>
                <a:gd name="T104" fmla="*/ 2147483647 w 612"/>
                <a:gd name="T105" fmla="*/ 2147483647 h 605"/>
                <a:gd name="T106" fmla="*/ 2147483647 w 612"/>
                <a:gd name="T107" fmla="*/ 2147483647 h 6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12"/>
                <a:gd name="T163" fmla="*/ 0 h 605"/>
                <a:gd name="T164" fmla="*/ 612 w 612"/>
                <a:gd name="T165" fmla="*/ 605 h 6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 name="Freeform 12">
              <a:extLst>
                <a:ext uri="{FF2B5EF4-FFF2-40B4-BE49-F238E27FC236}">
                  <a16:creationId xmlns:a16="http://schemas.microsoft.com/office/drawing/2014/main" id="{92E05711-1AEF-4DED-7F4C-4DAAC748C8D1}"/>
                </a:ext>
              </a:extLst>
            </p:cNvPr>
            <p:cNvSpPr>
              <a:spLocks noChangeAspect="1"/>
            </p:cNvSpPr>
            <p:nvPr userDrawn="1"/>
          </p:nvSpPr>
          <p:spPr bwMode="gray">
            <a:xfrm>
              <a:off x="5520967" y="3100283"/>
              <a:ext cx="592460" cy="641695"/>
            </a:xfrm>
            <a:custGeom>
              <a:avLst/>
              <a:gdLst>
                <a:gd name="T0" fmla="*/ 0 w 1112"/>
                <a:gd name="T1" fmla="*/ 2147483647 h 1129"/>
                <a:gd name="T2" fmla="*/ 2147483647 w 1112"/>
                <a:gd name="T3" fmla="*/ 2147483647 h 1129"/>
                <a:gd name="T4" fmla="*/ 2147483647 w 1112"/>
                <a:gd name="T5" fmla="*/ 2147483647 h 1129"/>
                <a:gd name="T6" fmla="*/ 2147483647 w 1112"/>
                <a:gd name="T7" fmla="*/ 2147483647 h 1129"/>
                <a:gd name="T8" fmla="*/ 2147483647 w 1112"/>
                <a:gd name="T9" fmla="*/ 2147483647 h 1129"/>
                <a:gd name="T10" fmla="*/ 2147483647 w 1112"/>
                <a:gd name="T11" fmla="*/ 2147483647 h 1129"/>
                <a:gd name="T12" fmla="*/ 2147483647 w 1112"/>
                <a:gd name="T13" fmla="*/ 2147483647 h 1129"/>
                <a:gd name="T14" fmla="*/ 2147483647 w 1112"/>
                <a:gd name="T15" fmla="*/ 2147483647 h 1129"/>
                <a:gd name="T16" fmla="*/ 2147483647 w 1112"/>
                <a:gd name="T17" fmla="*/ 2147483647 h 1129"/>
                <a:gd name="T18" fmla="*/ 2147483647 w 1112"/>
                <a:gd name="T19" fmla="*/ 2147483647 h 1129"/>
                <a:gd name="T20" fmla="*/ 2147483647 w 1112"/>
                <a:gd name="T21" fmla="*/ 2147483647 h 1129"/>
                <a:gd name="T22" fmla="*/ 2147483647 w 1112"/>
                <a:gd name="T23" fmla="*/ 2147483647 h 1129"/>
                <a:gd name="T24" fmla="*/ 2147483647 w 1112"/>
                <a:gd name="T25" fmla="*/ 2147483647 h 1129"/>
                <a:gd name="T26" fmla="*/ 2147483647 w 1112"/>
                <a:gd name="T27" fmla="*/ 2147483647 h 1129"/>
                <a:gd name="T28" fmla="*/ 2147483647 w 1112"/>
                <a:gd name="T29" fmla="*/ 2147483647 h 1129"/>
                <a:gd name="T30" fmla="*/ 2147483647 w 1112"/>
                <a:gd name="T31" fmla="*/ 2147483647 h 1129"/>
                <a:gd name="T32" fmla="*/ 2147483647 w 1112"/>
                <a:gd name="T33" fmla="*/ 2147483647 h 1129"/>
                <a:gd name="T34" fmla="*/ 2147483647 w 1112"/>
                <a:gd name="T35" fmla="*/ 2147483647 h 1129"/>
                <a:gd name="T36" fmla="*/ 2147483647 w 1112"/>
                <a:gd name="T37" fmla="*/ 2147483647 h 1129"/>
                <a:gd name="T38" fmla="*/ 2147483647 w 1112"/>
                <a:gd name="T39" fmla="*/ 2147483647 h 1129"/>
                <a:gd name="T40" fmla="*/ 2147483647 w 1112"/>
                <a:gd name="T41" fmla="*/ 2147483647 h 1129"/>
                <a:gd name="T42" fmla="*/ 2147483647 w 1112"/>
                <a:gd name="T43" fmla="*/ 2147483647 h 1129"/>
                <a:gd name="T44" fmla="*/ 2147483647 w 1112"/>
                <a:gd name="T45" fmla="*/ 0 h 1129"/>
                <a:gd name="T46" fmla="*/ 2147483647 w 1112"/>
                <a:gd name="T47" fmla="*/ 0 h 1129"/>
                <a:gd name="T48" fmla="*/ 2147483647 w 1112"/>
                <a:gd name="T49" fmla="*/ 0 h 1129"/>
                <a:gd name="T50" fmla="*/ 2147483647 w 1112"/>
                <a:gd name="T51" fmla="*/ 0 h 1129"/>
                <a:gd name="T52" fmla="*/ 2147483647 w 1112"/>
                <a:gd name="T53" fmla="*/ 0 h 1129"/>
                <a:gd name="T54" fmla="*/ 2147483647 w 1112"/>
                <a:gd name="T55" fmla="*/ 0 h 1129"/>
                <a:gd name="T56" fmla="*/ 2147483647 w 1112"/>
                <a:gd name="T57" fmla="*/ 0 h 1129"/>
                <a:gd name="T58" fmla="*/ 2147483647 w 1112"/>
                <a:gd name="T59" fmla="*/ 0 h 1129"/>
                <a:gd name="T60" fmla="*/ 2147483647 w 1112"/>
                <a:gd name="T61" fmla="*/ 0 h 1129"/>
                <a:gd name="T62" fmla="*/ 2147483647 w 1112"/>
                <a:gd name="T63" fmla="*/ 2147483647 h 1129"/>
                <a:gd name="T64" fmla="*/ 2147483647 w 1112"/>
                <a:gd name="T65" fmla="*/ 2147483647 h 1129"/>
                <a:gd name="T66" fmla="*/ 2147483647 w 1112"/>
                <a:gd name="T67" fmla="*/ 2147483647 h 1129"/>
                <a:gd name="T68" fmla="*/ 2147483647 w 1112"/>
                <a:gd name="T69" fmla="*/ 2147483647 h 1129"/>
                <a:gd name="T70" fmla="*/ 2147483647 w 1112"/>
                <a:gd name="T71" fmla="*/ 2147483647 h 1129"/>
                <a:gd name="T72" fmla="*/ 2147483647 w 1112"/>
                <a:gd name="T73" fmla="*/ 2147483647 h 1129"/>
                <a:gd name="T74" fmla="*/ 2147483647 w 1112"/>
                <a:gd name="T75" fmla="*/ 2147483647 h 1129"/>
                <a:gd name="T76" fmla="*/ 2147483647 w 1112"/>
                <a:gd name="T77" fmla="*/ 2147483647 h 1129"/>
                <a:gd name="T78" fmla="*/ 2147483647 w 1112"/>
                <a:gd name="T79" fmla="*/ 2147483647 h 1129"/>
                <a:gd name="T80" fmla="*/ 2147483647 w 1112"/>
                <a:gd name="T81" fmla="*/ 2147483647 h 1129"/>
                <a:gd name="T82" fmla="*/ 2147483647 w 1112"/>
                <a:gd name="T83" fmla="*/ 2147483647 h 1129"/>
                <a:gd name="T84" fmla="*/ 2147483647 w 1112"/>
                <a:gd name="T85" fmla="*/ 2147483647 h 1129"/>
                <a:gd name="T86" fmla="*/ 2147483647 w 1112"/>
                <a:gd name="T87" fmla="*/ 2147483647 h 1129"/>
                <a:gd name="T88" fmla="*/ 2147483647 w 1112"/>
                <a:gd name="T89" fmla="*/ 2147483647 h 1129"/>
                <a:gd name="T90" fmla="*/ 2147483647 w 1112"/>
                <a:gd name="T91" fmla="*/ 2147483647 h 1129"/>
                <a:gd name="T92" fmla="*/ 2147483647 w 1112"/>
                <a:gd name="T93" fmla="*/ 2147483647 h 1129"/>
                <a:gd name="T94" fmla="*/ 2147483647 w 1112"/>
                <a:gd name="T95" fmla="*/ 2147483647 h 1129"/>
                <a:gd name="T96" fmla="*/ 2147483647 w 1112"/>
                <a:gd name="T97" fmla="*/ 2147483647 h 1129"/>
                <a:gd name="T98" fmla="*/ 2147483647 w 1112"/>
                <a:gd name="T99" fmla="*/ 2147483647 h 1129"/>
                <a:gd name="T100" fmla="*/ 2147483647 w 1112"/>
                <a:gd name="T101" fmla="*/ 2147483647 h 1129"/>
                <a:gd name="T102" fmla="*/ 2147483647 w 1112"/>
                <a:gd name="T103" fmla="*/ 2147483647 h 1129"/>
                <a:gd name="T104" fmla="*/ 2147483647 w 1112"/>
                <a:gd name="T105" fmla="*/ 2147483647 h 1129"/>
                <a:gd name="T106" fmla="*/ 2147483647 w 1112"/>
                <a:gd name="T107" fmla="*/ 2147483647 h 11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12"/>
                <a:gd name="T163" fmla="*/ 0 h 1129"/>
                <a:gd name="T164" fmla="*/ 1112 w 1112"/>
                <a:gd name="T165" fmla="*/ 1129 h 112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 name="Freeform 13">
              <a:extLst>
                <a:ext uri="{FF2B5EF4-FFF2-40B4-BE49-F238E27FC236}">
                  <a16:creationId xmlns:a16="http://schemas.microsoft.com/office/drawing/2014/main" id="{A8474763-DEC4-5F99-02CF-78643773FCE5}"/>
                </a:ext>
              </a:extLst>
            </p:cNvPr>
            <p:cNvSpPr>
              <a:spLocks noChangeAspect="1"/>
            </p:cNvSpPr>
            <p:nvPr userDrawn="1"/>
          </p:nvSpPr>
          <p:spPr bwMode="gray">
            <a:xfrm>
              <a:off x="5276223" y="3461522"/>
              <a:ext cx="350701" cy="416112"/>
            </a:xfrm>
            <a:custGeom>
              <a:avLst/>
              <a:gdLst>
                <a:gd name="T0" fmla="*/ 2147483647 w 661"/>
                <a:gd name="T1" fmla="*/ 2147483647 h 727"/>
                <a:gd name="T2" fmla="*/ 0 w 661"/>
                <a:gd name="T3" fmla="*/ 2147483647 h 727"/>
                <a:gd name="T4" fmla="*/ 0 w 661"/>
                <a:gd name="T5" fmla="*/ 2147483647 h 727"/>
                <a:gd name="T6" fmla="*/ 0 w 661"/>
                <a:gd name="T7" fmla="*/ 2147483647 h 727"/>
                <a:gd name="T8" fmla="*/ 0 w 661"/>
                <a:gd name="T9" fmla="*/ 2147483647 h 727"/>
                <a:gd name="T10" fmla="*/ 0 w 661"/>
                <a:gd name="T11" fmla="*/ 2147483647 h 727"/>
                <a:gd name="T12" fmla="*/ 0 w 661"/>
                <a:gd name="T13" fmla="*/ 2147483647 h 727"/>
                <a:gd name="T14" fmla="*/ 0 w 661"/>
                <a:gd name="T15" fmla="*/ 2147483647 h 727"/>
                <a:gd name="T16" fmla="*/ 2147483647 w 661"/>
                <a:gd name="T17" fmla="*/ 2147483647 h 727"/>
                <a:gd name="T18" fmla="*/ 2147483647 w 661"/>
                <a:gd name="T19" fmla="*/ 2147483647 h 727"/>
                <a:gd name="T20" fmla="*/ 0 w 661"/>
                <a:gd name="T21" fmla="*/ 2147483647 h 727"/>
                <a:gd name="T22" fmla="*/ 0 w 661"/>
                <a:gd name="T23" fmla="*/ 2147483647 h 727"/>
                <a:gd name="T24" fmla="*/ 0 w 661"/>
                <a:gd name="T25" fmla="*/ 2147483647 h 727"/>
                <a:gd name="T26" fmla="*/ 2147483647 w 661"/>
                <a:gd name="T27" fmla="*/ 2147483647 h 727"/>
                <a:gd name="T28" fmla="*/ 2147483647 w 661"/>
                <a:gd name="T29" fmla="*/ 2147483647 h 727"/>
                <a:gd name="T30" fmla="*/ 2147483647 w 661"/>
                <a:gd name="T31" fmla="*/ 2147483647 h 727"/>
                <a:gd name="T32" fmla="*/ 2147483647 w 661"/>
                <a:gd name="T33" fmla="*/ 2147483647 h 727"/>
                <a:gd name="T34" fmla="*/ 2147483647 w 661"/>
                <a:gd name="T35" fmla="*/ 2147483647 h 727"/>
                <a:gd name="T36" fmla="*/ 2147483647 w 661"/>
                <a:gd name="T37" fmla="*/ 2147483647 h 727"/>
                <a:gd name="T38" fmla="*/ 2147483647 w 661"/>
                <a:gd name="T39" fmla="*/ 2147483647 h 727"/>
                <a:gd name="T40" fmla="*/ 2147483647 w 661"/>
                <a:gd name="T41" fmla="*/ 2147483647 h 727"/>
                <a:gd name="T42" fmla="*/ 2147483647 w 661"/>
                <a:gd name="T43" fmla="*/ 2147483647 h 727"/>
                <a:gd name="T44" fmla="*/ 2147483647 w 661"/>
                <a:gd name="T45" fmla="*/ 2147483647 h 727"/>
                <a:gd name="T46" fmla="*/ 2147483647 w 661"/>
                <a:gd name="T47" fmla="*/ 2147483647 h 727"/>
                <a:gd name="T48" fmla="*/ 2147483647 w 661"/>
                <a:gd name="T49" fmla="*/ 2147483647 h 727"/>
                <a:gd name="T50" fmla="*/ 2147483647 w 661"/>
                <a:gd name="T51" fmla="*/ 2147483647 h 727"/>
                <a:gd name="T52" fmla="*/ 2147483647 w 661"/>
                <a:gd name="T53" fmla="*/ 2147483647 h 727"/>
                <a:gd name="T54" fmla="*/ 2147483647 w 661"/>
                <a:gd name="T55" fmla="*/ 2147483647 h 727"/>
                <a:gd name="T56" fmla="*/ 2147483647 w 661"/>
                <a:gd name="T57" fmla="*/ 2147483647 h 727"/>
                <a:gd name="T58" fmla="*/ 2147483647 w 661"/>
                <a:gd name="T59" fmla="*/ 2147483647 h 727"/>
                <a:gd name="T60" fmla="*/ 2147483647 w 661"/>
                <a:gd name="T61" fmla="*/ 2147483647 h 727"/>
                <a:gd name="T62" fmla="*/ 2147483647 w 661"/>
                <a:gd name="T63" fmla="*/ 2147483647 h 727"/>
                <a:gd name="T64" fmla="*/ 2147483647 w 661"/>
                <a:gd name="T65" fmla="*/ 2147483647 h 727"/>
                <a:gd name="T66" fmla="*/ 2147483647 w 661"/>
                <a:gd name="T67" fmla="*/ 2147483647 h 727"/>
                <a:gd name="T68" fmla="*/ 2147483647 w 661"/>
                <a:gd name="T69" fmla="*/ 2147483647 h 727"/>
                <a:gd name="T70" fmla="*/ 2147483647 w 661"/>
                <a:gd name="T71" fmla="*/ 2147483647 h 727"/>
                <a:gd name="T72" fmla="*/ 2147483647 w 661"/>
                <a:gd name="T73" fmla="*/ 2147483647 h 727"/>
                <a:gd name="T74" fmla="*/ 2147483647 w 661"/>
                <a:gd name="T75" fmla="*/ 2147483647 h 727"/>
                <a:gd name="T76" fmla="*/ 2147483647 w 661"/>
                <a:gd name="T77" fmla="*/ 2147483647 h 727"/>
                <a:gd name="T78" fmla="*/ 2147483647 w 661"/>
                <a:gd name="T79" fmla="*/ 2147483647 h 727"/>
                <a:gd name="T80" fmla="*/ 2147483647 w 661"/>
                <a:gd name="T81" fmla="*/ 2147483647 h 727"/>
                <a:gd name="T82" fmla="*/ 2147483647 w 661"/>
                <a:gd name="T83" fmla="*/ 0 h 727"/>
                <a:gd name="T84" fmla="*/ 2147483647 w 661"/>
                <a:gd name="T85" fmla="*/ 0 h 727"/>
                <a:gd name="T86" fmla="*/ 2147483647 w 661"/>
                <a:gd name="T87" fmla="*/ 2147483647 h 727"/>
                <a:gd name="T88" fmla="*/ 2147483647 w 661"/>
                <a:gd name="T89" fmla="*/ 2147483647 h 727"/>
                <a:gd name="T90" fmla="*/ 2147483647 w 661"/>
                <a:gd name="T91" fmla="*/ 2147483647 h 727"/>
                <a:gd name="T92" fmla="*/ 2147483647 w 661"/>
                <a:gd name="T93" fmla="*/ 2147483647 h 727"/>
                <a:gd name="T94" fmla="*/ 2147483647 w 661"/>
                <a:gd name="T95" fmla="*/ 2147483647 h 7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1"/>
                <a:gd name="T145" fmla="*/ 0 h 727"/>
                <a:gd name="T146" fmla="*/ 661 w 661"/>
                <a:gd name="T147" fmla="*/ 727 h 7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 name="Freeform 14">
              <a:extLst>
                <a:ext uri="{FF2B5EF4-FFF2-40B4-BE49-F238E27FC236}">
                  <a16:creationId xmlns:a16="http://schemas.microsoft.com/office/drawing/2014/main" id="{A30F728B-C683-C694-21B5-12D1E1953C2C}"/>
                </a:ext>
              </a:extLst>
            </p:cNvPr>
            <p:cNvSpPr>
              <a:spLocks noChangeAspect="1"/>
            </p:cNvSpPr>
            <p:nvPr userDrawn="1"/>
          </p:nvSpPr>
          <p:spPr bwMode="gray">
            <a:xfrm>
              <a:off x="5392625" y="3149058"/>
              <a:ext cx="349208" cy="295698"/>
            </a:xfrm>
            <a:custGeom>
              <a:avLst/>
              <a:gdLst>
                <a:gd name="T0" fmla="*/ 2147483647 w 656"/>
                <a:gd name="T1" fmla="*/ 2147483647 h 526"/>
                <a:gd name="T2" fmla="*/ 2147483647 w 656"/>
                <a:gd name="T3" fmla="*/ 2147483647 h 526"/>
                <a:gd name="T4" fmla="*/ 0 w 656"/>
                <a:gd name="T5" fmla="*/ 2147483647 h 526"/>
                <a:gd name="T6" fmla="*/ 0 w 656"/>
                <a:gd name="T7" fmla="*/ 2147483647 h 526"/>
                <a:gd name="T8" fmla="*/ 2147483647 w 656"/>
                <a:gd name="T9" fmla="*/ 2147483647 h 526"/>
                <a:gd name="T10" fmla="*/ 2147483647 w 656"/>
                <a:gd name="T11" fmla="*/ 2147483647 h 526"/>
                <a:gd name="T12" fmla="*/ 2147483647 w 656"/>
                <a:gd name="T13" fmla="*/ 2147483647 h 526"/>
                <a:gd name="T14" fmla="*/ 2147483647 w 656"/>
                <a:gd name="T15" fmla="*/ 2147483647 h 526"/>
                <a:gd name="T16" fmla="*/ 2147483647 w 656"/>
                <a:gd name="T17" fmla="*/ 2147483647 h 526"/>
                <a:gd name="T18" fmla="*/ 2147483647 w 656"/>
                <a:gd name="T19" fmla="*/ 2147483647 h 526"/>
                <a:gd name="T20" fmla="*/ 2147483647 w 656"/>
                <a:gd name="T21" fmla="*/ 2147483647 h 526"/>
                <a:gd name="T22" fmla="*/ 2147483647 w 656"/>
                <a:gd name="T23" fmla="*/ 2147483647 h 526"/>
                <a:gd name="T24" fmla="*/ 2147483647 w 656"/>
                <a:gd name="T25" fmla="*/ 2147483647 h 526"/>
                <a:gd name="T26" fmla="*/ 2147483647 w 656"/>
                <a:gd name="T27" fmla="*/ 2147483647 h 526"/>
                <a:gd name="T28" fmla="*/ 2147483647 w 656"/>
                <a:gd name="T29" fmla="*/ 2147483647 h 526"/>
                <a:gd name="T30" fmla="*/ 2147483647 w 656"/>
                <a:gd name="T31" fmla="*/ 0 h 526"/>
                <a:gd name="T32" fmla="*/ 2147483647 w 656"/>
                <a:gd name="T33" fmla="*/ 0 h 526"/>
                <a:gd name="T34" fmla="*/ 2147483647 w 656"/>
                <a:gd name="T35" fmla="*/ 0 h 526"/>
                <a:gd name="T36" fmla="*/ 2147483647 w 656"/>
                <a:gd name="T37" fmla="*/ 0 h 526"/>
                <a:gd name="T38" fmla="*/ 2147483647 w 656"/>
                <a:gd name="T39" fmla="*/ 0 h 526"/>
                <a:gd name="T40" fmla="*/ 2147483647 w 656"/>
                <a:gd name="T41" fmla="*/ 0 h 526"/>
                <a:gd name="T42" fmla="*/ 2147483647 w 656"/>
                <a:gd name="T43" fmla="*/ 0 h 526"/>
                <a:gd name="T44" fmla="*/ 2147483647 w 656"/>
                <a:gd name="T45" fmla="*/ 0 h 526"/>
                <a:gd name="T46" fmla="*/ 2147483647 w 656"/>
                <a:gd name="T47" fmla="*/ 2147483647 h 526"/>
                <a:gd name="T48" fmla="*/ 2147483647 w 656"/>
                <a:gd name="T49" fmla="*/ 2147483647 h 526"/>
                <a:gd name="T50" fmla="*/ 2147483647 w 656"/>
                <a:gd name="T51" fmla="*/ 2147483647 h 526"/>
                <a:gd name="T52" fmla="*/ 2147483647 w 656"/>
                <a:gd name="T53" fmla="*/ 2147483647 h 526"/>
                <a:gd name="T54" fmla="*/ 2147483647 w 656"/>
                <a:gd name="T55" fmla="*/ 2147483647 h 526"/>
                <a:gd name="T56" fmla="*/ 2147483647 w 656"/>
                <a:gd name="T57" fmla="*/ 2147483647 h 526"/>
                <a:gd name="T58" fmla="*/ 2147483647 w 656"/>
                <a:gd name="T59" fmla="*/ 2147483647 h 526"/>
                <a:gd name="T60" fmla="*/ 2147483647 w 656"/>
                <a:gd name="T61" fmla="*/ 2147483647 h 526"/>
                <a:gd name="T62" fmla="*/ 2147483647 w 656"/>
                <a:gd name="T63" fmla="*/ 2147483647 h 526"/>
                <a:gd name="T64" fmla="*/ 2147483647 w 656"/>
                <a:gd name="T65" fmla="*/ 2147483647 h 526"/>
                <a:gd name="T66" fmla="*/ 2147483647 w 656"/>
                <a:gd name="T67" fmla="*/ 2147483647 h 526"/>
                <a:gd name="T68" fmla="*/ 2147483647 w 656"/>
                <a:gd name="T69" fmla="*/ 2147483647 h 526"/>
                <a:gd name="T70" fmla="*/ 2147483647 w 656"/>
                <a:gd name="T71" fmla="*/ 2147483647 h 526"/>
                <a:gd name="T72" fmla="*/ 2147483647 w 656"/>
                <a:gd name="T73" fmla="*/ 2147483647 h 526"/>
                <a:gd name="T74" fmla="*/ 2147483647 w 656"/>
                <a:gd name="T75" fmla="*/ 2147483647 h 526"/>
                <a:gd name="T76" fmla="*/ 2147483647 w 656"/>
                <a:gd name="T77" fmla="*/ 2147483647 h 526"/>
                <a:gd name="T78" fmla="*/ 2147483647 w 656"/>
                <a:gd name="T79" fmla="*/ 2147483647 h 526"/>
                <a:gd name="T80" fmla="*/ 2147483647 w 656"/>
                <a:gd name="T81" fmla="*/ 2147483647 h 526"/>
                <a:gd name="T82" fmla="*/ 2147483647 w 656"/>
                <a:gd name="T83" fmla="*/ 2147483647 h 526"/>
                <a:gd name="T84" fmla="*/ 2147483647 w 656"/>
                <a:gd name="T85" fmla="*/ 2147483647 h 526"/>
                <a:gd name="T86" fmla="*/ 2147483647 w 656"/>
                <a:gd name="T87" fmla="*/ 2147483647 h 526"/>
                <a:gd name="T88" fmla="*/ 2147483647 w 656"/>
                <a:gd name="T89" fmla="*/ 2147483647 h 526"/>
                <a:gd name="T90" fmla="*/ 2147483647 w 656"/>
                <a:gd name="T91" fmla="*/ 2147483647 h 526"/>
                <a:gd name="T92" fmla="*/ 2147483647 w 656"/>
                <a:gd name="T93" fmla="*/ 2147483647 h 526"/>
                <a:gd name="T94" fmla="*/ 2147483647 w 656"/>
                <a:gd name="T95" fmla="*/ 2147483647 h 526"/>
                <a:gd name="T96" fmla="*/ 2147483647 w 656"/>
                <a:gd name="T97" fmla="*/ 2147483647 h 526"/>
                <a:gd name="T98" fmla="*/ 2147483647 w 656"/>
                <a:gd name="T99" fmla="*/ 2147483647 h 526"/>
                <a:gd name="T100" fmla="*/ 2147483647 w 656"/>
                <a:gd name="T101" fmla="*/ 2147483647 h 526"/>
                <a:gd name="T102" fmla="*/ 2147483647 w 656"/>
                <a:gd name="T103" fmla="*/ 2147483647 h 526"/>
                <a:gd name="T104" fmla="*/ 2147483647 w 656"/>
                <a:gd name="T105" fmla="*/ 2147483647 h 526"/>
                <a:gd name="T106" fmla="*/ 2147483647 w 656"/>
                <a:gd name="T107" fmla="*/ 2147483647 h 5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56"/>
                <a:gd name="T163" fmla="*/ 0 h 526"/>
                <a:gd name="T164" fmla="*/ 656 w 656"/>
                <a:gd name="T165" fmla="*/ 526 h 52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2" name="Freeform 15">
              <a:extLst>
                <a:ext uri="{FF2B5EF4-FFF2-40B4-BE49-F238E27FC236}">
                  <a16:creationId xmlns:a16="http://schemas.microsoft.com/office/drawing/2014/main" id="{4F93F652-97C5-E593-EEC9-9364A8E7FF88}"/>
                </a:ext>
              </a:extLst>
            </p:cNvPr>
            <p:cNvSpPr>
              <a:spLocks noChangeAspect="1"/>
            </p:cNvSpPr>
            <p:nvPr userDrawn="1"/>
          </p:nvSpPr>
          <p:spPr bwMode="gray">
            <a:xfrm>
              <a:off x="6971523" y="3969087"/>
              <a:ext cx="299961" cy="422208"/>
            </a:xfrm>
            <a:custGeom>
              <a:avLst/>
              <a:gdLst>
                <a:gd name="T0" fmla="*/ 0 w 561"/>
                <a:gd name="T1" fmla="*/ 2147483647 h 740"/>
                <a:gd name="T2" fmla="*/ 0 w 561"/>
                <a:gd name="T3" fmla="*/ 2147483647 h 740"/>
                <a:gd name="T4" fmla="*/ 0 w 561"/>
                <a:gd name="T5" fmla="*/ 2147483647 h 740"/>
                <a:gd name="T6" fmla="*/ 2147483647 w 561"/>
                <a:gd name="T7" fmla="*/ 2147483647 h 740"/>
                <a:gd name="T8" fmla="*/ 2147483647 w 561"/>
                <a:gd name="T9" fmla="*/ 2147483647 h 740"/>
                <a:gd name="T10" fmla="*/ 2147483647 w 561"/>
                <a:gd name="T11" fmla="*/ 2147483647 h 740"/>
                <a:gd name="T12" fmla="*/ 2147483647 w 561"/>
                <a:gd name="T13" fmla="*/ 2147483647 h 740"/>
                <a:gd name="T14" fmla="*/ 2147483647 w 561"/>
                <a:gd name="T15" fmla="*/ 2147483647 h 740"/>
                <a:gd name="T16" fmla="*/ 2147483647 w 561"/>
                <a:gd name="T17" fmla="*/ 2147483647 h 740"/>
                <a:gd name="T18" fmla="*/ 2147483647 w 561"/>
                <a:gd name="T19" fmla="*/ 2147483647 h 740"/>
                <a:gd name="T20" fmla="*/ 2147483647 w 561"/>
                <a:gd name="T21" fmla="*/ 2147483647 h 740"/>
                <a:gd name="T22" fmla="*/ 2147483647 w 561"/>
                <a:gd name="T23" fmla="*/ 2147483647 h 740"/>
                <a:gd name="T24" fmla="*/ 2147483647 w 561"/>
                <a:gd name="T25" fmla="*/ 0 h 740"/>
                <a:gd name="T26" fmla="*/ 2147483647 w 561"/>
                <a:gd name="T27" fmla="*/ 0 h 740"/>
                <a:gd name="T28" fmla="*/ 2147483647 w 561"/>
                <a:gd name="T29" fmla="*/ 0 h 740"/>
                <a:gd name="T30" fmla="*/ 2147483647 w 561"/>
                <a:gd name="T31" fmla="*/ 0 h 740"/>
                <a:gd name="T32" fmla="*/ 2147483647 w 561"/>
                <a:gd name="T33" fmla="*/ 2147483647 h 740"/>
                <a:gd name="T34" fmla="*/ 2147483647 w 561"/>
                <a:gd name="T35" fmla="*/ 2147483647 h 740"/>
                <a:gd name="T36" fmla="*/ 2147483647 w 561"/>
                <a:gd name="T37" fmla="*/ 0 h 740"/>
                <a:gd name="T38" fmla="*/ 2147483647 w 561"/>
                <a:gd name="T39" fmla="*/ 0 h 740"/>
                <a:gd name="T40" fmla="*/ 2147483647 w 561"/>
                <a:gd name="T41" fmla="*/ 0 h 740"/>
                <a:gd name="T42" fmla="*/ 2147483647 w 561"/>
                <a:gd name="T43" fmla="*/ 0 h 740"/>
                <a:gd name="T44" fmla="*/ 2147483647 w 561"/>
                <a:gd name="T45" fmla="*/ 0 h 740"/>
                <a:gd name="T46" fmla="*/ 2147483647 w 561"/>
                <a:gd name="T47" fmla="*/ 0 h 740"/>
                <a:gd name="T48" fmla="*/ 2147483647 w 561"/>
                <a:gd name="T49" fmla="*/ 0 h 740"/>
                <a:gd name="T50" fmla="*/ 2147483647 w 561"/>
                <a:gd name="T51" fmla="*/ 0 h 740"/>
                <a:gd name="T52" fmla="*/ 2147483647 w 561"/>
                <a:gd name="T53" fmla="*/ 0 h 740"/>
                <a:gd name="T54" fmla="*/ 2147483647 w 561"/>
                <a:gd name="T55" fmla="*/ 0 h 740"/>
                <a:gd name="T56" fmla="*/ 2147483647 w 561"/>
                <a:gd name="T57" fmla="*/ 0 h 740"/>
                <a:gd name="T58" fmla="*/ 2147483647 w 561"/>
                <a:gd name="T59" fmla="*/ 0 h 740"/>
                <a:gd name="T60" fmla="*/ 2147483647 w 561"/>
                <a:gd name="T61" fmla="*/ 0 h 740"/>
                <a:gd name="T62" fmla="*/ 2147483647 w 561"/>
                <a:gd name="T63" fmla="*/ 0 h 740"/>
                <a:gd name="T64" fmla="*/ 2147483647 w 561"/>
                <a:gd name="T65" fmla="*/ 0 h 740"/>
                <a:gd name="T66" fmla="*/ 2147483647 w 561"/>
                <a:gd name="T67" fmla="*/ 0 h 740"/>
                <a:gd name="T68" fmla="*/ 2147483647 w 561"/>
                <a:gd name="T69" fmla="*/ 0 h 740"/>
                <a:gd name="T70" fmla="*/ 2147483647 w 561"/>
                <a:gd name="T71" fmla="*/ 2147483647 h 740"/>
                <a:gd name="T72" fmla="*/ 2147483647 w 561"/>
                <a:gd name="T73" fmla="*/ 2147483647 h 740"/>
                <a:gd name="T74" fmla="*/ 2147483647 w 561"/>
                <a:gd name="T75" fmla="*/ 2147483647 h 740"/>
                <a:gd name="T76" fmla="*/ 2147483647 w 561"/>
                <a:gd name="T77" fmla="*/ 2147483647 h 740"/>
                <a:gd name="T78" fmla="*/ 2147483647 w 561"/>
                <a:gd name="T79" fmla="*/ 2147483647 h 740"/>
                <a:gd name="T80" fmla="*/ 2147483647 w 561"/>
                <a:gd name="T81" fmla="*/ 2147483647 h 740"/>
                <a:gd name="T82" fmla="*/ 2147483647 w 561"/>
                <a:gd name="T83" fmla="*/ 2147483647 h 740"/>
                <a:gd name="T84" fmla="*/ 2147483647 w 561"/>
                <a:gd name="T85" fmla="*/ 2147483647 h 740"/>
                <a:gd name="T86" fmla="*/ 2147483647 w 561"/>
                <a:gd name="T87" fmla="*/ 2147483647 h 740"/>
                <a:gd name="T88" fmla="*/ 2147483647 w 561"/>
                <a:gd name="T89" fmla="*/ 2147483647 h 740"/>
                <a:gd name="T90" fmla="*/ 2147483647 w 561"/>
                <a:gd name="T91" fmla="*/ 2147483647 h 740"/>
                <a:gd name="T92" fmla="*/ 2147483647 w 561"/>
                <a:gd name="T93" fmla="*/ 2147483647 h 740"/>
                <a:gd name="T94" fmla="*/ 2147483647 w 561"/>
                <a:gd name="T95" fmla="*/ 2147483647 h 740"/>
                <a:gd name="T96" fmla="*/ 2147483647 w 561"/>
                <a:gd name="T97" fmla="*/ 2147483647 h 740"/>
                <a:gd name="T98" fmla="*/ 2147483647 w 561"/>
                <a:gd name="T99" fmla="*/ 2147483647 h 740"/>
                <a:gd name="T100" fmla="*/ 2147483647 w 561"/>
                <a:gd name="T101" fmla="*/ 2147483647 h 740"/>
                <a:gd name="T102" fmla="*/ 2147483647 w 561"/>
                <a:gd name="T103" fmla="*/ 2147483647 h 740"/>
                <a:gd name="T104" fmla="*/ 2147483647 w 561"/>
                <a:gd name="T105" fmla="*/ 2147483647 h 740"/>
                <a:gd name="T106" fmla="*/ 2147483647 w 561"/>
                <a:gd name="T107" fmla="*/ 2147483647 h 740"/>
                <a:gd name="T108" fmla="*/ 2147483647 w 561"/>
                <a:gd name="T109" fmla="*/ 2147483647 h 740"/>
                <a:gd name="T110" fmla="*/ 2147483647 w 561"/>
                <a:gd name="T111" fmla="*/ 2147483647 h 740"/>
                <a:gd name="T112" fmla="*/ 2147483647 w 561"/>
                <a:gd name="T113" fmla="*/ 2147483647 h 740"/>
                <a:gd name="T114" fmla="*/ 2147483647 w 561"/>
                <a:gd name="T115" fmla="*/ 2147483647 h 740"/>
                <a:gd name="T116" fmla="*/ 2147483647 w 561"/>
                <a:gd name="T117" fmla="*/ 2147483647 h 740"/>
                <a:gd name="T118" fmla="*/ 2147483647 w 561"/>
                <a:gd name="T119" fmla="*/ 2147483647 h 740"/>
                <a:gd name="T120" fmla="*/ 2147483647 w 561"/>
                <a:gd name="T121" fmla="*/ 2147483647 h 740"/>
                <a:gd name="T122" fmla="*/ 2147483647 w 561"/>
                <a:gd name="T123" fmla="*/ 2147483647 h 740"/>
                <a:gd name="T124" fmla="*/ 0 w 561"/>
                <a:gd name="T125" fmla="*/ 2147483647 h 7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1"/>
                <a:gd name="T190" fmla="*/ 0 h 740"/>
                <a:gd name="T191" fmla="*/ 561 w 561"/>
                <a:gd name="T192" fmla="*/ 740 h 7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3" name="Freeform 16">
              <a:extLst>
                <a:ext uri="{FF2B5EF4-FFF2-40B4-BE49-F238E27FC236}">
                  <a16:creationId xmlns:a16="http://schemas.microsoft.com/office/drawing/2014/main" id="{B9176D25-3699-85BA-EF1C-28C23AA445C7}"/>
                </a:ext>
              </a:extLst>
            </p:cNvPr>
            <p:cNvSpPr>
              <a:spLocks noChangeAspect="1"/>
            </p:cNvSpPr>
            <p:nvPr userDrawn="1"/>
          </p:nvSpPr>
          <p:spPr bwMode="gray">
            <a:xfrm>
              <a:off x="6411895" y="3604798"/>
              <a:ext cx="483519" cy="623405"/>
            </a:xfrm>
            <a:custGeom>
              <a:avLst/>
              <a:gdLst>
                <a:gd name="T0" fmla="*/ 2147483647 w 907"/>
                <a:gd name="T1" fmla="*/ 2147483647 h 1097"/>
                <a:gd name="T2" fmla="*/ 2147483647 w 907"/>
                <a:gd name="T3" fmla="*/ 2147483647 h 1097"/>
                <a:gd name="T4" fmla="*/ 2147483647 w 907"/>
                <a:gd name="T5" fmla="*/ 2147483647 h 1097"/>
                <a:gd name="T6" fmla="*/ 0 w 907"/>
                <a:gd name="T7" fmla="*/ 2147483647 h 1097"/>
                <a:gd name="T8" fmla="*/ 0 w 907"/>
                <a:gd name="T9" fmla="*/ 2147483647 h 1097"/>
                <a:gd name="T10" fmla="*/ 0 w 907"/>
                <a:gd name="T11" fmla="*/ 2147483647 h 1097"/>
                <a:gd name="T12" fmla="*/ 0 w 907"/>
                <a:gd name="T13" fmla="*/ 2147483647 h 1097"/>
                <a:gd name="T14" fmla="*/ 0 w 907"/>
                <a:gd name="T15" fmla="*/ 2147483647 h 1097"/>
                <a:gd name="T16" fmla="*/ 2147483647 w 907"/>
                <a:gd name="T17" fmla="*/ 2147483647 h 1097"/>
                <a:gd name="T18" fmla="*/ 2147483647 w 907"/>
                <a:gd name="T19" fmla="*/ 2147483647 h 1097"/>
                <a:gd name="T20" fmla="*/ 2147483647 w 907"/>
                <a:gd name="T21" fmla="*/ 2147483647 h 1097"/>
                <a:gd name="T22" fmla="*/ 2147483647 w 907"/>
                <a:gd name="T23" fmla="*/ 2147483647 h 1097"/>
                <a:gd name="T24" fmla="*/ 2147483647 w 907"/>
                <a:gd name="T25" fmla="*/ 2147483647 h 1097"/>
                <a:gd name="T26" fmla="*/ 2147483647 w 907"/>
                <a:gd name="T27" fmla="*/ 2147483647 h 1097"/>
                <a:gd name="T28" fmla="*/ 2147483647 w 907"/>
                <a:gd name="T29" fmla="*/ 2147483647 h 1097"/>
                <a:gd name="T30" fmla="*/ 2147483647 w 907"/>
                <a:gd name="T31" fmla="*/ 2147483647 h 1097"/>
                <a:gd name="T32" fmla="*/ 2147483647 w 907"/>
                <a:gd name="T33" fmla="*/ 2147483647 h 1097"/>
                <a:gd name="T34" fmla="*/ 2147483647 w 907"/>
                <a:gd name="T35" fmla="*/ 2147483647 h 1097"/>
                <a:gd name="T36" fmla="*/ 2147483647 w 907"/>
                <a:gd name="T37" fmla="*/ 2147483647 h 1097"/>
                <a:gd name="T38" fmla="*/ 2147483647 w 907"/>
                <a:gd name="T39" fmla="*/ 2147483647 h 1097"/>
                <a:gd name="T40" fmla="*/ 2147483647 w 907"/>
                <a:gd name="T41" fmla="*/ 2147483647 h 1097"/>
                <a:gd name="T42" fmla="*/ 2147483647 w 907"/>
                <a:gd name="T43" fmla="*/ 2147483647 h 1097"/>
                <a:gd name="T44" fmla="*/ 2147483647 w 907"/>
                <a:gd name="T45" fmla="*/ 2147483647 h 1097"/>
                <a:gd name="T46" fmla="*/ 2147483647 w 907"/>
                <a:gd name="T47" fmla="*/ 2147483647 h 1097"/>
                <a:gd name="T48" fmla="*/ 2147483647 w 907"/>
                <a:gd name="T49" fmla="*/ 2147483647 h 1097"/>
                <a:gd name="T50" fmla="*/ 2147483647 w 907"/>
                <a:gd name="T51" fmla="*/ 2147483647 h 1097"/>
                <a:gd name="T52" fmla="*/ 2147483647 w 907"/>
                <a:gd name="T53" fmla="*/ 2147483647 h 1097"/>
                <a:gd name="T54" fmla="*/ 2147483647 w 907"/>
                <a:gd name="T55" fmla="*/ 2147483647 h 1097"/>
                <a:gd name="T56" fmla="*/ 2147483647 w 907"/>
                <a:gd name="T57" fmla="*/ 2147483647 h 1097"/>
                <a:gd name="T58" fmla="*/ 2147483647 w 907"/>
                <a:gd name="T59" fmla="*/ 2147483647 h 1097"/>
                <a:gd name="T60" fmla="*/ 2147483647 w 907"/>
                <a:gd name="T61" fmla="*/ 2147483647 h 1097"/>
                <a:gd name="T62" fmla="*/ 2147483647 w 907"/>
                <a:gd name="T63" fmla="*/ 2147483647 h 1097"/>
                <a:gd name="T64" fmla="*/ 2147483647 w 907"/>
                <a:gd name="T65" fmla="*/ 2147483647 h 1097"/>
                <a:gd name="T66" fmla="*/ 2147483647 w 907"/>
                <a:gd name="T67" fmla="*/ 2147483647 h 1097"/>
                <a:gd name="T68" fmla="*/ 2147483647 w 907"/>
                <a:gd name="T69" fmla="*/ 2147483647 h 1097"/>
                <a:gd name="T70" fmla="*/ 2147483647 w 907"/>
                <a:gd name="T71" fmla="*/ 2147483647 h 1097"/>
                <a:gd name="T72" fmla="*/ 2147483647 w 907"/>
                <a:gd name="T73" fmla="*/ 2147483647 h 1097"/>
                <a:gd name="T74" fmla="*/ 2147483647 w 907"/>
                <a:gd name="T75" fmla="*/ 2147483647 h 1097"/>
                <a:gd name="T76" fmla="*/ 2147483647 w 907"/>
                <a:gd name="T77" fmla="*/ 2147483647 h 1097"/>
                <a:gd name="T78" fmla="*/ 2147483647 w 907"/>
                <a:gd name="T79" fmla="*/ 2147483647 h 1097"/>
                <a:gd name="T80" fmla="*/ 2147483647 w 907"/>
                <a:gd name="T81" fmla="*/ 2147483647 h 1097"/>
                <a:gd name="T82" fmla="*/ 2147483647 w 907"/>
                <a:gd name="T83" fmla="*/ 2147483647 h 1097"/>
                <a:gd name="T84" fmla="*/ 2147483647 w 907"/>
                <a:gd name="T85" fmla="*/ 2147483647 h 1097"/>
                <a:gd name="T86" fmla="*/ 2147483647 w 907"/>
                <a:gd name="T87" fmla="*/ 2147483647 h 1097"/>
                <a:gd name="T88" fmla="*/ 2147483647 w 907"/>
                <a:gd name="T89" fmla="*/ 2147483647 h 1097"/>
                <a:gd name="T90" fmla="*/ 2147483647 w 907"/>
                <a:gd name="T91" fmla="*/ 2147483647 h 1097"/>
                <a:gd name="T92" fmla="*/ 2147483647 w 907"/>
                <a:gd name="T93" fmla="*/ 2147483647 h 1097"/>
                <a:gd name="T94" fmla="*/ 2147483647 w 907"/>
                <a:gd name="T95" fmla="*/ 0 h 1097"/>
                <a:gd name="T96" fmla="*/ 2147483647 w 907"/>
                <a:gd name="T97" fmla="*/ 0 h 1097"/>
                <a:gd name="T98" fmla="*/ 2147483647 w 907"/>
                <a:gd name="T99" fmla="*/ 0 h 1097"/>
                <a:gd name="T100" fmla="*/ 2147483647 w 907"/>
                <a:gd name="T101" fmla="*/ 0 h 1097"/>
                <a:gd name="T102" fmla="*/ 2147483647 w 907"/>
                <a:gd name="T103" fmla="*/ 0 h 1097"/>
                <a:gd name="T104" fmla="*/ 2147483647 w 907"/>
                <a:gd name="T105" fmla="*/ 0 h 1097"/>
                <a:gd name="T106" fmla="*/ 2147483647 w 907"/>
                <a:gd name="T107" fmla="*/ 0 h 1097"/>
                <a:gd name="T108" fmla="*/ 2147483647 w 907"/>
                <a:gd name="T109" fmla="*/ 2147483647 h 10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7"/>
                <a:gd name="T166" fmla="*/ 0 h 1097"/>
                <a:gd name="T167" fmla="*/ 907 w 907"/>
                <a:gd name="T168" fmla="*/ 1097 h 109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4" name="Freeform 17">
              <a:extLst>
                <a:ext uri="{FF2B5EF4-FFF2-40B4-BE49-F238E27FC236}">
                  <a16:creationId xmlns:a16="http://schemas.microsoft.com/office/drawing/2014/main" id="{1AD7A36B-7360-DCFA-9D2E-7C1C92CDDD3E}"/>
                </a:ext>
              </a:extLst>
            </p:cNvPr>
            <p:cNvSpPr>
              <a:spLocks noChangeAspect="1"/>
            </p:cNvSpPr>
            <p:nvPr userDrawn="1"/>
          </p:nvSpPr>
          <p:spPr bwMode="gray">
            <a:xfrm>
              <a:off x="5774665" y="3588032"/>
              <a:ext cx="464119" cy="387152"/>
            </a:xfrm>
            <a:custGeom>
              <a:avLst/>
              <a:gdLst>
                <a:gd name="T0" fmla="*/ 2147483647 w 872"/>
                <a:gd name="T1" fmla="*/ 2147483647 h 678"/>
                <a:gd name="T2" fmla="*/ 2147483647 w 872"/>
                <a:gd name="T3" fmla="*/ 2147483647 h 678"/>
                <a:gd name="T4" fmla="*/ 2147483647 w 872"/>
                <a:gd name="T5" fmla="*/ 2147483647 h 678"/>
                <a:gd name="T6" fmla="*/ 2147483647 w 872"/>
                <a:gd name="T7" fmla="*/ 2147483647 h 678"/>
                <a:gd name="T8" fmla="*/ 2147483647 w 872"/>
                <a:gd name="T9" fmla="*/ 2147483647 h 678"/>
                <a:gd name="T10" fmla="*/ 0 w 872"/>
                <a:gd name="T11" fmla="*/ 2147483647 h 678"/>
                <a:gd name="T12" fmla="*/ 0 w 872"/>
                <a:gd name="T13" fmla="*/ 2147483647 h 678"/>
                <a:gd name="T14" fmla="*/ 0 w 872"/>
                <a:gd name="T15" fmla="*/ 2147483647 h 678"/>
                <a:gd name="T16" fmla="*/ 0 w 872"/>
                <a:gd name="T17" fmla="*/ 2147483647 h 678"/>
                <a:gd name="T18" fmla="*/ 2147483647 w 872"/>
                <a:gd name="T19" fmla="*/ 2147483647 h 678"/>
                <a:gd name="T20" fmla="*/ 2147483647 w 872"/>
                <a:gd name="T21" fmla="*/ 2147483647 h 678"/>
                <a:gd name="T22" fmla="*/ 2147483647 w 872"/>
                <a:gd name="T23" fmla="*/ 2147483647 h 678"/>
                <a:gd name="T24" fmla="*/ 2147483647 w 872"/>
                <a:gd name="T25" fmla="*/ 2147483647 h 678"/>
                <a:gd name="T26" fmla="*/ 2147483647 w 872"/>
                <a:gd name="T27" fmla="*/ 2147483647 h 678"/>
                <a:gd name="T28" fmla="*/ 2147483647 w 872"/>
                <a:gd name="T29" fmla="*/ 2147483647 h 678"/>
                <a:gd name="T30" fmla="*/ 2147483647 w 872"/>
                <a:gd name="T31" fmla="*/ 2147483647 h 678"/>
                <a:gd name="T32" fmla="*/ 2147483647 w 872"/>
                <a:gd name="T33" fmla="*/ 2147483647 h 678"/>
                <a:gd name="T34" fmla="*/ 2147483647 w 872"/>
                <a:gd name="T35" fmla="*/ 2147483647 h 678"/>
                <a:gd name="T36" fmla="*/ 2147483647 w 872"/>
                <a:gd name="T37" fmla="*/ 2147483647 h 678"/>
                <a:gd name="T38" fmla="*/ 2147483647 w 872"/>
                <a:gd name="T39" fmla="*/ 2147483647 h 678"/>
                <a:gd name="T40" fmla="*/ 2147483647 w 872"/>
                <a:gd name="T41" fmla="*/ 2147483647 h 678"/>
                <a:gd name="T42" fmla="*/ 2147483647 w 872"/>
                <a:gd name="T43" fmla="*/ 2147483647 h 678"/>
                <a:gd name="T44" fmla="*/ 2147483647 w 872"/>
                <a:gd name="T45" fmla="*/ 2147483647 h 678"/>
                <a:gd name="T46" fmla="*/ 2147483647 w 872"/>
                <a:gd name="T47" fmla="*/ 2147483647 h 678"/>
                <a:gd name="T48" fmla="*/ 2147483647 w 872"/>
                <a:gd name="T49" fmla="*/ 2147483647 h 678"/>
                <a:gd name="T50" fmla="*/ 2147483647 w 872"/>
                <a:gd name="T51" fmla="*/ 2147483647 h 678"/>
                <a:gd name="T52" fmla="*/ 2147483647 w 872"/>
                <a:gd name="T53" fmla="*/ 2147483647 h 678"/>
                <a:gd name="T54" fmla="*/ 2147483647 w 872"/>
                <a:gd name="T55" fmla="*/ 2147483647 h 678"/>
                <a:gd name="T56" fmla="*/ 2147483647 w 872"/>
                <a:gd name="T57" fmla="*/ 2147483647 h 678"/>
                <a:gd name="T58" fmla="*/ 2147483647 w 872"/>
                <a:gd name="T59" fmla="*/ 2147483647 h 678"/>
                <a:gd name="T60" fmla="*/ 2147483647 w 872"/>
                <a:gd name="T61" fmla="*/ 2147483647 h 678"/>
                <a:gd name="T62" fmla="*/ 2147483647 w 872"/>
                <a:gd name="T63" fmla="*/ 2147483647 h 678"/>
                <a:gd name="T64" fmla="*/ 2147483647 w 872"/>
                <a:gd name="T65" fmla="*/ 2147483647 h 678"/>
                <a:gd name="T66" fmla="*/ 2147483647 w 872"/>
                <a:gd name="T67" fmla="*/ 2147483647 h 678"/>
                <a:gd name="T68" fmla="*/ 2147483647 w 872"/>
                <a:gd name="T69" fmla="*/ 2147483647 h 678"/>
                <a:gd name="T70" fmla="*/ 2147483647 w 872"/>
                <a:gd name="T71" fmla="*/ 2147483647 h 678"/>
                <a:gd name="T72" fmla="*/ 2147483647 w 872"/>
                <a:gd name="T73" fmla="*/ 2147483647 h 678"/>
                <a:gd name="T74" fmla="*/ 2147483647 w 872"/>
                <a:gd name="T75" fmla="*/ 2147483647 h 678"/>
                <a:gd name="T76" fmla="*/ 2147483647 w 872"/>
                <a:gd name="T77" fmla="*/ 2147483647 h 678"/>
                <a:gd name="T78" fmla="*/ 2147483647 w 872"/>
                <a:gd name="T79" fmla="*/ 2147483647 h 678"/>
                <a:gd name="T80" fmla="*/ 2147483647 w 872"/>
                <a:gd name="T81" fmla="*/ 2147483647 h 678"/>
                <a:gd name="T82" fmla="*/ 2147483647 w 872"/>
                <a:gd name="T83" fmla="*/ 2147483647 h 678"/>
                <a:gd name="T84" fmla="*/ 2147483647 w 872"/>
                <a:gd name="T85" fmla="*/ 2147483647 h 678"/>
                <a:gd name="T86" fmla="*/ 2147483647 w 872"/>
                <a:gd name="T87" fmla="*/ 2147483647 h 678"/>
                <a:gd name="T88" fmla="*/ 2147483647 w 872"/>
                <a:gd name="T89" fmla="*/ 2147483647 h 678"/>
                <a:gd name="T90" fmla="*/ 2147483647 w 872"/>
                <a:gd name="T91" fmla="*/ 2147483647 h 678"/>
                <a:gd name="T92" fmla="*/ 2147483647 w 872"/>
                <a:gd name="T93" fmla="*/ 0 h 678"/>
                <a:gd name="T94" fmla="*/ 2147483647 w 872"/>
                <a:gd name="T95" fmla="*/ 0 h 678"/>
                <a:gd name="T96" fmla="*/ 2147483647 w 872"/>
                <a:gd name="T97" fmla="*/ 0 h 678"/>
                <a:gd name="T98" fmla="*/ 2147483647 w 872"/>
                <a:gd name="T99" fmla="*/ 0 h 678"/>
                <a:gd name="T100" fmla="*/ 2147483647 w 872"/>
                <a:gd name="T101" fmla="*/ 0 h 678"/>
                <a:gd name="T102" fmla="*/ 2147483647 w 872"/>
                <a:gd name="T103" fmla="*/ 2147483647 h 678"/>
                <a:gd name="T104" fmla="*/ 2147483647 w 872"/>
                <a:gd name="T105" fmla="*/ 2147483647 h 678"/>
                <a:gd name="T106" fmla="*/ 2147483647 w 872"/>
                <a:gd name="T107" fmla="*/ 2147483647 h 678"/>
                <a:gd name="T108" fmla="*/ 2147483647 w 872"/>
                <a:gd name="T109" fmla="*/ 2147483647 h 67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2"/>
                <a:gd name="T166" fmla="*/ 0 h 678"/>
                <a:gd name="T167" fmla="*/ 872 w 872"/>
                <a:gd name="T168" fmla="*/ 678 h 67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5" name="Freeform 18">
              <a:extLst>
                <a:ext uri="{FF2B5EF4-FFF2-40B4-BE49-F238E27FC236}">
                  <a16:creationId xmlns:a16="http://schemas.microsoft.com/office/drawing/2014/main" id="{B0BC75DA-4E1D-5A7F-A409-12B965F0FFD0}"/>
                </a:ext>
              </a:extLst>
            </p:cNvPr>
            <p:cNvSpPr>
              <a:spLocks noChangeAspect="1"/>
            </p:cNvSpPr>
            <p:nvPr userDrawn="1"/>
          </p:nvSpPr>
          <p:spPr bwMode="gray">
            <a:xfrm>
              <a:off x="6737226" y="3876110"/>
              <a:ext cx="441733" cy="353619"/>
            </a:xfrm>
            <a:custGeom>
              <a:avLst/>
              <a:gdLst>
                <a:gd name="T0" fmla="*/ 2147483647 w 824"/>
                <a:gd name="T1" fmla="*/ 2147483647 h 626"/>
                <a:gd name="T2" fmla="*/ 2147483647 w 824"/>
                <a:gd name="T3" fmla="*/ 2147483647 h 626"/>
                <a:gd name="T4" fmla="*/ 2147483647 w 824"/>
                <a:gd name="T5" fmla="*/ 2147483647 h 626"/>
                <a:gd name="T6" fmla="*/ 2147483647 w 824"/>
                <a:gd name="T7" fmla="*/ 2147483647 h 626"/>
                <a:gd name="T8" fmla="*/ 2147483647 w 824"/>
                <a:gd name="T9" fmla="*/ 2147483647 h 626"/>
                <a:gd name="T10" fmla="*/ 2147483647 w 824"/>
                <a:gd name="T11" fmla="*/ 2147483647 h 626"/>
                <a:gd name="T12" fmla="*/ 2147483647 w 824"/>
                <a:gd name="T13" fmla="*/ 2147483647 h 626"/>
                <a:gd name="T14" fmla="*/ 0 w 824"/>
                <a:gd name="T15" fmla="*/ 2147483647 h 626"/>
                <a:gd name="T16" fmla="*/ 0 w 824"/>
                <a:gd name="T17" fmla="*/ 2147483647 h 626"/>
                <a:gd name="T18" fmla="*/ 0 w 824"/>
                <a:gd name="T19" fmla="*/ 2147483647 h 626"/>
                <a:gd name="T20" fmla="*/ 0 w 824"/>
                <a:gd name="T21" fmla="*/ 2147483647 h 626"/>
                <a:gd name="T22" fmla="*/ 2147483647 w 824"/>
                <a:gd name="T23" fmla="*/ 2147483647 h 626"/>
                <a:gd name="T24" fmla="*/ 2147483647 w 824"/>
                <a:gd name="T25" fmla="*/ 2147483647 h 626"/>
                <a:gd name="T26" fmla="*/ 2147483647 w 824"/>
                <a:gd name="T27" fmla="*/ 2147483647 h 626"/>
                <a:gd name="T28" fmla="*/ 2147483647 w 824"/>
                <a:gd name="T29" fmla="*/ 2147483647 h 626"/>
                <a:gd name="T30" fmla="*/ 2147483647 w 824"/>
                <a:gd name="T31" fmla="*/ 2147483647 h 626"/>
                <a:gd name="T32" fmla="*/ 2147483647 w 824"/>
                <a:gd name="T33" fmla="*/ 2147483647 h 626"/>
                <a:gd name="T34" fmla="*/ 2147483647 w 824"/>
                <a:gd name="T35" fmla="*/ 2147483647 h 626"/>
                <a:gd name="T36" fmla="*/ 2147483647 w 824"/>
                <a:gd name="T37" fmla="*/ 2147483647 h 626"/>
                <a:gd name="T38" fmla="*/ 2147483647 w 824"/>
                <a:gd name="T39" fmla="*/ 2147483647 h 626"/>
                <a:gd name="T40" fmla="*/ 2147483647 w 824"/>
                <a:gd name="T41" fmla="*/ 2147483647 h 626"/>
                <a:gd name="T42" fmla="*/ 2147483647 w 824"/>
                <a:gd name="T43" fmla="*/ 2147483647 h 626"/>
                <a:gd name="T44" fmla="*/ 2147483647 w 824"/>
                <a:gd name="T45" fmla="*/ 2147483647 h 626"/>
                <a:gd name="T46" fmla="*/ 2147483647 w 824"/>
                <a:gd name="T47" fmla="*/ 2147483647 h 626"/>
                <a:gd name="T48" fmla="*/ 2147483647 w 824"/>
                <a:gd name="T49" fmla="*/ 2147483647 h 626"/>
                <a:gd name="T50" fmla="*/ 2147483647 w 824"/>
                <a:gd name="T51" fmla="*/ 2147483647 h 626"/>
                <a:gd name="T52" fmla="*/ 2147483647 w 824"/>
                <a:gd name="T53" fmla="*/ 2147483647 h 626"/>
                <a:gd name="T54" fmla="*/ 2147483647 w 824"/>
                <a:gd name="T55" fmla="*/ 2147483647 h 626"/>
                <a:gd name="T56" fmla="*/ 2147483647 w 824"/>
                <a:gd name="T57" fmla="*/ 2147483647 h 626"/>
                <a:gd name="T58" fmla="*/ 2147483647 w 824"/>
                <a:gd name="T59" fmla="*/ 2147483647 h 626"/>
                <a:gd name="T60" fmla="*/ 2147483647 w 824"/>
                <a:gd name="T61" fmla="*/ 2147483647 h 626"/>
                <a:gd name="T62" fmla="*/ 2147483647 w 824"/>
                <a:gd name="T63" fmla="*/ 2147483647 h 626"/>
                <a:gd name="T64" fmla="*/ 2147483647 w 824"/>
                <a:gd name="T65" fmla="*/ 2147483647 h 626"/>
                <a:gd name="T66" fmla="*/ 2147483647 w 824"/>
                <a:gd name="T67" fmla="*/ 2147483647 h 626"/>
                <a:gd name="T68" fmla="*/ 2147483647 w 824"/>
                <a:gd name="T69" fmla="*/ 2147483647 h 626"/>
                <a:gd name="T70" fmla="*/ 2147483647 w 824"/>
                <a:gd name="T71" fmla="*/ 2147483647 h 626"/>
                <a:gd name="T72" fmla="*/ 2147483647 w 824"/>
                <a:gd name="T73" fmla="*/ 2147483647 h 626"/>
                <a:gd name="T74" fmla="*/ 2147483647 w 824"/>
                <a:gd name="T75" fmla="*/ 2147483647 h 626"/>
                <a:gd name="T76" fmla="*/ 2147483647 w 824"/>
                <a:gd name="T77" fmla="*/ 2147483647 h 626"/>
                <a:gd name="T78" fmla="*/ 2147483647 w 824"/>
                <a:gd name="T79" fmla="*/ 0 h 626"/>
                <a:gd name="T80" fmla="*/ 2147483647 w 824"/>
                <a:gd name="T81" fmla="*/ 0 h 626"/>
                <a:gd name="T82" fmla="*/ 2147483647 w 824"/>
                <a:gd name="T83" fmla="*/ 0 h 626"/>
                <a:gd name="T84" fmla="*/ 2147483647 w 824"/>
                <a:gd name="T85" fmla="*/ 0 h 626"/>
                <a:gd name="T86" fmla="*/ 2147483647 w 824"/>
                <a:gd name="T87" fmla="*/ 0 h 626"/>
                <a:gd name="T88" fmla="*/ 2147483647 w 824"/>
                <a:gd name="T89" fmla="*/ 0 h 626"/>
                <a:gd name="T90" fmla="*/ 2147483647 w 824"/>
                <a:gd name="T91" fmla="*/ 0 h 626"/>
                <a:gd name="T92" fmla="*/ 2147483647 w 824"/>
                <a:gd name="T93" fmla="*/ 0 h 626"/>
                <a:gd name="T94" fmla="*/ 2147483647 w 824"/>
                <a:gd name="T95" fmla="*/ 0 h 626"/>
                <a:gd name="T96" fmla="*/ 2147483647 w 824"/>
                <a:gd name="T97" fmla="*/ 0 h 626"/>
                <a:gd name="T98" fmla="*/ 2147483647 w 824"/>
                <a:gd name="T99" fmla="*/ 0 h 626"/>
                <a:gd name="T100" fmla="*/ 2147483647 w 824"/>
                <a:gd name="T101" fmla="*/ 0 h 626"/>
                <a:gd name="T102" fmla="*/ 2147483647 w 824"/>
                <a:gd name="T103" fmla="*/ 0 h 626"/>
                <a:gd name="T104" fmla="*/ 2147483647 w 824"/>
                <a:gd name="T105" fmla="*/ 0 h 626"/>
                <a:gd name="T106" fmla="*/ 2147483647 w 824"/>
                <a:gd name="T107" fmla="*/ 0 h 6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24"/>
                <a:gd name="T163" fmla="*/ 0 h 626"/>
                <a:gd name="T164" fmla="*/ 824 w 824"/>
                <a:gd name="T165" fmla="*/ 626 h 62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6" name="Freeform 19">
              <a:extLst>
                <a:ext uri="{FF2B5EF4-FFF2-40B4-BE49-F238E27FC236}">
                  <a16:creationId xmlns:a16="http://schemas.microsoft.com/office/drawing/2014/main" id="{EE7CCEE4-67FB-58A6-C1DF-5C7ED68B805E}"/>
                </a:ext>
              </a:extLst>
            </p:cNvPr>
            <p:cNvSpPr>
              <a:spLocks noChangeAspect="1"/>
            </p:cNvSpPr>
            <p:nvPr userDrawn="1"/>
          </p:nvSpPr>
          <p:spPr bwMode="gray">
            <a:xfrm>
              <a:off x="6038810" y="3249657"/>
              <a:ext cx="464118" cy="475556"/>
            </a:xfrm>
            <a:custGeom>
              <a:avLst/>
              <a:gdLst>
                <a:gd name="T0" fmla="*/ 2147483647 w 871"/>
                <a:gd name="T1" fmla="*/ 2147483647 h 832"/>
                <a:gd name="T2" fmla="*/ 2147483647 w 871"/>
                <a:gd name="T3" fmla="*/ 2147483647 h 832"/>
                <a:gd name="T4" fmla="*/ 0 w 871"/>
                <a:gd name="T5" fmla="*/ 2147483647 h 832"/>
                <a:gd name="T6" fmla="*/ 0 w 871"/>
                <a:gd name="T7" fmla="*/ 2147483647 h 832"/>
                <a:gd name="T8" fmla="*/ 0 w 871"/>
                <a:gd name="T9" fmla="*/ 2147483647 h 832"/>
                <a:gd name="T10" fmla="*/ 0 w 871"/>
                <a:gd name="T11" fmla="*/ 2147483647 h 832"/>
                <a:gd name="T12" fmla="*/ 0 w 871"/>
                <a:gd name="T13" fmla="*/ 2147483647 h 832"/>
                <a:gd name="T14" fmla="*/ 0 w 871"/>
                <a:gd name="T15" fmla="*/ 2147483647 h 832"/>
                <a:gd name="T16" fmla="*/ 0 w 871"/>
                <a:gd name="T17" fmla="*/ 2147483647 h 832"/>
                <a:gd name="T18" fmla="*/ 0 w 871"/>
                <a:gd name="T19" fmla="*/ 2147483647 h 832"/>
                <a:gd name="T20" fmla="*/ 2147483647 w 871"/>
                <a:gd name="T21" fmla="*/ 2147483647 h 832"/>
                <a:gd name="T22" fmla="*/ 2147483647 w 871"/>
                <a:gd name="T23" fmla="*/ 2147483647 h 832"/>
                <a:gd name="T24" fmla="*/ 2147483647 w 871"/>
                <a:gd name="T25" fmla="*/ 0 h 832"/>
                <a:gd name="T26" fmla="*/ 2147483647 w 871"/>
                <a:gd name="T27" fmla="*/ 0 h 832"/>
                <a:gd name="T28" fmla="*/ 2147483647 w 871"/>
                <a:gd name="T29" fmla="*/ 0 h 832"/>
                <a:gd name="T30" fmla="*/ 2147483647 w 871"/>
                <a:gd name="T31" fmla="*/ 0 h 832"/>
                <a:gd name="T32" fmla="*/ 2147483647 w 871"/>
                <a:gd name="T33" fmla="*/ 0 h 832"/>
                <a:gd name="T34" fmla="*/ 2147483647 w 871"/>
                <a:gd name="T35" fmla="*/ 0 h 832"/>
                <a:gd name="T36" fmla="*/ 2147483647 w 871"/>
                <a:gd name="T37" fmla="*/ 0 h 832"/>
                <a:gd name="T38" fmla="*/ 2147483647 w 871"/>
                <a:gd name="T39" fmla="*/ 2147483647 h 832"/>
                <a:gd name="T40" fmla="*/ 2147483647 w 871"/>
                <a:gd name="T41" fmla="*/ 2147483647 h 832"/>
                <a:gd name="T42" fmla="*/ 2147483647 w 871"/>
                <a:gd name="T43" fmla="*/ 2147483647 h 832"/>
                <a:gd name="T44" fmla="*/ 2147483647 w 871"/>
                <a:gd name="T45" fmla="*/ 2147483647 h 832"/>
                <a:gd name="T46" fmla="*/ 2147483647 w 871"/>
                <a:gd name="T47" fmla="*/ 2147483647 h 832"/>
                <a:gd name="T48" fmla="*/ 2147483647 w 871"/>
                <a:gd name="T49" fmla="*/ 2147483647 h 832"/>
                <a:gd name="T50" fmla="*/ 2147483647 w 871"/>
                <a:gd name="T51" fmla="*/ 2147483647 h 832"/>
                <a:gd name="T52" fmla="*/ 2147483647 w 871"/>
                <a:gd name="T53" fmla="*/ 2147483647 h 832"/>
                <a:gd name="T54" fmla="*/ 2147483647 w 871"/>
                <a:gd name="T55" fmla="*/ 2147483647 h 832"/>
                <a:gd name="T56" fmla="*/ 2147483647 w 871"/>
                <a:gd name="T57" fmla="*/ 0 h 832"/>
                <a:gd name="T58" fmla="*/ 2147483647 w 871"/>
                <a:gd name="T59" fmla="*/ 0 h 832"/>
                <a:gd name="T60" fmla="*/ 2147483647 w 871"/>
                <a:gd name="T61" fmla="*/ 0 h 832"/>
                <a:gd name="T62" fmla="*/ 2147483647 w 871"/>
                <a:gd name="T63" fmla="*/ 0 h 832"/>
                <a:gd name="T64" fmla="*/ 2147483647 w 871"/>
                <a:gd name="T65" fmla="*/ 0 h 832"/>
                <a:gd name="T66" fmla="*/ 2147483647 w 871"/>
                <a:gd name="T67" fmla="*/ 0 h 832"/>
                <a:gd name="T68" fmla="*/ 2147483647 w 871"/>
                <a:gd name="T69" fmla="*/ 0 h 832"/>
                <a:gd name="T70" fmla="*/ 2147483647 w 871"/>
                <a:gd name="T71" fmla="*/ 2147483647 h 832"/>
                <a:gd name="T72" fmla="*/ 2147483647 w 871"/>
                <a:gd name="T73" fmla="*/ 2147483647 h 832"/>
                <a:gd name="T74" fmla="*/ 2147483647 w 871"/>
                <a:gd name="T75" fmla="*/ 2147483647 h 832"/>
                <a:gd name="T76" fmla="*/ 2147483647 w 871"/>
                <a:gd name="T77" fmla="*/ 2147483647 h 832"/>
                <a:gd name="T78" fmla="*/ 2147483647 w 871"/>
                <a:gd name="T79" fmla="*/ 2147483647 h 832"/>
                <a:gd name="T80" fmla="*/ 2147483647 w 871"/>
                <a:gd name="T81" fmla="*/ 2147483647 h 832"/>
                <a:gd name="T82" fmla="*/ 2147483647 w 871"/>
                <a:gd name="T83" fmla="*/ 2147483647 h 832"/>
                <a:gd name="T84" fmla="*/ 2147483647 w 871"/>
                <a:gd name="T85" fmla="*/ 2147483647 h 832"/>
                <a:gd name="T86" fmla="*/ 2147483647 w 871"/>
                <a:gd name="T87" fmla="*/ 2147483647 h 832"/>
                <a:gd name="T88" fmla="*/ 2147483647 w 871"/>
                <a:gd name="T89" fmla="*/ 2147483647 h 832"/>
                <a:gd name="T90" fmla="*/ 2147483647 w 871"/>
                <a:gd name="T91" fmla="*/ 2147483647 h 832"/>
                <a:gd name="T92" fmla="*/ 2147483647 w 871"/>
                <a:gd name="T93" fmla="*/ 2147483647 h 832"/>
                <a:gd name="T94" fmla="*/ 2147483647 w 871"/>
                <a:gd name="T95" fmla="*/ 2147483647 h 832"/>
                <a:gd name="T96" fmla="*/ 2147483647 w 871"/>
                <a:gd name="T97" fmla="*/ 2147483647 h 832"/>
                <a:gd name="T98" fmla="*/ 2147483647 w 871"/>
                <a:gd name="T99" fmla="*/ 2147483647 h 832"/>
                <a:gd name="T100" fmla="*/ 2147483647 w 871"/>
                <a:gd name="T101" fmla="*/ 2147483647 h 832"/>
                <a:gd name="T102" fmla="*/ 2147483647 w 871"/>
                <a:gd name="T103" fmla="*/ 2147483647 h 832"/>
                <a:gd name="T104" fmla="*/ 2147483647 w 871"/>
                <a:gd name="T105" fmla="*/ 2147483647 h 832"/>
                <a:gd name="T106" fmla="*/ 2147483647 w 871"/>
                <a:gd name="T107" fmla="*/ 2147483647 h 832"/>
                <a:gd name="T108" fmla="*/ 2147483647 w 871"/>
                <a:gd name="T109" fmla="*/ 2147483647 h 83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1"/>
                <a:gd name="T166" fmla="*/ 0 h 832"/>
                <a:gd name="T167" fmla="*/ 871 w 871"/>
                <a:gd name="T168" fmla="*/ 832 h 83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7" name="Freeform 20">
              <a:extLst>
                <a:ext uri="{FF2B5EF4-FFF2-40B4-BE49-F238E27FC236}">
                  <a16:creationId xmlns:a16="http://schemas.microsoft.com/office/drawing/2014/main" id="{29329213-75A7-F8DE-11E3-C4E65A25D465}"/>
                </a:ext>
              </a:extLst>
            </p:cNvPr>
            <p:cNvSpPr>
              <a:spLocks noChangeAspect="1"/>
            </p:cNvSpPr>
            <p:nvPr userDrawn="1"/>
          </p:nvSpPr>
          <p:spPr bwMode="gray">
            <a:xfrm>
              <a:off x="5276223" y="3444756"/>
              <a:ext cx="244744" cy="228632"/>
            </a:xfrm>
            <a:custGeom>
              <a:avLst/>
              <a:gdLst>
                <a:gd name="T0" fmla="*/ 2147483647 w 459"/>
                <a:gd name="T1" fmla="*/ 2147483647 h 401"/>
                <a:gd name="T2" fmla="*/ 2147483647 w 459"/>
                <a:gd name="T3" fmla="*/ 2147483647 h 401"/>
                <a:gd name="T4" fmla="*/ 2147483647 w 459"/>
                <a:gd name="T5" fmla="*/ 2147483647 h 401"/>
                <a:gd name="T6" fmla="*/ 0 w 459"/>
                <a:gd name="T7" fmla="*/ 2147483647 h 401"/>
                <a:gd name="T8" fmla="*/ 0 w 459"/>
                <a:gd name="T9" fmla="*/ 2147483647 h 401"/>
                <a:gd name="T10" fmla="*/ 0 w 459"/>
                <a:gd name="T11" fmla="*/ 2147483647 h 401"/>
                <a:gd name="T12" fmla="*/ 0 w 459"/>
                <a:gd name="T13" fmla="*/ 2147483647 h 401"/>
                <a:gd name="T14" fmla="*/ 0 w 459"/>
                <a:gd name="T15" fmla="*/ 2147483647 h 401"/>
                <a:gd name="T16" fmla="*/ 0 w 459"/>
                <a:gd name="T17" fmla="*/ 2147483647 h 401"/>
                <a:gd name="T18" fmla="*/ 0 w 459"/>
                <a:gd name="T19" fmla="*/ 2147483647 h 401"/>
                <a:gd name="T20" fmla="*/ 0 w 459"/>
                <a:gd name="T21" fmla="*/ 2147483647 h 401"/>
                <a:gd name="T22" fmla="*/ 0 w 459"/>
                <a:gd name="T23" fmla="*/ 2147483647 h 401"/>
                <a:gd name="T24" fmla="*/ 0 w 459"/>
                <a:gd name="T25" fmla="*/ 2147483647 h 401"/>
                <a:gd name="T26" fmla="*/ 0 w 459"/>
                <a:gd name="T27" fmla="*/ 2147483647 h 401"/>
                <a:gd name="T28" fmla="*/ 0 w 459"/>
                <a:gd name="T29" fmla="*/ 2147483647 h 401"/>
                <a:gd name="T30" fmla="*/ 2147483647 w 459"/>
                <a:gd name="T31" fmla="*/ 2147483647 h 401"/>
                <a:gd name="T32" fmla="*/ 0 w 459"/>
                <a:gd name="T33" fmla="*/ 2147483647 h 401"/>
                <a:gd name="T34" fmla="*/ 2147483647 w 459"/>
                <a:gd name="T35" fmla="*/ 2147483647 h 401"/>
                <a:gd name="T36" fmla="*/ 2147483647 w 459"/>
                <a:gd name="T37" fmla="*/ 2147483647 h 401"/>
                <a:gd name="T38" fmla="*/ 2147483647 w 459"/>
                <a:gd name="T39" fmla="*/ 2147483647 h 401"/>
                <a:gd name="T40" fmla="*/ 2147483647 w 459"/>
                <a:gd name="T41" fmla="*/ 2147483647 h 401"/>
                <a:gd name="T42" fmla="*/ 2147483647 w 459"/>
                <a:gd name="T43" fmla="*/ 2147483647 h 401"/>
                <a:gd name="T44" fmla="*/ 2147483647 w 459"/>
                <a:gd name="T45" fmla="*/ 2147483647 h 401"/>
                <a:gd name="T46" fmla="*/ 2147483647 w 459"/>
                <a:gd name="T47" fmla="*/ 2147483647 h 401"/>
                <a:gd name="T48" fmla="*/ 2147483647 w 459"/>
                <a:gd name="T49" fmla="*/ 2147483647 h 401"/>
                <a:gd name="T50" fmla="*/ 2147483647 w 459"/>
                <a:gd name="T51" fmla="*/ 2147483647 h 401"/>
                <a:gd name="T52" fmla="*/ 2147483647 w 459"/>
                <a:gd name="T53" fmla="*/ 2147483647 h 401"/>
                <a:gd name="T54" fmla="*/ 2147483647 w 459"/>
                <a:gd name="T55" fmla="*/ 0 h 401"/>
                <a:gd name="T56" fmla="*/ 2147483647 w 459"/>
                <a:gd name="T57" fmla="*/ 0 h 401"/>
                <a:gd name="T58" fmla="*/ 2147483647 w 459"/>
                <a:gd name="T59" fmla="*/ 0 h 401"/>
                <a:gd name="T60" fmla="*/ 2147483647 w 459"/>
                <a:gd name="T61" fmla="*/ 0 h 401"/>
                <a:gd name="T62" fmla="*/ 2147483647 w 459"/>
                <a:gd name="T63" fmla="*/ 0 h 401"/>
                <a:gd name="T64" fmla="*/ 2147483647 w 459"/>
                <a:gd name="T65" fmla="*/ 0 h 401"/>
                <a:gd name="T66" fmla="*/ 2147483647 w 459"/>
                <a:gd name="T67" fmla="*/ 0 h 401"/>
                <a:gd name="T68" fmla="*/ 2147483647 w 459"/>
                <a:gd name="T69" fmla="*/ 0 h 401"/>
                <a:gd name="T70" fmla="*/ 2147483647 w 459"/>
                <a:gd name="T71" fmla="*/ 0 h 401"/>
                <a:gd name="T72" fmla="*/ 2147483647 w 459"/>
                <a:gd name="T73" fmla="*/ 0 h 401"/>
                <a:gd name="T74" fmla="*/ 2147483647 w 459"/>
                <a:gd name="T75" fmla="*/ 0 h 401"/>
                <a:gd name="T76" fmla="*/ 2147483647 w 459"/>
                <a:gd name="T77" fmla="*/ 0 h 401"/>
                <a:gd name="T78" fmla="*/ 2147483647 w 459"/>
                <a:gd name="T79" fmla="*/ 0 h 401"/>
                <a:gd name="T80" fmla="*/ 2147483647 w 459"/>
                <a:gd name="T81" fmla="*/ 0 h 401"/>
                <a:gd name="T82" fmla="*/ 2147483647 w 459"/>
                <a:gd name="T83" fmla="*/ 0 h 401"/>
                <a:gd name="T84" fmla="*/ 2147483647 w 459"/>
                <a:gd name="T85" fmla="*/ 2147483647 h 401"/>
                <a:gd name="T86" fmla="*/ 2147483647 w 459"/>
                <a:gd name="T87" fmla="*/ 2147483647 h 401"/>
                <a:gd name="T88" fmla="*/ 2147483647 w 459"/>
                <a:gd name="T89" fmla="*/ 2147483647 h 401"/>
                <a:gd name="T90" fmla="*/ 2147483647 w 459"/>
                <a:gd name="T91" fmla="*/ 2147483647 h 401"/>
                <a:gd name="T92" fmla="*/ 2147483647 w 459"/>
                <a:gd name="T93" fmla="*/ 2147483647 h 401"/>
                <a:gd name="T94" fmla="*/ 2147483647 w 459"/>
                <a:gd name="T95" fmla="*/ 2147483647 h 401"/>
                <a:gd name="T96" fmla="*/ 2147483647 w 459"/>
                <a:gd name="T97" fmla="*/ 2147483647 h 401"/>
                <a:gd name="T98" fmla="*/ 2147483647 w 459"/>
                <a:gd name="T99" fmla="*/ 2147483647 h 401"/>
                <a:gd name="T100" fmla="*/ 2147483647 w 459"/>
                <a:gd name="T101" fmla="*/ 2147483647 h 401"/>
                <a:gd name="T102" fmla="*/ 2147483647 w 459"/>
                <a:gd name="T103" fmla="*/ 2147483647 h 401"/>
                <a:gd name="T104" fmla="*/ 2147483647 w 459"/>
                <a:gd name="T105" fmla="*/ 2147483647 h 401"/>
                <a:gd name="T106" fmla="*/ 2147483647 w 459"/>
                <a:gd name="T107" fmla="*/ 2147483647 h 401"/>
                <a:gd name="T108" fmla="*/ 2147483647 w 459"/>
                <a:gd name="T109" fmla="*/ 2147483647 h 401"/>
                <a:gd name="T110" fmla="*/ 2147483647 w 459"/>
                <a:gd name="T111" fmla="*/ 2147483647 h 401"/>
                <a:gd name="T112" fmla="*/ 2147483647 w 459"/>
                <a:gd name="T113" fmla="*/ 2147483647 h 401"/>
                <a:gd name="T114" fmla="*/ 2147483647 w 459"/>
                <a:gd name="T115" fmla="*/ 2147483647 h 401"/>
                <a:gd name="T116" fmla="*/ 2147483647 w 459"/>
                <a:gd name="T117" fmla="*/ 2147483647 h 401"/>
                <a:gd name="T118" fmla="*/ 2147483647 w 459"/>
                <a:gd name="T119" fmla="*/ 2147483647 h 401"/>
                <a:gd name="T120" fmla="*/ 2147483647 w 459"/>
                <a:gd name="T121" fmla="*/ 2147483647 h 401"/>
                <a:gd name="T122" fmla="*/ 2147483647 w 459"/>
                <a:gd name="T123" fmla="*/ 2147483647 h 4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59"/>
                <a:gd name="T187" fmla="*/ 0 h 401"/>
                <a:gd name="T188" fmla="*/ 459 w 459"/>
                <a:gd name="T189" fmla="*/ 401 h 4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8" name="Freeform 27">
              <a:extLst>
                <a:ext uri="{FF2B5EF4-FFF2-40B4-BE49-F238E27FC236}">
                  <a16:creationId xmlns:a16="http://schemas.microsoft.com/office/drawing/2014/main" id="{89273B56-35A2-3B0C-3655-1A02EAE5FED5}"/>
                </a:ext>
              </a:extLst>
            </p:cNvPr>
            <p:cNvSpPr>
              <a:spLocks noChangeAspect="1"/>
            </p:cNvSpPr>
            <p:nvPr userDrawn="1"/>
          </p:nvSpPr>
          <p:spPr bwMode="gray">
            <a:xfrm>
              <a:off x="6120888" y="4478176"/>
              <a:ext cx="29847" cy="45726"/>
            </a:xfrm>
            <a:custGeom>
              <a:avLst/>
              <a:gdLst>
                <a:gd name="T0" fmla="*/ 0 w 56"/>
                <a:gd name="T1" fmla="*/ 0 h 78"/>
                <a:gd name="T2" fmla="*/ 0 w 56"/>
                <a:gd name="T3" fmla="*/ 0 h 78"/>
                <a:gd name="T4" fmla="*/ 0 w 56"/>
                <a:gd name="T5" fmla="*/ 0 h 78"/>
                <a:gd name="T6" fmla="*/ 0 w 56"/>
                <a:gd name="T7" fmla="*/ 0 h 78"/>
                <a:gd name="T8" fmla="*/ 0 w 56"/>
                <a:gd name="T9" fmla="*/ 0 h 78"/>
                <a:gd name="T10" fmla="*/ 0 w 56"/>
                <a:gd name="T11" fmla="*/ 0 h 78"/>
                <a:gd name="T12" fmla="*/ 0 w 56"/>
                <a:gd name="T13" fmla="*/ 0 h 78"/>
                <a:gd name="T14" fmla="*/ 0 w 56"/>
                <a:gd name="T15" fmla="*/ 0 h 78"/>
                <a:gd name="T16" fmla="*/ 0 w 56"/>
                <a:gd name="T17" fmla="*/ 0 h 78"/>
                <a:gd name="T18" fmla="*/ 0 w 56"/>
                <a:gd name="T19" fmla="*/ 0 h 78"/>
                <a:gd name="T20" fmla="*/ 0 w 56"/>
                <a:gd name="T21" fmla="*/ 0 h 78"/>
                <a:gd name="T22" fmla="*/ 0 w 56"/>
                <a:gd name="T23" fmla="*/ 0 h 78"/>
                <a:gd name="T24" fmla="*/ 0 w 56"/>
                <a:gd name="T25" fmla="*/ 0 h 78"/>
                <a:gd name="T26" fmla="*/ 0 w 56"/>
                <a:gd name="T27" fmla="*/ 0 h 78"/>
                <a:gd name="T28" fmla="*/ 0 w 56"/>
                <a:gd name="T29" fmla="*/ 0 h 78"/>
                <a:gd name="T30" fmla="*/ 0 w 56"/>
                <a:gd name="T31" fmla="*/ 0 h 78"/>
                <a:gd name="T32" fmla="*/ 0 w 56"/>
                <a:gd name="T33" fmla="*/ 0 h 78"/>
                <a:gd name="T34" fmla="*/ 0 w 56"/>
                <a:gd name="T35" fmla="*/ 0 h 78"/>
                <a:gd name="T36" fmla="*/ 0 w 56"/>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
                <a:gd name="T58" fmla="*/ 0 h 78"/>
                <a:gd name="T59" fmla="*/ 56 w 56"/>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9" name="Freeform 34">
              <a:extLst>
                <a:ext uri="{FF2B5EF4-FFF2-40B4-BE49-F238E27FC236}">
                  <a16:creationId xmlns:a16="http://schemas.microsoft.com/office/drawing/2014/main" id="{2B292449-6606-4BCD-B249-3B7DC7463AFA}"/>
                </a:ext>
              </a:extLst>
            </p:cNvPr>
            <p:cNvSpPr>
              <a:spLocks noChangeAspect="1"/>
            </p:cNvSpPr>
            <p:nvPr userDrawn="1"/>
          </p:nvSpPr>
          <p:spPr bwMode="gray">
            <a:xfrm>
              <a:off x="5331440" y="3941651"/>
              <a:ext cx="214897" cy="176809"/>
            </a:xfrm>
            <a:custGeom>
              <a:avLst/>
              <a:gdLst>
                <a:gd name="T0" fmla="*/ 2147483647 w 404"/>
                <a:gd name="T1" fmla="*/ 0 h 307"/>
                <a:gd name="T2" fmla="*/ 2147483647 w 404"/>
                <a:gd name="T3" fmla="*/ 0 h 307"/>
                <a:gd name="T4" fmla="*/ 2147483647 w 404"/>
                <a:gd name="T5" fmla="*/ 0 h 307"/>
                <a:gd name="T6" fmla="*/ 2147483647 w 404"/>
                <a:gd name="T7" fmla="*/ 0 h 307"/>
                <a:gd name="T8" fmla="*/ 2147483647 w 404"/>
                <a:gd name="T9" fmla="*/ 0 h 307"/>
                <a:gd name="T10" fmla="*/ 2147483647 w 404"/>
                <a:gd name="T11" fmla="*/ 0 h 307"/>
                <a:gd name="T12" fmla="*/ 2147483647 w 404"/>
                <a:gd name="T13" fmla="*/ 0 h 307"/>
                <a:gd name="T14" fmla="*/ 0 w 404"/>
                <a:gd name="T15" fmla="*/ 2147483647 h 307"/>
                <a:gd name="T16" fmla="*/ 0 w 404"/>
                <a:gd name="T17" fmla="*/ 2147483647 h 307"/>
                <a:gd name="T18" fmla="*/ 0 w 404"/>
                <a:gd name="T19" fmla="*/ 2147483647 h 307"/>
                <a:gd name="T20" fmla="*/ 0 w 404"/>
                <a:gd name="T21" fmla="*/ 2147483647 h 307"/>
                <a:gd name="T22" fmla="*/ 2147483647 w 404"/>
                <a:gd name="T23" fmla="*/ 2147483647 h 307"/>
                <a:gd name="T24" fmla="*/ 2147483647 w 404"/>
                <a:gd name="T25" fmla="*/ 2147483647 h 307"/>
                <a:gd name="T26" fmla="*/ 2147483647 w 404"/>
                <a:gd name="T27" fmla="*/ 2147483647 h 307"/>
                <a:gd name="T28" fmla="*/ 2147483647 w 404"/>
                <a:gd name="T29" fmla="*/ 2147483647 h 307"/>
                <a:gd name="T30" fmla="*/ 2147483647 w 404"/>
                <a:gd name="T31" fmla="*/ 2147483647 h 307"/>
                <a:gd name="T32" fmla="*/ 2147483647 w 404"/>
                <a:gd name="T33" fmla="*/ 2147483647 h 307"/>
                <a:gd name="T34" fmla="*/ 2147483647 w 404"/>
                <a:gd name="T35" fmla="*/ 2147483647 h 307"/>
                <a:gd name="T36" fmla="*/ 2147483647 w 404"/>
                <a:gd name="T37" fmla="*/ 2147483647 h 307"/>
                <a:gd name="T38" fmla="*/ 2147483647 w 404"/>
                <a:gd name="T39" fmla="*/ 2147483647 h 307"/>
                <a:gd name="T40" fmla="*/ 2147483647 w 404"/>
                <a:gd name="T41" fmla="*/ 2147483647 h 307"/>
                <a:gd name="T42" fmla="*/ 2147483647 w 404"/>
                <a:gd name="T43" fmla="*/ 2147483647 h 307"/>
                <a:gd name="T44" fmla="*/ 2147483647 w 404"/>
                <a:gd name="T45" fmla="*/ 2147483647 h 307"/>
                <a:gd name="T46" fmla="*/ 2147483647 w 404"/>
                <a:gd name="T47" fmla="*/ 2147483647 h 307"/>
                <a:gd name="T48" fmla="*/ 2147483647 w 404"/>
                <a:gd name="T49" fmla="*/ 2147483647 h 307"/>
                <a:gd name="T50" fmla="*/ 2147483647 w 404"/>
                <a:gd name="T51" fmla="*/ 2147483647 h 307"/>
                <a:gd name="T52" fmla="*/ 2147483647 w 404"/>
                <a:gd name="T53" fmla="*/ 2147483647 h 307"/>
                <a:gd name="T54" fmla="*/ 2147483647 w 404"/>
                <a:gd name="T55" fmla="*/ 2147483647 h 307"/>
                <a:gd name="T56" fmla="*/ 2147483647 w 404"/>
                <a:gd name="T57" fmla="*/ 2147483647 h 307"/>
                <a:gd name="T58" fmla="*/ 2147483647 w 404"/>
                <a:gd name="T59" fmla="*/ 2147483647 h 307"/>
                <a:gd name="T60" fmla="*/ 2147483647 w 404"/>
                <a:gd name="T61" fmla="*/ 2147483647 h 307"/>
                <a:gd name="T62" fmla="*/ 2147483647 w 404"/>
                <a:gd name="T63" fmla="*/ 2147483647 h 307"/>
                <a:gd name="T64" fmla="*/ 2147483647 w 404"/>
                <a:gd name="T65" fmla="*/ 2147483647 h 307"/>
                <a:gd name="T66" fmla="*/ 2147483647 w 404"/>
                <a:gd name="T67" fmla="*/ 2147483647 h 307"/>
                <a:gd name="T68" fmla="*/ 2147483647 w 404"/>
                <a:gd name="T69" fmla="*/ 2147483647 h 307"/>
                <a:gd name="T70" fmla="*/ 2147483647 w 404"/>
                <a:gd name="T71" fmla="*/ 2147483647 h 307"/>
                <a:gd name="T72" fmla="*/ 2147483647 w 404"/>
                <a:gd name="T73" fmla="*/ 2147483647 h 307"/>
                <a:gd name="T74" fmla="*/ 2147483647 w 404"/>
                <a:gd name="T75" fmla="*/ 2147483647 h 307"/>
                <a:gd name="T76" fmla="*/ 2147483647 w 404"/>
                <a:gd name="T77" fmla="*/ 2147483647 h 307"/>
                <a:gd name="T78" fmla="*/ 2147483647 w 404"/>
                <a:gd name="T79" fmla="*/ 2147483647 h 307"/>
                <a:gd name="T80" fmla="*/ 2147483647 w 404"/>
                <a:gd name="T81" fmla="*/ 2147483647 h 307"/>
                <a:gd name="T82" fmla="*/ 2147483647 w 404"/>
                <a:gd name="T83" fmla="*/ 2147483647 h 307"/>
                <a:gd name="T84" fmla="*/ 2147483647 w 404"/>
                <a:gd name="T85" fmla="*/ 2147483647 h 307"/>
                <a:gd name="T86" fmla="*/ 2147483647 w 404"/>
                <a:gd name="T87" fmla="*/ 2147483647 h 307"/>
                <a:gd name="T88" fmla="*/ 2147483647 w 404"/>
                <a:gd name="T89" fmla="*/ 0 h 307"/>
                <a:gd name="T90" fmla="*/ 2147483647 w 404"/>
                <a:gd name="T91" fmla="*/ 0 h 307"/>
                <a:gd name="T92" fmla="*/ 2147483647 w 404"/>
                <a:gd name="T93" fmla="*/ 0 h 307"/>
                <a:gd name="T94" fmla="*/ 2147483647 w 404"/>
                <a:gd name="T95" fmla="*/ 0 h 307"/>
                <a:gd name="T96" fmla="*/ 2147483647 w 404"/>
                <a:gd name="T97" fmla="*/ 0 h 307"/>
                <a:gd name="T98" fmla="*/ 2147483647 w 404"/>
                <a:gd name="T99" fmla="*/ 0 h 307"/>
                <a:gd name="T100" fmla="*/ 2147483647 w 404"/>
                <a:gd name="T101" fmla="*/ 0 h 307"/>
                <a:gd name="T102" fmla="*/ 2147483647 w 404"/>
                <a:gd name="T103" fmla="*/ 0 h 307"/>
                <a:gd name="T104" fmla="*/ 2147483647 w 404"/>
                <a:gd name="T105" fmla="*/ 0 h 307"/>
                <a:gd name="T106" fmla="*/ 2147483647 w 404"/>
                <a:gd name="T107" fmla="*/ 0 h 30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4"/>
                <a:gd name="T163" fmla="*/ 0 h 307"/>
                <a:gd name="T164" fmla="*/ 404 w 404"/>
                <a:gd name="T165" fmla="*/ 307 h 30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0" name="Freeform 35">
              <a:extLst>
                <a:ext uri="{FF2B5EF4-FFF2-40B4-BE49-F238E27FC236}">
                  <a16:creationId xmlns:a16="http://schemas.microsoft.com/office/drawing/2014/main" id="{CFED2725-5A9F-171C-DA37-83F9F31C38D5}"/>
                </a:ext>
              </a:extLst>
            </p:cNvPr>
            <p:cNvSpPr>
              <a:spLocks noChangeAspect="1"/>
            </p:cNvSpPr>
            <p:nvPr userDrawn="1"/>
          </p:nvSpPr>
          <p:spPr bwMode="gray">
            <a:xfrm>
              <a:off x="6194013" y="3993475"/>
              <a:ext cx="383531" cy="260641"/>
            </a:xfrm>
            <a:custGeom>
              <a:avLst/>
              <a:gdLst>
                <a:gd name="T0" fmla="*/ 2147483647 w 718"/>
                <a:gd name="T1" fmla="*/ 0 h 451"/>
                <a:gd name="T2" fmla="*/ 2147483647 w 718"/>
                <a:gd name="T3" fmla="*/ 0 h 451"/>
                <a:gd name="T4" fmla="*/ 2147483647 w 718"/>
                <a:gd name="T5" fmla="*/ 0 h 451"/>
                <a:gd name="T6" fmla="*/ 2147483647 w 718"/>
                <a:gd name="T7" fmla="*/ 0 h 451"/>
                <a:gd name="T8" fmla="*/ 2147483647 w 718"/>
                <a:gd name="T9" fmla="*/ 2147483647 h 451"/>
                <a:gd name="T10" fmla="*/ 2147483647 w 718"/>
                <a:gd name="T11" fmla="*/ 2147483647 h 451"/>
                <a:gd name="T12" fmla="*/ 2147483647 w 718"/>
                <a:gd name="T13" fmla="*/ 2147483647 h 451"/>
                <a:gd name="T14" fmla="*/ 2147483647 w 718"/>
                <a:gd name="T15" fmla="*/ 2147483647 h 451"/>
                <a:gd name="T16" fmla="*/ 2147483647 w 718"/>
                <a:gd name="T17" fmla="*/ 2147483647 h 451"/>
                <a:gd name="T18" fmla="*/ 2147483647 w 718"/>
                <a:gd name="T19" fmla="*/ 2147483647 h 451"/>
                <a:gd name="T20" fmla="*/ 2147483647 w 718"/>
                <a:gd name="T21" fmla="*/ 2147483647 h 451"/>
                <a:gd name="T22" fmla="*/ 2147483647 w 718"/>
                <a:gd name="T23" fmla="*/ 2147483647 h 451"/>
                <a:gd name="T24" fmla="*/ 2147483647 w 718"/>
                <a:gd name="T25" fmla="*/ 2147483647 h 451"/>
                <a:gd name="T26" fmla="*/ 2147483647 w 718"/>
                <a:gd name="T27" fmla="*/ 2147483647 h 451"/>
                <a:gd name="T28" fmla="*/ 2147483647 w 718"/>
                <a:gd name="T29" fmla="*/ 2147483647 h 451"/>
                <a:gd name="T30" fmla="*/ 2147483647 w 718"/>
                <a:gd name="T31" fmla="*/ 2147483647 h 451"/>
                <a:gd name="T32" fmla="*/ 2147483647 w 718"/>
                <a:gd name="T33" fmla="*/ 2147483647 h 451"/>
                <a:gd name="T34" fmla="*/ 2147483647 w 718"/>
                <a:gd name="T35" fmla="*/ 2147483647 h 451"/>
                <a:gd name="T36" fmla="*/ 2147483647 w 718"/>
                <a:gd name="T37" fmla="*/ 2147483647 h 451"/>
                <a:gd name="T38" fmla="*/ 2147483647 w 718"/>
                <a:gd name="T39" fmla="*/ 2147483647 h 451"/>
                <a:gd name="T40" fmla="*/ 2147483647 w 718"/>
                <a:gd name="T41" fmla="*/ 2147483647 h 451"/>
                <a:gd name="T42" fmla="*/ 2147483647 w 718"/>
                <a:gd name="T43" fmla="*/ 2147483647 h 451"/>
                <a:gd name="T44" fmla="*/ 0 w 718"/>
                <a:gd name="T45" fmla="*/ 2147483647 h 451"/>
                <a:gd name="T46" fmla="*/ 0 w 718"/>
                <a:gd name="T47" fmla="*/ 2147483647 h 451"/>
                <a:gd name="T48" fmla="*/ 0 w 718"/>
                <a:gd name="T49" fmla="*/ 2147483647 h 451"/>
                <a:gd name="T50" fmla="*/ 0 w 718"/>
                <a:gd name="T51" fmla="*/ 2147483647 h 451"/>
                <a:gd name="T52" fmla="*/ 2147483647 w 718"/>
                <a:gd name="T53" fmla="*/ 2147483647 h 451"/>
                <a:gd name="T54" fmla="*/ 2147483647 w 718"/>
                <a:gd name="T55" fmla="*/ 2147483647 h 451"/>
                <a:gd name="T56" fmla="*/ 2147483647 w 718"/>
                <a:gd name="T57" fmla="*/ 2147483647 h 451"/>
                <a:gd name="T58" fmla="*/ 2147483647 w 718"/>
                <a:gd name="T59" fmla="*/ 2147483647 h 451"/>
                <a:gd name="T60" fmla="*/ 2147483647 w 718"/>
                <a:gd name="T61" fmla="*/ 2147483647 h 451"/>
                <a:gd name="T62" fmla="*/ 2147483647 w 718"/>
                <a:gd name="T63" fmla="*/ 2147483647 h 451"/>
                <a:gd name="T64" fmla="*/ 2147483647 w 718"/>
                <a:gd name="T65" fmla="*/ 2147483647 h 451"/>
                <a:gd name="T66" fmla="*/ 2147483647 w 718"/>
                <a:gd name="T67" fmla="*/ 2147483647 h 451"/>
                <a:gd name="T68" fmla="*/ 2147483647 w 718"/>
                <a:gd name="T69" fmla="*/ 2147483647 h 451"/>
                <a:gd name="T70" fmla="*/ 2147483647 w 718"/>
                <a:gd name="T71" fmla="*/ 2147483647 h 451"/>
                <a:gd name="T72" fmla="*/ 2147483647 w 718"/>
                <a:gd name="T73" fmla="*/ 2147483647 h 451"/>
                <a:gd name="T74" fmla="*/ 2147483647 w 718"/>
                <a:gd name="T75" fmla="*/ 2147483647 h 451"/>
                <a:gd name="T76" fmla="*/ 2147483647 w 718"/>
                <a:gd name="T77" fmla="*/ 2147483647 h 451"/>
                <a:gd name="T78" fmla="*/ 2147483647 w 718"/>
                <a:gd name="T79" fmla="*/ 2147483647 h 451"/>
                <a:gd name="T80" fmla="*/ 2147483647 w 718"/>
                <a:gd name="T81" fmla="*/ 2147483647 h 451"/>
                <a:gd name="T82" fmla="*/ 2147483647 w 718"/>
                <a:gd name="T83" fmla="*/ 2147483647 h 451"/>
                <a:gd name="T84" fmla="*/ 2147483647 w 718"/>
                <a:gd name="T85" fmla="*/ 2147483647 h 451"/>
                <a:gd name="T86" fmla="*/ 2147483647 w 718"/>
                <a:gd name="T87" fmla="*/ 2147483647 h 451"/>
                <a:gd name="T88" fmla="*/ 2147483647 w 718"/>
                <a:gd name="T89" fmla="*/ 2147483647 h 451"/>
                <a:gd name="T90" fmla="*/ 2147483647 w 718"/>
                <a:gd name="T91" fmla="*/ 2147483647 h 451"/>
                <a:gd name="T92" fmla="*/ 2147483647 w 718"/>
                <a:gd name="T93" fmla="*/ 2147483647 h 451"/>
                <a:gd name="T94" fmla="*/ 2147483647 w 718"/>
                <a:gd name="T95" fmla="*/ 2147483647 h 451"/>
                <a:gd name="T96" fmla="*/ 2147483647 w 718"/>
                <a:gd name="T97" fmla="*/ 2147483647 h 451"/>
                <a:gd name="T98" fmla="*/ 2147483647 w 718"/>
                <a:gd name="T99" fmla="*/ 2147483647 h 451"/>
                <a:gd name="T100" fmla="*/ 2147483647 w 718"/>
                <a:gd name="T101" fmla="*/ 2147483647 h 451"/>
                <a:gd name="T102" fmla="*/ 2147483647 w 718"/>
                <a:gd name="T103" fmla="*/ 2147483647 h 451"/>
                <a:gd name="T104" fmla="*/ 2147483647 w 718"/>
                <a:gd name="T105" fmla="*/ 2147483647 h 451"/>
                <a:gd name="T106" fmla="*/ 2147483647 w 718"/>
                <a:gd name="T107" fmla="*/ 0 h 451"/>
                <a:gd name="T108" fmla="*/ 2147483647 w 718"/>
                <a:gd name="T109" fmla="*/ 0 h 45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18"/>
                <a:gd name="T166" fmla="*/ 0 h 451"/>
                <a:gd name="T167" fmla="*/ 718 w 718"/>
                <a:gd name="T168" fmla="*/ 451 h 45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1" name="Freeform 36">
              <a:extLst>
                <a:ext uri="{FF2B5EF4-FFF2-40B4-BE49-F238E27FC236}">
                  <a16:creationId xmlns:a16="http://schemas.microsoft.com/office/drawing/2014/main" id="{D09D3937-A778-8802-57FF-2BFAE4CB2D10}"/>
                </a:ext>
              </a:extLst>
            </p:cNvPr>
            <p:cNvSpPr>
              <a:spLocks noChangeAspect="1"/>
            </p:cNvSpPr>
            <p:nvPr userDrawn="1"/>
          </p:nvSpPr>
          <p:spPr bwMode="gray">
            <a:xfrm>
              <a:off x="6028363" y="4266309"/>
              <a:ext cx="162666" cy="198148"/>
            </a:xfrm>
            <a:custGeom>
              <a:avLst/>
              <a:gdLst>
                <a:gd name="T0" fmla="*/ 2147483647 w 304"/>
                <a:gd name="T1" fmla="*/ 2147483647 h 343"/>
                <a:gd name="T2" fmla="*/ 2147483647 w 304"/>
                <a:gd name="T3" fmla="*/ 2147483647 h 343"/>
                <a:gd name="T4" fmla="*/ 2147483647 w 304"/>
                <a:gd name="T5" fmla="*/ 2147483647 h 343"/>
                <a:gd name="T6" fmla="*/ 0 w 304"/>
                <a:gd name="T7" fmla="*/ 2147483647 h 343"/>
                <a:gd name="T8" fmla="*/ 0 w 304"/>
                <a:gd name="T9" fmla="*/ 2147483647 h 343"/>
                <a:gd name="T10" fmla="*/ 0 w 304"/>
                <a:gd name="T11" fmla="*/ 2147483647 h 343"/>
                <a:gd name="T12" fmla="*/ 0 w 304"/>
                <a:gd name="T13" fmla="*/ 2147483647 h 343"/>
                <a:gd name="T14" fmla="*/ 0 w 304"/>
                <a:gd name="T15" fmla="*/ 2147483647 h 343"/>
                <a:gd name="T16" fmla="*/ 0 w 304"/>
                <a:gd name="T17" fmla="*/ 2147483647 h 343"/>
                <a:gd name="T18" fmla="*/ 0 w 304"/>
                <a:gd name="T19" fmla="*/ 2147483647 h 343"/>
                <a:gd name="T20" fmla="*/ 0 w 304"/>
                <a:gd name="T21" fmla="*/ 2147483647 h 343"/>
                <a:gd name="T22" fmla="*/ 2147483647 w 304"/>
                <a:gd name="T23" fmla="*/ 2147483647 h 343"/>
                <a:gd name="T24" fmla="*/ 0 w 304"/>
                <a:gd name="T25" fmla="*/ 2147483647 h 343"/>
                <a:gd name="T26" fmla="*/ 0 w 304"/>
                <a:gd name="T27" fmla="*/ 2147483647 h 343"/>
                <a:gd name="T28" fmla="*/ 0 w 304"/>
                <a:gd name="T29" fmla="*/ 2147483647 h 343"/>
                <a:gd name="T30" fmla="*/ 0 w 304"/>
                <a:gd name="T31" fmla="*/ 2147483647 h 343"/>
                <a:gd name="T32" fmla="*/ 2147483647 w 304"/>
                <a:gd name="T33" fmla="*/ 0 h 343"/>
                <a:gd name="T34" fmla="*/ 2147483647 w 304"/>
                <a:gd name="T35" fmla="*/ 0 h 343"/>
                <a:gd name="T36" fmla="*/ 2147483647 w 304"/>
                <a:gd name="T37" fmla="*/ 0 h 343"/>
                <a:gd name="T38" fmla="*/ 2147483647 w 304"/>
                <a:gd name="T39" fmla="*/ 0 h 343"/>
                <a:gd name="T40" fmla="*/ 2147483647 w 304"/>
                <a:gd name="T41" fmla="*/ 0 h 343"/>
                <a:gd name="T42" fmla="*/ 2147483647 w 304"/>
                <a:gd name="T43" fmla="*/ 0 h 343"/>
                <a:gd name="T44" fmla="*/ 2147483647 w 304"/>
                <a:gd name="T45" fmla="*/ 0 h 343"/>
                <a:gd name="T46" fmla="*/ 2147483647 w 304"/>
                <a:gd name="T47" fmla="*/ 0 h 343"/>
                <a:gd name="T48" fmla="*/ 2147483647 w 304"/>
                <a:gd name="T49" fmla="*/ 0 h 343"/>
                <a:gd name="T50" fmla="*/ 2147483647 w 304"/>
                <a:gd name="T51" fmla="*/ 0 h 343"/>
                <a:gd name="T52" fmla="*/ 2147483647 w 304"/>
                <a:gd name="T53" fmla="*/ 2147483647 h 343"/>
                <a:gd name="T54" fmla="*/ 2147483647 w 304"/>
                <a:gd name="T55" fmla="*/ 2147483647 h 343"/>
                <a:gd name="T56" fmla="*/ 2147483647 w 304"/>
                <a:gd name="T57" fmla="*/ 2147483647 h 343"/>
                <a:gd name="T58" fmla="*/ 2147483647 w 304"/>
                <a:gd name="T59" fmla="*/ 2147483647 h 343"/>
                <a:gd name="T60" fmla="*/ 2147483647 w 304"/>
                <a:gd name="T61" fmla="*/ 2147483647 h 343"/>
                <a:gd name="T62" fmla="*/ 2147483647 w 304"/>
                <a:gd name="T63" fmla="*/ 2147483647 h 343"/>
                <a:gd name="T64" fmla="*/ 2147483647 w 304"/>
                <a:gd name="T65" fmla="*/ 2147483647 h 343"/>
                <a:gd name="T66" fmla="*/ 2147483647 w 304"/>
                <a:gd name="T67" fmla="*/ 2147483647 h 343"/>
                <a:gd name="T68" fmla="*/ 2147483647 w 304"/>
                <a:gd name="T69" fmla="*/ 2147483647 h 343"/>
                <a:gd name="T70" fmla="*/ 2147483647 w 304"/>
                <a:gd name="T71" fmla="*/ 2147483647 h 343"/>
                <a:gd name="T72" fmla="*/ 2147483647 w 304"/>
                <a:gd name="T73" fmla="*/ 2147483647 h 343"/>
                <a:gd name="T74" fmla="*/ 2147483647 w 304"/>
                <a:gd name="T75" fmla="*/ 2147483647 h 343"/>
                <a:gd name="T76" fmla="*/ 2147483647 w 304"/>
                <a:gd name="T77" fmla="*/ 2147483647 h 34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04"/>
                <a:gd name="T118" fmla="*/ 0 h 343"/>
                <a:gd name="T119" fmla="*/ 304 w 304"/>
                <a:gd name="T120" fmla="*/ 343 h 34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2" name="Freeform 37">
              <a:extLst>
                <a:ext uri="{FF2B5EF4-FFF2-40B4-BE49-F238E27FC236}">
                  <a16:creationId xmlns:a16="http://schemas.microsoft.com/office/drawing/2014/main" id="{A09067E3-792C-59BF-01DB-A197C57B2D36}"/>
                </a:ext>
              </a:extLst>
            </p:cNvPr>
            <p:cNvSpPr>
              <a:spLocks noChangeAspect="1"/>
            </p:cNvSpPr>
            <p:nvPr userDrawn="1"/>
          </p:nvSpPr>
          <p:spPr bwMode="gray">
            <a:xfrm>
              <a:off x="5277715" y="3906594"/>
              <a:ext cx="91032" cy="25912"/>
            </a:xfrm>
            <a:custGeom>
              <a:avLst/>
              <a:gdLst>
                <a:gd name="T0" fmla="*/ 0 w 168"/>
                <a:gd name="T1" fmla="*/ 0 h 45"/>
                <a:gd name="T2" fmla="*/ 0 w 168"/>
                <a:gd name="T3" fmla="*/ 0 h 45"/>
                <a:gd name="T4" fmla="*/ 2147483647 w 168"/>
                <a:gd name="T5" fmla="*/ 0 h 45"/>
                <a:gd name="T6" fmla="*/ 2147483647 w 168"/>
                <a:gd name="T7" fmla="*/ 0 h 45"/>
                <a:gd name="T8" fmla="*/ 2147483647 w 168"/>
                <a:gd name="T9" fmla="*/ 0 h 45"/>
                <a:gd name="T10" fmla="*/ 2147483647 w 168"/>
                <a:gd name="T11" fmla="*/ 0 h 45"/>
                <a:gd name="T12" fmla="*/ 2147483647 w 168"/>
                <a:gd name="T13" fmla="*/ 0 h 45"/>
                <a:gd name="T14" fmla="*/ 2147483647 w 168"/>
                <a:gd name="T15" fmla="*/ 0 h 45"/>
                <a:gd name="T16" fmla="*/ 2147483647 w 168"/>
                <a:gd name="T17" fmla="*/ 0 h 45"/>
                <a:gd name="T18" fmla="*/ 2147483647 w 168"/>
                <a:gd name="T19" fmla="*/ 0 h 45"/>
                <a:gd name="T20" fmla="*/ 2147483647 w 168"/>
                <a:gd name="T21" fmla="*/ 0 h 45"/>
                <a:gd name="T22" fmla="*/ 2147483647 w 168"/>
                <a:gd name="T23" fmla="*/ 0 h 45"/>
                <a:gd name="T24" fmla="*/ 2147483647 w 168"/>
                <a:gd name="T25" fmla="*/ 0 h 45"/>
                <a:gd name="T26" fmla="*/ 2147483647 w 168"/>
                <a:gd name="T27" fmla="*/ 0 h 45"/>
                <a:gd name="T28" fmla="*/ 2147483647 w 168"/>
                <a:gd name="T29" fmla="*/ 0 h 45"/>
                <a:gd name="T30" fmla="*/ 2147483647 w 168"/>
                <a:gd name="T31" fmla="*/ 0 h 45"/>
                <a:gd name="T32" fmla="*/ 2147483647 w 168"/>
                <a:gd name="T33" fmla="*/ 0 h 45"/>
                <a:gd name="T34" fmla="*/ 2147483647 w 168"/>
                <a:gd name="T35" fmla="*/ 0 h 45"/>
                <a:gd name="T36" fmla="*/ 2147483647 w 168"/>
                <a:gd name="T37" fmla="*/ 0 h 45"/>
                <a:gd name="T38" fmla="*/ 2147483647 w 168"/>
                <a:gd name="T39" fmla="*/ 0 h 45"/>
                <a:gd name="T40" fmla="*/ 2147483647 w 168"/>
                <a:gd name="T41" fmla="*/ 0 h 45"/>
                <a:gd name="T42" fmla="*/ 2147483647 w 168"/>
                <a:gd name="T43" fmla="*/ 0 h 45"/>
                <a:gd name="T44" fmla="*/ 2147483647 w 168"/>
                <a:gd name="T45" fmla="*/ 0 h 45"/>
                <a:gd name="T46" fmla="*/ 2147483647 w 168"/>
                <a:gd name="T47" fmla="*/ 0 h 45"/>
                <a:gd name="T48" fmla="*/ 2147483647 w 168"/>
                <a:gd name="T49" fmla="*/ 0 h 45"/>
                <a:gd name="T50" fmla="*/ 2147483647 w 168"/>
                <a:gd name="T51" fmla="*/ 0 h 45"/>
                <a:gd name="T52" fmla="*/ 2147483647 w 168"/>
                <a:gd name="T53" fmla="*/ 0 h 45"/>
                <a:gd name="T54" fmla="*/ 2147483647 w 168"/>
                <a:gd name="T55" fmla="*/ 0 h 45"/>
                <a:gd name="T56" fmla="*/ 2147483647 w 168"/>
                <a:gd name="T57" fmla="*/ 0 h 45"/>
                <a:gd name="T58" fmla="*/ 2147483647 w 168"/>
                <a:gd name="T59" fmla="*/ 0 h 45"/>
                <a:gd name="T60" fmla="*/ 2147483647 w 168"/>
                <a:gd name="T61" fmla="*/ 0 h 45"/>
                <a:gd name="T62" fmla="*/ 2147483647 w 168"/>
                <a:gd name="T63" fmla="*/ 0 h 45"/>
                <a:gd name="T64" fmla="*/ 2147483647 w 168"/>
                <a:gd name="T65" fmla="*/ 0 h 45"/>
                <a:gd name="T66" fmla="*/ 2147483647 w 168"/>
                <a:gd name="T67" fmla="*/ 0 h 45"/>
                <a:gd name="T68" fmla="*/ 2147483647 w 168"/>
                <a:gd name="T69" fmla="*/ 0 h 45"/>
                <a:gd name="T70" fmla="*/ 2147483647 w 168"/>
                <a:gd name="T71" fmla="*/ 0 h 45"/>
                <a:gd name="T72" fmla="*/ 2147483647 w 168"/>
                <a:gd name="T73" fmla="*/ 0 h 45"/>
                <a:gd name="T74" fmla="*/ 2147483647 w 168"/>
                <a:gd name="T75" fmla="*/ 0 h 45"/>
                <a:gd name="T76" fmla="*/ 2147483647 w 168"/>
                <a:gd name="T77" fmla="*/ 0 h 45"/>
                <a:gd name="T78" fmla="*/ 2147483647 w 168"/>
                <a:gd name="T79" fmla="*/ 0 h 45"/>
                <a:gd name="T80" fmla="*/ 2147483647 w 168"/>
                <a:gd name="T81" fmla="*/ 0 h 45"/>
                <a:gd name="T82" fmla="*/ 2147483647 w 168"/>
                <a:gd name="T83" fmla="*/ 0 h 45"/>
                <a:gd name="T84" fmla="*/ 2147483647 w 168"/>
                <a:gd name="T85" fmla="*/ 0 h 45"/>
                <a:gd name="T86" fmla="*/ 2147483647 w 168"/>
                <a:gd name="T87" fmla="*/ 0 h 45"/>
                <a:gd name="T88" fmla="*/ 0 w 168"/>
                <a:gd name="T89" fmla="*/ 0 h 45"/>
                <a:gd name="T90" fmla="*/ 0 w 168"/>
                <a:gd name="T91" fmla="*/ 0 h 45"/>
                <a:gd name="T92" fmla="*/ 0 w 168"/>
                <a:gd name="T93" fmla="*/ 0 h 45"/>
                <a:gd name="T94" fmla="*/ 0 w 168"/>
                <a:gd name="T95" fmla="*/ 0 h 45"/>
                <a:gd name="T96" fmla="*/ 0 w 168"/>
                <a:gd name="T97" fmla="*/ 0 h 45"/>
                <a:gd name="T98" fmla="*/ 0 w 168"/>
                <a:gd name="T99" fmla="*/ 0 h 45"/>
                <a:gd name="T100" fmla="*/ 0 w 168"/>
                <a:gd name="T101" fmla="*/ 0 h 45"/>
                <a:gd name="T102" fmla="*/ 0 w 168"/>
                <a:gd name="T103" fmla="*/ 0 h 45"/>
                <a:gd name="T104" fmla="*/ 0 w 168"/>
                <a:gd name="T105" fmla="*/ 0 h 45"/>
                <a:gd name="T106" fmla="*/ 0 w 168"/>
                <a:gd name="T107" fmla="*/ 0 h 45"/>
                <a:gd name="T108" fmla="*/ 0 w 168"/>
                <a:gd name="T109" fmla="*/ 0 h 45"/>
                <a:gd name="T110" fmla="*/ 0 w 168"/>
                <a:gd name="T111" fmla="*/ 0 h 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8"/>
                <a:gd name="T169" fmla="*/ 0 h 45"/>
                <a:gd name="T170" fmla="*/ 168 w 168"/>
                <a:gd name="T171" fmla="*/ 45 h 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3" name="Freeform 38">
              <a:extLst>
                <a:ext uri="{FF2B5EF4-FFF2-40B4-BE49-F238E27FC236}">
                  <a16:creationId xmlns:a16="http://schemas.microsoft.com/office/drawing/2014/main" id="{8185C850-3EF8-F8DF-150D-14C5815CE5EB}"/>
                </a:ext>
              </a:extLst>
            </p:cNvPr>
            <p:cNvSpPr>
              <a:spLocks noChangeAspect="1"/>
            </p:cNvSpPr>
            <p:nvPr userDrawn="1"/>
          </p:nvSpPr>
          <p:spPr bwMode="gray">
            <a:xfrm>
              <a:off x="5280700" y="3941651"/>
              <a:ext cx="92525" cy="56396"/>
            </a:xfrm>
            <a:custGeom>
              <a:avLst/>
              <a:gdLst>
                <a:gd name="T0" fmla="*/ 2147483647 w 173"/>
                <a:gd name="T1" fmla="*/ 0 h 99"/>
                <a:gd name="T2" fmla="*/ 2147483647 w 173"/>
                <a:gd name="T3" fmla="*/ 0 h 99"/>
                <a:gd name="T4" fmla="*/ 2147483647 w 173"/>
                <a:gd name="T5" fmla="*/ 0 h 99"/>
                <a:gd name="T6" fmla="*/ 2147483647 w 173"/>
                <a:gd name="T7" fmla="*/ 0 h 99"/>
                <a:gd name="T8" fmla="*/ 2147483647 w 173"/>
                <a:gd name="T9" fmla="*/ 0 h 99"/>
                <a:gd name="T10" fmla="*/ 2147483647 w 173"/>
                <a:gd name="T11" fmla="*/ 0 h 99"/>
                <a:gd name="T12" fmla="*/ 2147483647 w 173"/>
                <a:gd name="T13" fmla="*/ 0 h 99"/>
                <a:gd name="T14" fmla="*/ 2147483647 w 173"/>
                <a:gd name="T15" fmla="*/ 0 h 99"/>
                <a:gd name="T16" fmla="*/ 2147483647 w 173"/>
                <a:gd name="T17" fmla="*/ 0 h 99"/>
                <a:gd name="T18" fmla="*/ 2147483647 w 173"/>
                <a:gd name="T19" fmla="*/ 0 h 99"/>
                <a:gd name="T20" fmla="*/ 2147483647 w 173"/>
                <a:gd name="T21" fmla="*/ 0 h 99"/>
                <a:gd name="T22" fmla="*/ 2147483647 w 173"/>
                <a:gd name="T23" fmla="*/ 0 h 99"/>
                <a:gd name="T24" fmla="*/ 2147483647 w 173"/>
                <a:gd name="T25" fmla="*/ 0 h 99"/>
                <a:gd name="T26" fmla="*/ 2147483647 w 173"/>
                <a:gd name="T27" fmla="*/ 0 h 99"/>
                <a:gd name="T28" fmla="*/ 2147483647 w 173"/>
                <a:gd name="T29" fmla="*/ 0 h 99"/>
                <a:gd name="T30" fmla="*/ 2147483647 w 173"/>
                <a:gd name="T31" fmla="*/ 0 h 99"/>
                <a:gd name="T32" fmla="*/ 2147483647 w 173"/>
                <a:gd name="T33" fmla="*/ 0 h 99"/>
                <a:gd name="T34" fmla="*/ 2147483647 w 173"/>
                <a:gd name="T35" fmla="*/ 2147483647 h 99"/>
                <a:gd name="T36" fmla="*/ 2147483647 w 173"/>
                <a:gd name="T37" fmla="*/ 2147483647 h 99"/>
                <a:gd name="T38" fmla="*/ 2147483647 w 173"/>
                <a:gd name="T39" fmla="*/ 2147483647 h 99"/>
                <a:gd name="T40" fmla="*/ 2147483647 w 173"/>
                <a:gd name="T41" fmla="*/ 2147483647 h 99"/>
                <a:gd name="T42" fmla="*/ 2147483647 w 173"/>
                <a:gd name="T43" fmla="*/ 2147483647 h 99"/>
                <a:gd name="T44" fmla="*/ 2147483647 w 173"/>
                <a:gd name="T45" fmla="*/ 2147483647 h 99"/>
                <a:gd name="T46" fmla="*/ 2147483647 w 173"/>
                <a:gd name="T47" fmla="*/ 2147483647 h 99"/>
                <a:gd name="T48" fmla="*/ 2147483647 w 173"/>
                <a:gd name="T49" fmla="*/ 2147483647 h 99"/>
                <a:gd name="T50" fmla="*/ 2147483647 w 173"/>
                <a:gd name="T51" fmla="*/ 2147483647 h 99"/>
                <a:gd name="T52" fmla="*/ 2147483647 w 173"/>
                <a:gd name="T53" fmla="*/ 2147483647 h 99"/>
                <a:gd name="T54" fmla="*/ 2147483647 w 173"/>
                <a:gd name="T55" fmla="*/ 2147483647 h 99"/>
                <a:gd name="T56" fmla="*/ 2147483647 w 173"/>
                <a:gd name="T57" fmla="*/ 0 h 99"/>
                <a:gd name="T58" fmla="*/ 2147483647 w 173"/>
                <a:gd name="T59" fmla="*/ 0 h 99"/>
                <a:gd name="T60" fmla="*/ 2147483647 w 173"/>
                <a:gd name="T61" fmla="*/ 0 h 99"/>
                <a:gd name="T62" fmla="*/ 2147483647 w 173"/>
                <a:gd name="T63" fmla="*/ 0 h 99"/>
                <a:gd name="T64" fmla="*/ 2147483647 w 173"/>
                <a:gd name="T65" fmla="*/ 0 h 99"/>
                <a:gd name="T66" fmla="*/ 2147483647 w 173"/>
                <a:gd name="T67" fmla="*/ 0 h 99"/>
                <a:gd name="T68" fmla="*/ 2147483647 w 173"/>
                <a:gd name="T69" fmla="*/ 0 h 99"/>
                <a:gd name="T70" fmla="*/ 2147483647 w 173"/>
                <a:gd name="T71" fmla="*/ 0 h 99"/>
                <a:gd name="T72" fmla="*/ 2147483647 w 173"/>
                <a:gd name="T73" fmla="*/ 0 h 99"/>
                <a:gd name="T74" fmla="*/ 2147483647 w 173"/>
                <a:gd name="T75" fmla="*/ 0 h 99"/>
                <a:gd name="T76" fmla="*/ 0 w 173"/>
                <a:gd name="T77" fmla="*/ 0 h 99"/>
                <a:gd name="T78" fmla="*/ 0 w 173"/>
                <a:gd name="T79" fmla="*/ 0 h 99"/>
                <a:gd name="T80" fmla="*/ 0 w 173"/>
                <a:gd name="T81" fmla="*/ 0 h 99"/>
                <a:gd name="T82" fmla="*/ 0 w 173"/>
                <a:gd name="T83" fmla="*/ 0 h 99"/>
                <a:gd name="T84" fmla="*/ 0 w 173"/>
                <a:gd name="T85" fmla="*/ 0 h 99"/>
                <a:gd name="T86" fmla="*/ 0 w 173"/>
                <a:gd name="T87" fmla="*/ 0 h 99"/>
                <a:gd name="T88" fmla="*/ 0 w 173"/>
                <a:gd name="T89" fmla="*/ 0 h 99"/>
                <a:gd name="T90" fmla="*/ 0 w 173"/>
                <a:gd name="T91" fmla="*/ 0 h 99"/>
                <a:gd name="T92" fmla="*/ 0 w 173"/>
                <a:gd name="T93" fmla="*/ 0 h 99"/>
                <a:gd name="T94" fmla="*/ 0 w 173"/>
                <a:gd name="T95" fmla="*/ 0 h 99"/>
                <a:gd name="T96" fmla="*/ 0 w 173"/>
                <a:gd name="T97" fmla="*/ 0 h 99"/>
                <a:gd name="T98" fmla="*/ 0 w 173"/>
                <a:gd name="T99" fmla="*/ 0 h 99"/>
                <a:gd name="T100" fmla="*/ 0 w 173"/>
                <a:gd name="T101" fmla="*/ 0 h 99"/>
                <a:gd name="T102" fmla="*/ 0 w 173"/>
                <a:gd name="T103" fmla="*/ 0 h 99"/>
                <a:gd name="T104" fmla="*/ 2147483647 w 173"/>
                <a:gd name="T105" fmla="*/ 0 h 99"/>
                <a:gd name="T106" fmla="*/ 2147483647 w 173"/>
                <a:gd name="T107" fmla="*/ 0 h 99"/>
                <a:gd name="T108" fmla="*/ 2147483647 w 173"/>
                <a:gd name="T109" fmla="*/ 0 h 99"/>
                <a:gd name="T110" fmla="*/ 2147483647 w 173"/>
                <a:gd name="T111" fmla="*/ 0 h 99"/>
                <a:gd name="T112" fmla="*/ 2147483647 w 173"/>
                <a:gd name="T113" fmla="*/ 0 h 99"/>
                <a:gd name="T114" fmla="*/ 2147483647 w 173"/>
                <a:gd name="T115" fmla="*/ 0 h 99"/>
                <a:gd name="T116" fmla="*/ 2147483647 w 173"/>
                <a:gd name="T117" fmla="*/ 0 h 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3"/>
                <a:gd name="T178" fmla="*/ 0 h 99"/>
                <a:gd name="T179" fmla="*/ 173 w 173"/>
                <a:gd name="T180" fmla="*/ 99 h 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4" name="Freeform 39">
              <a:extLst>
                <a:ext uri="{FF2B5EF4-FFF2-40B4-BE49-F238E27FC236}">
                  <a16:creationId xmlns:a16="http://schemas.microsoft.com/office/drawing/2014/main" id="{A3ADEF05-4187-CFCA-6828-D1EB39C26A7F}"/>
                </a:ext>
              </a:extLst>
            </p:cNvPr>
            <p:cNvSpPr>
              <a:spLocks noChangeAspect="1"/>
            </p:cNvSpPr>
            <p:nvPr userDrawn="1"/>
          </p:nvSpPr>
          <p:spPr bwMode="gray">
            <a:xfrm>
              <a:off x="5434411" y="4075783"/>
              <a:ext cx="120880" cy="129558"/>
            </a:xfrm>
            <a:custGeom>
              <a:avLst/>
              <a:gdLst>
                <a:gd name="T0" fmla="*/ 0 w 227"/>
                <a:gd name="T1" fmla="*/ 2147483647 h 228"/>
                <a:gd name="T2" fmla="*/ 0 w 227"/>
                <a:gd name="T3" fmla="*/ 2147483647 h 228"/>
                <a:gd name="T4" fmla="*/ 0 w 227"/>
                <a:gd name="T5" fmla="*/ 0 h 228"/>
                <a:gd name="T6" fmla="*/ 0 w 227"/>
                <a:gd name="T7" fmla="*/ 0 h 228"/>
                <a:gd name="T8" fmla="*/ 0 w 227"/>
                <a:gd name="T9" fmla="*/ 0 h 228"/>
                <a:gd name="T10" fmla="*/ 0 w 227"/>
                <a:gd name="T11" fmla="*/ 0 h 228"/>
                <a:gd name="T12" fmla="*/ 0 w 227"/>
                <a:gd name="T13" fmla="*/ 0 h 228"/>
                <a:gd name="T14" fmla="*/ 2147483647 w 227"/>
                <a:gd name="T15" fmla="*/ 0 h 228"/>
                <a:gd name="T16" fmla="*/ 2147483647 w 227"/>
                <a:gd name="T17" fmla="*/ 0 h 228"/>
                <a:gd name="T18" fmla="*/ 2147483647 w 227"/>
                <a:gd name="T19" fmla="*/ 0 h 228"/>
                <a:gd name="T20" fmla="*/ 2147483647 w 227"/>
                <a:gd name="T21" fmla="*/ 0 h 228"/>
                <a:gd name="T22" fmla="*/ 2147483647 w 227"/>
                <a:gd name="T23" fmla="*/ 0 h 228"/>
                <a:gd name="T24" fmla="*/ 2147483647 w 227"/>
                <a:gd name="T25" fmla="*/ 0 h 228"/>
                <a:gd name="T26" fmla="*/ 2147483647 w 227"/>
                <a:gd name="T27" fmla="*/ 0 h 228"/>
                <a:gd name="T28" fmla="*/ 2147483647 w 227"/>
                <a:gd name="T29" fmla="*/ 0 h 228"/>
                <a:gd name="T30" fmla="*/ 2147483647 w 227"/>
                <a:gd name="T31" fmla="*/ 0 h 228"/>
                <a:gd name="T32" fmla="*/ 2147483647 w 227"/>
                <a:gd name="T33" fmla="*/ 0 h 228"/>
                <a:gd name="T34" fmla="*/ 2147483647 w 227"/>
                <a:gd name="T35" fmla="*/ 0 h 228"/>
                <a:gd name="T36" fmla="*/ 2147483647 w 227"/>
                <a:gd name="T37" fmla="*/ 0 h 228"/>
                <a:gd name="T38" fmla="*/ 2147483647 w 227"/>
                <a:gd name="T39" fmla="*/ 0 h 228"/>
                <a:gd name="T40" fmla="*/ 2147483647 w 227"/>
                <a:gd name="T41" fmla="*/ 0 h 228"/>
                <a:gd name="T42" fmla="*/ 2147483647 w 227"/>
                <a:gd name="T43" fmla="*/ 0 h 228"/>
                <a:gd name="T44" fmla="*/ 2147483647 w 227"/>
                <a:gd name="T45" fmla="*/ 0 h 228"/>
                <a:gd name="T46" fmla="*/ 2147483647 w 227"/>
                <a:gd name="T47" fmla="*/ 0 h 228"/>
                <a:gd name="T48" fmla="*/ 2147483647 w 227"/>
                <a:gd name="T49" fmla="*/ 0 h 228"/>
                <a:gd name="T50" fmla="*/ 2147483647 w 227"/>
                <a:gd name="T51" fmla="*/ 0 h 228"/>
                <a:gd name="T52" fmla="*/ 2147483647 w 227"/>
                <a:gd name="T53" fmla="*/ 0 h 228"/>
                <a:gd name="T54" fmla="*/ 2147483647 w 227"/>
                <a:gd name="T55" fmla="*/ 0 h 228"/>
                <a:gd name="T56" fmla="*/ 2147483647 w 227"/>
                <a:gd name="T57" fmla="*/ 0 h 228"/>
                <a:gd name="T58" fmla="*/ 2147483647 w 227"/>
                <a:gd name="T59" fmla="*/ 0 h 228"/>
                <a:gd name="T60" fmla="*/ 2147483647 w 227"/>
                <a:gd name="T61" fmla="*/ 0 h 228"/>
                <a:gd name="T62" fmla="*/ 2147483647 w 227"/>
                <a:gd name="T63" fmla="*/ 2147483647 h 228"/>
                <a:gd name="T64" fmla="*/ 2147483647 w 227"/>
                <a:gd name="T65" fmla="*/ 2147483647 h 228"/>
                <a:gd name="T66" fmla="*/ 2147483647 w 227"/>
                <a:gd name="T67" fmla="*/ 2147483647 h 228"/>
                <a:gd name="T68" fmla="*/ 2147483647 w 227"/>
                <a:gd name="T69" fmla="*/ 2147483647 h 228"/>
                <a:gd name="T70" fmla="*/ 2147483647 w 227"/>
                <a:gd name="T71" fmla="*/ 2147483647 h 228"/>
                <a:gd name="T72" fmla="*/ 2147483647 w 227"/>
                <a:gd name="T73" fmla="*/ 2147483647 h 228"/>
                <a:gd name="T74" fmla="*/ 2147483647 w 227"/>
                <a:gd name="T75" fmla="*/ 2147483647 h 228"/>
                <a:gd name="T76" fmla="*/ 2147483647 w 227"/>
                <a:gd name="T77" fmla="*/ 2147483647 h 228"/>
                <a:gd name="T78" fmla="*/ 2147483647 w 227"/>
                <a:gd name="T79" fmla="*/ 2147483647 h 228"/>
                <a:gd name="T80" fmla="*/ 2147483647 w 227"/>
                <a:gd name="T81" fmla="*/ 2147483647 h 228"/>
                <a:gd name="T82" fmla="*/ 2147483647 w 227"/>
                <a:gd name="T83" fmla="*/ 2147483647 h 228"/>
                <a:gd name="T84" fmla="*/ 2147483647 w 227"/>
                <a:gd name="T85" fmla="*/ 2147483647 h 228"/>
                <a:gd name="T86" fmla="*/ 2147483647 w 227"/>
                <a:gd name="T87" fmla="*/ 2147483647 h 228"/>
                <a:gd name="T88" fmla="*/ 2147483647 w 227"/>
                <a:gd name="T89" fmla="*/ 2147483647 h 228"/>
                <a:gd name="T90" fmla="*/ 2147483647 w 227"/>
                <a:gd name="T91" fmla="*/ 2147483647 h 228"/>
                <a:gd name="T92" fmla="*/ 2147483647 w 227"/>
                <a:gd name="T93" fmla="*/ 2147483647 h 228"/>
                <a:gd name="T94" fmla="*/ 2147483647 w 227"/>
                <a:gd name="T95" fmla="*/ 2147483647 h 228"/>
                <a:gd name="T96" fmla="*/ 2147483647 w 227"/>
                <a:gd name="T97" fmla="*/ 2147483647 h 228"/>
                <a:gd name="T98" fmla="*/ 2147483647 w 227"/>
                <a:gd name="T99" fmla="*/ 2147483647 h 228"/>
                <a:gd name="T100" fmla="*/ 2147483647 w 227"/>
                <a:gd name="T101" fmla="*/ 2147483647 h 228"/>
                <a:gd name="T102" fmla="*/ 2147483647 w 227"/>
                <a:gd name="T103" fmla="*/ 2147483647 h 228"/>
                <a:gd name="T104" fmla="*/ 2147483647 w 227"/>
                <a:gd name="T105" fmla="*/ 2147483647 h 228"/>
                <a:gd name="T106" fmla="*/ 2147483647 w 227"/>
                <a:gd name="T107" fmla="*/ 2147483647 h 228"/>
                <a:gd name="T108" fmla="*/ 2147483647 w 227"/>
                <a:gd name="T109" fmla="*/ 2147483647 h 228"/>
                <a:gd name="T110" fmla="*/ 2147483647 w 227"/>
                <a:gd name="T111" fmla="*/ 2147483647 h 228"/>
                <a:gd name="T112" fmla="*/ 2147483647 w 227"/>
                <a:gd name="T113" fmla="*/ 2147483647 h 228"/>
                <a:gd name="T114" fmla="*/ 0 w 227"/>
                <a:gd name="T115" fmla="*/ 2147483647 h 228"/>
                <a:gd name="T116" fmla="*/ 0 w 227"/>
                <a:gd name="T117" fmla="*/ 2147483647 h 228"/>
                <a:gd name="T118" fmla="*/ 0 w 227"/>
                <a:gd name="T119" fmla="*/ 2147483647 h 228"/>
                <a:gd name="T120" fmla="*/ 0 w 227"/>
                <a:gd name="T121" fmla="*/ 2147483647 h 228"/>
                <a:gd name="T122" fmla="*/ 0 w 227"/>
                <a:gd name="T123" fmla="*/ 2147483647 h 2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7"/>
                <a:gd name="T187" fmla="*/ 0 h 228"/>
                <a:gd name="T188" fmla="*/ 227 w 227"/>
                <a:gd name="T189" fmla="*/ 228 h 2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5" name="Freeform 40">
              <a:extLst>
                <a:ext uri="{FF2B5EF4-FFF2-40B4-BE49-F238E27FC236}">
                  <a16:creationId xmlns:a16="http://schemas.microsoft.com/office/drawing/2014/main" id="{5BDB0716-1892-54FD-8D4B-EAD8960E75BF}"/>
                </a:ext>
              </a:extLst>
            </p:cNvPr>
            <p:cNvSpPr>
              <a:spLocks noChangeAspect="1"/>
            </p:cNvSpPr>
            <p:nvPr userDrawn="1"/>
          </p:nvSpPr>
          <p:spPr bwMode="gray">
            <a:xfrm>
              <a:off x="5849282" y="3906594"/>
              <a:ext cx="344731" cy="304844"/>
            </a:xfrm>
            <a:custGeom>
              <a:avLst/>
              <a:gdLst>
                <a:gd name="T0" fmla="*/ 2147483647 w 642"/>
                <a:gd name="T1" fmla="*/ 2147483647 h 532"/>
                <a:gd name="T2" fmla="*/ 2147483647 w 642"/>
                <a:gd name="T3" fmla="*/ 0 h 532"/>
                <a:gd name="T4" fmla="*/ 2147483647 w 642"/>
                <a:gd name="T5" fmla="*/ 0 h 532"/>
                <a:gd name="T6" fmla="*/ 2147483647 w 642"/>
                <a:gd name="T7" fmla="*/ 0 h 532"/>
                <a:gd name="T8" fmla="*/ 2147483647 w 642"/>
                <a:gd name="T9" fmla="*/ 0 h 532"/>
                <a:gd name="T10" fmla="*/ 2147483647 w 642"/>
                <a:gd name="T11" fmla="*/ 0 h 532"/>
                <a:gd name="T12" fmla="*/ 2147483647 w 642"/>
                <a:gd name="T13" fmla="*/ 0 h 532"/>
                <a:gd name="T14" fmla="*/ 2147483647 w 642"/>
                <a:gd name="T15" fmla="*/ 0 h 532"/>
                <a:gd name="T16" fmla="*/ 2147483647 w 642"/>
                <a:gd name="T17" fmla="*/ 0 h 532"/>
                <a:gd name="T18" fmla="*/ 2147483647 w 642"/>
                <a:gd name="T19" fmla="*/ 0 h 532"/>
                <a:gd name="T20" fmla="*/ 2147483647 w 642"/>
                <a:gd name="T21" fmla="*/ 0 h 532"/>
                <a:gd name="T22" fmla="*/ 2147483647 w 642"/>
                <a:gd name="T23" fmla="*/ 0 h 532"/>
                <a:gd name="T24" fmla="*/ 2147483647 w 642"/>
                <a:gd name="T25" fmla="*/ 0 h 532"/>
                <a:gd name="T26" fmla="*/ 2147483647 w 642"/>
                <a:gd name="T27" fmla="*/ 0 h 532"/>
                <a:gd name="T28" fmla="*/ 2147483647 w 642"/>
                <a:gd name="T29" fmla="*/ 0 h 532"/>
                <a:gd name="T30" fmla="*/ 2147483647 w 642"/>
                <a:gd name="T31" fmla="*/ 0 h 532"/>
                <a:gd name="T32" fmla="*/ 2147483647 w 642"/>
                <a:gd name="T33" fmla="*/ 0 h 532"/>
                <a:gd name="T34" fmla="*/ 2147483647 w 642"/>
                <a:gd name="T35" fmla="*/ 0 h 532"/>
                <a:gd name="T36" fmla="*/ 2147483647 w 642"/>
                <a:gd name="T37" fmla="*/ 0 h 532"/>
                <a:gd name="T38" fmla="*/ 2147483647 w 642"/>
                <a:gd name="T39" fmla="*/ 0 h 532"/>
                <a:gd name="T40" fmla="*/ 2147483647 w 642"/>
                <a:gd name="T41" fmla="*/ 2147483647 h 532"/>
                <a:gd name="T42" fmla="*/ 2147483647 w 642"/>
                <a:gd name="T43" fmla="*/ 2147483647 h 532"/>
                <a:gd name="T44" fmla="*/ 2147483647 w 642"/>
                <a:gd name="T45" fmla="*/ 2147483647 h 532"/>
                <a:gd name="T46" fmla="*/ 2147483647 w 642"/>
                <a:gd name="T47" fmla="*/ 2147483647 h 532"/>
                <a:gd name="T48" fmla="*/ 2147483647 w 642"/>
                <a:gd name="T49" fmla="*/ 2147483647 h 532"/>
                <a:gd name="T50" fmla="*/ 2147483647 w 642"/>
                <a:gd name="T51" fmla="*/ 2147483647 h 532"/>
                <a:gd name="T52" fmla="*/ 2147483647 w 642"/>
                <a:gd name="T53" fmla="*/ 2147483647 h 532"/>
                <a:gd name="T54" fmla="*/ 2147483647 w 642"/>
                <a:gd name="T55" fmla="*/ 2147483647 h 532"/>
                <a:gd name="T56" fmla="*/ 2147483647 w 642"/>
                <a:gd name="T57" fmla="*/ 2147483647 h 532"/>
                <a:gd name="T58" fmla="*/ 2147483647 w 642"/>
                <a:gd name="T59" fmla="*/ 2147483647 h 532"/>
                <a:gd name="T60" fmla="*/ 2147483647 w 642"/>
                <a:gd name="T61" fmla="*/ 2147483647 h 532"/>
                <a:gd name="T62" fmla="*/ 2147483647 w 642"/>
                <a:gd name="T63" fmla="*/ 2147483647 h 532"/>
                <a:gd name="T64" fmla="*/ 2147483647 w 642"/>
                <a:gd name="T65" fmla="*/ 2147483647 h 532"/>
                <a:gd name="T66" fmla="*/ 2147483647 w 642"/>
                <a:gd name="T67" fmla="*/ 2147483647 h 532"/>
                <a:gd name="T68" fmla="*/ 2147483647 w 642"/>
                <a:gd name="T69" fmla="*/ 2147483647 h 532"/>
                <a:gd name="T70" fmla="*/ 2147483647 w 642"/>
                <a:gd name="T71" fmla="*/ 2147483647 h 532"/>
                <a:gd name="T72" fmla="*/ 2147483647 w 642"/>
                <a:gd name="T73" fmla="*/ 2147483647 h 532"/>
                <a:gd name="T74" fmla="*/ 2147483647 w 642"/>
                <a:gd name="T75" fmla="*/ 2147483647 h 532"/>
                <a:gd name="T76" fmla="*/ 2147483647 w 642"/>
                <a:gd name="T77" fmla="*/ 2147483647 h 532"/>
                <a:gd name="T78" fmla="*/ 2147483647 w 642"/>
                <a:gd name="T79" fmla="*/ 2147483647 h 532"/>
                <a:gd name="T80" fmla="*/ 2147483647 w 642"/>
                <a:gd name="T81" fmla="*/ 2147483647 h 532"/>
                <a:gd name="T82" fmla="*/ 2147483647 w 642"/>
                <a:gd name="T83" fmla="*/ 2147483647 h 532"/>
                <a:gd name="T84" fmla="*/ 2147483647 w 642"/>
                <a:gd name="T85" fmla="*/ 2147483647 h 532"/>
                <a:gd name="T86" fmla="*/ 2147483647 w 642"/>
                <a:gd name="T87" fmla="*/ 2147483647 h 532"/>
                <a:gd name="T88" fmla="*/ 2147483647 w 642"/>
                <a:gd name="T89" fmla="*/ 2147483647 h 532"/>
                <a:gd name="T90" fmla="*/ 2147483647 w 642"/>
                <a:gd name="T91" fmla="*/ 2147483647 h 532"/>
                <a:gd name="T92" fmla="*/ 2147483647 w 642"/>
                <a:gd name="T93" fmla="*/ 2147483647 h 532"/>
                <a:gd name="T94" fmla="*/ 2147483647 w 642"/>
                <a:gd name="T95" fmla="*/ 2147483647 h 532"/>
                <a:gd name="T96" fmla="*/ 2147483647 w 642"/>
                <a:gd name="T97" fmla="*/ 2147483647 h 532"/>
                <a:gd name="T98" fmla="*/ 0 w 642"/>
                <a:gd name="T99" fmla="*/ 2147483647 h 532"/>
                <a:gd name="T100" fmla="*/ 0 w 642"/>
                <a:gd name="T101" fmla="*/ 2147483647 h 532"/>
                <a:gd name="T102" fmla="*/ 0 w 642"/>
                <a:gd name="T103" fmla="*/ 2147483647 h 532"/>
                <a:gd name="T104" fmla="*/ 0 w 642"/>
                <a:gd name="T105" fmla="*/ 2147483647 h 532"/>
                <a:gd name="T106" fmla="*/ 2147483647 w 642"/>
                <a:gd name="T107" fmla="*/ 2147483647 h 532"/>
                <a:gd name="T108" fmla="*/ 2147483647 w 642"/>
                <a:gd name="T109" fmla="*/ 2147483647 h 532"/>
                <a:gd name="T110" fmla="*/ 2147483647 w 642"/>
                <a:gd name="T111" fmla="*/ 2147483647 h 532"/>
                <a:gd name="T112" fmla="*/ 2147483647 w 642"/>
                <a:gd name="T113" fmla="*/ 2147483647 h 532"/>
                <a:gd name="T114" fmla="*/ 2147483647 w 642"/>
                <a:gd name="T115" fmla="*/ 2147483647 h 532"/>
                <a:gd name="T116" fmla="*/ 0 w 642"/>
                <a:gd name="T117" fmla="*/ 2147483647 h 53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42"/>
                <a:gd name="T178" fmla="*/ 0 h 532"/>
                <a:gd name="T179" fmla="*/ 642 w 642"/>
                <a:gd name="T180" fmla="*/ 532 h 53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6" name="Freeform 41">
              <a:extLst>
                <a:ext uri="{FF2B5EF4-FFF2-40B4-BE49-F238E27FC236}">
                  <a16:creationId xmlns:a16="http://schemas.microsoft.com/office/drawing/2014/main" id="{AC45B1DB-EC4B-D803-D16A-A3F78BD3BEED}"/>
                </a:ext>
              </a:extLst>
            </p:cNvPr>
            <p:cNvSpPr>
              <a:spLocks noChangeAspect="1"/>
            </p:cNvSpPr>
            <p:nvPr userDrawn="1"/>
          </p:nvSpPr>
          <p:spPr bwMode="gray">
            <a:xfrm>
              <a:off x="6094026" y="4223631"/>
              <a:ext cx="223851" cy="272836"/>
            </a:xfrm>
            <a:custGeom>
              <a:avLst/>
              <a:gdLst>
                <a:gd name="T0" fmla="*/ 2147483647 w 417"/>
                <a:gd name="T1" fmla="*/ 0 h 479"/>
                <a:gd name="T2" fmla="*/ 2147483647 w 417"/>
                <a:gd name="T3" fmla="*/ 0 h 479"/>
                <a:gd name="T4" fmla="*/ 2147483647 w 417"/>
                <a:gd name="T5" fmla="*/ 0 h 479"/>
                <a:gd name="T6" fmla="*/ 2147483647 w 417"/>
                <a:gd name="T7" fmla="*/ 0 h 479"/>
                <a:gd name="T8" fmla="*/ 2147483647 w 417"/>
                <a:gd name="T9" fmla="*/ 0 h 479"/>
                <a:gd name="T10" fmla="*/ 2147483647 w 417"/>
                <a:gd name="T11" fmla="*/ 2147483647 h 479"/>
                <a:gd name="T12" fmla="*/ 2147483647 w 417"/>
                <a:gd name="T13" fmla="*/ 2147483647 h 479"/>
                <a:gd name="T14" fmla="*/ 2147483647 w 417"/>
                <a:gd name="T15" fmla="*/ 2147483647 h 479"/>
                <a:gd name="T16" fmla="*/ 2147483647 w 417"/>
                <a:gd name="T17" fmla="*/ 2147483647 h 479"/>
                <a:gd name="T18" fmla="*/ 2147483647 w 417"/>
                <a:gd name="T19" fmla="*/ 2147483647 h 479"/>
                <a:gd name="T20" fmla="*/ 2147483647 w 417"/>
                <a:gd name="T21" fmla="*/ 2147483647 h 479"/>
                <a:gd name="T22" fmla="*/ 2147483647 w 417"/>
                <a:gd name="T23" fmla="*/ 2147483647 h 479"/>
                <a:gd name="T24" fmla="*/ 2147483647 w 417"/>
                <a:gd name="T25" fmla="*/ 2147483647 h 479"/>
                <a:gd name="T26" fmla="*/ 2147483647 w 417"/>
                <a:gd name="T27" fmla="*/ 2147483647 h 479"/>
                <a:gd name="T28" fmla="*/ 2147483647 w 417"/>
                <a:gd name="T29" fmla="*/ 2147483647 h 479"/>
                <a:gd name="T30" fmla="*/ 2147483647 w 417"/>
                <a:gd name="T31" fmla="*/ 2147483647 h 479"/>
                <a:gd name="T32" fmla="*/ 2147483647 w 417"/>
                <a:gd name="T33" fmla="*/ 2147483647 h 479"/>
                <a:gd name="T34" fmla="*/ 2147483647 w 417"/>
                <a:gd name="T35" fmla="*/ 2147483647 h 479"/>
                <a:gd name="T36" fmla="*/ 2147483647 w 417"/>
                <a:gd name="T37" fmla="*/ 2147483647 h 479"/>
                <a:gd name="T38" fmla="*/ 2147483647 w 417"/>
                <a:gd name="T39" fmla="*/ 2147483647 h 479"/>
                <a:gd name="T40" fmla="*/ 2147483647 w 417"/>
                <a:gd name="T41" fmla="*/ 2147483647 h 479"/>
                <a:gd name="T42" fmla="*/ 0 w 417"/>
                <a:gd name="T43" fmla="*/ 2147483647 h 479"/>
                <a:gd name="T44" fmla="*/ 0 w 417"/>
                <a:gd name="T45" fmla="*/ 2147483647 h 479"/>
                <a:gd name="T46" fmla="*/ 0 w 417"/>
                <a:gd name="T47" fmla="*/ 2147483647 h 479"/>
                <a:gd name="T48" fmla="*/ 0 w 417"/>
                <a:gd name="T49" fmla="*/ 2147483647 h 479"/>
                <a:gd name="T50" fmla="*/ 0 w 417"/>
                <a:gd name="T51" fmla="*/ 2147483647 h 479"/>
                <a:gd name="T52" fmla="*/ 0 w 417"/>
                <a:gd name="T53" fmla="*/ 2147483647 h 479"/>
                <a:gd name="T54" fmla="*/ 0 w 417"/>
                <a:gd name="T55" fmla="*/ 2147483647 h 479"/>
                <a:gd name="T56" fmla="*/ 0 w 417"/>
                <a:gd name="T57" fmla="*/ 2147483647 h 479"/>
                <a:gd name="T58" fmla="*/ 2147483647 w 417"/>
                <a:gd name="T59" fmla="*/ 2147483647 h 479"/>
                <a:gd name="T60" fmla="*/ 2147483647 w 417"/>
                <a:gd name="T61" fmla="*/ 2147483647 h 479"/>
                <a:gd name="T62" fmla="*/ 2147483647 w 417"/>
                <a:gd name="T63" fmla="*/ 2147483647 h 479"/>
                <a:gd name="T64" fmla="*/ 2147483647 w 417"/>
                <a:gd name="T65" fmla="*/ 2147483647 h 479"/>
                <a:gd name="T66" fmla="*/ 2147483647 w 417"/>
                <a:gd name="T67" fmla="*/ 2147483647 h 479"/>
                <a:gd name="T68" fmla="*/ 2147483647 w 417"/>
                <a:gd name="T69" fmla="*/ 2147483647 h 479"/>
                <a:gd name="T70" fmla="*/ 2147483647 w 417"/>
                <a:gd name="T71" fmla="*/ 2147483647 h 479"/>
                <a:gd name="T72" fmla="*/ 2147483647 w 417"/>
                <a:gd name="T73" fmla="*/ 2147483647 h 479"/>
                <a:gd name="T74" fmla="*/ 2147483647 w 417"/>
                <a:gd name="T75" fmla="*/ 2147483647 h 479"/>
                <a:gd name="T76" fmla="*/ 2147483647 w 417"/>
                <a:gd name="T77" fmla="*/ 2147483647 h 479"/>
                <a:gd name="T78" fmla="*/ 2147483647 w 417"/>
                <a:gd name="T79" fmla="*/ 2147483647 h 479"/>
                <a:gd name="T80" fmla="*/ 2147483647 w 417"/>
                <a:gd name="T81" fmla="*/ 2147483647 h 479"/>
                <a:gd name="T82" fmla="*/ 2147483647 w 417"/>
                <a:gd name="T83" fmla="*/ 2147483647 h 479"/>
                <a:gd name="T84" fmla="*/ 2147483647 w 417"/>
                <a:gd name="T85" fmla="*/ 2147483647 h 479"/>
                <a:gd name="T86" fmla="*/ 2147483647 w 417"/>
                <a:gd name="T87" fmla="*/ 2147483647 h 479"/>
                <a:gd name="T88" fmla="*/ 2147483647 w 417"/>
                <a:gd name="T89" fmla="*/ 2147483647 h 479"/>
                <a:gd name="T90" fmla="*/ 2147483647 w 417"/>
                <a:gd name="T91" fmla="*/ 0 h 479"/>
                <a:gd name="T92" fmla="*/ 2147483647 w 417"/>
                <a:gd name="T93" fmla="*/ 0 h 47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7"/>
                <a:gd name="T142" fmla="*/ 0 h 479"/>
                <a:gd name="T143" fmla="*/ 417 w 417"/>
                <a:gd name="T144" fmla="*/ 479 h 47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7" name="Freeform 42">
              <a:extLst>
                <a:ext uri="{FF2B5EF4-FFF2-40B4-BE49-F238E27FC236}">
                  <a16:creationId xmlns:a16="http://schemas.microsoft.com/office/drawing/2014/main" id="{94B608D2-EA2E-1AFC-1CEE-6D38DF53AFD7}"/>
                </a:ext>
              </a:extLst>
            </p:cNvPr>
            <p:cNvSpPr>
              <a:spLocks noChangeAspect="1"/>
            </p:cNvSpPr>
            <p:nvPr userDrawn="1"/>
          </p:nvSpPr>
          <p:spPr bwMode="gray">
            <a:xfrm>
              <a:off x="6043286" y="4270882"/>
              <a:ext cx="56709" cy="38105"/>
            </a:xfrm>
            <a:custGeom>
              <a:avLst/>
              <a:gdLst>
                <a:gd name="T0" fmla="*/ 2147483647 w 107"/>
                <a:gd name="T1" fmla="*/ 0 h 69"/>
                <a:gd name="T2" fmla="*/ 2147483647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2147483647 w 107"/>
                <a:gd name="T27" fmla="*/ 0 h 69"/>
                <a:gd name="T28" fmla="*/ 2147483647 w 107"/>
                <a:gd name="T29" fmla="*/ 0 h 69"/>
                <a:gd name="T30" fmla="*/ 2147483647 w 107"/>
                <a:gd name="T31" fmla="*/ 0 h 69"/>
                <a:gd name="T32" fmla="*/ 2147483647 w 107"/>
                <a:gd name="T33" fmla="*/ 0 h 69"/>
                <a:gd name="T34" fmla="*/ 2147483647 w 107"/>
                <a:gd name="T35" fmla="*/ 0 h 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7"/>
                <a:gd name="T55" fmla="*/ 0 h 69"/>
                <a:gd name="T56" fmla="*/ 107 w 107"/>
                <a:gd name="T57" fmla="*/ 69 h 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8" name="Freeform 43">
              <a:extLst>
                <a:ext uri="{FF2B5EF4-FFF2-40B4-BE49-F238E27FC236}">
                  <a16:creationId xmlns:a16="http://schemas.microsoft.com/office/drawing/2014/main" id="{0A0E60B3-320B-D909-4AEC-29633CF5DCF7}"/>
                </a:ext>
              </a:extLst>
            </p:cNvPr>
            <p:cNvSpPr>
              <a:spLocks noChangeAspect="1"/>
            </p:cNvSpPr>
            <p:nvPr userDrawn="1"/>
          </p:nvSpPr>
          <p:spPr bwMode="gray">
            <a:xfrm>
              <a:off x="6625300" y="4412634"/>
              <a:ext cx="47755" cy="64017"/>
            </a:xfrm>
            <a:custGeom>
              <a:avLst/>
              <a:gdLst>
                <a:gd name="T0" fmla="*/ 2147483647 w 93"/>
                <a:gd name="T1" fmla="*/ 0 h 114"/>
                <a:gd name="T2" fmla="*/ 2147483647 w 93"/>
                <a:gd name="T3" fmla="*/ 0 h 114"/>
                <a:gd name="T4" fmla="*/ 2147483647 w 93"/>
                <a:gd name="T5" fmla="*/ 0 h 114"/>
                <a:gd name="T6" fmla="*/ 2147483647 w 93"/>
                <a:gd name="T7" fmla="*/ 0 h 114"/>
                <a:gd name="T8" fmla="*/ 2147483647 w 93"/>
                <a:gd name="T9" fmla="*/ 0 h 114"/>
                <a:gd name="T10" fmla="*/ 0 w 93"/>
                <a:gd name="T11" fmla="*/ 0 h 114"/>
                <a:gd name="T12" fmla="*/ 0 w 93"/>
                <a:gd name="T13" fmla="*/ 0 h 114"/>
                <a:gd name="T14" fmla="*/ 0 w 93"/>
                <a:gd name="T15" fmla="*/ 0 h 114"/>
                <a:gd name="T16" fmla="*/ 0 w 93"/>
                <a:gd name="T17" fmla="*/ 0 h 114"/>
                <a:gd name="T18" fmla="*/ 0 w 93"/>
                <a:gd name="T19" fmla="*/ 0 h 114"/>
                <a:gd name="T20" fmla="*/ 0 w 93"/>
                <a:gd name="T21" fmla="*/ 0 h 114"/>
                <a:gd name="T22" fmla="*/ 0 w 93"/>
                <a:gd name="T23" fmla="*/ 0 h 114"/>
                <a:gd name="T24" fmla="*/ 0 w 93"/>
                <a:gd name="T25" fmla="*/ 0 h 114"/>
                <a:gd name="T26" fmla="*/ 0 w 93"/>
                <a:gd name="T27" fmla="*/ 0 h 114"/>
                <a:gd name="T28" fmla="*/ 0 w 93"/>
                <a:gd name="T29" fmla="*/ 0 h 114"/>
                <a:gd name="T30" fmla="*/ 0 w 93"/>
                <a:gd name="T31" fmla="*/ 0 h 114"/>
                <a:gd name="T32" fmla="*/ 0 w 93"/>
                <a:gd name="T33" fmla="*/ 0 h 114"/>
                <a:gd name="T34" fmla="*/ 0 w 93"/>
                <a:gd name="T35" fmla="*/ 0 h 114"/>
                <a:gd name="T36" fmla="*/ 0 w 93"/>
                <a:gd name="T37" fmla="*/ 0 h 114"/>
                <a:gd name="T38" fmla="*/ 0 w 93"/>
                <a:gd name="T39" fmla="*/ 0 h 114"/>
                <a:gd name="T40" fmla="*/ 0 w 93"/>
                <a:gd name="T41" fmla="*/ 0 h 114"/>
                <a:gd name="T42" fmla="*/ 0 w 93"/>
                <a:gd name="T43" fmla="*/ 0 h 114"/>
                <a:gd name="T44" fmla="*/ 0 w 93"/>
                <a:gd name="T45" fmla="*/ 0 h 114"/>
                <a:gd name="T46" fmla="*/ 0 w 93"/>
                <a:gd name="T47" fmla="*/ 0 h 114"/>
                <a:gd name="T48" fmla="*/ 0 w 93"/>
                <a:gd name="T49" fmla="*/ 0 h 114"/>
                <a:gd name="T50" fmla="*/ 0 w 93"/>
                <a:gd name="T51" fmla="*/ 0 h 114"/>
                <a:gd name="T52" fmla="*/ 0 w 93"/>
                <a:gd name="T53" fmla="*/ 0 h 114"/>
                <a:gd name="T54" fmla="*/ 0 w 93"/>
                <a:gd name="T55" fmla="*/ 2147483647 h 114"/>
                <a:gd name="T56" fmla="*/ 0 w 93"/>
                <a:gd name="T57" fmla="*/ 2147483647 h 114"/>
                <a:gd name="T58" fmla="*/ 0 w 93"/>
                <a:gd name="T59" fmla="*/ 2147483647 h 114"/>
                <a:gd name="T60" fmla="*/ 0 w 93"/>
                <a:gd name="T61" fmla="*/ 2147483647 h 114"/>
                <a:gd name="T62" fmla="*/ 0 w 93"/>
                <a:gd name="T63" fmla="*/ 2147483647 h 114"/>
                <a:gd name="T64" fmla="*/ 0 w 93"/>
                <a:gd name="T65" fmla="*/ 2147483647 h 114"/>
                <a:gd name="T66" fmla="*/ 0 w 93"/>
                <a:gd name="T67" fmla="*/ 2147483647 h 114"/>
                <a:gd name="T68" fmla="*/ 0 w 93"/>
                <a:gd name="T69" fmla="*/ 2147483647 h 114"/>
                <a:gd name="T70" fmla="*/ 2147483647 w 93"/>
                <a:gd name="T71" fmla="*/ 2147483647 h 114"/>
                <a:gd name="T72" fmla="*/ 2147483647 w 93"/>
                <a:gd name="T73" fmla="*/ 2147483647 h 114"/>
                <a:gd name="T74" fmla="*/ 2147483647 w 93"/>
                <a:gd name="T75" fmla="*/ 0 h 114"/>
                <a:gd name="T76" fmla="*/ 2147483647 w 93"/>
                <a:gd name="T77" fmla="*/ 0 h 114"/>
                <a:gd name="T78" fmla="*/ 2147483647 w 93"/>
                <a:gd name="T79" fmla="*/ 0 h 114"/>
                <a:gd name="T80" fmla="*/ 2147483647 w 93"/>
                <a:gd name="T81" fmla="*/ 0 h 114"/>
                <a:gd name="T82" fmla="*/ 2147483647 w 93"/>
                <a:gd name="T83" fmla="*/ 0 h 114"/>
                <a:gd name="T84" fmla="*/ 2147483647 w 93"/>
                <a:gd name="T85" fmla="*/ 0 h 114"/>
                <a:gd name="T86" fmla="*/ 2147483647 w 93"/>
                <a:gd name="T87" fmla="*/ 0 h 114"/>
                <a:gd name="T88" fmla="*/ 2147483647 w 93"/>
                <a:gd name="T89" fmla="*/ 0 h 114"/>
                <a:gd name="T90" fmla="*/ 2147483647 w 93"/>
                <a:gd name="T91" fmla="*/ 0 h 114"/>
                <a:gd name="T92" fmla="*/ 2147483647 w 93"/>
                <a:gd name="T93" fmla="*/ 0 h 114"/>
                <a:gd name="T94" fmla="*/ 2147483647 w 93"/>
                <a:gd name="T95" fmla="*/ 0 h 114"/>
                <a:gd name="T96" fmla="*/ 2147483647 w 93"/>
                <a:gd name="T97" fmla="*/ 0 h 1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3"/>
                <a:gd name="T148" fmla="*/ 0 h 114"/>
                <a:gd name="T149" fmla="*/ 93 w 93"/>
                <a:gd name="T150" fmla="*/ 114 h 1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49" name="Freeform 44">
              <a:extLst>
                <a:ext uri="{FF2B5EF4-FFF2-40B4-BE49-F238E27FC236}">
                  <a16:creationId xmlns:a16="http://schemas.microsoft.com/office/drawing/2014/main" id="{08A2C7B3-B55C-A57A-91F8-3E90BCA90D4C}"/>
                </a:ext>
              </a:extLst>
            </p:cNvPr>
            <p:cNvSpPr>
              <a:spLocks noChangeAspect="1"/>
            </p:cNvSpPr>
            <p:nvPr userDrawn="1"/>
          </p:nvSpPr>
          <p:spPr bwMode="gray">
            <a:xfrm>
              <a:off x="6641716" y="4211438"/>
              <a:ext cx="155204" cy="173761"/>
            </a:xfrm>
            <a:custGeom>
              <a:avLst/>
              <a:gdLst>
                <a:gd name="T0" fmla="*/ 2147483647 w 289"/>
                <a:gd name="T1" fmla="*/ 0 h 302"/>
                <a:gd name="T2" fmla="*/ 2147483647 w 289"/>
                <a:gd name="T3" fmla="*/ 0 h 302"/>
                <a:gd name="T4" fmla="*/ 2147483647 w 289"/>
                <a:gd name="T5" fmla="*/ 0 h 302"/>
                <a:gd name="T6" fmla="*/ 2147483647 w 289"/>
                <a:gd name="T7" fmla="*/ 0 h 302"/>
                <a:gd name="T8" fmla="*/ 2147483647 w 289"/>
                <a:gd name="T9" fmla="*/ 0 h 302"/>
                <a:gd name="T10" fmla="*/ 2147483647 w 289"/>
                <a:gd name="T11" fmla="*/ 0 h 302"/>
                <a:gd name="T12" fmla="*/ 2147483647 w 289"/>
                <a:gd name="T13" fmla="*/ 0 h 302"/>
                <a:gd name="T14" fmla="*/ 2147483647 w 289"/>
                <a:gd name="T15" fmla="*/ 0 h 302"/>
                <a:gd name="T16" fmla="*/ 2147483647 w 289"/>
                <a:gd name="T17" fmla="*/ 0 h 302"/>
                <a:gd name="T18" fmla="*/ 2147483647 w 289"/>
                <a:gd name="T19" fmla="*/ 2147483647 h 302"/>
                <a:gd name="T20" fmla="*/ 2147483647 w 289"/>
                <a:gd name="T21" fmla="*/ 2147483647 h 302"/>
                <a:gd name="T22" fmla="*/ 2147483647 w 289"/>
                <a:gd name="T23" fmla="*/ 2147483647 h 302"/>
                <a:gd name="T24" fmla="*/ 2147483647 w 289"/>
                <a:gd name="T25" fmla="*/ 2147483647 h 302"/>
                <a:gd name="T26" fmla="*/ 2147483647 w 289"/>
                <a:gd name="T27" fmla="*/ 2147483647 h 302"/>
                <a:gd name="T28" fmla="*/ 2147483647 w 289"/>
                <a:gd name="T29" fmla="*/ 2147483647 h 302"/>
                <a:gd name="T30" fmla="*/ 0 w 289"/>
                <a:gd name="T31" fmla="*/ 2147483647 h 302"/>
                <a:gd name="T32" fmla="*/ 0 w 289"/>
                <a:gd name="T33" fmla="*/ 2147483647 h 302"/>
                <a:gd name="T34" fmla="*/ 0 w 289"/>
                <a:gd name="T35" fmla="*/ 2147483647 h 302"/>
                <a:gd name="T36" fmla="*/ 0 w 289"/>
                <a:gd name="T37" fmla="*/ 2147483647 h 302"/>
                <a:gd name="T38" fmla="*/ 0 w 289"/>
                <a:gd name="T39" fmla="*/ 2147483647 h 302"/>
                <a:gd name="T40" fmla="*/ 0 w 289"/>
                <a:gd name="T41" fmla="*/ 2147483647 h 302"/>
                <a:gd name="T42" fmla="*/ 0 w 289"/>
                <a:gd name="T43" fmla="*/ 2147483647 h 302"/>
                <a:gd name="T44" fmla="*/ 0 w 289"/>
                <a:gd name="T45" fmla="*/ 2147483647 h 302"/>
                <a:gd name="T46" fmla="*/ 2147483647 w 289"/>
                <a:gd name="T47" fmla="*/ 2147483647 h 302"/>
                <a:gd name="T48" fmla="*/ 2147483647 w 289"/>
                <a:gd name="T49" fmla="*/ 2147483647 h 302"/>
                <a:gd name="T50" fmla="*/ 2147483647 w 289"/>
                <a:gd name="T51" fmla="*/ 2147483647 h 302"/>
                <a:gd name="T52" fmla="*/ 2147483647 w 289"/>
                <a:gd name="T53" fmla="*/ 2147483647 h 302"/>
                <a:gd name="T54" fmla="*/ 2147483647 w 289"/>
                <a:gd name="T55" fmla="*/ 2147483647 h 302"/>
                <a:gd name="T56" fmla="*/ 2147483647 w 289"/>
                <a:gd name="T57" fmla="*/ 2147483647 h 302"/>
                <a:gd name="T58" fmla="*/ 2147483647 w 289"/>
                <a:gd name="T59" fmla="*/ 2147483647 h 302"/>
                <a:gd name="T60" fmla="*/ 2147483647 w 289"/>
                <a:gd name="T61" fmla="*/ 2147483647 h 302"/>
                <a:gd name="T62" fmla="*/ 2147483647 w 289"/>
                <a:gd name="T63" fmla="*/ 2147483647 h 302"/>
                <a:gd name="T64" fmla="*/ 2147483647 w 289"/>
                <a:gd name="T65" fmla="*/ 2147483647 h 302"/>
                <a:gd name="T66" fmla="*/ 2147483647 w 289"/>
                <a:gd name="T67" fmla="*/ 2147483647 h 302"/>
                <a:gd name="T68" fmla="*/ 2147483647 w 289"/>
                <a:gd name="T69" fmla="*/ 2147483647 h 302"/>
                <a:gd name="T70" fmla="*/ 2147483647 w 289"/>
                <a:gd name="T71" fmla="*/ 2147483647 h 302"/>
                <a:gd name="T72" fmla="*/ 2147483647 w 289"/>
                <a:gd name="T73" fmla="*/ 2147483647 h 302"/>
                <a:gd name="T74" fmla="*/ 2147483647 w 289"/>
                <a:gd name="T75" fmla="*/ 2147483647 h 302"/>
                <a:gd name="T76" fmla="*/ 2147483647 w 289"/>
                <a:gd name="T77" fmla="*/ 2147483647 h 302"/>
                <a:gd name="T78" fmla="*/ 2147483647 w 289"/>
                <a:gd name="T79" fmla="*/ 2147483647 h 302"/>
                <a:gd name="T80" fmla="*/ 2147483647 w 289"/>
                <a:gd name="T81" fmla="*/ 0 h 302"/>
                <a:gd name="T82" fmla="*/ 2147483647 w 289"/>
                <a:gd name="T83" fmla="*/ 0 h 302"/>
                <a:gd name="T84" fmla="*/ 2147483647 w 289"/>
                <a:gd name="T85" fmla="*/ 0 h 302"/>
                <a:gd name="T86" fmla="*/ 2147483647 w 289"/>
                <a:gd name="T87" fmla="*/ 0 h 302"/>
                <a:gd name="T88" fmla="*/ 2147483647 w 289"/>
                <a:gd name="T89" fmla="*/ 0 h 302"/>
                <a:gd name="T90" fmla="*/ 2147483647 w 289"/>
                <a:gd name="T91" fmla="*/ 0 h 302"/>
                <a:gd name="T92" fmla="*/ 2147483647 w 289"/>
                <a:gd name="T93" fmla="*/ 0 h 3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89"/>
                <a:gd name="T142" fmla="*/ 0 h 302"/>
                <a:gd name="T143" fmla="*/ 289 w 289"/>
                <a:gd name="T144" fmla="*/ 302 h 3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0" name="Freeform 45">
              <a:extLst>
                <a:ext uri="{FF2B5EF4-FFF2-40B4-BE49-F238E27FC236}">
                  <a16:creationId xmlns:a16="http://schemas.microsoft.com/office/drawing/2014/main" id="{1D5C735A-4D87-8B52-79D9-3564DFCBFA1E}"/>
                </a:ext>
              </a:extLst>
            </p:cNvPr>
            <p:cNvSpPr>
              <a:spLocks noChangeAspect="1"/>
            </p:cNvSpPr>
            <p:nvPr userDrawn="1"/>
          </p:nvSpPr>
          <p:spPr bwMode="gray">
            <a:xfrm>
              <a:off x="6620823" y="4373004"/>
              <a:ext cx="55216" cy="54872"/>
            </a:xfrm>
            <a:custGeom>
              <a:avLst/>
              <a:gdLst>
                <a:gd name="T0" fmla="*/ 0 w 104"/>
                <a:gd name="T1" fmla="*/ 2147483647 h 96"/>
                <a:gd name="T2" fmla="*/ 0 w 104"/>
                <a:gd name="T3" fmla="*/ 2147483647 h 96"/>
                <a:gd name="T4" fmla="*/ 0 w 104"/>
                <a:gd name="T5" fmla="*/ 2147483647 h 96"/>
                <a:gd name="T6" fmla="*/ 0 w 104"/>
                <a:gd name="T7" fmla="*/ 0 h 96"/>
                <a:gd name="T8" fmla="*/ 0 w 104"/>
                <a:gd name="T9" fmla="*/ 0 h 96"/>
                <a:gd name="T10" fmla="*/ 0 w 104"/>
                <a:gd name="T11" fmla="*/ 0 h 96"/>
                <a:gd name="T12" fmla="*/ 0 w 104"/>
                <a:gd name="T13" fmla="*/ 2147483647 h 96"/>
                <a:gd name="T14" fmla="*/ 0 w 104"/>
                <a:gd name="T15" fmla="*/ 2147483647 h 96"/>
                <a:gd name="T16" fmla="*/ 0 w 104"/>
                <a:gd name="T17" fmla="*/ 2147483647 h 96"/>
                <a:gd name="T18" fmla="*/ 0 w 104"/>
                <a:gd name="T19" fmla="*/ 2147483647 h 96"/>
                <a:gd name="T20" fmla="*/ 0 w 104"/>
                <a:gd name="T21" fmla="*/ 2147483647 h 96"/>
                <a:gd name="T22" fmla="*/ 2147483647 w 104"/>
                <a:gd name="T23" fmla="*/ 2147483647 h 96"/>
                <a:gd name="T24" fmla="*/ 2147483647 w 104"/>
                <a:gd name="T25" fmla="*/ 2147483647 h 96"/>
                <a:gd name="T26" fmla="*/ 2147483647 w 104"/>
                <a:gd name="T27" fmla="*/ 0 h 96"/>
                <a:gd name="T28" fmla="*/ 2147483647 w 104"/>
                <a:gd name="T29" fmla="*/ 0 h 96"/>
                <a:gd name="T30" fmla="*/ 2147483647 w 104"/>
                <a:gd name="T31" fmla="*/ 0 h 96"/>
                <a:gd name="T32" fmla="*/ 2147483647 w 104"/>
                <a:gd name="T33" fmla="*/ 0 h 96"/>
                <a:gd name="T34" fmla="*/ 2147483647 w 104"/>
                <a:gd name="T35" fmla="*/ 0 h 96"/>
                <a:gd name="T36" fmla="*/ 2147483647 w 104"/>
                <a:gd name="T37" fmla="*/ 0 h 96"/>
                <a:gd name="T38" fmla="*/ 2147483647 w 104"/>
                <a:gd name="T39" fmla="*/ 0 h 96"/>
                <a:gd name="T40" fmla="*/ 2147483647 w 104"/>
                <a:gd name="T41" fmla="*/ 0 h 96"/>
                <a:gd name="T42" fmla="*/ 2147483647 w 104"/>
                <a:gd name="T43" fmla="*/ 0 h 96"/>
                <a:gd name="T44" fmla="*/ 2147483647 w 104"/>
                <a:gd name="T45" fmla="*/ 0 h 96"/>
                <a:gd name="T46" fmla="*/ 2147483647 w 104"/>
                <a:gd name="T47" fmla="*/ 0 h 96"/>
                <a:gd name="T48" fmla="*/ 2147483647 w 104"/>
                <a:gd name="T49" fmla="*/ 0 h 96"/>
                <a:gd name="T50" fmla="*/ 2147483647 w 104"/>
                <a:gd name="T51" fmla="*/ 0 h 96"/>
                <a:gd name="T52" fmla="*/ 2147483647 w 104"/>
                <a:gd name="T53" fmla="*/ 0 h 96"/>
                <a:gd name="T54" fmla="*/ 2147483647 w 104"/>
                <a:gd name="T55" fmla="*/ 0 h 96"/>
                <a:gd name="T56" fmla="*/ 2147483647 w 104"/>
                <a:gd name="T57" fmla="*/ 0 h 96"/>
                <a:gd name="T58" fmla="*/ 2147483647 w 104"/>
                <a:gd name="T59" fmla="*/ 0 h 96"/>
                <a:gd name="T60" fmla="*/ 2147483647 w 104"/>
                <a:gd name="T61" fmla="*/ 0 h 96"/>
                <a:gd name="T62" fmla="*/ 2147483647 w 104"/>
                <a:gd name="T63" fmla="*/ 0 h 96"/>
                <a:gd name="T64" fmla="*/ 2147483647 w 104"/>
                <a:gd name="T65" fmla="*/ 0 h 96"/>
                <a:gd name="T66" fmla="*/ 0 w 104"/>
                <a:gd name="T67" fmla="*/ 0 h 96"/>
                <a:gd name="T68" fmla="*/ 0 w 104"/>
                <a:gd name="T69" fmla="*/ 0 h 96"/>
                <a:gd name="T70" fmla="*/ 0 w 104"/>
                <a:gd name="T71" fmla="*/ 0 h 96"/>
                <a:gd name="T72" fmla="*/ 0 w 104"/>
                <a:gd name="T73" fmla="*/ 0 h 96"/>
                <a:gd name="T74" fmla="*/ 0 w 104"/>
                <a:gd name="T75" fmla="*/ 0 h 96"/>
                <a:gd name="T76" fmla="*/ 0 w 104"/>
                <a:gd name="T77" fmla="*/ 0 h 96"/>
                <a:gd name="T78" fmla="*/ 0 w 104"/>
                <a:gd name="T79" fmla="*/ 0 h 96"/>
                <a:gd name="T80" fmla="*/ 0 w 104"/>
                <a:gd name="T81" fmla="*/ 0 h 96"/>
                <a:gd name="T82" fmla="*/ 0 w 104"/>
                <a:gd name="T83" fmla="*/ 0 h 96"/>
                <a:gd name="T84" fmla="*/ 0 w 104"/>
                <a:gd name="T85" fmla="*/ 2147483647 h 96"/>
                <a:gd name="T86" fmla="*/ 0 w 104"/>
                <a:gd name="T87" fmla="*/ 2147483647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4"/>
                <a:gd name="T133" fmla="*/ 0 h 96"/>
                <a:gd name="T134" fmla="*/ 104 w 104"/>
                <a:gd name="T135" fmla="*/ 96 h 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1" name="Freeform 46">
              <a:extLst>
                <a:ext uri="{FF2B5EF4-FFF2-40B4-BE49-F238E27FC236}">
                  <a16:creationId xmlns:a16="http://schemas.microsoft.com/office/drawing/2014/main" id="{D0D9E2F6-082D-E55A-7FFA-50D6EA17941C}"/>
                </a:ext>
              </a:extLst>
            </p:cNvPr>
            <p:cNvSpPr>
              <a:spLocks noChangeAspect="1"/>
            </p:cNvSpPr>
            <p:nvPr userDrawn="1"/>
          </p:nvSpPr>
          <p:spPr bwMode="gray">
            <a:xfrm>
              <a:off x="6764088" y="4197720"/>
              <a:ext cx="232805" cy="288077"/>
            </a:xfrm>
            <a:custGeom>
              <a:avLst/>
              <a:gdLst>
                <a:gd name="T0" fmla="*/ 2147483647 w 435"/>
                <a:gd name="T1" fmla="*/ 2147483647 h 504"/>
                <a:gd name="T2" fmla="*/ 2147483647 w 435"/>
                <a:gd name="T3" fmla="*/ 2147483647 h 504"/>
                <a:gd name="T4" fmla="*/ 2147483647 w 435"/>
                <a:gd name="T5" fmla="*/ 0 h 504"/>
                <a:gd name="T6" fmla="*/ 2147483647 w 435"/>
                <a:gd name="T7" fmla="*/ 0 h 504"/>
                <a:gd name="T8" fmla="*/ 2147483647 w 435"/>
                <a:gd name="T9" fmla="*/ 0 h 504"/>
                <a:gd name="T10" fmla="*/ 2147483647 w 435"/>
                <a:gd name="T11" fmla="*/ 0 h 504"/>
                <a:gd name="T12" fmla="*/ 2147483647 w 435"/>
                <a:gd name="T13" fmla="*/ 0 h 504"/>
                <a:gd name="T14" fmla="*/ 2147483647 w 435"/>
                <a:gd name="T15" fmla="*/ 0 h 504"/>
                <a:gd name="T16" fmla="*/ 2147483647 w 435"/>
                <a:gd name="T17" fmla="*/ 0 h 504"/>
                <a:gd name="T18" fmla="*/ 2147483647 w 435"/>
                <a:gd name="T19" fmla="*/ 0 h 504"/>
                <a:gd name="T20" fmla="*/ 2147483647 w 435"/>
                <a:gd name="T21" fmla="*/ 0 h 504"/>
                <a:gd name="T22" fmla="*/ 2147483647 w 435"/>
                <a:gd name="T23" fmla="*/ 0 h 504"/>
                <a:gd name="T24" fmla="*/ 2147483647 w 435"/>
                <a:gd name="T25" fmla="*/ 0 h 504"/>
                <a:gd name="T26" fmla="*/ 2147483647 w 435"/>
                <a:gd name="T27" fmla="*/ 0 h 504"/>
                <a:gd name="T28" fmla="*/ 0 w 435"/>
                <a:gd name="T29" fmla="*/ 0 h 504"/>
                <a:gd name="T30" fmla="*/ 0 w 435"/>
                <a:gd name="T31" fmla="*/ 0 h 504"/>
                <a:gd name="T32" fmla="*/ 0 w 435"/>
                <a:gd name="T33" fmla="*/ 0 h 504"/>
                <a:gd name="T34" fmla="*/ 0 w 435"/>
                <a:gd name="T35" fmla="*/ 0 h 504"/>
                <a:gd name="T36" fmla="*/ 0 w 435"/>
                <a:gd name="T37" fmla="*/ 0 h 504"/>
                <a:gd name="T38" fmla="*/ 0 w 435"/>
                <a:gd name="T39" fmla="*/ 0 h 504"/>
                <a:gd name="T40" fmla="*/ 0 w 435"/>
                <a:gd name="T41" fmla="*/ 2147483647 h 504"/>
                <a:gd name="T42" fmla="*/ 0 w 435"/>
                <a:gd name="T43" fmla="*/ 2147483647 h 504"/>
                <a:gd name="T44" fmla="*/ 2147483647 w 435"/>
                <a:gd name="T45" fmla="*/ 2147483647 h 504"/>
                <a:gd name="T46" fmla="*/ 2147483647 w 435"/>
                <a:gd name="T47" fmla="*/ 2147483647 h 504"/>
                <a:gd name="T48" fmla="*/ 2147483647 w 435"/>
                <a:gd name="T49" fmla="*/ 2147483647 h 504"/>
                <a:gd name="T50" fmla="*/ 0 w 435"/>
                <a:gd name="T51" fmla="*/ 2147483647 h 504"/>
                <a:gd name="T52" fmla="*/ 0 w 435"/>
                <a:gd name="T53" fmla="*/ 2147483647 h 504"/>
                <a:gd name="T54" fmla="*/ 0 w 435"/>
                <a:gd name="T55" fmla="*/ 2147483647 h 504"/>
                <a:gd name="T56" fmla="*/ 0 w 435"/>
                <a:gd name="T57" fmla="*/ 2147483647 h 504"/>
                <a:gd name="T58" fmla="*/ 0 w 435"/>
                <a:gd name="T59" fmla="*/ 2147483647 h 504"/>
                <a:gd name="T60" fmla="*/ 0 w 435"/>
                <a:gd name="T61" fmla="*/ 2147483647 h 504"/>
                <a:gd name="T62" fmla="*/ 0 w 435"/>
                <a:gd name="T63" fmla="*/ 2147483647 h 504"/>
                <a:gd name="T64" fmla="*/ 0 w 435"/>
                <a:gd name="T65" fmla="*/ 2147483647 h 504"/>
                <a:gd name="T66" fmla="*/ 0 w 435"/>
                <a:gd name="T67" fmla="*/ 2147483647 h 504"/>
                <a:gd name="T68" fmla="*/ 2147483647 w 435"/>
                <a:gd name="T69" fmla="*/ 2147483647 h 504"/>
                <a:gd name="T70" fmla="*/ 2147483647 w 435"/>
                <a:gd name="T71" fmla="*/ 2147483647 h 504"/>
                <a:gd name="T72" fmla="*/ 2147483647 w 435"/>
                <a:gd name="T73" fmla="*/ 2147483647 h 504"/>
                <a:gd name="T74" fmla="*/ 2147483647 w 435"/>
                <a:gd name="T75" fmla="*/ 2147483647 h 504"/>
                <a:gd name="T76" fmla="*/ 2147483647 w 435"/>
                <a:gd name="T77" fmla="*/ 2147483647 h 504"/>
                <a:gd name="T78" fmla="*/ 2147483647 w 435"/>
                <a:gd name="T79" fmla="*/ 2147483647 h 504"/>
                <a:gd name="T80" fmla="*/ 2147483647 w 435"/>
                <a:gd name="T81" fmla="*/ 2147483647 h 504"/>
                <a:gd name="T82" fmla="*/ 2147483647 w 435"/>
                <a:gd name="T83" fmla="*/ 2147483647 h 504"/>
                <a:gd name="T84" fmla="*/ 2147483647 w 435"/>
                <a:gd name="T85" fmla="*/ 2147483647 h 504"/>
                <a:gd name="T86" fmla="*/ 2147483647 w 435"/>
                <a:gd name="T87" fmla="*/ 2147483647 h 504"/>
                <a:gd name="T88" fmla="*/ 2147483647 w 435"/>
                <a:gd name="T89" fmla="*/ 2147483647 h 504"/>
                <a:gd name="T90" fmla="*/ 2147483647 w 435"/>
                <a:gd name="T91" fmla="*/ 2147483647 h 504"/>
                <a:gd name="T92" fmla="*/ 2147483647 w 435"/>
                <a:gd name="T93" fmla="*/ 2147483647 h 504"/>
                <a:gd name="T94" fmla="*/ 2147483647 w 435"/>
                <a:gd name="T95" fmla="*/ 2147483647 h 504"/>
                <a:gd name="T96" fmla="*/ 2147483647 w 435"/>
                <a:gd name="T97" fmla="*/ 2147483647 h 5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5"/>
                <a:gd name="T148" fmla="*/ 0 h 504"/>
                <a:gd name="T149" fmla="*/ 435 w 435"/>
                <a:gd name="T150" fmla="*/ 504 h 5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2" name="Freeform 47">
              <a:extLst>
                <a:ext uri="{FF2B5EF4-FFF2-40B4-BE49-F238E27FC236}">
                  <a16:creationId xmlns:a16="http://schemas.microsoft.com/office/drawing/2014/main" id="{146F5472-B941-ECA5-53B0-ED7A89179BE0}"/>
                </a:ext>
              </a:extLst>
            </p:cNvPr>
            <p:cNvSpPr>
              <a:spLocks noChangeAspect="1"/>
            </p:cNvSpPr>
            <p:nvPr userDrawn="1"/>
          </p:nvSpPr>
          <p:spPr bwMode="gray">
            <a:xfrm>
              <a:off x="5259807" y="3816666"/>
              <a:ext cx="180573" cy="138704"/>
            </a:xfrm>
            <a:custGeom>
              <a:avLst/>
              <a:gdLst>
                <a:gd name="T0" fmla="*/ 0 w 344"/>
                <a:gd name="T1" fmla="*/ 2147483647 h 244"/>
                <a:gd name="T2" fmla="*/ 0 w 344"/>
                <a:gd name="T3" fmla="*/ 2147483647 h 244"/>
                <a:gd name="T4" fmla="*/ 0 w 344"/>
                <a:gd name="T5" fmla="*/ 2147483647 h 244"/>
                <a:gd name="T6" fmla="*/ 0 w 344"/>
                <a:gd name="T7" fmla="*/ 2147483647 h 244"/>
                <a:gd name="T8" fmla="*/ 0 w 344"/>
                <a:gd name="T9" fmla="*/ 2147483647 h 244"/>
                <a:gd name="T10" fmla="*/ 0 w 344"/>
                <a:gd name="T11" fmla="*/ 0 h 244"/>
                <a:gd name="T12" fmla="*/ 2147483647 w 344"/>
                <a:gd name="T13" fmla="*/ 0 h 244"/>
                <a:gd name="T14" fmla="*/ 2147483647 w 344"/>
                <a:gd name="T15" fmla="*/ 0 h 244"/>
                <a:gd name="T16" fmla="*/ 2147483647 w 344"/>
                <a:gd name="T17" fmla="*/ 0 h 244"/>
                <a:gd name="T18" fmla="*/ 2147483647 w 344"/>
                <a:gd name="T19" fmla="*/ 0 h 244"/>
                <a:gd name="T20" fmla="*/ 2147483647 w 344"/>
                <a:gd name="T21" fmla="*/ 0 h 244"/>
                <a:gd name="T22" fmla="*/ 2147483647 w 344"/>
                <a:gd name="T23" fmla="*/ 0 h 244"/>
                <a:gd name="T24" fmla="*/ 2147483647 w 344"/>
                <a:gd name="T25" fmla="*/ 0 h 244"/>
                <a:gd name="T26" fmla="*/ 2147483647 w 344"/>
                <a:gd name="T27" fmla="*/ 0 h 244"/>
                <a:gd name="T28" fmla="*/ 2147483647 w 344"/>
                <a:gd name="T29" fmla="*/ 0 h 244"/>
                <a:gd name="T30" fmla="*/ 2147483647 w 344"/>
                <a:gd name="T31" fmla="*/ 0 h 244"/>
                <a:gd name="T32" fmla="*/ 2147483647 w 344"/>
                <a:gd name="T33" fmla="*/ 0 h 244"/>
                <a:gd name="T34" fmla="*/ 2147483647 w 344"/>
                <a:gd name="T35" fmla="*/ 2147483647 h 244"/>
                <a:gd name="T36" fmla="*/ 2147483647 w 344"/>
                <a:gd name="T37" fmla="*/ 2147483647 h 244"/>
                <a:gd name="T38" fmla="*/ 2147483647 w 344"/>
                <a:gd name="T39" fmla="*/ 2147483647 h 244"/>
                <a:gd name="T40" fmla="*/ 2147483647 w 344"/>
                <a:gd name="T41" fmla="*/ 2147483647 h 244"/>
                <a:gd name="T42" fmla="*/ 2147483647 w 344"/>
                <a:gd name="T43" fmla="*/ 2147483647 h 244"/>
                <a:gd name="T44" fmla="*/ 2147483647 w 344"/>
                <a:gd name="T45" fmla="*/ 2147483647 h 244"/>
                <a:gd name="T46" fmla="*/ 2147483647 w 344"/>
                <a:gd name="T47" fmla="*/ 2147483647 h 244"/>
                <a:gd name="T48" fmla="*/ 2147483647 w 344"/>
                <a:gd name="T49" fmla="*/ 2147483647 h 244"/>
                <a:gd name="T50" fmla="*/ 2147483647 w 344"/>
                <a:gd name="T51" fmla="*/ 2147483647 h 244"/>
                <a:gd name="T52" fmla="*/ 2147483647 w 344"/>
                <a:gd name="T53" fmla="*/ 2147483647 h 244"/>
                <a:gd name="T54" fmla="*/ 2147483647 w 344"/>
                <a:gd name="T55" fmla="*/ 2147483647 h 244"/>
                <a:gd name="T56" fmla="*/ 2147483647 w 344"/>
                <a:gd name="T57" fmla="*/ 2147483647 h 244"/>
                <a:gd name="T58" fmla="*/ 2147483647 w 344"/>
                <a:gd name="T59" fmla="*/ 2147483647 h 244"/>
                <a:gd name="T60" fmla="*/ 2147483647 w 344"/>
                <a:gd name="T61" fmla="*/ 2147483647 h 244"/>
                <a:gd name="T62" fmla="*/ 2147483647 w 344"/>
                <a:gd name="T63" fmla="*/ 2147483647 h 244"/>
                <a:gd name="T64" fmla="*/ 2147483647 w 344"/>
                <a:gd name="T65" fmla="*/ 2147483647 h 244"/>
                <a:gd name="T66" fmla="*/ 2147483647 w 344"/>
                <a:gd name="T67" fmla="*/ 2147483647 h 244"/>
                <a:gd name="T68" fmla="*/ 2147483647 w 344"/>
                <a:gd name="T69" fmla="*/ 2147483647 h 244"/>
                <a:gd name="T70" fmla="*/ 2147483647 w 344"/>
                <a:gd name="T71" fmla="*/ 2147483647 h 244"/>
                <a:gd name="T72" fmla="*/ 0 w 344"/>
                <a:gd name="T73" fmla="*/ 2147483647 h 244"/>
                <a:gd name="T74" fmla="*/ 0 w 344"/>
                <a:gd name="T75" fmla="*/ 2147483647 h 244"/>
                <a:gd name="T76" fmla="*/ 0 w 344"/>
                <a:gd name="T77" fmla="*/ 2147483647 h 244"/>
                <a:gd name="T78" fmla="*/ 2147483647 w 344"/>
                <a:gd name="T79" fmla="*/ 2147483647 h 244"/>
                <a:gd name="T80" fmla="*/ 2147483647 w 344"/>
                <a:gd name="T81" fmla="*/ 2147483647 h 244"/>
                <a:gd name="T82" fmla="*/ 2147483647 w 344"/>
                <a:gd name="T83" fmla="*/ 2147483647 h 244"/>
                <a:gd name="T84" fmla="*/ 2147483647 w 344"/>
                <a:gd name="T85" fmla="*/ 2147483647 h 244"/>
                <a:gd name="T86" fmla="*/ 2147483647 w 344"/>
                <a:gd name="T87" fmla="*/ 2147483647 h 244"/>
                <a:gd name="T88" fmla="*/ 2147483647 w 344"/>
                <a:gd name="T89" fmla="*/ 2147483647 h 244"/>
                <a:gd name="T90" fmla="*/ 2147483647 w 344"/>
                <a:gd name="T91" fmla="*/ 2147483647 h 244"/>
                <a:gd name="T92" fmla="*/ 2147483647 w 344"/>
                <a:gd name="T93" fmla="*/ 2147483647 h 244"/>
                <a:gd name="T94" fmla="*/ 2147483647 w 344"/>
                <a:gd name="T95" fmla="*/ 2147483647 h 244"/>
                <a:gd name="T96" fmla="*/ 2147483647 w 344"/>
                <a:gd name="T97" fmla="*/ 2147483647 h 2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4"/>
                <a:gd name="T148" fmla="*/ 0 h 244"/>
                <a:gd name="T149" fmla="*/ 344 w 344"/>
                <a:gd name="T150" fmla="*/ 244 h 2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3" name="Freeform 48">
              <a:extLst>
                <a:ext uri="{FF2B5EF4-FFF2-40B4-BE49-F238E27FC236}">
                  <a16:creationId xmlns:a16="http://schemas.microsoft.com/office/drawing/2014/main" id="{69678FEF-3A9B-4219-4B17-132C1AB7AACD}"/>
                </a:ext>
              </a:extLst>
            </p:cNvPr>
            <p:cNvSpPr>
              <a:spLocks noChangeAspect="1"/>
            </p:cNvSpPr>
            <p:nvPr userDrawn="1"/>
          </p:nvSpPr>
          <p:spPr bwMode="gray">
            <a:xfrm>
              <a:off x="6640223" y="4369956"/>
              <a:ext cx="319361" cy="333804"/>
            </a:xfrm>
            <a:custGeom>
              <a:avLst/>
              <a:gdLst>
                <a:gd name="T0" fmla="*/ 2147483647 w 596"/>
                <a:gd name="T1" fmla="*/ 2147483647 h 591"/>
                <a:gd name="T2" fmla="*/ 2147483647 w 596"/>
                <a:gd name="T3" fmla="*/ 2147483647 h 591"/>
                <a:gd name="T4" fmla="*/ 2147483647 w 596"/>
                <a:gd name="T5" fmla="*/ 2147483647 h 591"/>
                <a:gd name="T6" fmla="*/ 2147483647 w 596"/>
                <a:gd name="T7" fmla="*/ 2147483647 h 591"/>
                <a:gd name="T8" fmla="*/ 2147483647 w 596"/>
                <a:gd name="T9" fmla="*/ 2147483647 h 591"/>
                <a:gd name="T10" fmla="*/ 2147483647 w 596"/>
                <a:gd name="T11" fmla="*/ 2147483647 h 591"/>
                <a:gd name="T12" fmla="*/ 2147483647 w 596"/>
                <a:gd name="T13" fmla="*/ 2147483647 h 591"/>
                <a:gd name="T14" fmla="*/ 2147483647 w 596"/>
                <a:gd name="T15" fmla="*/ 2147483647 h 591"/>
                <a:gd name="T16" fmla="*/ 2147483647 w 596"/>
                <a:gd name="T17" fmla="*/ 2147483647 h 591"/>
                <a:gd name="T18" fmla="*/ 2147483647 w 596"/>
                <a:gd name="T19" fmla="*/ 2147483647 h 591"/>
                <a:gd name="T20" fmla="*/ 2147483647 w 596"/>
                <a:gd name="T21" fmla="*/ 2147483647 h 591"/>
                <a:gd name="T22" fmla="*/ 2147483647 w 596"/>
                <a:gd name="T23" fmla="*/ 2147483647 h 591"/>
                <a:gd name="T24" fmla="*/ 2147483647 w 596"/>
                <a:gd name="T25" fmla="*/ 2147483647 h 591"/>
                <a:gd name="T26" fmla="*/ 2147483647 w 596"/>
                <a:gd name="T27" fmla="*/ 2147483647 h 591"/>
                <a:gd name="T28" fmla="*/ 2147483647 w 596"/>
                <a:gd name="T29" fmla="*/ 2147483647 h 591"/>
                <a:gd name="T30" fmla="*/ 2147483647 w 596"/>
                <a:gd name="T31" fmla="*/ 2147483647 h 591"/>
                <a:gd name="T32" fmla="*/ 2147483647 w 596"/>
                <a:gd name="T33" fmla="*/ 2147483647 h 591"/>
                <a:gd name="T34" fmla="*/ 2147483647 w 596"/>
                <a:gd name="T35" fmla="*/ 2147483647 h 591"/>
                <a:gd name="T36" fmla="*/ 2147483647 w 596"/>
                <a:gd name="T37" fmla="*/ 2147483647 h 591"/>
                <a:gd name="T38" fmla="*/ 2147483647 w 596"/>
                <a:gd name="T39" fmla="*/ 2147483647 h 591"/>
                <a:gd name="T40" fmla="*/ 2147483647 w 596"/>
                <a:gd name="T41" fmla="*/ 2147483647 h 591"/>
                <a:gd name="T42" fmla="*/ 2147483647 w 596"/>
                <a:gd name="T43" fmla="*/ 2147483647 h 591"/>
                <a:gd name="T44" fmla="*/ 2147483647 w 596"/>
                <a:gd name="T45" fmla="*/ 2147483647 h 591"/>
                <a:gd name="T46" fmla="*/ 2147483647 w 596"/>
                <a:gd name="T47" fmla="*/ 2147483647 h 591"/>
                <a:gd name="T48" fmla="*/ 2147483647 w 596"/>
                <a:gd name="T49" fmla="*/ 2147483647 h 591"/>
                <a:gd name="T50" fmla="*/ 2147483647 w 596"/>
                <a:gd name="T51" fmla="*/ 2147483647 h 591"/>
                <a:gd name="T52" fmla="*/ 2147483647 w 596"/>
                <a:gd name="T53" fmla="*/ 2147483647 h 591"/>
                <a:gd name="T54" fmla="*/ 2147483647 w 596"/>
                <a:gd name="T55" fmla="*/ 2147483647 h 591"/>
                <a:gd name="T56" fmla="*/ 0 w 596"/>
                <a:gd name="T57" fmla="*/ 2147483647 h 591"/>
                <a:gd name="T58" fmla="*/ 0 w 596"/>
                <a:gd name="T59" fmla="*/ 2147483647 h 591"/>
                <a:gd name="T60" fmla="*/ 0 w 596"/>
                <a:gd name="T61" fmla="*/ 2147483647 h 591"/>
                <a:gd name="T62" fmla="*/ 0 w 596"/>
                <a:gd name="T63" fmla="*/ 2147483647 h 591"/>
                <a:gd name="T64" fmla="*/ 2147483647 w 596"/>
                <a:gd name="T65" fmla="*/ 2147483647 h 591"/>
                <a:gd name="T66" fmla="*/ 2147483647 w 596"/>
                <a:gd name="T67" fmla="*/ 2147483647 h 591"/>
                <a:gd name="T68" fmla="*/ 2147483647 w 596"/>
                <a:gd name="T69" fmla="*/ 2147483647 h 591"/>
                <a:gd name="T70" fmla="*/ 2147483647 w 596"/>
                <a:gd name="T71" fmla="*/ 0 h 591"/>
                <a:gd name="T72" fmla="*/ 2147483647 w 596"/>
                <a:gd name="T73" fmla="*/ 0 h 591"/>
                <a:gd name="T74" fmla="*/ 2147483647 w 596"/>
                <a:gd name="T75" fmla="*/ 0 h 591"/>
                <a:gd name="T76" fmla="*/ 2147483647 w 596"/>
                <a:gd name="T77" fmla="*/ 2147483647 h 591"/>
                <a:gd name="T78" fmla="*/ 2147483647 w 596"/>
                <a:gd name="T79" fmla="*/ 2147483647 h 591"/>
                <a:gd name="T80" fmla="*/ 2147483647 w 596"/>
                <a:gd name="T81" fmla="*/ 0 h 591"/>
                <a:gd name="T82" fmla="*/ 2147483647 w 596"/>
                <a:gd name="T83" fmla="*/ 2147483647 h 591"/>
                <a:gd name="T84" fmla="*/ 2147483647 w 596"/>
                <a:gd name="T85" fmla="*/ 2147483647 h 591"/>
                <a:gd name="T86" fmla="*/ 2147483647 w 596"/>
                <a:gd name="T87" fmla="*/ 2147483647 h 591"/>
                <a:gd name="T88" fmla="*/ 2147483647 w 596"/>
                <a:gd name="T89" fmla="*/ 0 h 591"/>
                <a:gd name="T90" fmla="*/ 2147483647 w 596"/>
                <a:gd name="T91" fmla="*/ 0 h 591"/>
                <a:gd name="T92" fmla="*/ 2147483647 w 596"/>
                <a:gd name="T93" fmla="*/ 0 h 591"/>
                <a:gd name="T94" fmla="*/ 2147483647 w 596"/>
                <a:gd name="T95" fmla="*/ 0 h 591"/>
                <a:gd name="T96" fmla="*/ 2147483647 w 596"/>
                <a:gd name="T97" fmla="*/ 0 h 59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96"/>
                <a:gd name="T148" fmla="*/ 0 h 591"/>
                <a:gd name="T149" fmla="*/ 596 w 596"/>
                <a:gd name="T150" fmla="*/ 591 h 59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4" name="Freeform 49">
              <a:extLst>
                <a:ext uri="{FF2B5EF4-FFF2-40B4-BE49-F238E27FC236}">
                  <a16:creationId xmlns:a16="http://schemas.microsoft.com/office/drawing/2014/main" id="{17833F0E-0E0D-B533-6FA3-D71D8526B308}"/>
                </a:ext>
              </a:extLst>
            </p:cNvPr>
            <p:cNvSpPr>
              <a:spLocks noChangeAspect="1"/>
            </p:cNvSpPr>
            <p:nvPr userDrawn="1"/>
          </p:nvSpPr>
          <p:spPr bwMode="gray">
            <a:xfrm>
              <a:off x="5382179" y="4028531"/>
              <a:ext cx="88048" cy="92977"/>
            </a:xfrm>
            <a:custGeom>
              <a:avLst/>
              <a:gdLst>
                <a:gd name="T0" fmla="*/ 0 w 167"/>
                <a:gd name="T1" fmla="*/ 0 h 166"/>
                <a:gd name="T2" fmla="*/ 0 w 167"/>
                <a:gd name="T3" fmla="*/ 0 h 166"/>
                <a:gd name="T4" fmla="*/ 0 w 167"/>
                <a:gd name="T5" fmla="*/ 0 h 166"/>
                <a:gd name="T6" fmla="*/ 0 w 167"/>
                <a:gd name="T7" fmla="*/ 0 h 166"/>
                <a:gd name="T8" fmla="*/ 0 w 167"/>
                <a:gd name="T9" fmla="*/ 0 h 166"/>
                <a:gd name="T10" fmla="*/ 0 w 167"/>
                <a:gd name="T11" fmla="*/ 0 h 166"/>
                <a:gd name="T12" fmla="*/ 0 w 167"/>
                <a:gd name="T13" fmla="*/ 0 h 166"/>
                <a:gd name="T14" fmla="*/ 0 w 167"/>
                <a:gd name="T15" fmla="*/ 0 h 166"/>
                <a:gd name="T16" fmla="*/ 2147483647 w 167"/>
                <a:gd name="T17" fmla="*/ 0 h 166"/>
                <a:gd name="T18" fmla="*/ 2147483647 w 167"/>
                <a:gd name="T19" fmla="*/ 0 h 166"/>
                <a:gd name="T20" fmla="*/ 2147483647 w 167"/>
                <a:gd name="T21" fmla="*/ 0 h 166"/>
                <a:gd name="T22" fmla="*/ 2147483647 w 167"/>
                <a:gd name="T23" fmla="*/ 0 h 166"/>
                <a:gd name="T24" fmla="*/ 2147483647 w 167"/>
                <a:gd name="T25" fmla="*/ 0 h 166"/>
                <a:gd name="T26" fmla="*/ 2147483647 w 167"/>
                <a:gd name="T27" fmla="*/ 0 h 166"/>
                <a:gd name="T28" fmla="*/ 2147483647 w 167"/>
                <a:gd name="T29" fmla="*/ 0 h 166"/>
                <a:gd name="T30" fmla="*/ 2147483647 w 167"/>
                <a:gd name="T31" fmla="*/ 0 h 166"/>
                <a:gd name="T32" fmla="*/ 2147483647 w 167"/>
                <a:gd name="T33" fmla="*/ 0 h 166"/>
                <a:gd name="T34" fmla="*/ 2147483647 w 167"/>
                <a:gd name="T35" fmla="*/ 0 h 166"/>
                <a:gd name="T36" fmla="*/ 2147483647 w 167"/>
                <a:gd name="T37" fmla="*/ 0 h 166"/>
                <a:gd name="T38" fmla="*/ 2147483647 w 167"/>
                <a:gd name="T39" fmla="*/ 0 h 166"/>
                <a:gd name="T40" fmla="*/ 2147483647 w 167"/>
                <a:gd name="T41" fmla="*/ 0 h 166"/>
                <a:gd name="T42" fmla="*/ 2147483647 w 167"/>
                <a:gd name="T43" fmla="*/ 2147483647 h 166"/>
                <a:gd name="T44" fmla="*/ 2147483647 w 167"/>
                <a:gd name="T45" fmla="*/ 2147483647 h 166"/>
                <a:gd name="T46" fmla="*/ 2147483647 w 167"/>
                <a:gd name="T47" fmla="*/ 2147483647 h 166"/>
                <a:gd name="T48" fmla="*/ 2147483647 w 167"/>
                <a:gd name="T49" fmla="*/ 2147483647 h 166"/>
                <a:gd name="T50" fmla="*/ 2147483647 w 167"/>
                <a:gd name="T51" fmla="*/ 2147483647 h 166"/>
                <a:gd name="T52" fmla="*/ 2147483647 w 167"/>
                <a:gd name="T53" fmla="*/ 2147483647 h 166"/>
                <a:gd name="T54" fmla="*/ 2147483647 w 167"/>
                <a:gd name="T55" fmla="*/ 2147483647 h 166"/>
                <a:gd name="T56" fmla="*/ 2147483647 w 167"/>
                <a:gd name="T57" fmla="*/ 2147483647 h 166"/>
                <a:gd name="T58" fmla="*/ 2147483647 w 167"/>
                <a:gd name="T59" fmla="*/ 2147483647 h 166"/>
                <a:gd name="T60" fmla="*/ 2147483647 w 167"/>
                <a:gd name="T61" fmla="*/ 2147483647 h 166"/>
                <a:gd name="T62" fmla="*/ 2147483647 w 167"/>
                <a:gd name="T63" fmla="*/ 2147483647 h 166"/>
                <a:gd name="T64" fmla="*/ 2147483647 w 167"/>
                <a:gd name="T65" fmla="*/ 2147483647 h 166"/>
                <a:gd name="T66" fmla="*/ 2147483647 w 167"/>
                <a:gd name="T67" fmla="*/ 2147483647 h 166"/>
                <a:gd name="T68" fmla="*/ 2147483647 w 167"/>
                <a:gd name="T69" fmla="*/ 2147483647 h 166"/>
                <a:gd name="T70" fmla="*/ 2147483647 w 167"/>
                <a:gd name="T71" fmla="*/ 2147483647 h 166"/>
                <a:gd name="T72" fmla="*/ 0 w 167"/>
                <a:gd name="T73" fmla="*/ 2147483647 h 166"/>
                <a:gd name="T74" fmla="*/ 0 w 167"/>
                <a:gd name="T75" fmla="*/ 2147483647 h 166"/>
                <a:gd name="T76" fmla="*/ 0 w 167"/>
                <a:gd name="T77" fmla="*/ 2147483647 h 166"/>
                <a:gd name="T78" fmla="*/ 0 w 167"/>
                <a:gd name="T79" fmla="*/ 2147483647 h 166"/>
                <a:gd name="T80" fmla="*/ 0 w 167"/>
                <a:gd name="T81" fmla="*/ 2147483647 h 166"/>
                <a:gd name="T82" fmla="*/ 0 w 167"/>
                <a:gd name="T83" fmla="*/ 2147483647 h 166"/>
                <a:gd name="T84" fmla="*/ 0 w 167"/>
                <a:gd name="T85" fmla="*/ 2147483647 h 166"/>
                <a:gd name="T86" fmla="*/ 0 w 167"/>
                <a:gd name="T87" fmla="*/ 2147483647 h 166"/>
                <a:gd name="T88" fmla="*/ 0 w 167"/>
                <a:gd name="T89" fmla="*/ 2147483647 h 166"/>
                <a:gd name="T90" fmla="*/ 0 w 167"/>
                <a:gd name="T91" fmla="*/ 2147483647 h 166"/>
                <a:gd name="T92" fmla="*/ 0 w 167"/>
                <a:gd name="T93" fmla="*/ 2147483647 h 166"/>
                <a:gd name="T94" fmla="*/ 0 w 167"/>
                <a:gd name="T95" fmla="*/ 0 h 166"/>
                <a:gd name="T96" fmla="*/ 0 w 167"/>
                <a:gd name="T97" fmla="*/ 0 h 166"/>
                <a:gd name="T98" fmla="*/ 0 w 167"/>
                <a:gd name="T99" fmla="*/ 0 h 16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7"/>
                <a:gd name="T151" fmla="*/ 0 h 166"/>
                <a:gd name="T152" fmla="*/ 167 w 167"/>
                <a:gd name="T153" fmla="*/ 166 h 16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5" name="Freeform 50">
              <a:extLst>
                <a:ext uri="{FF2B5EF4-FFF2-40B4-BE49-F238E27FC236}">
                  <a16:creationId xmlns:a16="http://schemas.microsoft.com/office/drawing/2014/main" id="{814C23F5-53E7-4066-77D7-96700651A3D2}"/>
                </a:ext>
              </a:extLst>
            </p:cNvPr>
            <p:cNvSpPr>
              <a:spLocks noChangeAspect="1"/>
            </p:cNvSpPr>
            <p:nvPr userDrawn="1"/>
          </p:nvSpPr>
          <p:spPr bwMode="gray">
            <a:xfrm>
              <a:off x="5520967" y="4007192"/>
              <a:ext cx="177589" cy="198148"/>
            </a:xfrm>
            <a:custGeom>
              <a:avLst/>
              <a:gdLst>
                <a:gd name="T0" fmla="*/ 2147483647 w 337"/>
                <a:gd name="T1" fmla="*/ 2147483647 h 354"/>
                <a:gd name="T2" fmla="*/ 2147483647 w 337"/>
                <a:gd name="T3" fmla="*/ 2147483647 h 354"/>
                <a:gd name="T4" fmla="*/ 2147483647 w 337"/>
                <a:gd name="T5" fmla="*/ 2147483647 h 354"/>
                <a:gd name="T6" fmla="*/ 2147483647 w 337"/>
                <a:gd name="T7" fmla="*/ 2147483647 h 354"/>
                <a:gd name="T8" fmla="*/ 2147483647 w 337"/>
                <a:gd name="T9" fmla="*/ 2147483647 h 354"/>
                <a:gd name="T10" fmla="*/ 2147483647 w 337"/>
                <a:gd name="T11" fmla="*/ 2147483647 h 354"/>
                <a:gd name="T12" fmla="*/ 2147483647 w 337"/>
                <a:gd name="T13" fmla="*/ 2147483647 h 354"/>
                <a:gd name="T14" fmla="*/ 2147483647 w 337"/>
                <a:gd name="T15" fmla="*/ 2147483647 h 354"/>
                <a:gd name="T16" fmla="*/ 2147483647 w 337"/>
                <a:gd name="T17" fmla="*/ 2147483647 h 354"/>
                <a:gd name="T18" fmla="*/ 2147483647 w 337"/>
                <a:gd name="T19" fmla="*/ 2147483647 h 354"/>
                <a:gd name="T20" fmla="*/ 2147483647 w 337"/>
                <a:gd name="T21" fmla="*/ 2147483647 h 354"/>
                <a:gd name="T22" fmla="*/ 2147483647 w 337"/>
                <a:gd name="T23" fmla="*/ 2147483647 h 354"/>
                <a:gd name="T24" fmla="*/ 2147483647 w 337"/>
                <a:gd name="T25" fmla="*/ 0 h 354"/>
                <a:gd name="T26" fmla="*/ 2147483647 w 337"/>
                <a:gd name="T27" fmla="*/ 0 h 354"/>
                <a:gd name="T28" fmla="*/ 2147483647 w 337"/>
                <a:gd name="T29" fmla="*/ 0 h 354"/>
                <a:gd name="T30" fmla="*/ 2147483647 w 337"/>
                <a:gd name="T31" fmla="*/ 0 h 354"/>
                <a:gd name="T32" fmla="*/ 2147483647 w 337"/>
                <a:gd name="T33" fmla="*/ 0 h 354"/>
                <a:gd name="T34" fmla="*/ 2147483647 w 337"/>
                <a:gd name="T35" fmla="*/ 0 h 354"/>
                <a:gd name="T36" fmla="*/ 2147483647 w 337"/>
                <a:gd name="T37" fmla="*/ 0 h 354"/>
                <a:gd name="T38" fmla="*/ 2147483647 w 337"/>
                <a:gd name="T39" fmla="*/ 0 h 354"/>
                <a:gd name="T40" fmla="*/ 2147483647 w 337"/>
                <a:gd name="T41" fmla="*/ 0 h 354"/>
                <a:gd name="T42" fmla="*/ 2147483647 w 337"/>
                <a:gd name="T43" fmla="*/ 0 h 354"/>
                <a:gd name="T44" fmla="*/ 2147483647 w 337"/>
                <a:gd name="T45" fmla="*/ 0 h 354"/>
                <a:gd name="T46" fmla="*/ 2147483647 w 337"/>
                <a:gd name="T47" fmla="*/ 0 h 354"/>
                <a:gd name="T48" fmla="*/ 2147483647 w 337"/>
                <a:gd name="T49" fmla="*/ 0 h 354"/>
                <a:gd name="T50" fmla="*/ 2147483647 w 337"/>
                <a:gd name="T51" fmla="*/ 0 h 354"/>
                <a:gd name="T52" fmla="*/ 2147483647 w 337"/>
                <a:gd name="T53" fmla="*/ 0 h 354"/>
                <a:gd name="T54" fmla="*/ 2147483647 w 337"/>
                <a:gd name="T55" fmla="*/ 0 h 354"/>
                <a:gd name="T56" fmla="*/ 2147483647 w 337"/>
                <a:gd name="T57" fmla="*/ 0 h 354"/>
                <a:gd name="T58" fmla="*/ 2147483647 w 337"/>
                <a:gd name="T59" fmla="*/ 0 h 354"/>
                <a:gd name="T60" fmla="*/ 2147483647 w 337"/>
                <a:gd name="T61" fmla="*/ 0 h 354"/>
                <a:gd name="T62" fmla="*/ 2147483647 w 337"/>
                <a:gd name="T63" fmla="*/ 0 h 354"/>
                <a:gd name="T64" fmla="*/ 0 w 337"/>
                <a:gd name="T65" fmla="*/ 0 h 354"/>
                <a:gd name="T66" fmla="*/ 0 w 337"/>
                <a:gd name="T67" fmla="*/ 0 h 354"/>
                <a:gd name="T68" fmla="*/ 0 w 337"/>
                <a:gd name="T69" fmla="*/ 0 h 354"/>
                <a:gd name="T70" fmla="*/ 0 w 337"/>
                <a:gd name="T71" fmla="*/ 2147483647 h 354"/>
                <a:gd name="T72" fmla="*/ 0 w 337"/>
                <a:gd name="T73" fmla="*/ 2147483647 h 354"/>
                <a:gd name="T74" fmla="*/ 0 w 337"/>
                <a:gd name="T75" fmla="*/ 2147483647 h 354"/>
                <a:gd name="T76" fmla="*/ 0 w 337"/>
                <a:gd name="T77" fmla="*/ 2147483647 h 354"/>
                <a:gd name="T78" fmla="*/ 0 w 337"/>
                <a:gd name="T79" fmla="*/ 2147483647 h 354"/>
                <a:gd name="T80" fmla="*/ 0 w 337"/>
                <a:gd name="T81" fmla="*/ 2147483647 h 354"/>
                <a:gd name="T82" fmla="*/ 0 w 337"/>
                <a:gd name="T83" fmla="*/ 2147483647 h 354"/>
                <a:gd name="T84" fmla="*/ 0 w 337"/>
                <a:gd name="T85" fmla="*/ 2147483647 h 354"/>
                <a:gd name="T86" fmla="*/ 0 w 337"/>
                <a:gd name="T87" fmla="*/ 2147483647 h 354"/>
                <a:gd name="T88" fmla="*/ 0 w 337"/>
                <a:gd name="T89" fmla="*/ 2147483647 h 354"/>
                <a:gd name="T90" fmla="*/ 0 w 337"/>
                <a:gd name="T91" fmla="*/ 2147483647 h 354"/>
                <a:gd name="T92" fmla="*/ 0 w 337"/>
                <a:gd name="T93" fmla="*/ 2147483647 h 354"/>
                <a:gd name="T94" fmla="*/ 0 w 337"/>
                <a:gd name="T95" fmla="*/ 2147483647 h 354"/>
                <a:gd name="T96" fmla="*/ 0 w 337"/>
                <a:gd name="T97" fmla="*/ 2147483647 h 354"/>
                <a:gd name="T98" fmla="*/ 0 w 337"/>
                <a:gd name="T99" fmla="*/ 2147483647 h 354"/>
                <a:gd name="T100" fmla="*/ 0 w 337"/>
                <a:gd name="T101" fmla="*/ 2147483647 h 354"/>
                <a:gd name="T102" fmla="*/ 2147483647 w 337"/>
                <a:gd name="T103" fmla="*/ 2147483647 h 354"/>
                <a:gd name="T104" fmla="*/ 2147483647 w 337"/>
                <a:gd name="T105" fmla="*/ 2147483647 h 354"/>
                <a:gd name="T106" fmla="*/ 2147483647 w 337"/>
                <a:gd name="T107" fmla="*/ 2147483647 h 354"/>
                <a:gd name="T108" fmla="*/ 2147483647 w 337"/>
                <a:gd name="T109" fmla="*/ 2147483647 h 354"/>
                <a:gd name="T110" fmla="*/ 2147483647 w 337"/>
                <a:gd name="T111" fmla="*/ 2147483647 h 3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37"/>
                <a:gd name="T169" fmla="*/ 0 h 354"/>
                <a:gd name="T170" fmla="*/ 337 w 337"/>
                <a:gd name="T171" fmla="*/ 354 h 35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6" name="Freeform 51">
              <a:extLst>
                <a:ext uri="{FF2B5EF4-FFF2-40B4-BE49-F238E27FC236}">
                  <a16:creationId xmlns:a16="http://schemas.microsoft.com/office/drawing/2014/main" id="{CB3F1632-448A-370E-66A8-E276710F6FA0}"/>
                </a:ext>
              </a:extLst>
            </p:cNvPr>
            <p:cNvSpPr>
              <a:spLocks noChangeAspect="1"/>
            </p:cNvSpPr>
            <p:nvPr userDrawn="1"/>
          </p:nvSpPr>
          <p:spPr bwMode="gray">
            <a:xfrm>
              <a:off x="5767203" y="3991950"/>
              <a:ext cx="62678" cy="163092"/>
            </a:xfrm>
            <a:custGeom>
              <a:avLst/>
              <a:gdLst>
                <a:gd name="T0" fmla="*/ 2147483647 w 120"/>
                <a:gd name="T1" fmla="*/ 2147483647 h 281"/>
                <a:gd name="T2" fmla="*/ 2147483647 w 120"/>
                <a:gd name="T3" fmla="*/ 2147483647 h 281"/>
                <a:gd name="T4" fmla="*/ 2147483647 w 120"/>
                <a:gd name="T5" fmla="*/ 2147483647 h 281"/>
                <a:gd name="T6" fmla="*/ 2147483647 w 120"/>
                <a:gd name="T7" fmla="*/ 2147483647 h 281"/>
                <a:gd name="T8" fmla="*/ 0 w 120"/>
                <a:gd name="T9" fmla="*/ 2147483647 h 281"/>
                <a:gd name="T10" fmla="*/ 0 w 120"/>
                <a:gd name="T11" fmla="*/ 2147483647 h 281"/>
                <a:gd name="T12" fmla="*/ 0 w 120"/>
                <a:gd name="T13" fmla="*/ 2147483647 h 281"/>
                <a:gd name="T14" fmla="*/ 0 w 120"/>
                <a:gd name="T15" fmla="*/ 2147483647 h 281"/>
                <a:gd name="T16" fmla="*/ 0 w 120"/>
                <a:gd name="T17" fmla="*/ 2147483647 h 281"/>
                <a:gd name="T18" fmla="*/ 0 w 120"/>
                <a:gd name="T19" fmla="*/ 2147483647 h 281"/>
                <a:gd name="T20" fmla="*/ 0 w 120"/>
                <a:gd name="T21" fmla="*/ 2147483647 h 281"/>
                <a:gd name="T22" fmla="*/ 0 w 120"/>
                <a:gd name="T23" fmla="*/ 2147483647 h 281"/>
                <a:gd name="T24" fmla="*/ 0 w 120"/>
                <a:gd name="T25" fmla="*/ 2147483647 h 281"/>
                <a:gd name="T26" fmla="*/ 0 w 120"/>
                <a:gd name="T27" fmla="*/ 0 h 281"/>
                <a:gd name="T28" fmla="*/ 0 w 120"/>
                <a:gd name="T29" fmla="*/ 0 h 281"/>
                <a:gd name="T30" fmla="*/ 0 w 120"/>
                <a:gd name="T31" fmla="*/ 0 h 281"/>
                <a:gd name="T32" fmla="*/ 0 w 120"/>
                <a:gd name="T33" fmla="*/ 0 h 281"/>
                <a:gd name="T34" fmla="*/ 0 w 120"/>
                <a:gd name="T35" fmla="*/ 0 h 281"/>
                <a:gd name="T36" fmla="*/ 0 w 120"/>
                <a:gd name="T37" fmla="*/ 0 h 281"/>
                <a:gd name="T38" fmla="*/ 0 w 120"/>
                <a:gd name="T39" fmla="*/ 0 h 281"/>
                <a:gd name="T40" fmla="*/ 0 w 120"/>
                <a:gd name="T41" fmla="*/ 0 h 281"/>
                <a:gd name="T42" fmla="*/ 0 w 120"/>
                <a:gd name="T43" fmla="*/ 0 h 281"/>
                <a:gd name="T44" fmla="*/ 0 w 120"/>
                <a:gd name="T45" fmla="*/ 0 h 281"/>
                <a:gd name="T46" fmla="*/ 0 w 120"/>
                <a:gd name="T47" fmla="*/ 0 h 281"/>
                <a:gd name="T48" fmla="*/ 0 w 120"/>
                <a:gd name="T49" fmla="*/ 0 h 281"/>
                <a:gd name="T50" fmla="*/ 0 w 120"/>
                <a:gd name="T51" fmla="*/ 0 h 281"/>
                <a:gd name="T52" fmla="*/ 0 w 120"/>
                <a:gd name="T53" fmla="*/ 0 h 281"/>
                <a:gd name="T54" fmla="*/ 0 w 120"/>
                <a:gd name="T55" fmla="*/ 0 h 281"/>
                <a:gd name="T56" fmla="*/ 0 w 120"/>
                <a:gd name="T57" fmla="*/ 0 h 281"/>
                <a:gd name="T58" fmla="*/ 0 w 120"/>
                <a:gd name="T59" fmla="*/ 0 h 281"/>
                <a:gd name="T60" fmla="*/ 0 w 120"/>
                <a:gd name="T61" fmla="*/ 0 h 281"/>
                <a:gd name="T62" fmla="*/ 0 w 120"/>
                <a:gd name="T63" fmla="*/ 0 h 281"/>
                <a:gd name="T64" fmla="*/ 2147483647 w 120"/>
                <a:gd name="T65" fmla="*/ 0 h 281"/>
                <a:gd name="T66" fmla="*/ 2147483647 w 120"/>
                <a:gd name="T67" fmla="*/ 0 h 281"/>
                <a:gd name="T68" fmla="*/ 2147483647 w 120"/>
                <a:gd name="T69" fmla="*/ 0 h 281"/>
                <a:gd name="T70" fmla="*/ 2147483647 w 120"/>
                <a:gd name="T71" fmla="*/ 0 h 281"/>
                <a:gd name="T72" fmla="*/ 2147483647 w 120"/>
                <a:gd name="T73" fmla="*/ 0 h 281"/>
                <a:gd name="T74" fmla="*/ 2147483647 w 120"/>
                <a:gd name="T75" fmla="*/ 0 h 281"/>
                <a:gd name="T76" fmla="*/ 2147483647 w 120"/>
                <a:gd name="T77" fmla="*/ 0 h 281"/>
                <a:gd name="T78" fmla="*/ 2147483647 w 120"/>
                <a:gd name="T79" fmla="*/ 0 h 281"/>
                <a:gd name="T80" fmla="*/ 2147483647 w 120"/>
                <a:gd name="T81" fmla="*/ 0 h 281"/>
                <a:gd name="T82" fmla="*/ 2147483647 w 120"/>
                <a:gd name="T83" fmla="*/ 0 h 281"/>
                <a:gd name="T84" fmla="*/ 2147483647 w 120"/>
                <a:gd name="T85" fmla="*/ 0 h 281"/>
                <a:gd name="T86" fmla="*/ 2147483647 w 120"/>
                <a:gd name="T87" fmla="*/ 0 h 281"/>
                <a:gd name="T88" fmla="*/ 2147483647 w 120"/>
                <a:gd name="T89" fmla="*/ 2147483647 h 281"/>
                <a:gd name="T90" fmla="*/ 2147483647 w 120"/>
                <a:gd name="T91" fmla="*/ 2147483647 h 281"/>
                <a:gd name="T92" fmla="*/ 2147483647 w 120"/>
                <a:gd name="T93" fmla="*/ 2147483647 h 281"/>
                <a:gd name="T94" fmla="*/ 2147483647 w 120"/>
                <a:gd name="T95" fmla="*/ 2147483647 h 281"/>
                <a:gd name="T96" fmla="*/ 2147483647 w 120"/>
                <a:gd name="T97" fmla="*/ 2147483647 h 281"/>
                <a:gd name="T98" fmla="*/ 2147483647 w 120"/>
                <a:gd name="T99" fmla="*/ 2147483647 h 281"/>
                <a:gd name="T100" fmla="*/ 2147483647 w 120"/>
                <a:gd name="T101" fmla="*/ 2147483647 h 281"/>
                <a:gd name="T102" fmla="*/ 2147483647 w 120"/>
                <a:gd name="T103" fmla="*/ 2147483647 h 281"/>
                <a:gd name="T104" fmla="*/ 2147483647 w 120"/>
                <a:gd name="T105" fmla="*/ 2147483647 h 281"/>
                <a:gd name="T106" fmla="*/ 2147483647 w 120"/>
                <a:gd name="T107" fmla="*/ 2147483647 h 281"/>
                <a:gd name="T108" fmla="*/ 2147483647 w 120"/>
                <a:gd name="T109" fmla="*/ 2147483647 h 281"/>
                <a:gd name="T110" fmla="*/ 2147483647 w 120"/>
                <a:gd name="T111" fmla="*/ 2147483647 h 281"/>
                <a:gd name="T112" fmla="*/ 2147483647 w 120"/>
                <a:gd name="T113" fmla="*/ 2147483647 h 281"/>
                <a:gd name="T114" fmla="*/ 2147483647 w 120"/>
                <a:gd name="T115" fmla="*/ 2147483647 h 281"/>
                <a:gd name="T116" fmla="*/ 2147483647 w 120"/>
                <a:gd name="T117" fmla="*/ 2147483647 h 281"/>
                <a:gd name="T118" fmla="*/ 2147483647 w 120"/>
                <a:gd name="T119" fmla="*/ 2147483647 h 2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281"/>
                <a:gd name="T182" fmla="*/ 120 w 120"/>
                <a:gd name="T183" fmla="*/ 281 h 2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7" name="Freeform 52">
              <a:extLst>
                <a:ext uri="{FF2B5EF4-FFF2-40B4-BE49-F238E27FC236}">
                  <a16:creationId xmlns:a16="http://schemas.microsoft.com/office/drawing/2014/main" id="{6AB8823C-91E2-38C8-DEE5-97C4795046DF}"/>
                </a:ext>
              </a:extLst>
            </p:cNvPr>
            <p:cNvSpPr>
              <a:spLocks noChangeAspect="1"/>
            </p:cNvSpPr>
            <p:nvPr userDrawn="1"/>
          </p:nvSpPr>
          <p:spPr bwMode="gray">
            <a:xfrm>
              <a:off x="6128350" y="4177905"/>
              <a:ext cx="558136" cy="579203"/>
            </a:xfrm>
            <a:custGeom>
              <a:avLst/>
              <a:gdLst>
                <a:gd name="T0" fmla="*/ 2147483647 w 1045"/>
                <a:gd name="T1" fmla="*/ 2147483647 h 1018"/>
                <a:gd name="T2" fmla="*/ 2147483647 w 1045"/>
                <a:gd name="T3" fmla="*/ 2147483647 h 1018"/>
                <a:gd name="T4" fmla="*/ 2147483647 w 1045"/>
                <a:gd name="T5" fmla="*/ 2147483647 h 1018"/>
                <a:gd name="T6" fmla="*/ 2147483647 w 1045"/>
                <a:gd name="T7" fmla="*/ 2147483647 h 1018"/>
                <a:gd name="T8" fmla="*/ 2147483647 w 1045"/>
                <a:gd name="T9" fmla="*/ 2147483647 h 1018"/>
                <a:gd name="T10" fmla="*/ 2147483647 w 1045"/>
                <a:gd name="T11" fmla="*/ 2147483647 h 1018"/>
                <a:gd name="T12" fmla="*/ 2147483647 w 1045"/>
                <a:gd name="T13" fmla="*/ 2147483647 h 1018"/>
                <a:gd name="T14" fmla="*/ 2147483647 w 1045"/>
                <a:gd name="T15" fmla="*/ 2147483647 h 1018"/>
                <a:gd name="T16" fmla="*/ 2147483647 w 1045"/>
                <a:gd name="T17" fmla="*/ 2147483647 h 1018"/>
                <a:gd name="T18" fmla="*/ 2147483647 w 1045"/>
                <a:gd name="T19" fmla="*/ 2147483647 h 1018"/>
                <a:gd name="T20" fmla="*/ 2147483647 w 1045"/>
                <a:gd name="T21" fmla="*/ 2147483647 h 1018"/>
                <a:gd name="T22" fmla="*/ 2147483647 w 1045"/>
                <a:gd name="T23" fmla="*/ 2147483647 h 1018"/>
                <a:gd name="T24" fmla="*/ 2147483647 w 1045"/>
                <a:gd name="T25" fmla="*/ 0 h 1018"/>
                <a:gd name="T26" fmla="*/ 2147483647 w 1045"/>
                <a:gd name="T27" fmla="*/ 0 h 1018"/>
                <a:gd name="T28" fmla="*/ 2147483647 w 1045"/>
                <a:gd name="T29" fmla="*/ 0 h 1018"/>
                <a:gd name="T30" fmla="*/ 2147483647 w 1045"/>
                <a:gd name="T31" fmla="*/ 0 h 1018"/>
                <a:gd name="T32" fmla="*/ 2147483647 w 1045"/>
                <a:gd name="T33" fmla="*/ 0 h 1018"/>
                <a:gd name="T34" fmla="*/ 2147483647 w 1045"/>
                <a:gd name="T35" fmla="*/ 0 h 1018"/>
                <a:gd name="T36" fmla="*/ 2147483647 w 1045"/>
                <a:gd name="T37" fmla="*/ 0 h 1018"/>
                <a:gd name="T38" fmla="*/ 2147483647 w 1045"/>
                <a:gd name="T39" fmla="*/ 0 h 1018"/>
                <a:gd name="T40" fmla="*/ 2147483647 w 1045"/>
                <a:gd name="T41" fmla="*/ 0 h 1018"/>
                <a:gd name="T42" fmla="*/ 2147483647 w 1045"/>
                <a:gd name="T43" fmla="*/ 0 h 1018"/>
                <a:gd name="T44" fmla="*/ 2147483647 w 1045"/>
                <a:gd name="T45" fmla="*/ 0 h 1018"/>
                <a:gd name="T46" fmla="*/ 2147483647 w 1045"/>
                <a:gd name="T47" fmla="*/ 2147483647 h 1018"/>
                <a:gd name="T48" fmla="*/ 2147483647 w 1045"/>
                <a:gd name="T49" fmla="*/ 2147483647 h 1018"/>
                <a:gd name="T50" fmla="*/ 2147483647 w 1045"/>
                <a:gd name="T51" fmla="*/ 2147483647 h 1018"/>
                <a:gd name="T52" fmla="*/ 2147483647 w 1045"/>
                <a:gd name="T53" fmla="*/ 2147483647 h 1018"/>
                <a:gd name="T54" fmla="*/ 2147483647 w 1045"/>
                <a:gd name="T55" fmla="*/ 2147483647 h 1018"/>
                <a:gd name="T56" fmla="*/ 2147483647 w 1045"/>
                <a:gd name="T57" fmla="*/ 2147483647 h 1018"/>
                <a:gd name="T58" fmla="*/ 0 w 1045"/>
                <a:gd name="T59" fmla="*/ 2147483647 h 1018"/>
                <a:gd name="T60" fmla="*/ 0 w 1045"/>
                <a:gd name="T61" fmla="*/ 2147483647 h 1018"/>
                <a:gd name="T62" fmla="*/ 0 w 1045"/>
                <a:gd name="T63" fmla="*/ 2147483647 h 1018"/>
                <a:gd name="T64" fmla="*/ 2147483647 w 1045"/>
                <a:gd name="T65" fmla="*/ 2147483647 h 1018"/>
                <a:gd name="T66" fmla="*/ 2147483647 w 1045"/>
                <a:gd name="T67" fmla="*/ 2147483647 h 1018"/>
                <a:gd name="T68" fmla="*/ 2147483647 w 1045"/>
                <a:gd name="T69" fmla="*/ 2147483647 h 1018"/>
                <a:gd name="T70" fmla="*/ 2147483647 w 1045"/>
                <a:gd name="T71" fmla="*/ 2147483647 h 1018"/>
                <a:gd name="T72" fmla="*/ 2147483647 w 1045"/>
                <a:gd name="T73" fmla="*/ 2147483647 h 1018"/>
                <a:gd name="T74" fmla="*/ 2147483647 w 1045"/>
                <a:gd name="T75" fmla="*/ 2147483647 h 1018"/>
                <a:gd name="T76" fmla="*/ 2147483647 w 1045"/>
                <a:gd name="T77" fmla="*/ 2147483647 h 1018"/>
                <a:gd name="T78" fmla="*/ 2147483647 w 1045"/>
                <a:gd name="T79" fmla="*/ 2147483647 h 1018"/>
                <a:gd name="T80" fmla="*/ 2147483647 w 1045"/>
                <a:gd name="T81" fmla="*/ 2147483647 h 1018"/>
                <a:gd name="T82" fmla="*/ 2147483647 w 1045"/>
                <a:gd name="T83" fmla="*/ 2147483647 h 1018"/>
                <a:gd name="T84" fmla="*/ 2147483647 w 1045"/>
                <a:gd name="T85" fmla="*/ 2147483647 h 1018"/>
                <a:gd name="T86" fmla="*/ 2147483647 w 1045"/>
                <a:gd name="T87" fmla="*/ 2147483647 h 1018"/>
                <a:gd name="T88" fmla="*/ 2147483647 w 1045"/>
                <a:gd name="T89" fmla="*/ 2147483647 h 1018"/>
                <a:gd name="T90" fmla="*/ 2147483647 w 1045"/>
                <a:gd name="T91" fmla="*/ 2147483647 h 1018"/>
                <a:gd name="T92" fmla="*/ 2147483647 w 1045"/>
                <a:gd name="T93" fmla="*/ 2147483647 h 1018"/>
                <a:gd name="T94" fmla="*/ 2147483647 w 1045"/>
                <a:gd name="T95" fmla="*/ 2147483647 h 1018"/>
                <a:gd name="T96" fmla="*/ 2147483647 w 1045"/>
                <a:gd name="T97" fmla="*/ 2147483647 h 1018"/>
                <a:gd name="T98" fmla="*/ 2147483647 w 1045"/>
                <a:gd name="T99" fmla="*/ 2147483647 h 1018"/>
                <a:gd name="T100" fmla="*/ 2147483647 w 1045"/>
                <a:gd name="T101" fmla="*/ 2147483647 h 1018"/>
                <a:gd name="T102" fmla="*/ 2147483647 w 1045"/>
                <a:gd name="T103" fmla="*/ 2147483647 h 1018"/>
                <a:gd name="T104" fmla="*/ 2147483647 w 1045"/>
                <a:gd name="T105" fmla="*/ 2147483647 h 1018"/>
                <a:gd name="T106" fmla="*/ 2147483647 w 1045"/>
                <a:gd name="T107" fmla="*/ 2147483647 h 1018"/>
                <a:gd name="T108" fmla="*/ 2147483647 w 1045"/>
                <a:gd name="T109" fmla="*/ 2147483647 h 1018"/>
                <a:gd name="T110" fmla="*/ 2147483647 w 1045"/>
                <a:gd name="T111" fmla="*/ 2147483647 h 1018"/>
                <a:gd name="T112" fmla="*/ 2147483647 w 1045"/>
                <a:gd name="T113" fmla="*/ 2147483647 h 1018"/>
                <a:gd name="T114" fmla="*/ 2147483647 w 1045"/>
                <a:gd name="T115" fmla="*/ 2147483647 h 1018"/>
                <a:gd name="T116" fmla="*/ 2147483647 w 1045"/>
                <a:gd name="T117" fmla="*/ 2147483647 h 1018"/>
                <a:gd name="T118" fmla="*/ 2147483647 w 1045"/>
                <a:gd name="T119" fmla="*/ 2147483647 h 1018"/>
                <a:gd name="T120" fmla="*/ 2147483647 w 1045"/>
                <a:gd name="T121" fmla="*/ 2147483647 h 101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45"/>
                <a:gd name="T184" fmla="*/ 0 h 1018"/>
                <a:gd name="T185" fmla="*/ 1045 w 1045"/>
                <a:gd name="T186" fmla="*/ 1018 h 101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8" name="Freeform 53">
              <a:extLst>
                <a:ext uri="{FF2B5EF4-FFF2-40B4-BE49-F238E27FC236}">
                  <a16:creationId xmlns:a16="http://schemas.microsoft.com/office/drawing/2014/main" id="{B74BAB6D-BCEA-2B42-A24C-6F5871B7A6E5}"/>
                </a:ext>
              </a:extLst>
            </p:cNvPr>
            <p:cNvSpPr>
              <a:spLocks noChangeAspect="1"/>
            </p:cNvSpPr>
            <p:nvPr userDrawn="1"/>
          </p:nvSpPr>
          <p:spPr bwMode="gray">
            <a:xfrm>
              <a:off x="10006946" y="5721938"/>
              <a:ext cx="105957" cy="123462"/>
            </a:xfrm>
            <a:custGeom>
              <a:avLst/>
              <a:gdLst>
                <a:gd name="T0" fmla="*/ 0 w 201"/>
                <a:gd name="T1" fmla="*/ 0 h 216"/>
                <a:gd name="T2" fmla="*/ 0 w 201"/>
                <a:gd name="T3" fmla="*/ 0 h 216"/>
                <a:gd name="T4" fmla="*/ 0 w 201"/>
                <a:gd name="T5" fmla="*/ 0 h 216"/>
                <a:gd name="T6" fmla="*/ 2147483647 w 201"/>
                <a:gd name="T7" fmla="*/ 0 h 216"/>
                <a:gd name="T8" fmla="*/ 2147483647 w 201"/>
                <a:gd name="T9" fmla="*/ 0 h 216"/>
                <a:gd name="T10" fmla="*/ 2147483647 w 201"/>
                <a:gd name="T11" fmla="*/ 0 h 216"/>
                <a:gd name="T12" fmla="*/ 2147483647 w 201"/>
                <a:gd name="T13" fmla="*/ 0 h 216"/>
                <a:gd name="T14" fmla="*/ 2147483647 w 201"/>
                <a:gd name="T15" fmla="*/ 0 h 216"/>
                <a:gd name="T16" fmla="*/ 2147483647 w 201"/>
                <a:gd name="T17" fmla="*/ 0 h 216"/>
                <a:gd name="T18" fmla="*/ 2147483647 w 201"/>
                <a:gd name="T19" fmla="*/ 0 h 216"/>
                <a:gd name="T20" fmla="*/ 2147483647 w 201"/>
                <a:gd name="T21" fmla="*/ 0 h 216"/>
                <a:gd name="T22" fmla="*/ 2147483647 w 201"/>
                <a:gd name="T23" fmla="*/ 2147483647 h 216"/>
                <a:gd name="T24" fmla="*/ 2147483647 w 201"/>
                <a:gd name="T25" fmla="*/ 2147483647 h 216"/>
                <a:gd name="T26" fmla="*/ 2147483647 w 201"/>
                <a:gd name="T27" fmla="*/ 2147483647 h 216"/>
                <a:gd name="T28" fmla="*/ 2147483647 w 201"/>
                <a:gd name="T29" fmla="*/ 2147483647 h 216"/>
                <a:gd name="T30" fmla="*/ 2147483647 w 201"/>
                <a:gd name="T31" fmla="*/ 2147483647 h 216"/>
                <a:gd name="T32" fmla="*/ 2147483647 w 201"/>
                <a:gd name="T33" fmla="*/ 2147483647 h 216"/>
                <a:gd name="T34" fmla="*/ 2147483647 w 201"/>
                <a:gd name="T35" fmla="*/ 2147483647 h 216"/>
                <a:gd name="T36" fmla="*/ 2147483647 w 201"/>
                <a:gd name="T37" fmla="*/ 2147483647 h 216"/>
                <a:gd name="T38" fmla="*/ 2147483647 w 201"/>
                <a:gd name="T39" fmla="*/ 2147483647 h 216"/>
                <a:gd name="T40" fmla="*/ 2147483647 w 201"/>
                <a:gd name="T41" fmla="*/ 2147483647 h 216"/>
                <a:gd name="T42" fmla="*/ 2147483647 w 201"/>
                <a:gd name="T43" fmla="*/ 2147483647 h 216"/>
                <a:gd name="T44" fmla="*/ 2147483647 w 201"/>
                <a:gd name="T45" fmla="*/ 2147483647 h 216"/>
                <a:gd name="T46" fmla="*/ 2147483647 w 201"/>
                <a:gd name="T47" fmla="*/ 2147483647 h 216"/>
                <a:gd name="T48" fmla="*/ 2147483647 w 201"/>
                <a:gd name="T49" fmla="*/ 2147483647 h 216"/>
                <a:gd name="T50" fmla="*/ 2147483647 w 201"/>
                <a:gd name="T51" fmla="*/ 2147483647 h 216"/>
                <a:gd name="T52" fmla="*/ 2147483647 w 201"/>
                <a:gd name="T53" fmla="*/ 2147483647 h 216"/>
                <a:gd name="T54" fmla="*/ 2147483647 w 201"/>
                <a:gd name="T55" fmla="*/ 2147483647 h 216"/>
                <a:gd name="T56" fmla="*/ 2147483647 w 201"/>
                <a:gd name="T57" fmla="*/ 2147483647 h 216"/>
                <a:gd name="T58" fmla="*/ 2147483647 w 201"/>
                <a:gd name="T59" fmla="*/ 2147483647 h 216"/>
                <a:gd name="T60" fmla="*/ 0 w 201"/>
                <a:gd name="T61" fmla="*/ 2147483647 h 216"/>
                <a:gd name="T62" fmla="*/ 0 w 201"/>
                <a:gd name="T63" fmla="*/ 2147483647 h 216"/>
                <a:gd name="T64" fmla="*/ 0 w 201"/>
                <a:gd name="T65" fmla="*/ 2147483647 h 216"/>
                <a:gd name="T66" fmla="*/ 0 w 201"/>
                <a:gd name="T67" fmla="*/ 2147483647 h 216"/>
                <a:gd name="T68" fmla="*/ 0 w 201"/>
                <a:gd name="T69" fmla="*/ 0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1"/>
                <a:gd name="T106" fmla="*/ 0 h 216"/>
                <a:gd name="T107" fmla="*/ 201 w 201"/>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59" name="Freeform 55">
              <a:extLst>
                <a:ext uri="{FF2B5EF4-FFF2-40B4-BE49-F238E27FC236}">
                  <a16:creationId xmlns:a16="http://schemas.microsoft.com/office/drawing/2014/main" id="{B47F9EB8-893D-926B-B4F8-5CF6C6DE8114}"/>
                </a:ext>
              </a:extLst>
            </p:cNvPr>
            <p:cNvSpPr>
              <a:spLocks noChangeAspect="1"/>
            </p:cNvSpPr>
            <p:nvPr userDrawn="1"/>
          </p:nvSpPr>
          <p:spPr bwMode="gray">
            <a:xfrm>
              <a:off x="10641192" y="5720413"/>
              <a:ext cx="226836" cy="263690"/>
            </a:xfrm>
            <a:custGeom>
              <a:avLst/>
              <a:gdLst>
                <a:gd name="T0" fmla="*/ 2147483647 w 424"/>
                <a:gd name="T1" fmla="*/ 0 h 463"/>
                <a:gd name="T2" fmla="*/ 2147483647 w 424"/>
                <a:gd name="T3" fmla="*/ 0 h 463"/>
                <a:gd name="T4" fmla="*/ 2147483647 w 424"/>
                <a:gd name="T5" fmla="*/ 0 h 463"/>
                <a:gd name="T6" fmla="*/ 2147483647 w 424"/>
                <a:gd name="T7" fmla="*/ 0 h 463"/>
                <a:gd name="T8" fmla="*/ 2147483647 w 424"/>
                <a:gd name="T9" fmla="*/ 0 h 463"/>
                <a:gd name="T10" fmla="*/ 2147483647 w 424"/>
                <a:gd name="T11" fmla="*/ 0 h 463"/>
                <a:gd name="T12" fmla="*/ 2147483647 w 424"/>
                <a:gd name="T13" fmla="*/ 0 h 463"/>
                <a:gd name="T14" fmla="*/ 2147483647 w 424"/>
                <a:gd name="T15" fmla="*/ 0 h 463"/>
                <a:gd name="T16" fmla="*/ 2147483647 w 424"/>
                <a:gd name="T17" fmla="*/ 0 h 463"/>
                <a:gd name="T18" fmla="*/ 2147483647 w 424"/>
                <a:gd name="T19" fmla="*/ 2147483647 h 463"/>
                <a:gd name="T20" fmla="*/ 2147483647 w 424"/>
                <a:gd name="T21" fmla="*/ 2147483647 h 463"/>
                <a:gd name="T22" fmla="*/ 2147483647 w 424"/>
                <a:gd name="T23" fmla="*/ 2147483647 h 463"/>
                <a:gd name="T24" fmla="*/ 2147483647 w 424"/>
                <a:gd name="T25" fmla="*/ 2147483647 h 463"/>
                <a:gd name="T26" fmla="*/ 2147483647 w 424"/>
                <a:gd name="T27" fmla="*/ 2147483647 h 463"/>
                <a:gd name="T28" fmla="*/ 2147483647 w 424"/>
                <a:gd name="T29" fmla="*/ 2147483647 h 463"/>
                <a:gd name="T30" fmla="*/ 2147483647 w 424"/>
                <a:gd name="T31" fmla="*/ 2147483647 h 463"/>
                <a:gd name="T32" fmla="*/ 2147483647 w 424"/>
                <a:gd name="T33" fmla="*/ 2147483647 h 463"/>
                <a:gd name="T34" fmla="*/ 2147483647 w 424"/>
                <a:gd name="T35" fmla="*/ 2147483647 h 463"/>
                <a:gd name="T36" fmla="*/ 2147483647 w 424"/>
                <a:gd name="T37" fmla="*/ 2147483647 h 463"/>
                <a:gd name="T38" fmla="*/ 2147483647 w 424"/>
                <a:gd name="T39" fmla="*/ 2147483647 h 463"/>
                <a:gd name="T40" fmla="*/ 2147483647 w 424"/>
                <a:gd name="T41" fmla="*/ 2147483647 h 463"/>
                <a:gd name="T42" fmla="*/ 2147483647 w 424"/>
                <a:gd name="T43" fmla="*/ 2147483647 h 463"/>
                <a:gd name="T44" fmla="*/ 2147483647 w 424"/>
                <a:gd name="T45" fmla="*/ 2147483647 h 463"/>
                <a:gd name="T46" fmla="*/ 2147483647 w 424"/>
                <a:gd name="T47" fmla="*/ 2147483647 h 463"/>
                <a:gd name="T48" fmla="*/ 2147483647 w 424"/>
                <a:gd name="T49" fmla="*/ 2147483647 h 463"/>
                <a:gd name="T50" fmla="*/ 2147483647 w 424"/>
                <a:gd name="T51" fmla="*/ 2147483647 h 463"/>
                <a:gd name="T52" fmla="*/ 2147483647 w 424"/>
                <a:gd name="T53" fmla="*/ 2147483647 h 463"/>
                <a:gd name="T54" fmla="*/ 2147483647 w 424"/>
                <a:gd name="T55" fmla="*/ 2147483647 h 463"/>
                <a:gd name="T56" fmla="*/ 2147483647 w 424"/>
                <a:gd name="T57" fmla="*/ 2147483647 h 463"/>
                <a:gd name="T58" fmla="*/ 0 w 424"/>
                <a:gd name="T59" fmla="*/ 2147483647 h 463"/>
                <a:gd name="T60" fmla="*/ 0 w 424"/>
                <a:gd name="T61" fmla="*/ 2147483647 h 463"/>
                <a:gd name="T62" fmla="*/ 0 w 424"/>
                <a:gd name="T63" fmla="*/ 2147483647 h 463"/>
                <a:gd name="T64" fmla="*/ 0 w 424"/>
                <a:gd name="T65" fmla="*/ 2147483647 h 463"/>
                <a:gd name="T66" fmla="*/ 0 w 424"/>
                <a:gd name="T67" fmla="*/ 2147483647 h 463"/>
                <a:gd name="T68" fmla="*/ 0 w 424"/>
                <a:gd name="T69" fmla="*/ 2147483647 h 463"/>
                <a:gd name="T70" fmla="*/ 0 w 424"/>
                <a:gd name="T71" fmla="*/ 2147483647 h 463"/>
                <a:gd name="T72" fmla="*/ 0 w 424"/>
                <a:gd name="T73" fmla="*/ 2147483647 h 463"/>
                <a:gd name="T74" fmla="*/ 0 w 424"/>
                <a:gd name="T75" fmla="*/ 2147483647 h 463"/>
                <a:gd name="T76" fmla="*/ 0 w 424"/>
                <a:gd name="T77" fmla="*/ 2147483647 h 463"/>
                <a:gd name="T78" fmla="*/ 2147483647 w 424"/>
                <a:gd name="T79" fmla="*/ 2147483647 h 463"/>
                <a:gd name="T80" fmla="*/ 2147483647 w 424"/>
                <a:gd name="T81" fmla="*/ 2147483647 h 463"/>
                <a:gd name="T82" fmla="*/ 2147483647 w 424"/>
                <a:gd name="T83" fmla="*/ 2147483647 h 463"/>
                <a:gd name="T84" fmla="*/ 2147483647 w 424"/>
                <a:gd name="T85" fmla="*/ 2147483647 h 463"/>
                <a:gd name="T86" fmla="*/ 2147483647 w 424"/>
                <a:gd name="T87" fmla="*/ 2147483647 h 463"/>
                <a:gd name="T88" fmla="*/ 2147483647 w 424"/>
                <a:gd name="T89" fmla="*/ 2147483647 h 463"/>
                <a:gd name="T90" fmla="*/ 2147483647 w 424"/>
                <a:gd name="T91" fmla="*/ 2147483647 h 463"/>
                <a:gd name="T92" fmla="*/ 2147483647 w 424"/>
                <a:gd name="T93" fmla="*/ 2147483647 h 463"/>
                <a:gd name="T94" fmla="*/ 2147483647 w 424"/>
                <a:gd name="T95" fmla="*/ 2147483647 h 463"/>
                <a:gd name="T96" fmla="*/ 2147483647 w 424"/>
                <a:gd name="T97" fmla="*/ 0 h 4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4"/>
                <a:gd name="T148" fmla="*/ 0 h 463"/>
                <a:gd name="T149" fmla="*/ 424 w 424"/>
                <a:gd name="T150" fmla="*/ 463 h 4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0" name="Freeform 56">
              <a:extLst>
                <a:ext uri="{FF2B5EF4-FFF2-40B4-BE49-F238E27FC236}">
                  <a16:creationId xmlns:a16="http://schemas.microsoft.com/office/drawing/2014/main" id="{9E565E23-CB24-5AAE-BC5B-6C05D2CA1FA1}"/>
                </a:ext>
              </a:extLst>
            </p:cNvPr>
            <p:cNvSpPr>
              <a:spLocks noChangeAspect="1"/>
            </p:cNvSpPr>
            <p:nvPr userDrawn="1"/>
          </p:nvSpPr>
          <p:spPr bwMode="gray">
            <a:xfrm>
              <a:off x="10823258" y="5479586"/>
              <a:ext cx="167142" cy="281981"/>
            </a:xfrm>
            <a:custGeom>
              <a:avLst/>
              <a:gdLst>
                <a:gd name="T0" fmla="*/ 2147483647 w 313"/>
                <a:gd name="T1" fmla="*/ 2147483647 h 495"/>
                <a:gd name="T2" fmla="*/ 2147483647 w 313"/>
                <a:gd name="T3" fmla="*/ 2147483647 h 495"/>
                <a:gd name="T4" fmla="*/ 2147483647 w 313"/>
                <a:gd name="T5" fmla="*/ 2147483647 h 495"/>
                <a:gd name="T6" fmla="*/ 2147483647 w 313"/>
                <a:gd name="T7" fmla="*/ 2147483647 h 495"/>
                <a:gd name="T8" fmla="*/ 2147483647 w 313"/>
                <a:gd name="T9" fmla="*/ 2147483647 h 495"/>
                <a:gd name="T10" fmla="*/ 2147483647 w 313"/>
                <a:gd name="T11" fmla="*/ 2147483647 h 495"/>
                <a:gd name="T12" fmla="*/ 2147483647 w 313"/>
                <a:gd name="T13" fmla="*/ 2147483647 h 495"/>
                <a:gd name="T14" fmla="*/ 2147483647 w 313"/>
                <a:gd name="T15" fmla="*/ 2147483647 h 495"/>
                <a:gd name="T16" fmla="*/ 2147483647 w 313"/>
                <a:gd name="T17" fmla="*/ 2147483647 h 495"/>
                <a:gd name="T18" fmla="*/ 2147483647 w 313"/>
                <a:gd name="T19" fmla="*/ 2147483647 h 495"/>
                <a:gd name="T20" fmla="*/ 2147483647 w 313"/>
                <a:gd name="T21" fmla="*/ 2147483647 h 495"/>
                <a:gd name="T22" fmla="*/ 2147483647 w 313"/>
                <a:gd name="T23" fmla="*/ 2147483647 h 495"/>
                <a:gd name="T24" fmla="*/ 2147483647 w 313"/>
                <a:gd name="T25" fmla="*/ 2147483647 h 495"/>
                <a:gd name="T26" fmla="*/ 0 w 313"/>
                <a:gd name="T27" fmla="*/ 2147483647 h 495"/>
                <a:gd name="T28" fmla="*/ 0 w 313"/>
                <a:gd name="T29" fmla="*/ 0 h 495"/>
                <a:gd name="T30" fmla="*/ 0 w 313"/>
                <a:gd name="T31" fmla="*/ 0 h 495"/>
                <a:gd name="T32" fmla="*/ 0 w 313"/>
                <a:gd name="T33" fmla="*/ 0 h 495"/>
                <a:gd name="T34" fmla="*/ 0 w 313"/>
                <a:gd name="T35" fmla="*/ 0 h 495"/>
                <a:gd name="T36" fmla="*/ 0 w 313"/>
                <a:gd name="T37" fmla="*/ 0 h 495"/>
                <a:gd name="T38" fmla="*/ 0 w 313"/>
                <a:gd name="T39" fmla="*/ 0 h 495"/>
                <a:gd name="T40" fmla="*/ 2147483647 w 313"/>
                <a:gd name="T41" fmla="*/ 0 h 495"/>
                <a:gd name="T42" fmla="*/ 2147483647 w 313"/>
                <a:gd name="T43" fmla="*/ 0 h 495"/>
                <a:gd name="T44" fmla="*/ 2147483647 w 313"/>
                <a:gd name="T45" fmla="*/ 0 h 495"/>
                <a:gd name="T46" fmla="*/ 2147483647 w 313"/>
                <a:gd name="T47" fmla="*/ 2147483647 h 495"/>
                <a:gd name="T48" fmla="*/ 2147483647 w 313"/>
                <a:gd name="T49" fmla="*/ 2147483647 h 495"/>
                <a:gd name="T50" fmla="*/ 2147483647 w 313"/>
                <a:gd name="T51" fmla="*/ 2147483647 h 495"/>
                <a:gd name="T52" fmla="*/ 2147483647 w 313"/>
                <a:gd name="T53" fmla="*/ 2147483647 h 495"/>
                <a:gd name="T54" fmla="*/ 2147483647 w 313"/>
                <a:gd name="T55" fmla="*/ 2147483647 h 495"/>
                <a:gd name="T56" fmla="*/ 2147483647 w 313"/>
                <a:gd name="T57" fmla="*/ 2147483647 h 495"/>
                <a:gd name="T58" fmla="*/ 2147483647 w 313"/>
                <a:gd name="T59" fmla="*/ 2147483647 h 495"/>
                <a:gd name="T60" fmla="*/ 2147483647 w 313"/>
                <a:gd name="T61" fmla="*/ 2147483647 h 495"/>
                <a:gd name="T62" fmla="*/ 2147483647 w 313"/>
                <a:gd name="T63" fmla="*/ 2147483647 h 495"/>
                <a:gd name="T64" fmla="*/ 2147483647 w 313"/>
                <a:gd name="T65" fmla="*/ 2147483647 h 495"/>
                <a:gd name="T66" fmla="*/ 2147483647 w 313"/>
                <a:gd name="T67" fmla="*/ 2147483647 h 495"/>
                <a:gd name="T68" fmla="*/ 2147483647 w 313"/>
                <a:gd name="T69" fmla="*/ 2147483647 h 495"/>
                <a:gd name="T70" fmla="*/ 2147483647 w 313"/>
                <a:gd name="T71" fmla="*/ 2147483647 h 495"/>
                <a:gd name="T72" fmla="*/ 2147483647 w 313"/>
                <a:gd name="T73" fmla="*/ 2147483647 h 495"/>
                <a:gd name="T74" fmla="*/ 2147483647 w 313"/>
                <a:gd name="T75" fmla="*/ 2147483647 h 495"/>
                <a:gd name="T76" fmla="*/ 2147483647 w 313"/>
                <a:gd name="T77" fmla="*/ 2147483647 h 495"/>
                <a:gd name="T78" fmla="*/ 2147483647 w 313"/>
                <a:gd name="T79" fmla="*/ 2147483647 h 495"/>
                <a:gd name="T80" fmla="*/ 2147483647 w 313"/>
                <a:gd name="T81" fmla="*/ 2147483647 h 495"/>
                <a:gd name="T82" fmla="*/ 2147483647 w 313"/>
                <a:gd name="T83" fmla="*/ 2147483647 h 495"/>
                <a:gd name="T84" fmla="*/ 2147483647 w 313"/>
                <a:gd name="T85" fmla="*/ 2147483647 h 495"/>
                <a:gd name="T86" fmla="*/ 2147483647 w 313"/>
                <a:gd name="T87" fmla="*/ 2147483647 h 495"/>
                <a:gd name="T88" fmla="*/ 2147483647 w 313"/>
                <a:gd name="T89" fmla="*/ 2147483647 h 495"/>
                <a:gd name="T90" fmla="*/ 2147483647 w 313"/>
                <a:gd name="T91" fmla="*/ 2147483647 h 495"/>
                <a:gd name="T92" fmla="*/ 2147483647 w 313"/>
                <a:gd name="T93" fmla="*/ 2147483647 h 495"/>
                <a:gd name="T94" fmla="*/ 2147483647 w 313"/>
                <a:gd name="T95" fmla="*/ 2147483647 h 4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3"/>
                <a:gd name="T145" fmla="*/ 0 h 495"/>
                <a:gd name="T146" fmla="*/ 313 w 313"/>
                <a:gd name="T147" fmla="*/ 495 h 49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1" name="Freeform 57">
              <a:extLst>
                <a:ext uri="{FF2B5EF4-FFF2-40B4-BE49-F238E27FC236}">
                  <a16:creationId xmlns:a16="http://schemas.microsoft.com/office/drawing/2014/main" id="{4B908570-F017-D453-3654-6AB3DC9F1028}"/>
                </a:ext>
              </a:extLst>
            </p:cNvPr>
            <p:cNvSpPr>
              <a:spLocks noChangeAspect="1"/>
            </p:cNvSpPr>
            <p:nvPr userDrawn="1"/>
          </p:nvSpPr>
          <p:spPr bwMode="gray">
            <a:xfrm>
              <a:off x="10568067" y="4982691"/>
              <a:ext cx="83571" cy="71639"/>
            </a:xfrm>
            <a:custGeom>
              <a:avLst/>
              <a:gdLst>
                <a:gd name="T0" fmla="*/ 2147483647 w 159"/>
                <a:gd name="T1" fmla="*/ 0 h 133"/>
                <a:gd name="T2" fmla="*/ 0 w 159"/>
                <a:gd name="T3" fmla="*/ 0 h 133"/>
                <a:gd name="T4" fmla="*/ 0 w 159"/>
                <a:gd name="T5" fmla="*/ 0 h 133"/>
                <a:gd name="T6" fmla="*/ 0 w 159"/>
                <a:gd name="T7" fmla="*/ 0 h 133"/>
                <a:gd name="T8" fmla="*/ 0 w 159"/>
                <a:gd name="T9" fmla="*/ 0 h 133"/>
                <a:gd name="T10" fmla="*/ 0 w 159"/>
                <a:gd name="T11" fmla="*/ 0 h 133"/>
                <a:gd name="T12" fmla="*/ 0 w 159"/>
                <a:gd name="T13" fmla="*/ 0 h 133"/>
                <a:gd name="T14" fmla="*/ 0 w 159"/>
                <a:gd name="T15" fmla="*/ 0 h 133"/>
                <a:gd name="T16" fmla="*/ 0 w 159"/>
                <a:gd name="T17" fmla="*/ 0 h 133"/>
                <a:gd name="T18" fmla="*/ 0 w 159"/>
                <a:gd name="T19" fmla="*/ 0 h 133"/>
                <a:gd name="T20" fmla="*/ 0 w 159"/>
                <a:gd name="T21" fmla="*/ 0 h 133"/>
                <a:gd name="T22" fmla="*/ 0 w 159"/>
                <a:gd name="T23" fmla="*/ 0 h 133"/>
                <a:gd name="T24" fmla="*/ 0 w 159"/>
                <a:gd name="T25" fmla="*/ 0 h 133"/>
                <a:gd name="T26" fmla="*/ 0 w 159"/>
                <a:gd name="T27" fmla="*/ 0 h 133"/>
                <a:gd name="T28" fmla="*/ 0 w 159"/>
                <a:gd name="T29" fmla="*/ 0 h 133"/>
                <a:gd name="T30" fmla="*/ 2147483647 w 159"/>
                <a:gd name="T31" fmla="*/ 0 h 133"/>
                <a:gd name="T32" fmla="*/ 2147483647 w 159"/>
                <a:gd name="T33" fmla="*/ 0 h 133"/>
                <a:gd name="T34" fmla="*/ 2147483647 w 159"/>
                <a:gd name="T35" fmla="*/ 0 h 133"/>
                <a:gd name="T36" fmla="*/ 2147483647 w 159"/>
                <a:gd name="T37" fmla="*/ 0 h 133"/>
                <a:gd name="T38" fmla="*/ 2147483647 w 159"/>
                <a:gd name="T39" fmla="*/ 0 h 133"/>
                <a:gd name="T40" fmla="*/ 2147483647 w 159"/>
                <a:gd name="T41" fmla="*/ 0 h 133"/>
                <a:gd name="T42" fmla="*/ 2147483647 w 159"/>
                <a:gd name="T43" fmla="*/ 0 h 133"/>
                <a:gd name="T44" fmla="*/ 2147483647 w 159"/>
                <a:gd name="T45" fmla="*/ 0 h 133"/>
                <a:gd name="T46" fmla="*/ 2147483647 w 159"/>
                <a:gd name="T47" fmla="*/ 0 h 133"/>
                <a:gd name="T48" fmla="*/ 2147483647 w 159"/>
                <a:gd name="T49" fmla="*/ 0 h 133"/>
                <a:gd name="T50" fmla="*/ 2147483647 w 159"/>
                <a:gd name="T51" fmla="*/ 0 h 133"/>
                <a:gd name="T52" fmla="*/ 2147483647 w 159"/>
                <a:gd name="T53" fmla="*/ 0 h 133"/>
                <a:gd name="T54" fmla="*/ 2147483647 w 159"/>
                <a:gd name="T55" fmla="*/ 2147483647 h 133"/>
                <a:gd name="T56" fmla="*/ 2147483647 w 159"/>
                <a:gd name="T57" fmla="*/ 2147483647 h 133"/>
                <a:gd name="T58" fmla="*/ 2147483647 w 159"/>
                <a:gd name="T59" fmla="*/ 2147483647 h 133"/>
                <a:gd name="T60" fmla="*/ 2147483647 w 159"/>
                <a:gd name="T61" fmla="*/ 2147483647 h 133"/>
                <a:gd name="T62" fmla="*/ 2147483647 w 159"/>
                <a:gd name="T63" fmla="*/ 2147483647 h 133"/>
                <a:gd name="T64" fmla="*/ 2147483647 w 159"/>
                <a:gd name="T65" fmla="*/ 2147483647 h 133"/>
                <a:gd name="T66" fmla="*/ 2147483647 w 159"/>
                <a:gd name="T67" fmla="*/ 2147483647 h 133"/>
                <a:gd name="T68" fmla="*/ 2147483647 w 159"/>
                <a:gd name="T69" fmla="*/ 2147483647 h 133"/>
                <a:gd name="T70" fmla="*/ 2147483647 w 159"/>
                <a:gd name="T71" fmla="*/ 2147483647 h 133"/>
                <a:gd name="T72" fmla="*/ 2147483647 w 159"/>
                <a:gd name="T73" fmla="*/ 2147483647 h 133"/>
                <a:gd name="T74" fmla="*/ 2147483647 w 159"/>
                <a:gd name="T75" fmla="*/ 2147483647 h 133"/>
                <a:gd name="T76" fmla="*/ 2147483647 w 159"/>
                <a:gd name="T77" fmla="*/ 2147483647 h 133"/>
                <a:gd name="T78" fmla="*/ 2147483647 w 159"/>
                <a:gd name="T79" fmla="*/ 2147483647 h 133"/>
                <a:gd name="T80" fmla="*/ 2147483647 w 159"/>
                <a:gd name="T81" fmla="*/ 2147483647 h 133"/>
                <a:gd name="T82" fmla="*/ 2147483647 w 159"/>
                <a:gd name="T83" fmla="*/ 2147483647 h 133"/>
                <a:gd name="T84" fmla="*/ 2147483647 w 159"/>
                <a:gd name="T85" fmla="*/ 2147483647 h 133"/>
                <a:gd name="T86" fmla="*/ 2147483647 w 159"/>
                <a:gd name="T87" fmla="*/ 2147483647 h 133"/>
                <a:gd name="T88" fmla="*/ 2147483647 w 159"/>
                <a:gd name="T89" fmla="*/ 2147483647 h 133"/>
                <a:gd name="T90" fmla="*/ 2147483647 w 159"/>
                <a:gd name="T91" fmla="*/ 2147483647 h 133"/>
                <a:gd name="T92" fmla="*/ 2147483647 w 159"/>
                <a:gd name="T93" fmla="*/ 2147483647 h 133"/>
                <a:gd name="T94" fmla="*/ 2147483647 w 159"/>
                <a:gd name="T95" fmla="*/ 2147483647 h 133"/>
                <a:gd name="T96" fmla="*/ 2147483647 w 159"/>
                <a:gd name="T97" fmla="*/ 2147483647 h 133"/>
                <a:gd name="T98" fmla="*/ 2147483647 w 159"/>
                <a:gd name="T99" fmla="*/ 2147483647 h 133"/>
                <a:gd name="T100" fmla="*/ 2147483647 w 159"/>
                <a:gd name="T101" fmla="*/ 2147483647 h 133"/>
                <a:gd name="T102" fmla="*/ 2147483647 w 159"/>
                <a:gd name="T103" fmla="*/ 2147483647 h 133"/>
                <a:gd name="T104" fmla="*/ 2147483647 w 159"/>
                <a:gd name="T105" fmla="*/ 2147483647 h 133"/>
                <a:gd name="T106" fmla="*/ 2147483647 w 159"/>
                <a:gd name="T107" fmla="*/ 2147483647 h 133"/>
                <a:gd name="T108" fmla="*/ 2147483647 w 159"/>
                <a:gd name="T109" fmla="*/ 0 h 133"/>
                <a:gd name="T110" fmla="*/ 2147483647 w 159"/>
                <a:gd name="T111" fmla="*/ 0 h 133"/>
                <a:gd name="T112" fmla="*/ 2147483647 w 159"/>
                <a:gd name="T113" fmla="*/ 0 h 1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
                <a:gd name="T172" fmla="*/ 0 h 133"/>
                <a:gd name="T173" fmla="*/ 159 w 159"/>
                <a:gd name="T174" fmla="*/ 133 h 1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2" name="Freeform 58">
              <a:extLst>
                <a:ext uri="{FF2B5EF4-FFF2-40B4-BE49-F238E27FC236}">
                  <a16:creationId xmlns:a16="http://schemas.microsoft.com/office/drawing/2014/main" id="{82BEA184-97E7-A4C6-234B-541A8E8523F2}"/>
                </a:ext>
              </a:extLst>
            </p:cNvPr>
            <p:cNvSpPr>
              <a:spLocks noChangeAspect="1"/>
            </p:cNvSpPr>
            <p:nvPr userDrawn="1"/>
          </p:nvSpPr>
          <p:spPr bwMode="gray">
            <a:xfrm>
              <a:off x="7796788" y="2850312"/>
              <a:ext cx="322346" cy="164615"/>
            </a:xfrm>
            <a:custGeom>
              <a:avLst/>
              <a:gdLst>
                <a:gd name="T0" fmla="*/ 2147483647 w 604"/>
                <a:gd name="T1" fmla="*/ 2147483647 h 288"/>
                <a:gd name="T2" fmla="*/ 2147483647 w 604"/>
                <a:gd name="T3" fmla="*/ 2147483647 h 288"/>
                <a:gd name="T4" fmla="*/ 2147483647 w 604"/>
                <a:gd name="T5" fmla="*/ 2147483647 h 288"/>
                <a:gd name="T6" fmla="*/ 2147483647 w 604"/>
                <a:gd name="T7" fmla="*/ 2147483647 h 288"/>
                <a:gd name="T8" fmla="*/ 2147483647 w 604"/>
                <a:gd name="T9" fmla="*/ 2147483647 h 288"/>
                <a:gd name="T10" fmla="*/ 2147483647 w 604"/>
                <a:gd name="T11" fmla="*/ 2147483647 h 288"/>
                <a:gd name="T12" fmla="*/ 2147483647 w 604"/>
                <a:gd name="T13" fmla="*/ 2147483647 h 288"/>
                <a:gd name="T14" fmla="*/ 2147483647 w 604"/>
                <a:gd name="T15" fmla="*/ 2147483647 h 288"/>
                <a:gd name="T16" fmla="*/ 2147483647 w 604"/>
                <a:gd name="T17" fmla="*/ 2147483647 h 288"/>
                <a:gd name="T18" fmla="*/ 2147483647 w 604"/>
                <a:gd name="T19" fmla="*/ 0 h 288"/>
                <a:gd name="T20" fmla="*/ 2147483647 w 604"/>
                <a:gd name="T21" fmla="*/ 0 h 288"/>
                <a:gd name="T22" fmla="*/ 2147483647 w 604"/>
                <a:gd name="T23" fmla="*/ 0 h 288"/>
                <a:gd name="T24" fmla="*/ 2147483647 w 604"/>
                <a:gd name="T25" fmla="*/ 0 h 288"/>
                <a:gd name="T26" fmla="*/ 2147483647 w 604"/>
                <a:gd name="T27" fmla="*/ 0 h 288"/>
                <a:gd name="T28" fmla="*/ 2147483647 w 604"/>
                <a:gd name="T29" fmla="*/ 0 h 288"/>
                <a:gd name="T30" fmla="*/ 2147483647 w 604"/>
                <a:gd name="T31" fmla="*/ 0 h 288"/>
                <a:gd name="T32" fmla="*/ 2147483647 w 604"/>
                <a:gd name="T33" fmla="*/ 0 h 288"/>
                <a:gd name="T34" fmla="*/ 2147483647 w 604"/>
                <a:gd name="T35" fmla="*/ 0 h 288"/>
                <a:gd name="T36" fmla="*/ 2147483647 w 604"/>
                <a:gd name="T37" fmla="*/ 0 h 288"/>
                <a:gd name="T38" fmla="*/ 2147483647 w 604"/>
                <a:gd name="T39" fmla="*/ 0 h 288"/>
                <a:gd name="T40" fmla="*/ 2147483647 w 604"/>
                <a:gd name="T41" fmla="*/ 0 h 288"/>
                <a:gd name="T42" fmla="*/ 2147483647 w 604"/>
                <a:gd name="T43" fmla="*/ 0 h 288"/>
                <a:gd name="T44" fmla="*/ 2147483647 w 604"/>
                <a:gd name="T45" fmla="*/ 0 h 288"/>
                <a:gd name="T46" fmla="*/ 2147483647 w 604"/>
                <a:gd name="T47" fmla="*/ 0 h 288"/>
                <a:gd name="T48" fmla="*/ 2147483647 w 604"/>
                <a:gd name="T49" fmla="*/ 0 h 288"/>
                <a:gd name="T50" fmla="*/ 2147483647 w 604"/>
                <a:gd name="T51" fmla="*/ 2147483647 h 288"/>
                <a:gd name="T52" fmla="*/ 2147483647 w 604"/>
                <a:gd name="T53" fmla="*/ 2147483647 h 288"/>
                <a:gd name="T54" fmla="*/ 2147483647 w 604"/>
                <a:gd name="T55" fmla="*/ 2147483647 h 288"/>
                <a:gd name="T56" fmla="*/ 2147483647 w 604"/>
                <a:gd name="T57" fmla="*/ 2147483647 h 288"/>
                <a:gd name="T58" fmla="*/ 2147483647 w 604"/>
                <a:gd name="T59" fmla="*/ 2147483647 h 288"/>
                <a:gd name="T60" fmla="*/ 2147483647 w 604"/>
                <a:gd name="T61" fmla="*/ 2147483647 h 288"/>
                <a:gd name="T62" fmla="*/ 2147483647 w 604"/>
                <a:gd name="T63" fmla="*/ 2147483647 h 288"/>
                <a:gd name="T64" fmla="*/ 2147483647 w 604"/>
                <a:gd name="T65" fmla="*/ 2147483647 h 288"/>
                <a:gd name="T66" fmla="*/ 2147483647 w 604"/>
                <a:gd name="T67" fmla="*/ 2147483647 h 288"/>
                <a:gd name="T68" fmla="*/ 2147483647 w 604"/>
                <a:gd name="T69" fmla="*/ 2147483647 h 288"/>
                <a:gd name="T70" fmla="*/ 2147483647 w 604"/>
                <a:gd name="T71" fmla="*/ 2147483647 h 288"/>
                <a:gd name="T72" fmla="*/ 2147483647 w 604"/>
                <a:gd name="T73" fmla="*/ 2147483647 h 288"/>
                <a:gd name="T74" fmla="*/ 2147483647 w 604"/>
                <a:gd name="T75" fmla="*/ 2147483647 h 288"/>
                <a:gd name="T76" fmla="*/ 2147483647 w 604"/>
                <a:gd name="T77" fmla="*/ 2147483647 h 288"/>
                <a:gd name="T78" fmla="*/ 2147483647 w 604"/>
                <a:gd name="T79" fmla="*/ 2147483647 h 288"/>
                <a:gd name="T80" fmla="*/ 0 w 604"/>
                <a:gd name="T81" fmla="*/ 2147483647 h 288"/>
                <a:gd name="T82" fmla="*/ 0 w 604"/>
                <a:gd name="T83" fmla="*/ 2147483647 h 288"/>
                <a:gd name="T84" fmla="*/ 0 w 604"/>
                <a:gd name="T85" fmla="*/ 2147483647 h 288"/>
                <a:gd name="T86" fmla="*/ 0 w 604"/>
                <a:gd name="T87" fmla="*/ 2147483647 h 288"/>
                <a:gd name="T88" fmla="*/ 2147483647 w 604"/>
                <a:gd name="T89" fmla="*/ 2147483647 h 288"/>
                <a:gd name="T90" fmla="*/ 2147483647 w 604"/>
                <a:gd name="T91" fmla="*/ 2147483647 h 288"/>
                <a:gd name="T92" fmla="*/ 2147483647 w 604"/>
                <a:gd name="T93" fmla="*/ 2147483647 h 288"/>
                <a:gd name="T94" fmla="*/ 2147483647 w 604"/>
                <a:gd name="T95" fmla="*/ 2147483647 h 288"/>
                <a:gd name="T96" fmla="*/ 2147483647 w 604"/>
                <a:gd name="T97" fmla="*/ 2147483647 h 288"/>
                <a:gd name="T98" fmla="*/ 2147483647 w 604"/>
                <a:gd name="T99" fmla="*/ 2147483647 h 2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4"/>
                <a:gd name="T151" fmla="*/ 0 h 288"/>
                <a:gd name="T152" fmla="*/ 604 w 604"/>
                <a:gd name="T153" fmla="*/ 288 h 2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3" name="Freeform 59">
              <a:extLst>
                <a:ext uri="{FF2B5EF4-FFF2-40B4-BE49-F238E27FC236}">
                  <a16:creationId xmlns:a16="http://schemas.microsoft.com/office/drawing/2014/main" id="{CD085032-1336-168F-0FE1-DFA563FC8EB0}"/>
                </a:ext>
              </a:extLst>
            </p:cNvPr>
            <p:cNvSpPr>
              <a:spLocks noChangeAspect="1"/>
            </p:cNvSpPr>
            <p:nvPr userDrawn="1"/>
          </p:nvSpPr>
          <p:spPr bwMode="gray">
            <a:xfrm>
              <a:off x="7743064" y="2938716"/>
              <a:ext cx="222358" cy="178333"/>
            </a:xfrm>
            <a:custGeom>
              <a:avLst/>
              <a:gdLst>
                <a:gd name="T0" fmla="*/ 0 w 417"/>
                <a:gd name="T1" fmla="*/ 2147483647 h 312"/>
                <a:gd name="T2" fmla="*/ 2147483647 w 417"/>
                <a:gd name="T3" fmla="*/ 2147483647 h 312"/>
                <a:gd name="T4" fmla="*/ 2147483647 w 417"/>
                <a:gd name="T5" fmla="*/ 2147483647 h 312"/>
                <a:gd name="T6" fmla="*/ 2147483647 w 417"/>
                <a:gd name="T7" fmla="*/ 2147483647 h 312"/>
                <a:gd name="T8" fmla="*/ 2147483647 w 417"/>
                <a:gd name="T9" fmla="*/ 2147483647 h 312"/>
                <a:gd name="T10" fmla="*/ 2147483647 w 417"/>
                <a:gd name="T11" fmla="*/ 2147483647 h 312"/>
                <a:gd name="T12" fmla="*/ 2147483647 w 417"/>
                <a:gd name="T13" fmla="*/ 2147483647 h 312"/>
                <a:gd name="T14" fmla="*/ 2147483647 w 417"/>
                <a:gd name="T15" fmla="*/ 2147483647 h 312"/>
                <a:gd name="T16" fmla="*/ 2147483647 w 417"/>
                <a:gd name="T17" fmla="*/ 2147483647 h 312"/>
                <a:gd name="T18" fmla="*/ 2147483647 w 417"/>
                <a:gd name="T19" fmla="*/ 2147483647 h 312"/>
                <a:gd name="T20" fmla="*/ 2147483647 w 417"/>
                <a:gd name="T21" fmla="*/ 2147483647 h 312"/>
                <a:gd name="T22" fmla="*/ 2147483647 w 417"/>
                <a:gd name="T23" fmla="*/ 2147483647 h 312"/>
                <a:gd name="T24" fmla="*/ 2147483647 w 417"/>
                <a:gd name="T25" fmla="*/ 2147483647 h 312"/>
                <a:gd name="T26" fmla="*/ 2147483647 w 417"/>
                <a:gd name="T27" fmla="*/ 2147483647 h 312"/>
                <a:gd name="T28" fmla="*/ 2147483647 w 417"/>
                <a:gd name="T29" fmla="*/ 2147483647 h 312"/>
                <a:gd name="T30" fmla="*/ 2147483647 w 417"/>
                <a:gd name="T31" fmla="*/ 2147483647 h 312"/>
                <a:gd name="T32" fmla="*/ 2147483647 w 417"/>
                <a:gd name="T33" fmla="*/ 2147483647 h 312"/>
                <a:gd name="T34" fmla="*/ 2147483647 w 417"/>
                <a:gd name="T35" fmla="*/ 2147483647 h 312"/>
                <a:gd name="T36" fmla="*/ 2147483647 w 417"/>
                <a:gd name="T37" fmla="*/ 2147483647 h 312"/>
                <a:gd name="T38" fmla="*/ 2147483647 w 417"/>
                <a:gd name="T39" fmla="*/ 2147483647 h 312"/>
                <a:gd name="T40" fmla="*/ 2147483647 w 417"/>
                <a:gd name="T41" fmla="*/ 2147483647 h 312"/>
                <a:gd name="T42" fmla="*/ 2147483647 w 417"/>
                <a:gd name="T43" fmla="*/ 2147483647 h 312"/>
                <a:gd name="T44" fmla="*/ 2147483647 w 417"/>
                <a:gd name="T45" fmla="*/ 2147483647 h 312"/>
                <a:gd name="T46" fmla="*/ 2147483647 w 417"/>
                <a:gd name="T47" fmla="*/ 2147483647 h 312"/>
                <a:gd name="T48" fmla="*/ 2147483647 w 417"/>
                <a:gd name="T49" fmla="*/ 2147483647 h 312"/>
                <a:gd name="T50" fmla="*/ 2147483647 w 417"/>
                <a:gd name="T51" fmla="*/ 2147483647 h 312"/>
                <a:gd name="T52" fmla="*/ 2147483647 w 417"/>
                <a:gd name="T53" fmla="*/ 2147483647 h 312"/>
                <a:gd name="T54" fmla="*/ 2147483647 w 417"/>
                <a:gd name="T55" fmla="*/ 2147483647 h 312"/>
                <a:gd name="T56" fmla="*/ 2147483647 w 417"/>
                <a:gd name="T57" fmla="*/ 2147483647 h 312"/>
                <a:gd name="T58" fmla="*/ 2147483647 w 417"/>
                <a:gd name="T59" fmla="*/ 2147483647 h 312"/>
                <a:gd name="T60" fmla="*/ 2147483647 w 417"/>
                <a:gd name="T61" fmla="*/ 2147483647 h 312"/>
                <a:gd name="T62" fmla="*/ 2147483647 w 417"/>
                <a:gd name="T63" fmla="*/ 0 h 312"/>
                <a:gd name="T64" fmla="*/ 2147483647 w 417"/>
                <a:gd name="T65" fmla="*/ 0 h 312"/>
                <a:gd name="T66" fmla="*/ 2147483647 w 417"/>
                <a:gd name="T67" fmla="*/ 0 h 312"/>
                <a:gd name="T68" fmla="*/ 2147483647 w 417"/>
                <a:gd name="T69" fmla="*/ 0 h 312"/>
                <a:gd name="T70" fmla="*/ 2147483647 w 417"/>
                <a:gd name="T71" fmla="*/ 0 h 312"/>
                <a:gd name="T72" fmla="*/ 2147483647 w 417"/>
                <a:gd name="T73" fmla="*/ 0 h 312"/>
                <a:gd name="T74" fmla="*/ 2147483647 w 417"/>
                <a:gd name="T75" fmla="*/ 0 h 312"/>
                <a:gd name="T76" fmla="*/ 2147483647 w 417"/>
                <a:gd name="T77" fmla="*/ 0 h 312"/>
                <a:gd name="T78" fmla="*/ 2147483647 w 417"/>
                <a:gd name="T79" fmla="*/ 0 h 312"/>
                <a:gd name="T80" fmla="*/ 2147483647 w 417"/>
                <a:gd name="T81" fmla="*/ 2147483647 h 312"/>
                <a:gd name="T82" fmla="*/ 0 w 417"/>
                <a:gd name="T83" fmla="*/ 2147483647 h 312"/>
                <a:gd name="T84" fmla="*/ 0 w 417"/>
                <a:gd name="T85" fmla="*/ 2147483647 h 312"/>
                <a:gd name="T86" fmla="*/ 0 w 417"/>
                <a:gd name="T87" fmla="*/ 2147483647 h 312"/>
                <a:gd name="T88" fmla="*/ 0 w 417"/>
                <a:gd name="T89" fmla="*/ 2147483647 h 312"/>
                <a:gd name="T90" fmla="*/ 0 w 417"/>
                <a:gd name="T91" fmla="*/ 2147483647 h 312"/>
                <a:gd name="T92" fmla="*/ 2147483647 w 417"/>
                <a:gd name="T93" fmla="*/ 2147483647 h 312"/>
                <a:gd name="T94" fmla="*/ 0 w 417"/>
                <a:gd name="T95" fmla="*/ 2147483647 h 312"/>
                <a:gd name="T96" fmla="*/ 0 w 417"/>
                <a:gd name="T97" fmla="*/ 2147483647 h 3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17"/>
                <a:gd name="T148" fmla="*/ 0 h 312"/>
                <a:gd name="T149" fmla="*/ 417 w 417"/>
                <a:gd name="T150" fmla="*/ 312 h 31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4" name="Freeform 60">
              <a:extLst>
                <a:ext uri="{FF2B5EF4-FFF2-40B4-BE49-F238E27FC236}">
                  <a16:creationId xmlns:a16="http://schemas.microsoft.com/office/drawing/2014/main" id="{FEE463D2-F6CC-D463-102D-D0FEE456BE74}"/>
                </a:ext>
              </a:extLst>
            </p:cNvPr>
            <p:cNvSpPr>
              <a:spLocks noChangeAspect="1"/>
            </p:cNvSpPr>
            <p:nvPr userDrawn="1"/>
          </p:nvSpPr>
          <p:spPr bwMode="gray">
            <a:xfrm>
              <a:off x="7847528" y="2978346"/>
              <a:ext cx="7461" cy="9145"/>
            </a:xfrm>
            <a:custGeom>
              <a:avLst/>
              <a:gdLst>
                <a:gd name="T0" fmla="*/ 0 w 16"/>
                <a:gd name="T1" fmla="*/ 0 h 22"/>
                <a:gd name="T2" fmla="*/ 0 w 16"/>
                <a:gd name="T3" fmla="*/ 0 h 22"/>
                <a:gd name="T4" fmla="*/ 0 w 16"/>
                <a:gd name="T5" fmla="*/ 0 h 22"/>
                <a:gd name="T6" fmla="*/ 0 w 16"/>
                <a:gd name="T7" fmla="*/ 0 h 22"/>
                <a:gd name="T8" fmla="*/ 0 w 16"/>
                <a:gd name="T9" fmla="*/ 0 h 22"/>
                <a:gd name="T10" fmla="*/ 0 w 16"/>
                <a:gd name="T11" fmla="*/ 0 h 22"/>
                <a:gd name="T12" fmla="*/ 0 w 16"/>
                <a:gd name="T13" fmla="*/ 0 h 22"/>
                <a:gd name="T14" fmla="*/ 0 w 16"/>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22"/>
                <a:gd name="T26" fmla="*/ 16 w 1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5" name="Freeform 61">
              <a:extLst>
                <a:ext uri="{FF2B5EF4-FFF2-40B4-BE49-F238E27FC236}">
                  <a16:creationId xmlns:a16="http://schemas.microsoft.com/office/drawing/2014/main" id="{67C9A546-0264-33B1-F9D0-E324964C2863}"/>
                </a:ext>
              </a:extLst>
            </p:cNvPr>
            <p:cNvSpPr>
              <a:spLocks noChangeAspect="1"/>
            </p:cNvSpPr>
            <p:nvPr userDrawn="1"/>
          </p:nvSpPr>
          <p:spPr bwMode="gray">
            <a:xfrm>
              <a:off x="7865436" y="2981394"/>
              <a:ext cx="8954" cy="6097"/>
            </a:xfrm>
            <a:custGeom>
              <a:avLst/>
              <a:gdLst>
                <a:gd name="T0" fmla="*/ 0 w 15"/>
                <a:gd name="T1" fmla="*/ 0 h 9"/>
                <a:gd name="T2" fmla="*/ 0 w 15"/>
                <a:gd name="T3" fmla="*/ 0 h 9"/>
                <a:gd name="T4" fmla="*/ 0 w 15"/>
                <a:gd name="T5" fmla="*/ 0 h 9"/>
                <a:gd name="T6" fmla="*/ 0 w 15"/>
                <a:gd name="T7" fmla="*/ 0 h 9"/>
                <a:gd name="T8" fmla="*/ 0 w 15"/>
                <a:gd name="T9" fmla="*/ 0 h 9"/>
                <a:gd name="T10" fmla="*/ 0 w 15"/>
                <a:gd name="T11" fmla="*/ 0 h 9"/>
                <a:gd name="T12" fmla="*/ 0 60000 65536"/>
                <a:gd name="T13" fmla="*/ 0 60000 65536"/>
                <a:gd name="T14" fmla="*/ 0 60000 65536"/>
                <a:gd name="T15" fmla="*/ 0 60000 65536"/>
                <a:gd name="T16" fmla="*/ 0 60000 65536"/>
                <a:gd name="T17" fmla="*/ 0 60000 65536"/>
                <a:gd name="T18" fmla="*/ 0 w 15"/>
                <a:gd name="T19" fmla="*/ 0 h 9"/>
                <a:gd name="T20" fmla="*/ 15 w 15"/>
                <a:gd name="T21" fmla="*/ 9 h 9"/>
              </a:gdLst>
              <a:ahLst/>
              <a:cxnLst>
                <a:cxn ang="T12">
                  <a:pos x="T0" y="T1"/>
                </a:cxn>
                <a:cxn ang="T13">
                  <a:pos x="T2" y="T3"/>
                </a:cxn>
                <a:cxn ang="T14">
                  <a:pos x="T4" y="T5"/>
                </a:cxn>
                <a:cxn ang="T15">
                  <a:pos x="T6" y="T7"/>
                </a:cxn>
                <a:cxn ang="T16">
                  <a:pos x="T8" y="T9"/>
                </a:cxn>
                <a:cxn ang="T17">
                  <a:pos x="T10" y="T11"/>
                </a:cxn>
              </a:cxnLst>
              <a:rect l="T18" t="T19" r="T20" b="T21"/>
              <a:pathLst>
                <a:path w="15" h="9">
                  <a:moveTo>
                    <a:pt x="15" y="4"/>
                  </a:moveTo>
                  <a:lnTo>
                    <a:pt x="7" y="0"/>
                  </a:lnTo>
                  <a:lnTo>
                    <a:pt x="0" y="3"/>
                  </a:lnTo>
                  <a:lnTo>
                    <a:pt x="6" y="9"/>
                  </a:lnTo>
                  <a:lnTo>
                    <a:pt x="14" y="6"/>
                  </a:lnTo>
                  <a:lnTo>
                    <a:pt x="15"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6" name="Freeform 62">
              <a:extLst>
                <a:ext uri="{FF2B5EF4-FFF2-40B4-BE49-F238E27FC236}">
                  <a16:creationId xmlns:a16="http://schemas.microsoft.com/office/drawing/2014/main" id="{3EE5E2FD-D0BA-36CF-9BE5-FA9DF5DA6F68}"/>
                </a:ext>
              </a:extLst>
            </p:cNvPr>
            <p:cNvSpPr>
              <a:spLocks noChangeAspect="1"/>
            </p:cNvSpPr>
            <p:nvPr userDrawn="1"/>
          </p:nvSpPr>
          <p:spPr bwMode="gray">
            <a:xfrm>
              <a:off x="7834097" y="2987491"/>
              <a:ext cx="5969" cy="7621"/>
            </a:xfrm>
            <a:custGeom>
              <a:avLst/>
              <a:gdLst>
                <a:gd name="T0" fmla="*/ 0 w 12"/>
                <a:gd name="T1" fmla="*/ 0 h 8"/>
                <a:gd name="T2" fmla="*/ 0 w 12"/>
                <a:gd name="T3" fmla="*/ 0 h 8"/>
                <a:gd name="T4" fmla="*/ 0 w 12"/>
                <a:gd name="T5" fmla="*/ 0 h 8"/>
                <a:gd name="T6" fmla="*/ 0 w 12"/>
                <a:gd name="T7" fmla="*/ 0 h 8"/>
                <a:gd name="T8" fmla="*/ 0 w 12"/>
                <a:gd name="T9" fmla="*/ 0 h 8"/>
                <a:gd name="T10" fmla="*/ 0 w 12"/>
                <a:gd name="T11" fmla="*/ 0 h 8"/>
                <a:gd name="T12" fmla="*/ 0 60000 65536"/>
                <a:gd name="T13" fmla="*/ 0 60000 65536"/>
                <a:gd name="T14" fmla="*/ 0 60000 65536"/>
                <a:gd name="T15" fmla="*/ 0 60000 65536"/>
                <a:gd name="T16" fmla="*/ 0 60000 65536"/>
                <a:gd name="T17" fmla="*/ 0 60000 65536"/>
                <a:gd name="T18" fmla="*/ 0 w 12"/>
                <a:gd name="T19" fmla="*/ 0 h 8"/>
                <a:gd name="T20" fmla="*/ 12 w 12"/>
                <a:gd name="T21" fmla="*/ 8 h 8"/>
              </a:gdLst>
              <a:ahLst/>
              <a:cxnLst>
                <a:cxn ang="T12">
                  <a:pos x="T0" y="T1"/>
                </a:cxn>
                <a:cxn ang="T13">
                  <a:pos x="T2" y="T3"/>
                </a:cxn>
                <a:cxn ang="T14">
                  <a:pos x="T4" y="T5"/>
                </a:cxn>
                <a:cxn ang="T15">
                  <a:pos x="T6" y="T7"/>
                </a:cxn>
                <a:cxn ang="T16">
                  <a:pos x="T8" y="T9"/>
                </a:cxn>
                <a:cxn ang="T17">
                  <a:pos x="T10" y="T11"/>
                </a:cxn>
              </a:cxnLst>
              <a:rect l="T18" t="T19" r="T20" b="T21"/>
              <a:pathLst>
                <a:path w="12" h="8">
                  <a:moveTo>
                    <a:pt x="12" y="6"/>
                  </a:moveTo>
                  <a:lnTo>
                    <a:pt x="8" y="0"/>
                  </a:lnTo>
                  <a:lnTo>
                    <a:pt x="0" y="1"/>
                  </a:lnTo>
                  <a:lnTo>
                    <a:pt x="2" y="8"/>
                  </a:lnTo>
                  <a:lnTo>
                    <a:pt x="11" y="8"/>
                  </a:lnTo>
                  <a:lnTo>
                    <a:pt x="12" y="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7" name="Freeform 63">
              <a:extLst>
                <a:ext uri="{FF2B5EF4-FFF2-40B4-BE49-F238E27FC236}">
                  <a16:creationId xmlns:a16="http://schemas.microsoft.com/office/drawing/2014/main" id="{2596A6F1-B794-FA2F-3E41-ECF205A990AD}"/>
                </a:ext>
              </a:extLst>
            </p:cNvPr>
            <p:cNvSpPr>
              <a:spLocks noChangeAspect="1"/>
            </p:cNvSpPr>
            <p:nvPr userDrawn="1"/>
          </p:nvSpPr>
          <p:spPr bwMode="gray">
            <a:xfrm>
              <a:off x="7540106" y="3045411"/>
              <a:ext cx="422332" cy="341424"/>
            </a:xfrm>
            <a:custGeom>
              <a:avLst/>
              <a:gdLst>
                <a:gd name="T0" fmla="*/ 2147483647 w 788"/>
                <a:gd name="T1" fmla="*/ 2147483647 h 599"/>
                <a:gd name="T2" fmla="*/ 0 w 788"/>
                <a:gd name="T3" fmla="*/ 2147483647 h 599"/>
                <a:gd name="T4" fmla="*/ 0 w 788"/>
                <a:gd name="T5" fmla="*/ 2147483647 h 599"/>
                <a:gd name="T6" fmla="*/ 0 w 788"/>
                <a:gd name="T7" fmla="*/ 2147483647 h 599"/>
                <a:gd name="T8" fmla="*/ 0 w 788"/>
                <a:gd name="T9" fmla="*/ 2147483647 h 599"/>
                <a:gd name="T10" fmla="*/ 2147483647 w 788"/>
                <a:gd name="T11" fmla="*/ 2147483647 h 599"/>
                <a:gd name="T12" fmla="*/ 2147483647 w 788"/>
                <a:gd name="T13" fmla="*/ 2147483647 h 599"/>
                <a:gd name="T14" fmla="*/ 2147483647 w 788"/>
                <a:gd name="T15" fmla="*/ 2147483647 h 599"/>
                <a:gd name="T16" fmla="*/ 2147483647 w 788"/>
                <a:gd name="T17" fmla="*/ 2147483647 h 599"/>
                <a:gd name="T18" fmla="*/ 2147483647 w 788"/>
                <a:gd name="T19" fmla="*/ 2147483647 h 599"/>
                <a:gd name="T20" fmla="*/ 2147483647 w 788"/>
                <a:gd name="T21" fmla="*/ 2147483647 h 599"/>
                <a:gd name="T22" fmla="*/ 2147483647 w 788"/>
                <a:gd name="T23" fmla="*/ 2147483647 h 599"/>
                <a:gd name="T24" fmla="*/ 2147483647 w 788"/>
                <a:gd name="T25" fmla="*/ 2147483647 h 599"/>
                <a:gd name="T26" fmla="*/ 2147483647 w 788"/>
                <a:gd name="T27" fmla="*/ 0 h 599"/>
                <a:gd name="T28" fmla="*/ 2147483647 w 788"/>
                <a:gd name="T29" fmla="*/ 0 h 599"/>
                <a:gd name="T30" fmla="*/ 2147483647 w 788"/>
                <a:gd name="T31" fmla="*/ 2147483647 h 599"/>
                <a:gd name="T32" fmla="*/ 2147483647 w 788"/>
                <a:gd name="T33" fmla="*/ 2147483647 h 599"/>
                <a:gd name="T34" fmla="*/ 2147483647 w 788"/>
                <a:gd name="T35" fmla="*/ 2147483647 h 599"/>
                <a:gd name="T36" fmla="*/ 2147483647 w 788"/>
                <a:gd name="T37" fmla="*/ 2147483647 h 599"/>
                <a:gd name="T38" fmla="*/ 2147483647 w 788"/>
                <a:gd name="T39" fmla="*/ 0 h 599"/>
                <a:gd name="T40" fmla="*/ 2147483647 w 788"/>
                <a:gd name="T41" fmla="*/ 0 h 599"/>
                <a:gd name="T42" fmla="*/ 2147483647 w 788"/>
                <a:gd name="T43" fmla="*/ 0 h 599"/>
                <a:gd name="T44" fmla="*/ 2147483647 w 788"/>
                <a:gd name="T45" fmla="*/ 0 h 599"/>
                <a:gd name="T46" fmla="*/ 2147483647 w 788"/>
                <a:gd name="T47" fmla="*/ 0 h 599"/>
                <a:gd name="T48" fmla="*/ 2147483647 w 788"/>
                <a:gd name="T49" fmla="*/ 0 h 599"/>
                <a:gd name="T50" fmla="*/ 2147483647 w 788"/>
                <a:gd name="T51" fmla="*/ 0 h 599"/>
                <a:gd name="T52" fmla="*/ 2147483647 w 788"/>
                <a:gd name="T53" fmla="*/ 2147483647 h 599"/>
                <a:gd name="T54" fmla="*/ 2147483647 w 788"/>
                <a:gd name="T55" fmla="*/ 2147483647 h 599"/>
                <a:gd name="T56" fmla="*/ 2147483647 w 788"/>
                <a:gd name="T57" fmla="*/ 2147483647 h 599"/>
                <a:gd name="T58" fmla="*/ 2147483647 w 788"/>
                <a:gd name="T59" fmla="*/ 0 h 599"/>
                <a:gd name="T60" fmla="*/ 2147483647 w 788"/>
                <a:gd name="T61" fmla="*/ 0 h 599"/>
                <a:gd name="T62" fmla="*/ 2147483647 w 788"/>
                <a:gd name="T63" fmla="*/ 2147483647 h 599"/>
                <a:gd name="T64" fmla="*/ 2147483647 w 788"/>
                <a:gd name="T65" fmla="*/ 0 h 599"/>
                <a:gd name="T66" fmla="*/ 2147483647 w 788"/>
                <a:gd name="T67" fmla="*/ 2147483647 h 599"/>
                <a:gd name="T68" fmla="*/ 2147483647 w 788"/>
                <a:gd name="T69" fmla="*/ 2147483647 h 599"/>
                <a:gd name="T70" fmla="*/ 2147483647 w 788"/>
                <a:gd name="T71" fmla="*/ 2147483647 h 599"/>
                <a:gd name="T72" fmla="*/ 2147483647 w 788"/>
                <a:gd name="T73" fmla="*/ 2147483647 h 599"/>
                <a:gd name="T74" fmla="*/ 2147483647 w 788"/>
                <a:gd name="T75" fmla="*/ 2147483647 h 599"/>
                <a:gd name="T76" fmla="*/ 2147483647 w 788"/>
                <a:gd name="T77" fmla="*/ 2147483647 h 599"/>
                <a:gd name="T78" fmla="*/ 2147483647 w 788"/>
                <a:gd name="T79" fmla="*/ 2147483647 h 599"/>
                <a:gd name="T80" fmla="*/ 2147483647 w 788"/>
                <a:gd name="T81" fmla="*/ 2147483647 h 599"/>
                <a:gd name="T82" fmla="*/ 2147483647 w 788"/>
                <a:gd name="T83" fmla="*/ 2147483647 h 599"/>
                <a:gd name="T84" fmla="*/ 2147483647 w 788"/>
                <a:gd name="T85" fmla="*/ 2147483647 h 599"/>
                <a:gd name="T86" fmla="*/ 2147483647 w 788"/>
                <a:gd name="T87" fmla="*/ 2147483647 h 599"/>
                <a:gd name="T88" fmla="*/ 2147483647 w 788"/>
                <a:gd name="T89" fmla="*/ 2147483647 h 599"/>
                <a:gd name="T90" fmla="*/ 2147483647 w 788"/>
                <a:gd name="T91" fmla="*/ 2147483647 h 599"/>
                <a:gd name="T92" fmla="*/ 2147483647 w 788"/>
                <a:gd name="T93" fmla="*/ 2147483647 h 599"/>
                <a:gd name="T94" fmla="*/ 2147483647 w 788"/>
                <a:gd name="T95" fmla="*/ 2147483647 h 599"/>
                <a:gd name="T96" fmla="*/ 2147483647 w 788"/>
                <a:gd name="T97" fmla="*/ 2147483647 h 599"/>
                <a:gd name="T98" fmla="*/ 2147483647 w 788"/>
                <a:gd name="T99" fmla="*/ 2147483647 h 599"/>
                <a:gd name="T100" fmla="*/ 2147483647 w 788"/>
                <a:gd name="T101" fmla="*/ 2147483647 h 599"/>
                <a:gd name="T102" fmla="*/ 2147483647 w 788"/>
                <a:gd name="T103" fmla="*/ 2147483647 h 599"/>
                <a:gd name="T104" fmla="*/ 2147483647 w 788"/>
                <a:gd name="T105" fmla="*/ 2147483647 h 599"/>
                <a:gd name="T106" fmla="*/ 2147483647 w 788"/>
                <a:gd name="T107" fmla="*/ 2147483647 h 599"/>
                <a:gd name="T108" fmla="*/ 2147483647 w 788"/>
                <a:gd name="T109" fmla="*/ 2147483647 h 599"/>
                <a:gd name="T110" fmla="*/ 2147483647 w 788"/>
                <a:gd name="T111" fmla="*/ 2147483647 h 599"/>
                <a:gd name="T112" fmla="*/ 2147483647 w 788"/>
                <a:gd name="T113" fmla="*/ 2147483647 h 599"/>
                <a:gd name="T114" fmla="*/ 2147483647 w 788"/>
                <a:gd name="T115" fmla="*/ 2147483647 h 599"/>
                <a:gd name="T116" fmla="*/ 2147483647 w 788"/>
                <a:gd name="T117" fmla="*/ 2147483647 h 599"/>
                <a:gd name="T118" fmla="*/ 2147483647 w 788"/>
                <a:gd name="T119" fmla="*/ 2147483647 h 599"/>
                <a:gd name="T120" fmla="*/ 2147483647 w 788"/>
                <a:gd name="T121" fmla="*/ 2147483647 h 599"/>
                <a:gd name="T122" fmla="*/ 2147483647 w 788"/>
                <a:gd name="T123" fmla="*/ 2147483647 h 599"/>
                <a:gd name="T124" fmla="*/ 2147483647 w 788"/>
                <a:gd name="T125" fmla="*/ 2147483647 h 59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88"/>
                <a:gd name="T190" fmla="*/ 0 h 599"/>
                <a:gd name="T191" fmla="*/ 788 w 788"/>
                <a:gd name="T192" fmla="*/ 599 h 59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8" name="Freeform 64">
              <a:extLst>
                <a:ext uri="{FF2B5EF4-FFF2-40B4-BE49-F238E27FC236}">
                  <a16:creationId xmlns:a16="http://schemas.microsoft.com/office/drawing/2014/main" id="{CFA427B9-FBA2-A338-E7AC-4EB9ED389D50}"/>
                </a:ext>
              </a:extLst>
            </p:cNvPr>
            <p:cNvSpPr>
              <a:spLocks noChangeAspect="1"/>
            </p:cNvSpPr>
            <p:nvPr userDrawn="1"/>
          </p:nvSpPr>
          <p:spPr bwMode="gray">
            <a:xfrm>
              <a:off x="8559375" y="4164187"/>
              <a:ext cx="319361" cy="358190"/>
            </a:xfrm>
            <a:custGeom>
              <a:avLst/>
              <a:gdLst>
                <a:gd name="T0" fmla="*/ 0 w 594"/>
                <a:gd name="T1" fmla="*/ 0 h 626"/>
                <a:gd name="T2" fmla="*/ 0 w 594"/>
                <a:gd name="T3" fmla="*/ 0 h 626"/>
                <a:gd name="T4" fmla="*/ 2147483647 w 594"/>
                <a:gd name="T5" fmla="*/ 0 h 626"/>
                <a:gd name="T6" fmla="*/ 2147483647 w 594"/>
                <a:gd name="T7" fmla="*/ 0 h 626"/>
                <a:gd name="T8" fmla="*/ 2147483647 w 594"/>
                <a:gd name="T9" fmla="*/ 0 h 626"/>
                <a:gd name="T10" fmla="*/ 2147483647 w 594"/>
                <a:gd name="T11" fmla="*/ 0 h 626"/>
                <a:gd name="T12" fmla="*/ 2147483647 w 594"/>
                <a:gd name="T13" fmla="*/ 0 h 626"/>
                <a:gd name="T14" fmla="*/ 2147483647 w 594"/>
                <a:gd name="T15" fmla="*/ 2147483647 h 626"/>
                <a:gd name="T16" fmla="*/ 2147483647 w 594"/>
                <a:gd name="T17" fmla="*/ 2147483647 h 626"/>
                <a:gd name="T18" fmla="*/ 2147483647 w 594"/>
                <a:gd name="T19" fmla="*/ 2147483647 h 626"/>
                <a:gd name="T20" fmla="*/ 2147483647 w 594"/>
                <a:gd name="T21" fmla="*/ 2147483647 h 626"/>
                <a:gd name="T22" fmla="*/ 2147483647 w 594"/>
                <a:gd name="T23" fmla="*/ 2147483647 h 626"/>
                <a:gd name="T24" fmla="*/ 2147483647 w 594"/>
                <a:gd name="T25" fmla="*/ 2147483647 h 626"/>
                <a:gd name="T26" fmla="*/ 2147483647 w 594"/>
                <a:gd name="T27" fmla="*/ 2147483647 h 626"/>
                <a:gd name="T28" fmla="*/ 2147483647 w 594"/>
                <a:gd name="T29" fmla="*/ 2147483647 h 626"/>
                <a:gd name="T30" fmla="*/ 2147483647 w 594"/>
                <a:gd name="T31" fmla="*/ 2147483647 h 626"/>
                <a:gd name="T32" fmla="*/ 2147483647 w 594"/>
                <a:gd name="T33" fmla="*/ 2147483647 h 626"/>
                <a:gd name="T34" fmla="*/ 2147483647 w 594"/>
                <a:gd name="T35" fmla="*/ 2147483647 h 626"/>
                <a:gd name="T36" fmla="*/ 2147483647 w 594"/>
                <a:gd name="T37" fmla="*/ 2147483647 h 626"/>
                <a:gd name="T38" fmla="*/ 2147483647 w 594"/>
                <a:gd name="T39" fmla="*/ 2147483647 h 626"/>
                <a:gd name="T40" fmla="*/ 2147483647 w 594"/>
                <a:gd name="T41" fmla="*/ 2147483647 h 626"/>
                <a:gd name="T42" fmla="*/ 2147483647 w 594"/>
                <a:gd name="T43" fmla="*/ 2147483647 h 626"/>
                <a:gd name="T44" fmla="*/ 2147483647 w 594"/>
                <a:gd name="T45" fmla="*/ 2147483647 h 626"/>
                <a:gd name="T46" fmla="*/ 2147483647 w 594"/>
                <a:gd name="T47" fmla="*/ 2147483647 h 626"/>
                <a:gd name="T48" fmla="*/ 2147483647 w 594"/>
                <a:gd name="T49" fmla="*/ 2147483647 h 626"/>
                <a:gd name="T50" fmla="*/ 2147483647 w 594"/>
                <a:gd name="T51" fmla="*/ 2147483647 h 626"/>
                <a:gd name="T52" fmla="*/ 2147483647 w 594"/>
                <a:gd name="T53" fmla="*/ 2147483647 h 626"/>
                <a:gd name="T54" fmla="*/ 2147483647 w 594"/>
                <a:gd name="T55" fmla="*/ 2147483647 h 626"/>
                <a:gd name="T56" fmla="*/ 2147483647 w 594"/>
                <a:gd name="T57" fmla="*/ 2147483647 h 626"/>
                <a:gd name="T58" fmla="*/ 2147483647 w 594"/>
                <a:gd name="T59" fmla="*/ 2147483647 h 626"/>
                <a:gd name="T60" fmla="*/ 2147483647 w 594"/>
                <a:gd name="T61" fmla="*/ 2147483647 h 626"/>
                <a:gd name="T62" fmla="*/ 2147483647 w 594"/>
                <a:gd name="T63" fmla="*/ 2147483647 h 626"/>
                <a:gd name="T64" fmla="*/ 2147483647 w 594"/>
                <a:gd name="T65" fmla="*/ 2147483647 h 626"/>
                <a:gd name="T66" fmla="*/ 2147483647 w 594"/>
                <a:gd name="T67" fmla="*/ 2147483647 h 626"/>
                <a:gd name="T68" fmla="*/ 2147483647 w 594"/>
                <a:gd name="T69" fmla="*/ 2147483647 h 626"/>
                <a:gd name="T70" fmla="*/ 2147483647 w 594"/>
                <a:gd name="T71" fmla="*/ 2147483647 h 626"/>
                <a:gd name="T72" fmla="*/ 2147483647 w 594"/>
                <a:gd name="T73" fmla="*/ 2147483647 h 626"/>
                <a:gd name="T74" fmla="*/ 2147483647 w 594"/>
                <a:gd name="T75" fmla="*/ 2147483647 h 626"/>
                <a:gd name="T76" fmla="*/ 2147483647 w 594"/>
                <a:gd name="T77" fmla="*/ 2147483647 h 626"/>
                <a:gd name="T78" fmla="*/ 2147483647 w 594"/>
                <a:gd name="T79" fmla="*/ 2147483647 h 626"/>
                <a:gd name="T80" fmla="*/ 2147483647 w 594"/>
                <a:gd name="T81" fmla="*/ 2147483647 h 626"/>
                <a:gd name="T82" fmla="*/ 2147483647 w 594"/>
                <a:gd name="T83" fmla="*/ 2147483647 h 626"/>
                <a:gd name="T84" fmla="*/ 2147483647 w 594"/>
                <a:gd name="T85" fmla="*/ 2147483647 h 626"/>
                <a:gd name="T86" fmla="*/ 2147483647 w 594"/>
                <a:gd name="T87" fmla="*/ 2147483647 h 626"/>
                <a:gd name="T88" fmla="*/ 2147483647 w 594"/>
                <a:gd name="T89" fmla="*/ 2147483647 h 626"/>
                <a:gd name="T90" fmla="*/ 2147483647 w 594"/>
                <a:gd name="T91" fmla="*/ 2147483647 h 626"/>
                <a:gd name="T92" fmla="*/ 2147483647 w 594"/>
                <a:gd name="T93" fmla="*/ 2147483647 h 626"/>
                <a:gd name="T94" fmla="*/ 2147483647 w 594"/>
                <a:gd name="T95" fmla="*/ 2147483647 h 626"/>
                <a:gd name="T96" fmla="*/ 2147483647 w 594"/>
                <a:gd name="T97" fmla="*/ 2147483647 h 626"/>
                <a:gd name="T98" fmla="*/ 2147483647 w 594"/>
                <a:gd name="T99" fmla="*/ 2147483647 h 626"/>
                <a:gd name="T100" fmla="*/ 2147483647 w 594"/>
                <a:gd name="T101" fmla="*/ 2147483647 h 626"/>
                <a:gd name="T102" fmla="*/ 2147483647 w 594"/>
                <a:gd name="T103" fmla="*/ 2147483647 h 626"/>
                <a:gd name="T104" fmla="*/ 2147483647 w 594"/>
                <a:gd name="T105" fmla="*/ 2147483647 h 626"/>
                <a:gd name="T106" fmla="*/ 2147483647 w 594"/>
                <a:gd name="T107" fmla="*/ 2147483647 h 626"/>
                <a:gd name="T108" fmla="*/ 2147483647 w 594"/>
                <a:gd name="T109" fmla="*/ 2147483647 h 626"/>
                <a:gd name="T110" fmla="*/ 2147483647 w 594"/>
                <a:gd name="T111" fmla="*/ 2147483647 h 626"/>
                <a:gd name="T112" fmla="*/ 2147483647 w 594"/>
                <a:gd name="T113" fmla="*/ 2147483647 h 626"/>
                <a:gd name="T114" fmla="*/ 2147483647 w 594"/>
                <a:gd name="T115" fmla="*/ 2147483647 h 626"/>
                <a:gd name="T116" fmla="*/ 0 w 594"/>
                <a:gd name="T117" fmla="*/ 0 h 626"/>
                <a:gd name="T118" fmla="*/ 0 w 594"/>
                <a:gd name="T119" fmla="*/ 0 h 6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4"/>
                <a:gd name="T181" fmla="*/ 0 h 626"/>
                <a:gd name="T182" fmla="*/ 594 w 594"/>
                <a:gd name="T183" fmla="*/ 626 h 62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69" name="Freeform 65">
              <a:extLst>
                <a:ext uri="{FF2B5EF4-FFF2-40B4-BE49-F238E27FC236}">
                  <a16:creationId xmlns:a16="http://schemas.microsoft.com/office/drawing/2014/main" id="{8077951F-B81A-513F-997E-D56F71951D4A}"/>
                </a:ext>
              </a:extLst>
            </p:cNvPr>
            <p:cNvSpPr>
              <a:spLocks noChangeAspect="1"/>
            </p:cNvSpPr>
            <p:nvPr userDrawn="1"/>
          </p:nvSpPr>
          <p:spPr bwMode="gray">
            <a:xfrm>
              <a:off x="8853367" y="4522378"/>
              <a:ext cx="270113" cy="92977"/>
            </a:xfrm>
            <a:custGeom>
              <a:avLst/>
              <a:gdLst>
                <a:gd name="T0" fmla="*/ 2147483647 w 506"/>
                <a:gd name="T1" fmla="*/ 2147483647 h 158"/>
                <a:gd name="T2" fmla="*/ 2147483647 w 506"/>
                <a:gd name="T3" fmla="*/ 2147483647 h 158"/>
                <a:gd name="T4" fmla="*/ 2147483647 w 506"/>
                <a:gd name="T5" fmla="*/ 2147483647 h 158"/>
                <a:gd name="T6" fmla="*/ 2147483647 w 506"/>
                <a:gd name="T7" fmla="*/ 2147483647 h 158"/>
                <a:gd name="T8" fmla="*/ 2147483647 w 506"/>
                <a:gd name="T9" fmla="*/ 2147483647 h 158"/>
                <a:gd name="T10" fmla="*/ 2147483647 w 506"/>
                <a:gd name="T11" fmla="*/ 2147483647 h 158"/>
                <a:gd name="T12" fmla="*/ 2147483647 w 506"/>
                <a:gd name="T13" fmla="*/ 2147483647 h 158"/>
                <a:gd name="T14" fmla="*/ 2147483647 w 506"/>
                <a:gd name="T15" fmla="*/ 2147483647 h 158"/>
                <a:gd name="T16" fmla="*/ 2147483647 w 506"/>
                <a:gd name="T17" fmla="*/ 2147483647 h 158"/>
                <a:gd name="T18" fmla="*/ 2147483647 w 506"/>
                <a:gd name="T19" fmla="*/ 2147483647 h 158"/>
                <a:gd name="T20" fmla="*/ 2147483647 w 506"/>
                <a:gd name="T21" fmla="*/ 2147483647 h 158"/>
                <a:gd name="T22" fmla="*/ 2147483647 w 506"/>
                <a:gd name="T23" fmla="*/ 2147483647 h 158"/>
                <a:gd name="T24" fmla="*/ 2147483647 w 506"/>
                <a:gd name="T25" fmla="*/ 2147483647 h 158"/>
                <a:gd name="T26" fmla="*/ 2147483647 w 506"/>
                <a:gd name="T27" fmla="*/ 2147483647 h 158"/>
                <a:gd name="T28" fmla="*/ 2147483647 w 506"/>
                <a:gd name="T29" fmla="*/ 2147483647 h 158"/>
                <a:gd name="T30" fmla="*/ 2147483647 w 506"/>
                <a:gd name="T31" fmla="*/ 2147483647 h 158"/>
                <a:gd name="T32" fmla="*/ 2147483647 w 506"/>
                <a:gd name="T33" fmla="*/ 0 h 158"/>
                <a:gd name="T34" fmla="*/ 2147483647 w 506"/>
                <a:gd name="T35" fmla="*/ 0 h 158"/>
                <a:gd name="T36" fmla="*/ 0 w 506"/>
                <a:gd name="T37" fmla="*/ 0 h 158"/>
                <a:gd name="T38" fmla="*/ 0 w 506"/>
                <a:gd name="T39" fmla="*/ 0 h 158"/>
                <a:gd name="T40" fmla="*/ 0 w 506"/>
                <a:gd name="T41" fmla="*/ 0 h 158"/>
                <a:gd name="T42" fmla="*/ 0 w 506"/>
                <a:gd name="T43" fmla="*/ 0 h 158"/>
                <a:gd name="T44" fmla="*/ 0 w 506"/>
                <a:gd name="T45" fmla="*/ 0 h 158"/>
                <a:gd name="T46" fmla="*/ 0 w 506"/>
                <a:gd name="T47" fmla="*/ 0 h 158"/>
                <a:gd name="T48" fmla="*/ 0 w 506"/>
                <a:gd name="T49" fmla="*/ 0 h 158"/>
                <a:gd name="T50" fmla="*/ 2147483647 w 506"/>
                <a:gd name="T51" fmla="*/ 0 h 158"/>
                <a:gd name="T52" fmla="*/ 2147483647 w 506"/>
                <a:gd name="T53" fmla="*/ 0 h 158"/>
                <a:gd name="T54" fmla="*/ 2147483647 w 506"/>
                <a:gd name="T55" fmla="*/ 0 h 158"/>
                <a:gd name="T56" fmla="*/ 2147483647 w 506"/>
                <a:gd name="T57" fmla="*/ 0 h 158"/>
                <a:gd name="T58" fmla="*/ 2147483647 w 506"/>
                <a:gd name="T59" fmla="*/ 0 h 158"/>
                <a:gd name="T60" fmla="*/ 2147483647 w 506"/>
                <a:gd name="T61" fmla="*/ 0 h 158"/>
                <a:gd name="T62" fmla="*/ 2147483647 w 506"/>
                <a:gd name="T63" fmla="*/ 0 h 158"/>
                <a:gd name="T64" fmla="*/ 2147483647 w 506"/>
                <a:gd name="T65" fmla="*/ 0 h 158"/>
                <a:gd name="T66" fmla="*/ 2147483647 w 506"/>
                <a:gd name="T67" fmla="*/ 0 h 158"/>
                <a:gd name="T68" fmla="*/ 2147483647 w 506"/>
                <a:gd name="T69" fmla="*/ 0 h 158"/>
                <a:gd name="T70" fmla="*/ 2147483647 w 506"/>
                <a:gd name="T71" fmla="*/ 0 h 158"/>
                <a:gd name="T72" fmla="*/ 2147483647 w 506"/>
                <a:gd name="T73" fmla="*/ 0 h 158"/>
                <a:gd name="T74" fmla="*/ 2147483647 w 506"/>
                <a:gd name="T75" fmla="*/ 0 h 158"/>
                <a:gd name="T76" fmla="*/ 2147483647 w 506"/>
                <a:gd name="T77" fmla="*/ 0 h 158"/>
                <a:gd name="T78" fmla="*/ 2147483647 w 506"/>
                <a:gd name="T79" fmla="*/ 0 h 158"/>
                <a:gd name="T80" fmla="*/ 2147483647 w 506"/>
                <a:gd name="T81" fmla="*/ 0 h 158"/>
                <a:gd name="T82" fmla="*/ 2147483647 w 506"/>
                <a:gd name="T83" fmla="*/ 0 h 158"/>
                <a:gd name="T84" fmla="*/ 2147483647 w 506"/>
                <a:gd name="T85" fmla="*/ 0 h 158"/>
                <a:gd name="T86" fmla="*/ 2147483647 w 506"/>
                <a:gd name="T87" fmla="*/ 0 h 158"/>
                <a:gd name="T88" fmla="*/ 2147483647 w 506"/>
                <a:gd name="T89" fmla="*/ 2147483647 h 158"/>
                <a:gd name="T90" fmla="*/ 2147483647 w 506"/>
                <a:gd name="T91" fmla="*/ 2147483647 h 158"/>
                <a:gd name="T92" fmla="*/ 2147483647 w 506"/>
                <a:gd name="T93" fmla="*/ 2147483647 h 158"/>
                <a:gd name="T94" fmla="*/ 2147483647 w 506"/>
                <a:gd name="T95" fmla="*/ 2147483647 h 158"/>
                <a:gd name="T96" fmla="*/ 2147483647 w 506"/>
                <a:gd name="T97" fmla="*/ 2147483647 h 158"/>
                <a:gd name="T98" fmla="*/ 2147483647 w 506"/>
                <a:gd name="T99" fmla="*/ 2147483647 h 158"/>
                <a:gd name="T100" fmla="*/ 2147483647 w 506"/>
                <a:gd name="T101" fmla="*/ 2147483647 h 158"/>
                <a:gd name="T102" fmla="*/ 2147483647 w 506"/>
                <a:gd name="T103" fmla="*/ 2147483647 h 158"/>
                <a:gd name="T104" fmla="*/ 2147483647 w 506"/>
                <a:gd name="T105" fmla="*/ 2147483647 h 158"/>
                <a:gd name="T106" fmla="*/ 2147483647 w 506"/>
                <a:gd name="T107" fmla="*/ 2147483647 h 158"/>
                <a:gd name="T108" fmla="*/ 2147483647 w 506"/>
                <a:gd name="T109" fmla="*/ 2147483647 h 1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6"/>
                <a:gd name="T166" fmla="*/ 0 h 158"/>
                <a:gd name="T167" fmla="*/ 506 w 506"/>
                <a:gd name="T168" fmla="*/ 158 h 15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0" name="Freeform 66">
              <a:extLst>
                <a:ext uri="{FF2B5EF4-FFF2-40B4-BE49-F238E27FC236}">
                  <a16:creationId xmlns:a16="http://schemas.microsoft.com/office/drawing/2014/main" id="{24790320-631B-D1D8-734A-5C0E6554D4CC}"/>
                </a:ext>
              </a:extLst>
            </p:cNvPr>
            <p:cNvSpPr>
              <a:spLocks noChangeAspect="1"/>
            </p:cNvSpPr>
            <p:nvPr userDrawn="1"/>
          </p:nvSpPr>
          <p:spPr bwMode="gray">
            <a:xfrm>
              <a:off x="8960815" y="4205340"/>
              <a:ext cx="289514" cy="265214"/>
            </a:xfrm>
            <a:custGeom>
              <a:avLst/>
              <a:gdLst>
                <a:gd name="T0" fmla="*/ 2147483647 w 547"/>
                <a:gd name="T1" fmla="*/ 0 h 467"/>
                <a:gd name="T2" fmla="*/ 2147483647 w 547"/>
                <a:gd name="T3" fmla="*/ 0 h 467"/>
                <a:gd name="T4" fmla="*/ 2147483647 w 547"/>
                <a:gd name="T5" fmla="*/ 0 h 467"/>
                <a:gd name="T6" fmla="*/ 2147483647 w 547"/>
                <a:gd name="T7" fmla="*/ 0 h 467"/>
                <a:gd name="T8" fmla="*/ 2147483647 w 547"/>
                <a:gd name="T9" fmla="*/ 0 h 467"/>
                <a:gd name="T10" fmla="*/ 2147483647 w 547"/>
                <a:gd name="T11" fmla="*/ 0 h 467"/>
                <a:gd name="T12" fmla="*/ 2147483647 w 547"/>
                <a:gd name="T13" fmla="*/ 2147483647 h 467"/>
                <a:gd name="T14" fmla="*/ 2147483647 w 547"/>
                <a:gd name="T15" fmla="*/ 2147483647 h 467"/>
                <a:gd name="T16" fmla="*/ 2147483647 w 547"/>
                <a:gd name="T17" fmla="*/ 2147483647 h 467"/>
                <a:gd name="T18" fmla="*/ 2147483647 w 547"/>
                <a:gd name="T19" fmla="*/ 2147483647 h 467"/>
                <a:gd name="T20" fmla="*/ 2147483647 w 547"/>
                <a:gd name="T21" fmla="*/ 2147483647 h 467"/>
                <a:gd name="T22" fmla="*/ 2147483647 w 547"/>
                <a:gd name="T23" fmla="*/ 2147483647 h 467"/>
                <a:gd name="T24" fmla="*/ 2147483647 w 547"/>
                <a:gd name="T25" fmla="*/ 2147483647 h 467"/>
                <a:gd name="T26" fmla="*/ 2147483647 w 547"/>
                <a:gd name="T27" fmla="*/ 2147483647 h 467"/>
                <a:gd name="T28" fmla="*/ 2147483647 w 547"/>
                <a:gd name="T29" fmla="*/ 2147483647 h 467"/>
                <a:gd name="T30" fmla="*/ 2147483647 w 547"/>
                <a:gd name="T31" fmla="*/ 2147483647 h 467"/>
                <a:gd name="T32" fmla="*/ 2147483647 w 547"/>
                <a:gd name="T33" fmla="*/ 2147483647 h 467"/>
                <a:gd name="T34" fmla="*/ 2147483647 w 547"/>
                <a:gd name="T35" fmla="*/ 2147483647 h 467"/>
                <a:gd name="T36" fmla="*/ 2147483647 w 547"/>
                <a:gd name="T37" fmla="*/ 2147483647 h 467"/>
                <a:gd name="T38" fmla="*/ 2147483647 w 547"/>
                <a:gd name="T39" fmla="*/ 2147483647 h 467"/>
                <a:gd name="T40" fmla="*/ 2147483647 w 547"/>
                <a:gd name="T41" fmla="*/ 2147483647 h 467"/>
                <a:gd name="T42" fmla="*/ 2147483647 w 547"/>
                <a:gd name="T43" fmla="*/ 2147483647 h 467"/>
                <a:gd name="T44" fmla="*/ 2147483647 w 547"/>
                <a:gd name="T45" fmla="*/ 2147483647 h 467"/>
                <a:gd name="T46" fmla="*/ 2147483647 w 547"/>
                <a:gd name="T47" fmla="*/ 2147483647 h 467"/>
                <a:gd name="T48" fmla="*/ 2147483647 w 547"/>
                <a:gd name="T49" fmla="*/ 2147483647 h 467"/>
                <a:gd name="T50" fmla="*/ 2147483647 w 547"/>
                <a:gd name="T51" fmla="*/ 2147483647 h 467"/>
                <a:gd name="T52" fmla="*/ 2147483647 w 547"/>
                <a:gd name="T53" fmla="*/ 2147483647 h 467"/>
                <a:gd name="T54" fmla="*/ 2147483647 w 547"/>
                <a:gd name="T55" fmla="*/ 2147483647 h 467"/>
                <a:gd name="T56" fmla="*/ 2147483647 w 547"/>
                <a:gd name="T57" fmla="*/ 2147483647 h 467"/>
                <a:gd name="T58" fmla="*/ 2147483647 w 547"/>
                <a:gd name="T59" fmla="*/ 2147483647 h 467"/>
                <a:gd name="T60" fmla="*/ 2147483647 w 547"/>
                <a:gd name="T61" fmla="*/ 2147483647 h 467"/>
                <a:gd name="T62" fmla="*/ 2147483647 w 547"/>
                <a:gd name="T63" fmla="*/ 2147483647 h 467"/>
                <a:gd name="T64" fmla="*/ 2147483647 w 547"/>
                <a:gd name="T65" fmla="*/ 2147483647 h 467"/>
                <a:gd name="T66" fmla="*/ 2147483647 w 547"/>
                <a:gd name="T67" fmla="*/ 2147483647 h 467"/>
                <a:gd name="T68" fmla="*/ 2147483647 w 547"/>
                <a:gd name="T69" fmla="*/ 2147483647 h 467"/>
                <a:gd name="T70" fmla="*/ 2147483647 w 547"/>
                <a:gd name="T71" fmla="*/ 2147483647 h 467"/>
                <a:gd name="T72" fmla="*/ 2147483647 w 547"/>
                <a:gd name="T73" fmla="*/ 2147483647 h 467"/>
                <a:gd name="T74" fmla="*/ 2147483647 w 547"/>
                <a:gd name="T75" fmla="*/ 2147483647 h 467"/>
                <a:gd name="T76" fmla="*/ 2147483647 w 547"/>
                <a:gd name="T77" fmla="*/ 2147483647 h 467"/>
                <a:gd name="T78" fmla="*/ 2147483647 w 547"/>
                <a:gd name="T79" fmla="*/ 2147483647 h 467"/>
                <a:gd name="T80" fmla="*/ 0 w 547"/>
                <a:gd name="T81" fmla="*/ 2147483647 h 467"/>
                <a:gd name="T82" fmla="*/ 0 w 547"/>
                <a:gd name="T83" fmla="*/ 2147483647 h 467"/>
                <a:gd name="T84" fmla="*/ 0 w 547"/>
                <a:gd name="T85" fmla="*/ 2147483647 h 467"/>
                <a:gd name="T86" fmla="*/ 0 w 547"/>
                <a:gd name="T87" fmla="*/ 2147483647 h 467"/>
                <a:gd name="T88" fmla="*/ 0 w 547"/>
                <a:gd name="T89" fmla="*/ 2147483647 h 467"/>
                <a:gd name="T90" fmla="*/ 0 w 547"/>
                <a:gd name="T91" fmla="*/ 2147483647 h 467"/>
                <a:gd name="T92" fmla="*/ 2147483647 w 547"/>
                <a:gd name="T93" fmla="*/ 2147483647 h 467"/>
                <a:gd name="T94" fmla="*/ 2147483647 w 547"/>
                <a:gd name="T95" fmla="*/ 2147483647 h 467"/>
                <a:gd name="T96" fmla="*/ 2147483647 w 547"/>
                <a:gd name="T97" fmla="*/ 2147483647 h 467"/>
                <a:gd name="T98" fmla="*/ 2147483647 w 547"/>
                <a:gd name="T99" fmla="*/ 2147483647 h 467"/>
                <a:gd name="T100" fmla="*/ 2147483647 w 547"/>
                <a:gd name="T101" fmla="*/ 2147483647 h 467"/>
                <a:gd name="T102" fmla="*/ 2147483647 w 547"/>
                <a:gd name="T103" fmla="*/ 2147483647 h 467"/>
                <a:gd name="T104" fmla="*/ 2147483647 w 547"/>
                <a:gd name="T105" fmla="*/ 2147483647 h 467"/>
                <a:gd name="T106" fmla="*/ 2147483647 w 547"/>
                <a:gd name="T107" fmla="*/ 2147483647 h 467"/>
                <a:gd name="T108" fmla="*/ 2147483647 w 547"/>
                <a:gd name="T109" fmla="*/ 2147483647 h 467"/>
                <a:gd name="T110" fmla="*/ 2147483647 w 547"/>
                <a:gd name="T111" fmla="*/ 2147483647 h 467"/>
                <a:gd name="T112" fmla="*/ 2147483647 w 547"/>
                <a:gd name="T113" fmla="*/ 0 h 467"/>
                <a:gd name="T114" fmla="*/ 2147483647 w 547"/>
                <a:gd name="T115" fmla="*/ 0 h 467"/>
                <a:gd name="T116" fmla="*/ 2147483647 w 547"/>
                <a:gd name="T117" fmla="*/ 0 h 4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47"/>
                <a:gd name="T178" fmla="*/ 0 h 467"/>
                <a:gd name="T179" fmla="*/ 547 w 547"/>
                <a:gd name="T180" fmla="*/ 467 h 4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1" name="Freeform 67">
              <a:extLst>
                <a:ext uri="{FF2B5EF4-FFF2-40B4-BE49-F238E27FC236}">
                  <a16:creationId xmlns:a16="http://schemas.microsoft.com/office/drawing/2014/main" id="{3F00F40D-87C0-02F7-E9CB-4D6D7E0C6953}"/>
                </a:ext>
              </a:extLst>
            </p:cNvPr>
            <p:cNvSpPr>
              <a:spLocks noChangeAspect="1"/>
            </p:cNvSpPr>
            <p:nvPr userDrawn="1"/>
          </p:nvSpPr>
          <p:spPr bwMode="gray">
            <a:xfrm>
              <a:off x="10115888" y="4470554"/>
              <a:ext cx="117895" cy="67066"/>
            </a:xfrm>
            <a:custGeom>
              <a:avLst/>
              <a:gdLst>
                <a:gd name="T0" fmla="*/ 0 w 223"/>
                <a:gd name="T1" fmla="*/ 0 h 117"/>
                <a:gd name="T2" fmla="*/ 0 w 223"/>
                <a:gd name="T3" fmla="*/ 0 h 117"/>
                <a:gd name="T4" fmla="*/ 0 w 223"/>
                <a:gd name="T5" fmla="*/ 0 h 117"/>
                <a:gd name="T6" fmla="*/ 2147483647 w 223"/>
                <a:gd name="T7" fmla="*/ 2147483647 h 117"/>
                <a:gd name="T8" fmla="*/ 2147483647 w 223"/>
                <a:gd name="T9" fmla="*/ 0 h 117"/>
                <a:gd name="T10" fmla="*/ 2147483647 w 223"/>
                <a:gd name="T11" fmla="*/ 0 h 117"/>
                <a:gd name="T12" fmla="*/ 2147483647 w 223"/>
                <a:gd name="T13" fmla="*/ 0 h 117"/>
                <a:gd name="T14" fmla="*/ 2147483647 w 223"/>
                <a:gd name="T15" fmla="*/ 0 h 117"/>
                <a:gd name="T16" fmla="*/ 2147483647 w 223"/>
                <a:gd name="T17" fmla="*/ 0 h 117"/>
                <a:gd name="T18" fmla="*/ 2147483647 w 223"/>
                <a:gd name="T19" fmla="*/ 0 h 117"/>
                <a:gd name="T20" fmla="*/ 2147483647 w 223"/>
                <a:gd name="T21" fmla="*/ 0 h 117"/>
                <a:gd name="T22" fmla="*/ 2147483647 w 223"/>
                <a:gd name="T23" fmla="*/ 0 h 117"/>
                <a:gd name="T24" fmla="*/ 2147483647 w 223"/>
                <a:gd name="T25" fmla="*/ 0 h 117"/>
                <a:gd name="T26" fmla="*/ 2147483647 w 223"/>
                <a:gd name="T27" fmla="*/ 0 h 117"/>
                <a:gd name="T28" fmla="*/ 2147483647 w 223"/>
                <a:gd name="T29" fmla="*/ 0 h 117"/>
                <a:gd name="T30" fmla="*/ 2147483647 w 223"/>
                <a:gd name="T31" fmla="*/ 0 h 117"/>
                <a:gd name="T32" fmla="*/ 2147483647 w 223"/>
                <a:gd name="T33" fmla="*/ 0 h 117"/>
                <a:gd name="T34" fmla="*/ 2147483647 w 223"/>
                <a:gd name="T35" fmla="*/ 0 h 117"/>
                <a:gd name="T36" fmla="*/ 2147483647 w 223"/>
                <a:gd name="T37" fmla="*/ 0 h 117"/>
                <a:gd name="T38" fmla="*/ 2147483647 w 223"/>
                <a:gd name="T39" fmla="*/ 0 h 117"/>
                <a:gd name="T40" fmla="*/ 2147483647 w 223"/>
                <a:gd name="T41" fmla="*/ 0 h 117"/>
                <a:gd name="T42" fmla="*/ 2147483647 w 223"/>
                <a:gd name="T43" fmla="*/ 0 h 117"/>
                <a:gd name="T44" fmla="*/ 2147483647 w 223"/>
                <a:gd name="T45" fmla="*/ 0 h 117"/>
                <a:gd name="T46" fmla="*/ 2147483647 w 223"/>
                <a:gd name="T47" fmla="*/ 0 h 117"/>
                <a:gd name="T48" fmla="*/ 2147483647 w 223"/>
                <a:gd name="T49" fmla="*/ 0 h 117"/>
                <a:gd name="T50" fmla="*/ 2147483647 w 223"/>
                <a:gd name="T51" fmla="*/ 0 h 117"/>
                <a:gd name="T52" fmla="*/ 2147483647 w 223"/>
                <a:gd name="T53" fmla="*/ 0 h 117"/>
                <a:gd name="T54" fmla="*/ 2147483647 w 223"/>
                <a:gd name="T55" fmla="*/ 0 h 117"/>
                <a:gd name="T56" fmla="*/ 2147483647 w 223"/>
                <a:gd name="T57" fmla="*/ 0 h 117"/>
                <a:gd name="T58" fmla="*/ 2147483647 w 223"/>
                <a:gd name="T59" fmla="*/ 0 h 117"/>
                <a:gd name="T60" fmla="*/ 2147483647 w 223"/>
                <a:gd name="T61" fmla="*/ 0 h 117"/>
                <a:gd name="T62" fmla="*/ 2147483647 w 223"/>
                <a:gd name="T63" fmla="*/ 0 h 117"/>
                <a:gd name="T64" fmla="*/ 2147483647 w 223"/>
                <a:gd name="T65" fmla="*/ 0 h 117"/>
                <a:gd name="T66" fmla="*/ 2147483647 w 223"/>
                <a:gd name="T67" fmla="*/ 0 h 117"/>
                <a:gd name="T68" fmla="*/ 2147483647 w 223"/>
                <a:gd name="T69" fmla="*/ 0 h 117"/>
                <a:gd name="T70" fmla="*/ 2147483647 w 223"/>
                <a:gd name="T71" fmla="*/ 0 h 117"/>
                <a:gd name="T72" fmla="*/ 2147483647 w 223"/>
                <a:gd name="T73" fmla="*/ 0 h 117"/>
                <a:gd name="T74" fmla="*/ 2147483647 w 223"/>
                <a:gd name="T75" fmla="*/ 0 h 117"/>
                <a:gd name="T76" fmla="*/ 2147483647 w 223"/>
                <a:gd name="T77" fmla="*/ 0 h 117"/>
                <a:gd name="T78" fmla="*/ 2147483647 w 223"/>
                <a:gd name="T79" fmla="*/ 0 h 117"/>
                <a:gd name="T80" fmla="*/ 2147483647 w 223"/>
                <a:gd name="T81" fmla="*/ 0 h 117"/>
                <a:gd name="T82" fmla="*/ 2147483647 w 223"/>
                <a:gd name="T83" fmla="*/ 2147483647 h 117"/>
                <a:gd name="T84" fmla="*/ 2147483647 w 223"/>
                <a:gd name="T85" fmla="*/ 0 h 117"/>
                <a:gd name="T86" fmla="*/ 2147483647 w 223"/>
                <a:gd name="T87" fmla="*/ 2147483647 h 117"/>
                <a:gd name="T88" fmla="*/ 2147483647 w 223"/>
                <a:gd name="T89" fmla="*/ 2147483647 h 117"/>
                <a:gd name="T90" fmla="*/ 2147483647 w 223"/>
                <a:gd name="T91" fmla="*/ 2147483647 h 117"/>
                <a:gd name="T92" fmla="*/ 2147483647 w 223"/>
                <a:gd name="T93" fmla="*/ 2147483647 h 117"/>
                <a:gd name="T94" fmla="*/ 2147483647 w 223"/>
                <a:gd name="T95" fmla="*/ 2147483647 h 117"/>
                <a:gd name="T96" fmla="*/ 2147483647 w 223"/>
                <a:gd name="T97" fmla="*/ 2147483647 h 117"/>
                <a:gd name="T98" fmla="*/ 2147483647 w 223"/>
                <a:gd name="T99" fmla="*/ 2147483647 h 117"/>
                <a:gd name="T100" fmla="*/ 2147483647 w 223"/>
                <a:gd name="T101" fmla="*/ 2147483647 h 117"/>
                <a:gd name="T102" fmla="*/ 2147483647 w 223"/>
                <a:gd name="T103" fmla="*/ 2147483647 h 117"/>
                <a:gd name="T104" fmla="*/ 2147483647 w 223"/>
                <a:gd name="T105" fmla="*/ 2147483647 h 117"/>
                <a:gd name="T106" fmla="*/ 2147483647 w 223"/>
                <a:gd name="T107" fmla="*/ 2147483647 h 117"/>
                <a:gd name="T108" fmla="*/ 0 w 223"/>
                <a:gd name="T109" fmla="*/ 2147483647 h 117"/>
                <a:gd name="T110" fmla="*/ 0 w 223"/>
                <a:gd name="T111" fmla="*/ 2147483647 h 117"/>
                <a:gd name="T112" fmla="*/ 0 w 223"/>
                <a:gd name="T113" fmla="*/ 2147483647 h 117"/>
                <a:gd name="T114" fmla="*/ 0 w 223"/>
                <a:gd name="T115" fmla="*/ 2147483647 h 117"/>
                <a:gd name="T116" fmla="*/ 0 w 223"/>
                <a:gd name="T117" fmla="*/ 0 h 1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3"/>
                <a:gd name="T178" fmla="*/ 0 h 117"/>
                <a:gd name="T179" fmla="*/ 223 w 223"/>
                <a:gd name="T180" fmla="*/ 117 h 11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2" name="Freeform 68">
              <a:extLst>
                <a:ext uri="{FF2B5EF4-FFF2-40B4-BE49-F238E27FC236}">
                  <a16:creationId xmlns:a16="http://schemas.microsoft.com/office/drawing/2014/main" id="{9570BDE5-4C0F-131C-B478-6BF5EAAD6B45}"/>
                </a:ext>
              </a:extLst>
            </p:cNvPr>
            <p:cNvSpPr>
              <a:spLocks noChangeAspect="1"/>
            </p:cNvSpPr>
            <p:nvPr userDrawn="1"/>
          </p:nvSpPr>
          <p:spPr bwMode="gray">
            <a:xfrm>
              <a:off x="9899498" y="4421779"/>
              <a:ext cx="291007" cy="253020"/>
            </a:xfrm>
            <a:custGeom>
              <a:avLst/>
              <a:gdLst>
                <a:gd name="T0" fmla="*/ 0 w 544"/>
                <a:gd name="T1" fmla="*/ 2147483647 h 446"/>
                <a:gd name="T2" fmla="*/ 0 w 544"/>
                <a:gd name="T3" fmla="*/ 2147483647 h 446"/>
                <a:gd name="T4" fmla="*/ 0 w 544"/>
                <a:gd name="T5" fmla="*/ 2147483647 h 446"/>
                <a:gd name="T6" fmla="*/ 0 w 544"/>
                <a:gd name="T7" fmla="*/ 2147483647 h 446"/>
                <a:gd name="T8" fmla="*/ 2147483647 w 544"/>
                <a:gd name="T9" fmla="*/ 2147483647 h 446"/>
                <a:gd name="T10" fmla="*/ 2147483647 w 544"/>
                <a:gd name="T11" fmla="*/ 2147483647 h 446"/>
                <a:gd name="T12" fmla="*/ 2147483647 w 544"/>
                <a:gd name="T13" fmla="*/ 2147483647 h 446"/>
                <a:gd name="T14" fmla="*/ 2147483647 w 544"/>
                <a:gd name="T15" fmla="*/ 2147483647 h 446"/>
                <a:gd name="T16" fmla="*/ 2147483647 w 544"/>
                <a:gd name="T17" fmla="*/ 2147483647 h 446"/>
                <a:gd name="T18" fmla="*/ 2147483647 w 544"/>
                <a:gd name="T19" fmla="*/ 2147483647 h 446"/>
                <a:gd name="T20" fmla="*/ 2147483647 w 544"/>
                <a:gd name="T21" fmla="*/ 2147483647 h 446"/>
                <a:gd name="T22" fmla="*/ 2147483647 w 544"/>
                <a:gd name="T23" fmla="*/ 2147483647 h 446"/>
                <a:gd name="T24" fmla="*/ 2147483647 w 544"/>
                <a:gd name="T25" fmla="*/ 2147483647 h 446"/>
                <a:gd name="T26" fmla="*/ 2147483647 w 544"/>
                <a:gd name="T27" fmla="*/ 2147483647 h 446"/>
                <a:gd name="T28" fmla="*/ 2147483647 w 544"/>
                <a:gd name="T29" fmla="*/ 2147483647 h 446"/>
                <a:gd name="T30" fmla="*/ 2147483647 w 544"/>
                <a:gd name="T31" fmla="*/ 2147483647 h 446"/>
                <a:gd name="T32" fmla="*/ 2147483647 w 544"/>
                <a:gd name="T33" fmla="*/ 2147483647 h 446"/>
                <a:gd name="T34" fmla="*/ 2147483647 w 544"/>
                <a:gd name="T35" fmla="*/ 2147483647 h 446"/>
                <a:gd name="T36" fmla="*/ 2147483647 w 544"/>
                <a:gd name="T37" fmla="*/ 2147483647 h 446"/>
                <a:gd name="T38" fmla="*/ 2147483647 w 544"/>
                <a:gd name="T39" fmla="*/ 2147483647 h 446"/>
                <a:gd name="T40" fmla="*/ 2147483647 w 544"/>
                <a:gd name="T41" fmla="*/ 2147483647 h 446"/>
                <a:gd name="T42" fmla="*/ 2147483647 w 544"/>
                <a:gd name="T43" fmla="*/ 2147483647 h 446"/>
                <a:gd name="T44" fmla="*/ 2147483647 w 544"/>
                <a:gd name="T45" fmla="*/ 2147483647 h 446"/>
                <a:gd name="T46" fmla="*/ 2147483647 w 544"/>
                <a:gd name="T47" fmla="*/ 2147483647 h 446"/>
                <a:gd name="T48" fmla="*/ 2147483647 w 544"/>
                <a:gd name="T49" fmla="*/ 2147483647 h 446"/>
                <a:gd name="T50" fmla="*/ 2147483647 w 544"/>
                <a:gd name="T51" fmla="*/ 2147483647 h 446"/>
                <a:gd name="T52" fmla="*/ 2147483647 w 544"/>
                <a:gd name="T53" fmla="*/ 2147483647 h 446"/>
                <a:gd name="T54" fmla="*/ 2147483647 w 544"/>
                <a:gd name="T55" fmla="*/ 2147483647 h 446"/>
                <a:gd name="T56" fmla="*/ 2147483647 w 544"/>
                <a:gd name="T57" fmla="*/ 2147483647 h 446"/>
                <a:gd name="T58" fmla="*/ 2147483647 w 544"/>
                <a:gd name="T59" fmla="*/ 2147483647 h 446"/>
                <a:gd name="T60" fmla="*/ 2147483647 w 544"/>
                <a:gd name="T61" fmla="*/ 2147483647 h 446"/>
                <a:gd name="T62" fmla="*/ 2147483647 w 544"/>
                <a:gd name="T63" fmla="*/ 2147483647 h 446"/>
                <a:gd name="T64" fmla="*/ 2147483647 w 544"/>
                <a:gd name="T65" fmla="*/ 2147483647 h 446"/>
                <a:gd name="T66" fmla="*/ 2147483647 w 544"/>
                <a:gd name="T67" fmla="*/ 2147483647 h 446"/>
                <a:gd name="T68" fmla="*/ 2147483647 w 544"/>
                <a:gd name="T69" fmla="*/ 2147483647 h 446"/>
                <a:gd name="T70" fmla="*/ 2147483647 w 544"/>
                <a:gd name="T71" fmla="*/ 2147483647 h 446"/>
                <a:gd name="T72" fmla="*/ 2147483647 w 544"/>
                <a:gd name="T73" fmla="*/ 2147483647 h 446"/>
                <a:gd name="T74" fmla="*/ 2147483647 w 544"/>
                <a:gd name="T75" fmla="*/ 2147483647 h 446"/>
                <a:gd name="T76" fmla="*/ 2147483647 w 544"/>
                <a:gd name="T77" fmla="*/ 2147483647 h 446"/>
                <a:gd name="T78" fmla="*/ 2147483647 w 544"/>
                <a:gd name="T79" fmla="*/ 2147483647 h 446"/>
                <a:gd name="T80" fmla="*/ 2147483647 w 544"/>
                <a:gd name="T81" fmla="*/ 2147483647 h 446"/>
                <a:gd name="T82" fmla="*/ 2147483647 w 544"/>
                <a:gd name="T83" fmla="*/ 2147483647 h 446"/>
                <a:gd name="T84" fmla="*/ 2147483647 w 544"/>
                <a:gd name="T85" fmla="*/ 0 h 446"/>
                <a:gd name="T86" fmla="*/ 2147483647 w 544"/>
                <a:gd name="T87" fmla="*/ 0 h 446"/>
                <a:gd name="T88" fmla="*/ 2147483647 w 544"/>
                <a:gd name="T89" fmla="*/ 0 h 446"/>
                <a:gd name="T90" fmla="*/ 0 w 544"/>
                <a:gd name="T91" fmla="*/ 0 h 446"/>
                <a:gd name="T92" fmla="*/ 0 w 544"/>
                <a:gd name="T93" fmla="*/ 0 h 44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44"/>
                <a:gd name="T142" fmla="*/ 0 h 446"/>
                <a:gd name="T143" fmla="*/ 544 w 544"/>
                <a:gd name="T144" fmla="*/ 446 h 44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3" name="Freeform 70">
              <a:extLst>
                <a:ext uri="{FF2B5EF4-FFF2-40B4-BE49-F238E27FC236}">
                  <a16:creationId xmlns:a16="http://schemas.microsoft.com/office/drawing/2014/main" id="{86DB25F9-1C9B-B77E-C6C9-05CDF6CBCD57}"/>
                </a:ext>
              </a:extLst>
            </p:cNvPr>
            <p:cNvSpPr>
              <a:spLocks noChangeAspect="1"/>
            </p:cNvSpPr>
            <p:nvPr userDrawn="1"/>
          </p:nvSpPr>
          <p:spPr bwMode="gray">
            <a:xfrm>
              <a:off x="9204066" y="3985853"/>
              <a:ext cx="65663" cy="92977"/>
            </a:xfrm>
            <a:custGeom>
              <a:avLst/>
              <a:gdLst>
                <a:gd name="T0" fmla="*/ 0 w 129"/>
                <a:gd name="T1" fmla="*/ 0 h 163"/>
                <a:gd name="T2" fmla="*/ 0 w 129"/>
                <a:gd name="T3" fmla="*/ 0 h 163"/>
                <a:gd name="T4" fmla="*/ 0 w 129"/>
                <a:gd name="T5" fmla="*/ 0 h 163"/>
                <a:gd name="T6" fmla="*/ 0 w 129"/>
                <a:gd name="T7" fmla="*/ 0 h 163"/>
                <a:gd name="T8" fmla="*/ 0 w 129"/>
                <a:gd name="T9" fmla="*/ 0 h 163"/>
                <a:gd name="T10" fmla="*/ 0 w 129"/>
                <a:gd name="T11" fmla="*/ 0 h 163"/>
                <a:gd name="T12" fmla="*/ 0 w 129"/>
                <a:gd name="T13" fmla="*/ 0 h 163"/>
                <a:gd name="T14" fmla="*/ 0 w 129"/>
                <a:gd name="T15" fmla="*/ 0 h 163"/>
                <a:gd name="T16" fmla="*/ 0 w 129"/>
                <a:gd name="T17" fmla="*/ 0 h 163"/>
                <a:gd name="T18" fmla="*/ 0 w 129"/>
                <a:gd name="T19" fmla="*/ 0 h 163"/>
                <a:gd name="T20" fmla="*/ 0 w 129"/>
                <a:gd name="T21" fmla="*/ 0 h 163"/>
                <a:gd name="T22" fmla="*/ 0 w 129"/>
                <a:gd name="T23" fmla="*/ 0 h 163"/>
                <a:gd name="T24" fmla="*/ 0 w 129"/>
                <a:gd name="T25" fmla="*/ 0 h 163"/>
                <a:gd name="T26" fmla="*/ 0 w 129"/>
                <a:gd name="T27" fmla="*/ 0 h 163"/>
                <a:gd name="T28" fmla="*/ 0 w 129"/>
                <a:gd name="T29" fmla="*/ 0 h 163"/>
                <a:gd name="T30" fmla="*/ 0 w 129"/>
                <a:gd name="T31" fmla="*/ 0 h 163"/>
                <a:gd name="T32" fmla="*/ 0 w 129"/>
                <a:gd name="T33" fmla="*/ 0 h 163"/>
                <a:gd name="T34" fmla="*/ 0 w 129"/>
                <a:gd name="T35" fmla="*/ 0 h 163"/>
                <a:gd name="T36" fmla="*/ 0 w 129"/>
                <a:gd name="T37" fmla="*/ 0 h 163"/>
                <a:gd name="T38" fmla="*/ 0 w 129"/>
                <a:gd name="T39" fmla="*/ 0 h 163"/>
                <a:gd name="T40" fmla="*/ 0 w 129"/>
                <a:gd name="T41" fmla="*/ 0 h 163"/>
                <a:gd name="T42" fmla="*/ 0 w 129"/>
                <a:gd name="T43" fmla="*/ 0 h 163"/>
                <a:gd name="T44" fmla="*/ 0 w 129"/>
                <a:gd name="T45" fmla="*/ 0 h 163"/>
                <a:gd name="T46" fmla="*/ 0 w 129"/>
                <a:gd name="T47" fmla="*/ 0 h 163"/>
                <a:gd name="T48" fmla="*/ 0 w 129"/>
                <a:gd name="T49" fmla="*/ 0 h 163"/>
                <a:gd name="T50" fmla="*/ 0 w 129"/>
                <a:gd name="T51" fmla="*/ 0 h 163"/>
                <a:gd name="T52" fmla="*/ 0 w 129"/>
                <a:gd name="T53" fmla="*/ 0 h 163"/>
                <a:gd name="T54" fmla="*/ 0 w 129"/>
                <a:gd name="T55" fmla="*/ 0 h 163"/>
                <a:gd name="T56" fmla="*/ 0 w 129"/>
                <a:gd name="T57" fmla="*/ 0 h 163"/>
                <a:gd name="T58" fmla="*/ 0 w 129"/>
                <a:gd name="T59" fmla="*/ 0 h 163"/>
                <a:gd name="T60" fmla="*/ 0 w 129"/>
                <a:gd name="T61" fmla="*/ 0 h 163"/>
                <a:gd name="T62" fmla="*/ 0 w 129"/>
                <a:gd name="T63" fmla="*/ 0 h 163"/>
                <a:gd name="T64" fmla="*/ 0 w 129"/>
                <a:gd name="T65" fmla="*/ 0 h 163"/>
                <a:gd name="T66" fmla="*/ 0 w 129"/>
                <a:gd name="T67" fmla="*/ 0 h 163"/>
                <a:gd name="T68" fmla="*/ 0 w 129"/>
                <a:gd name="T69" fmla="*/ 0 h 163"/>
                <a:gd name="T70" fmla="*/ 0 w 129"/>
                <a:gd name="T71" fmla="*/ 0 h 163"/>
                <a:gd name="T72" fmla="*/ 0 w 129"/>
                <a:gd name="T73" fmla="*/ 0 h 163"/>
                <a:gd name="T74" fmla="*/ 0 w 129"/>
                <a:gd name="T75" fmla="*/ 0 h 163"/>
                <a:gd name="T76" fmla="*/ 0 w 129"/>
                <a:gd name="T77" fmla="*/ 0 h 163"/>
                <a:gd name="T78" fmla="*/ 0 w 129"/>
                <a:gd name="T79" fmla="*/ 0 h 163"/>
                <a:gd name="T80" fmla="*/ 0 w 129"/>
                <a:gd name="T81" fmla="*/ 0 h 163"/>
                <a:gd name="T82" fmla="*/ 0 w 129"/>
                <a:gd name="T83" fmla="*/ 0 h 163"/>
                <a:gd name="T84" fmla="*/ 0 w 129"/>
                <a:gd name="T85" fmla="*/ 0 h 163"/>
                <a:gd name="T86" fmla="*/ 0 w 129"/>
                <a:gd name="T87" fmla="*/ 0 h 1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9"/>
                <a:gd name="T133" fmla="*/ 0 h 163"/>
                <a:gd name="T134" fmla="*/ 129 w 129"/>
                <a:gd name="T135" fmla="*/ 163 h 1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4" name="Freeform 71">
              <a:extLst>
                <a:ext uri="{FF2B5EF4-FFF2-40B4-BE49-F238E27FC236}">
                  <a16:creationId xmlns:a16="http://schemas.microsoft.com/office/drawing/2014/main" id="{D5FBDB2E-9FA0-00D1-4C34-E31C1E72B7F9}"/>
                </a:ext>
              </a:extLst>
            </p:cNvPr>
            <p:cNvSpPr>
              <a:spLocks noChangeAspect="1"/>
            </p:cNvSpPr>
            <p:nvPr userDrawn="1"/>
          </p:nvSpPr>
          <p:spPr bwMode="gray">
            <a:xfrm>
              <a:off x="9290622" y="3920312"/>
              <a:ext cx="37309" cy="41154"/>
            </a:xfrm>
            <a:custGeom>
              <a:avLst/>
              <a:gdLst>
                <a:gd name="T0" fmla="*/ 0 w 67"/>
                <a:gd name="T1" fmla="*/ 0 h 71"/>
                <a:gd name="T2" fmla="*/ 0 w 67"/>
                <a:gd name="T3" fmla="*/ 0 h 71"/>
                <a:gd name="T4" fmla="*/ 0 w 67"/>
                <a:gd name="T5" fmla="*/ 0 h 71"/>
                <a:gd name="T6" fmla="*/ 0 w 67"/>
                <a:gd name="T7" fmla="*/ 0 h 71"/>
                <a:gd name="T8" fmla="*/ 0 w 67"/>
                <a:gd name="T9" fmla="*/ 0 h 71"/>
                <a:gd name="T10" fmla="*/ 0 w 67"/>
                <a:gd name="T11" fmla="*/ 0 h 71"/>
                <a:gd name="T12" fmla="*/ 0 w 67"/>
                <a:gd name="T13" fmla="*/ 0 h 71"/>
                <a:gd name="T14" fmla="*/ 0 w 67"/>
                <a:gd name="T15" fmla="*/ 0 h 71"/>
                <a:gd name="T16" fmla="*/ 0 w 67"/>
                <a:gd name="T17" fmla="*/ 0 h 71"/>
                <a:gd name="T18" fmla="*/ 0 w 67"/>
                <a:gd name="T19" fmla="*/ 0 h 71"/>
                <a:gd name="T20" fmla="*/ 0 w 67"/>
                <a:gd name="T21" fmla="*/ 0 h 71"/>
                <a:gd name="T22" fmla="*/ 0 w 67"/>
                <a:gd name="T23" fmla="*/ 0 h 71"/>
                <a:gd name="T24" fmla="*/ 0 w 67"/>
                <a:gd name="T25" fmla="*/ 0 h 71"/>
                <a:gd name="T26" fmla="*/ 0 w 67"/>
                <a:gd name="T27" fmla="*/ 0 h 71"/>
                <a:gd name="T28" fmla="*/ 0 w 67"/>
                <a:gd name="T29" fmla="*/ 0 h 71"/>
                <a:gd name="T30" fmla="*/ 0 w 67"/>
                <a:gd name="T31" fmla="*/ 0 h 71"/>
                <a:gd name="T32" fmla="*/ 0 w 67"/>
                <a:gd name="T33" fmla="*/ 0 h 71"/>
                <a:gd name="T34" fmla="*/ 0 w 67"/>
                <a:gd name="T35" fmla="*/ 0 h 71"/>
                <a:gd name="T36" fmla="*/ 0 w 67"/>
                <a:gd name="T37" fmla="*/ 0 h 71"/>
                <a:gd name="T38" fmla="*/ 0 w 67"/>
                <a:gd name="T39" fmla="*/ 0 h 71"/>
                <a:gd name="T40" fmla="*/ 0 w 67"/>
                <a:gd name="T41" fmla="*/ 0 h 71"/>
                <a:gd name="T42" fmla="*/ 0 w 67"/>
                <a:gd name="T43" fmla="*/ 0 h 71"/>
                <a:gd name="T44" fmla="*/ 0 w 67"/>
                <a:gd name="T45" fmla="*/ 0 h 71"/>
                <a:gd name="T46" fmla="*/ 0 w 67"/>
                <a:gd name="T47" fmla="*/ 0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7"/>
                <a:gd name="T73" fmla="*/ 0 h 71"/>
                <a:gd name="T74" fmla="*/ 67 w 67"/>
                <a:gd name="T75" fmla="*/ 71 h 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5" name="Freeform 72">
              <a:extLst>
                <a:ext uri="{FF2B5EF4-FFF2-40B4-BE49-F238E27FC236}">
                  <a16:creationId xmlns:a16="http://schemas.microsoft.com/office/drawing/2014/main" id="{14844E43-00A0-EDE5-3877-2E13ABE26339}"/>
                </a:ext>
              </a:extLst>
            </p:cNvPr>
            <p:cNvSpPr>
              <a:spLocks noChangeAspect="1"/>
            </p:cNvSpPr>
            <p:nvPr userDrawn="1"/>
          </p:nvSpPr>
          <p:spPr bwMode="gray">
            <a:xfrm>
              <a:off x="9278683" y="3752648"/>
              <a:ext cx="123865" cy="196623"/>
            </a:xfrm>
            <a:custGeom>
              <a:avLst/>
              <a:gdLst>
                <a:gd name="T0" fmla="*/ 0 w 236"/>
                <a:gd name="T1" fmla="*/ 0 h 345"/>
                <a:gd name="T2" fmla="*/ 0 w 236"/>
                <a:gd name="T3" fmla="*/ 0 h 345"/>
                <a:gd name="T4" fmla="*/ 0 w 236"/>
                <a:gd name="T5" fmla="*/ 0 h 345"/>
                <a:gd name="T6" fmla="*/ 0 w 236"/>
                <a:gd name="T7" fmla="*/ 0 h 345"/>
                <a:gd name="T8" fmla="*/ 0 w 236"/>
                <a:gd name="T9" fmla="*/ 0 h 345"/>
                <a:gd name="T10" fmla="*/ 0 w 236"/>
                <a:gd name="T11" fmla="*/ 0 h 345"/>
                <a:gd name="T12" fmla="*/ 0 w 236"/>
                <a:gd name="T13" fmla="*/ 0 h 345"/>
                <a:gd name="T14" fmla="*/ 0 w 236"/>
                <a:gd name="T15" fmla="*/ 0 h 345"/>
                <a:gd name="T16" fmla="*/ 0 w 236"/>
                <a:gd name="T17" fmla="*/ 0 h 345"/>
                <a:gd name="T18" fmla="*/ 0 w 236"/>
                <a:gd name="T19" fmla="*/ 0 h 345"/>
                <a:gd name="T20" fmla="*/ 0 w 236"/>
                <a:gd name="T21" fmla="*/ 0 h 345"/>
                <a:gd name="T22" fmla="*/ 0 w 236"/>
                <a:gd name="T23" fmla="*/ 0 h 345"/>
                <a:gd name="T24" fmla="*/ 0 w 236"/>
                <a:gd name="T25" fmla="*/ 0 h 345"/>
                <a:gd name="T26" fmla="*/ 0 w 236"/>
                <a:gd name="T27" fmla="*/ 0 h 345"/>
                <a:gd name="T28" fmla="*/ 0 w 236"/>
                <a:gd name="T29" fmla="*/ 0 h 345"/>
                <a:gd name="T30" fmla="*/ 0 w 236"/>
                <a:gd name="T31" fmla="*/ 0 h 345"/>
                <a:gd name="T32" fmla="*/ 0 w 236"/>
                <a:gd name="T33" fmla="*/ 0 h 345"/>
                <a:gd name="T34" fmla="*/ 0 w 236"/>
                <a:gd name="T35" fmla="*/ 0 h 345"/>
                <a:gd name="T36" fmla="*/ 0 w 236"/>
                <a:gd name="T37" fmla="*/ 0 h 345"/>
                <a:gd name="T38" fmla="*/ 0 w 236"/>
                <a:gd name="T39" fmla="*/ 0 h 345"/>
                <a:gd name="T40" fmla="*/ 0 w 236"/>
                <a:gd name="T41" fmla="*/ 2147483647 h 345"/>
                <a:gd name="T42" fmla="*/ 0 w 236"/>
                <a:gd name="T43" fmla="*/ 2147483647 h 345"/>
                <a:gd name="T44" fmla="*/ 0 w 236"/>
                <a:gd name="T45" fmla="*/ 2147483647 h 345"/>
                <a:gd name="T46" fmla="*/ 0 w 236"/>
                <a:gd name="T47" fmla="*/ 2147483647 h 345"/>
                <a:gd name="T48" fmla="*/ 0 w 236"/>
                <a:gd name="T49" fmla="*/ 0 h 345"/>
                <a:gd name="T50" fmla="*/ 0 w 236"/>
                <a:gd name="T51" fmla="*/ 0 h 345"/>
                <a:gd name="T52" fmla="*/ 0 w 236"/>
                <a:gd name="T53" fmla="*/ 0 h 345"/>
                <a:gd name="T54" fmla="*/ 0 w 236"/>
                <a:gd name="T55" fmla="*/ 0 h 345"/>
                <a:gd name="T56" fmla="*/ 0 w 236"/>
                <a:gd name="T57" fmla="*/ 0 h 345"/>
                <a:gd name="T58" fmla="*/ 0 w 236"/>
                <a:gd name="T59" fmla="*/ 0 h 345"/>
                <a:gd name="T60" fmla="*/ 0 w 236"/>
                <a:gd name="T61" fmla="*/ 0 h 345"/>
                <a:gd name="T62" fmla="*/ 0 w 236"/>
                <a:gd name="T63" fmla="*/ 0 h 345"/>
                <a:gd name="T64" fmla="*/ 0 w 236"/>
                <a:gd name="T65" fmla="*/ 0 h 345"/>
                <a:gd name="T66" fmla="*/ 0 w 236"/>
                <a:gd name="T67" fmla="*/ 0 h 345"/>
                <a:gd name="T68" fmla="*/ 0 w 236"/>
                <a:gd name="T69" fmla="*/ 0 h 345"/>
                <a:gd name="T70" fmla="*/ 0 w 236"/>
                <a:gd name="T71" fmla="*/ 0 h 345"/>
                <a:gd name="T72" fmla="*/ 0 w 236"/>
                <a:gd name="T73" fmla="*/ 0 h 345"/>
                <a:gd name="T74" fmla="*/ 0 w 236"/>
                <a:gd name="T75" fmla="*/ 0 h 345"/>
                <a:gd name="T76" fmla="*/ 0 w 236"/>
                <a:gd name="T77" fmla="*/ 0 h 345"/>
                <a:gd name="T78" fmla="*/ 0 w 236"/>
                <a:gd name="T79" fmla="*/ 0 h 345"/>
                <a:gd name="T80" fmla="*/ 0 w 236"/>
                <a:gd name="T81" fmla="*/ 0 h 345"/>
                <a:gd name="T82" fmla="*/ 0 w 236"/>
                <a:gd name="T83" fmla="*/ 0 h 345"/>
                <a:gd name="T84" fmla="*/ 0 w 236"/>
                <a:gd name="T85" fmla="*/ 0 h 345"/>
                <a:gd name="T86" fmla="*/ 0 w 236"/>
                <a:gd name="T87" fmla="*/ 0 h 345"/>
                <a:gd name="T88" fmla="*/ 0 w 236"/>
                <a:gd name="T89" fmla="*/ 0 h 34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36"/>
                <a:gd name="T136" fmla="*/ 0 h 345"/>
                <a:gd name="T137" fmla="*/ 236 w 236"/>
                <a:gd name="T138" fmla="*/ 345 h 34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6" name="Freeform 73">
              <a:extLst>
                <a:ext uri="{FF2B5EF4-FFF2-40B4-BE49-F238E27FC236}">
                  <a16:creationId xmlns:a16="http://schemas.microsoft.com/office/drawing/2014/main" id="{3706DAEB-8991-D290-53E8-24A00E25CC1C}"/>
                </a:ext>
              </a:extLst>
            </p:cNvPr>
            <p:cNvSpPr>
              <a:spLocks noChangeAspect="1"/>
            </p:cNvSpPr>
            <p:nvPr userDrawn="1"/>
          </p:nvSpPr>
          <p:spPr bwMode="gray">
            <a:xfrm>
              <a:off x="9377178" y="3949272"/>
              <a:ext cx="22386" cy="25912"/>
            </a:xfrm>
            <a:custGeom>
              <a:avLst/>
              <a:gdLst>
                <a:gd name="T0" fmla="*/ 0 w 45"/>
                <a:gd name="T1" fmla="*/ 0 h 45"/>
                <a:gd name="T2" fmla="*/ 0 w 45"/>
                <a:gd name="T3" fmla="*/ 0 h 45"/>
                <a:gd name="T4" fmla="*/ 0 w 45"/>
                <a:gd name="T5" fmla="*/ 0 h 45"/>
                <a:gd name="T6" fmla="*/ 0 w 45"/>
                <a:gd name="T7" fmla="*/ 0 h 45"/>
                <a:gd name="T8" fmla="*/ 0 w 45"/>
                <a:gd name="T9" fmla="*/ 0 h 45"/>
                <a:gd name="T10" fmla="*/ 0 w 45"/>
                <a:gd name="T11" fmla="*/ 0 h 45"/>
                <a:gd name="T12" fmla="*/ 0 w 45"/>
                <a:gd name="T13" fmla="*/ 0 h 45"/>
                <a:gd name="T14" fmla="*/ 0 w 45"/>
                <a:gd name="T15" fmla="*/ 0 h 45"/>
                <a:gd name="T16" fmla="*/ 0 w 45"/>
                <a:gd name="T17" fmla="*/ 0 h 45"/>
                <a:gd name="T18" fmla="*/ 0 w 45"/>
                <a:gd name="T19" fmla="*/ 0 h 45"/>
                <a:gd name="T20" fmla="*/ 0 w 45"/>
                <a:gd name="T21" fmla="*/ 0 h 45"/>
                <a:gd name="T22" fmla="*/ 0 w 45"/>
                <a:gd name="T23" fmla="*/ 0 h 45"/>
                <a:gd name="T24" fmla="*/ 0 w 45"/>
                <a:gd name="T25" fmla="*/ 0 h 45"/>
                <a:gd name="T26" fmla="*/ 0 w 45"/>
                <a:gd name="T27" fmla="*/ 0 h 45"/>
                <a:gd name="T28" fmla="*/ 0 w 45"/>
                <a:gd name="T29" fmla="*/ 0 h 45"/>
                <a:gd name="T30" fmla="*/ 0 w 45"/>
                <a:gd name="T31" fmla="*/ 0 h 45"/>
                <a:gd name="T32" fmla="*/ 0 w 45"/>
                <a:gd name="T33" fmla="*/ 0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
                <a:gd name="T52" fmla="*/ 0 h 45"/>
                <a:gd name="T53" fmla="*/ 45 w 45"/>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7" name="Freeform 74">
              <a:extLst>
                <a:ext uri="{FF2B5EF4-FFF2-40B4-BE49-F238E27FC236}">
                  <a16:creationId xmlns:a16="http://schemas.microsoft.com/office/drawing/2014/main" id="{5B6EE512-E798-7A1A-092D-3DECD8B91D58}"/>
                </a:ext>
              </a:extLst>
            </p:cNvPr>
            <p:cNvSpPr>
              <a:spLocks noChangeAspect="1"/>
            </p:cNvSpPr>
            <p:nvPr userDrawn="1"/>
          </p:nvSpPr>
          <p:spPr bwMode="gray">
            <a:xfrm>
              <a:off x="9408518" y="3946224"/>
              <a:ext cx="40293" cy="47251"/>
            </a:xfrm>
            <a:custGeom>
              <a:avLst/>
              <a:gdLst>
                <a:gd name="T0" fmla="*/ 0 w 77"/>
                <a:gd name="T1" fmla="*/ 0 h 85"/>
                <a:gd name="T2" fmla="*/ 0 w 77"/>
                <a:gd name="T3" fmla="*/ 0 h 85"/>
                <a:gd name="T4" fmla="*/ 0 w 77"/>
                <a:gd name="T5" fmla="*/ 0 h 85"/>
                <a:gd name="T6" fmla="*/ 0 w 77"/>
                <a:gd name="T7" fmla="*/ 0 h 85"/>
                <a:gd name="T8" fmla="*/ 0 w 77"/>
                <a:gd name="T9" fmla="*/ 0 h 85"/>
                <a:gd name="T10" fmla="*/ 0 w 77"/>
                <a:gd name="T11" fmla="*/ 0 h 85"/>
                <a:gd name="T12" fmla="*/ 0 w 77"/>
                <a:gd name="T13" fmla="*/ 0 h 85"/>
                <a:gd name="T14" fmla="*/ 0 w 77"/>
                <a:gd name="T15" fmla="*/ 0 h 85"/>
                <a:gd name="T16" fmla="*/ 0 w 77"/>
                <a:gd name="T17" fmla="*/ 0 h 85"/>
                <a:gd name="T18" fmla="*/ 0 w 77"/>
                <a:gd name="T19" fmla="*/ 0 h 85"/>
                <a:gd name="T20" fmla="*/ 0 w 77"/>
                <a:gd name="T21" fmla="*/ 0 h 85"/>
                <a:gd name="T22" fmla="*/ 0 w 77"/>
                <a:gd name="T23" fmla="*/ 0 h 85"/>
                <a:gd name="T24" fmla="*/ 0 w 77"/>
                <a:gd name="T25" fmla="*/ 0 h 85"/>
                <a:gd name="T26" fmla="*/ 0 w 77"/>
                <a:gd name="T27" fmla="*/ 0 h 85"/>
                <a:gd name="T28" fmla="*/ 0 w 77"/>
                <a:gd name="T29" fmla="*/ 0 h 85"/>
                <a:gd name="T30" fmla="*/ 0 w 77"/>
                <a:gd name="T31" fmla="*/ 0 h 85"/>
                <a:gd name="T32" fmla="*/ 0 w 77"/>
                <a:gd name="T33" fmla="*/ 0 h 85"/>
                <a:gd name="T34" fmla="*/ 0 w 77"/>
                <a:gd name="T35" fmla="*/ 0 h 85"/>
                <a:gd name="T36" fmla="*/ 0 w 77"/>
                <a:gd name="T37" fmla="*/ 0 h 85"/>
                <a:gd name="T38" fmla="*/ 0 w 77"/>
                <a:gd name="T39" fmla="*/ 0 h 85"/>
                <a:gd name="T40" fmla="*/ 0 w 77"/>
                <a:gd name="T41" fmla="*/ 0 h 85"/>
                <a:gd name="T42" fmla="*/ 0 w 77"/>
                <a:gd name="T43" fmla="*/ 0 h 85"/>
                <a:gd name="T44" fmla="*/ 0 w 77"/>
                <a:gd name="T45" fmla="*/ 0 h 85"/>
                <a:gd name="T46" fmla="*/ 0 w 77"/>
                <a:gd name="T47" fmla="*/ 0 h 85"/>
                <a:gd name="T48" fmla="*/ 0 w 77"/>
                <a:gd name="T49" fmla="*/ 0 h 85"/>
                <a:gd name="T50" fmla="*/ 0 w 77"/>
                <a:gd name="T51" fmla="*/ 0 h 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85"/>
                <a:gd name="T80" fmla="*/ 77 w 77"/>
                <a:gd name="T81" fmla="*/ 85 h 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8" name="Freeform 75">
              <a:extLst>
                <a:ext uri="{FF2B5EF4-FFF2-40B4-BE49-F238E27FC236}">
                  <a16:creationId xmlns:a16="http://schemas.microsoft.com/office/drawing/2014/main" id="{3F9F2986-74D6-D3A6-FAA4-0FAC53F22BDF}"/>
                </a:ext>
              </a:extLst>
            </p:cNvPr>
            <p:cNvSpPr>
              <a:spLocks noChangeAspect="1"/>
            </p:cNvSpPr>
            <p:nvPr userDrawn="1"/>
          </p:nvSpPr>
          <p:spPr bwMode="gray">
            <a:xfrm>
              <a:off x="9339870" y="3969087"/>
              <a:ext cx="32832" cy="48775"/>
            </a:xfrm>
            <a:custGeom>
              <a:avLst/>
              <a:gdLst>
                <a:gd name="T0" fmla="*/ 0 w 63"/>
                <a:gd name="T1" fmla="*/ 0 h 83"/>
                <a:gd name="T2" fmla="*/ 0 w 63"/>
                <a:gd name="T3" fmla="*/ 0 h 83"/>
                <a:gd name="T4" fmla="*/ 0 w 63"/>
                <a:gd name="T5" fmla="*/ 0 h 83"/>
                <a:gd name="T6" fmla="*/ 0 w 63"/>
                <a:gd name="T7" fmla="*/ 0 h 83"/>
                <a:gd name="T8" fmla="*/ 0 w 63"/>
                <a:gd name="T9" fmla="*/ 0 h 83"/>
                <a:gd name="T10" fmla="*/ 0 w 63"/>
                <a:gd name="T11" fmla="*/ 0 h 83"/>
                <a:gd name="T12" fmla="*/ 0 w 63"/>
                <a:gd name="T13" fmla="*/ 0 h 83"/>
                <a:gd name="T14" fmla="*/ 0 w 63"/>
                <a:gd name="T15" fmla="*/ 0 h 83"/>
                <a:gd name="T16" fmla="*/ 0 w 63"/>
                <a:gd name="T17" fmla="*/ 0 h 83"/>
                <a:gd name="T18" fmla="*/ 0 w 63"/>
                <a:gd name="T19" fmla="*/ 0 h 83"/>
                <a:gd name="T20" fmla="*/ 0 w 63"/>
                <a:gd name="T21" fmla="*/ 0 h 83"/>
                <a:gd name="T22" fmla="*/ 0 w 63"/>
                <a:gd name="T23" fmla="*/ 0 h 83"/>
                <a:gd name="T24" fmla="*/ 0 w 63"/>
                <a:gd name="T25" fmla="*/ 0 h 83"/>
                <a:gd name="T26" fmla="*/ 0 w 63"/>
                <a:gd name="T27" fmla="*/ 0 h 83"/>
                <a:gd name="T28" fmla="*/ 0 w 63"/>
                <a:gd name="T29" fmla="*/ 0 h 83"/>
                <a:gd name="T30" fmla="*/ 0 w 63"/>
                <a:gd name="T31" fmla="*/ 0 h 83"/>
                <a:gd name="T32" fmla="*/ 0 w 63"/>
                <a:gd name="T33" fmla="*/ 0 h 83"/>
                <a:gd name="T34" fmla="*/ 0 w 63"/>
                <a:gd name="T35" fmla="*/ 0 h 83"/>
                <a:gd name="T36" fmla="*/ 0 w 63"/>
                <a:gd name="T37" fmla="*/ 0 h 83"/>
                <a:gd name="T38" fmla="*/ 0 w 63"/>
                <a:gd name="T39" fmla="*/ 0 h 83"/>
                <a:gd name="T40" fmla="*/ 0 w 63"/>
                <a:gd name="T41" fmla="*/ 0 h 83"/>
                <a:gd name="T42" fmla="*/ 0 w 63"/>
                <a:gd name="T43" fmla="*/ 0 h 83"/>
                <a:gd name="T44" fmla="*/ 0 w 63"/>
                <a:gd name="T45" fmla="*/ 0 h 83"/>
                <a:gd name="T46" fmla="*/ 0 w 63"/>
                <a:gd name="T47" fmla="*/ 0 h 83"/>
                <a:gd name="T48" fmla="*/ 0 w 63"/>
                <a:gd name="T49" fmla="*/ 0 h 83"/>
                <a:gd name="T50" fmla="*/ 0 w 63"/>
                <a:gd name="T51" fmla="*/ 0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
                <a:gd name="T79" fmla="*/ 0 h 83"/>
                <a:gd name="T80" fmla="*/ 63 w 63"/>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79" name="Freeform 76">
              <a:extLst>
                <a:ext uri="{FF2B5EF4-FFF2-40B4-BE49-F238E27FC236}">
                  <a16:creationId xmlns:a16="http://schemas.microsoft.com/office/drawing/2014/main" id="{EDD5DAC5-BD22-A947-F60A-5B5CCABA5560}"/>
                </a:ext>
              </a:extLst>
            </p:cNvPr>
            <p:cNvSpPr>
              <a:spLocks noChangeAspect="1"/>
            </p:cNvSpPr>
            <p:nvPr userDrawn="1"/>
          </p:nvSpPr>
          <p:spPr bwMode="gray">
            <a:xfrm>
              <a:off x="9351809" y="3999572"/>
              <a:ext cx="31339" cy="60968"/>
            </a:xfrm>
            <a:custGeom>
              <a:avLst/>
              <a:gdLst>
                <a:gd name="T0" fmla="*/ 0 w 59"/>
                <a:gd name="T1" fmla="*/ 0 h 107"/>
                <a:gd name="T2" fmla="*/ 0 w 59"/>
                <a:gd name="T3" fmla="*/ 0 h 107"/>
                <a:gd name="T4" fmla="*/ 0 w 59"/>
                <a:gd name="T5" fmla="*/ 0 h 107"/>
                <a:gd name="T6" fmla="*/ 0 w 59"/>
                <a:gd name="T7" fmla="*/ 0 h 107"/>
                <a:gd name="T8" fmla="*/ 0 w 59"/>
                <a:gd name="T9" fmla="*/ 0 h 107"/>
                <a:gd name="T10" fmla="*/ 0 w 59"/>
                <a:gd name="T11" fmla="*/ 0 h 107"/>
                <a:gd name="T12" fmla="*/ 0 w 59"/>
                <a:gd name="T13" fmla="*/ 0 h 107"/>
                <a:gd name="T14" fmla="*/ 0 w 59"/>
                <a:gd name="T15" fmla="*/ 0 h 107"/>
                <a:gd name="T16" fmla="*/ 0 w 59"/>
                <a:gd name="T17" fmla="*/ 0 h 107"/>
                <a:gd name="T18" fmla="*/ 0 w 59"/>
                <a:gd name="T19" fmla="*/ 0 h 107"/>
                <a:gd name="T20" fmla="*/ 0 w 59"/>
                <a:gd name="T21" fmla="*/ 0 h 107"/>
                <a:gd name="T22" fmla="*/ 0 w 59"/>
                <a:gd name="T23" fmla="*/ 0 h 107"/>
                <a:gd name="T24" fmla="*/ 0 w 59"/>
                <a:gd name="T25" fmla="*/ 0 h 107"/>
                <a:gd name="T26" fmla="*/ 0 w 59"/>
                <a:gd name="T27" fmla="*/ 0 h 107"/>
                <a:gd name="T28" fmla="*/ 0 w 59"/>
                <a:gd name="T29" fmla="*/ 0 h 107"/>
                <a:gd name="T30" fmla="*/ 0 w 59"/>
                <a:gd name="T31" fmla="*/ 0 h 107"/>
                <a:gd name="T32" fmla="*/ 0 w 59"/>
                <a:gd name="T33" fmla="*/ 0 h 107"/>
                <a:gd name="T34" fmla="*/ 0 w 59"/>
                <a:gd name="T35" fmla="*/ 0 h 107"/>
                <a:gd name="T36" fmla="*/ 0 w 59"/>
                <a:gd name="T37" fmla="*/ 0 h 107"/>
                <a:gd name="T38" fmla="*/ 0 w 59"/>
                <a:gd name="T39" fmla="*/ 0 h 107"/>
                <a:gd name="T40" fmla="*/ 0 w 59"/>
                <a:gd name="T41" fmla="*/ 0 h 107"/>
                <a:gd name="T42" fmla="*/ 0 w 59"/>
                <a:gd name="T43" fmla="*/ 0 h 107"/>
                <a:gd name="T44" fmla="*/ 0 w 59"/>
                <a:gd name="T45" fmla="*/ 0 h 107"/>
                <a:gd name="T46" fmla="*/ 0 w 59"/>
                <a:gd name="T47" fmla="*/ 0 h 107"/>
                <a:gd name="T48" fmla="*/ 0 w 59"/>
                <a:gd name="T49" fmla="*/ 0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107"/>
                <a:gd name="T77" fmla="*/ 59 w 5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0" name="Freeform 77">
              <a:extLst>
                <a:ext uri="{FF2B5EF4-FFF2-40B4-BE49-F238E27FC236}">
                  <a16:creationId xmlns:a16="http://schemas.microsoft.com/office/drawing/2014/main" id="{490DD397-C2B4-608E-2063-57D8F367F4EC}"/>
                </a:ext>
              </a:extLst>
            </p:cNvPr>
            <p:cNvSpPr>
              <a:spLocks noChangeAspect="1"/>
            </p:cNvSpPr>
            <p:nvPr userDrawn="1"/>
          </p:nvSpPr>
          <p:spPr bwMode="gray">
            <a:xfrm>
              <a:off x="9408518" y="3982805"/>
              <a:ext cx="25369" cy="45726"/>
            </a:xfrm>
            <a:custGeom>
              <a:avLst/>
              <a:gdLst>
                <a:gd name="T0" fmla="*/ 0 w 51"/>
                <a:gd name="T1" fmla="*/ 0 h 81"/>
                <a:gd name="T2" fmla="*/ 0 w 51"/>
                <a:gd name="T3" fmla="*/ 0 h 81"/>
                <a:gd name="T4" fmla="*/ 0 w 51"/>
                <a:gd name="T5" fmla="*/ 0 h 81"/>
                <a:gd name="T6" fmla="*/ 0 w 51"/>
                <a:gd name="T7" fmla="*/ 0 h 81"/>
                <a:gd name="T8" fmla="*/ 0 w 51"/>
                <a:gd name="T9" fmla="*/ 0 h 81"/>
                <a:gd name="T10" fmla="*/ 0 w 51"/>
                <a:gd name="T11" fmla="*/ 0 h 81"/>
                <a:gd name="T12" fmla="*/ 0 w 51"/>
                <a:gd name="T13" fmla="*/ 0 h 81"/>
                <a:gd name="T14" fmla="*/ 0 w 51"/>
                <a:gd name="T15" fmla="*/ 0 h 81"/>
                <a:gd name="T16" fmla="*/ 0 w 51"/>
                <a:gd name="T17" fmla="*/ 0 h 81"/>
                <a:gd name="T18" fmla="*/ 0 w 51"/>
                <a:gd name="T19" fmla="*/ 0 h 81"/>
                <a:gd name="T20" fmla="*/ 0 w 51"/>
                <a:gd name="T21" fmla="*/ 0 h 81"/>
                <a:gd name="T22" fmla="*/ 0 w 51"/>
                <a:gd name="T23" fmla="*/ 0 h 81"/>
                <a:gd name="T24" fmla="*/ 0 w 51"/>
                <a:gd name="T25" fmla="*/ 0 h 81"/>
                <a:gd name="T26" fmla="*/ 0 w 51"/>
                <a:gd name="T27" fmla="*/ 0 h 81"/>
                <a:gd name="T28" fmla="*/ 0 w 51"/>
                <a:gd name="T29" fmla="*/ 0 h 81"/>
                <a:gd name="T30" fmla="*/ 0 w 51"/>
                <a:gd name="T31" fmla="*/ 0 h 81"/>
                <a:gd name="T32" fmla="*/ 0 w 51"/>
                <a:gd name="T33" fmla="*/ 0 h 81"/>
                <a:gd name="T34" fmla="*/ 0 w 51"/>
                <a:gd name="T35" fmla="*/ 0 h 81"/>
                <a:gd name="T36" fmla="*/ 0 w 51"/>
                <a:gd name="T37" fmla="*/ 0 h 81"/>
                <a:gd name="T38" fmla="*/ 0 w 51"/>
                <a:gd name="T39" fmla="*/ 0 h 81"/>
                <a:gd name="T40" fmla="*/ 0 w 51"/>
                <a:gd name="T41" fmla="*/ 0 h 81"/>
                <a:gd name="T42" fmla="*/ 0 w 51"/>
                <a:gd name="T43" fmla="*/ 0 h 81"/>
                <a:gd name="T44" fmla="*/ 0 w 51"/>
                <a:gd name="T45" fmla="*/ 0 h 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1"/>
                <a:gd name="T70" fmla="*/ 0 h 81"/>
                <a:gd name="T71" fmla="*/ 51 w 51"/>
                <a:gd name="T72" fmla="*/ 81 h 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1" name="Freeform 78">
              <a:extLst>
                <a:ext uri="{FF2B5EF4-FFF2-40B4-BE49-F238E27FC236}">
                  <a16:creationId xmlns:a16="http://schemas.microsoft.com/office/drawing/2014/main" id="{CE5285E0-105B-2330-A0FD-84CE262C6179}"/>
                </a:ext>
              </a:extLst>
            </p:cNvPr>
            <p:cNvSpPr>
              <a:spLocks noChangeAspect="1"/>
            </p:cNvSpPr>
            <p:nvPr userDrawn="1"/>
          </p:nvSpPr>
          <p:spPr bwMode="gray">
            <a:xfrm>
              <a:off x="9381656" y="3988901"/>
              <a:ext cx="17908" cy="57921"/>
            </a:xfrm>
            <a:custGeom>
              <a:avLst/>
              <a:gdLst>
                <a:gd name="T0" fmla="*/ 0 w 38"/>
                <a:gd name="T1" fmla="*/ 0 h 99"/>
                <a:gd name="T2" fmla="*/ 0 w 38"/>
                <a:gd name="T3" fmla="*/ 0 h 99"/>
                <a:gd name="T4" fmla="*/ 0 w 38"/>
                <a:gd name="T5" fmla="*/ 0 h 99"/>
                <a:gd name="T6" fmla="*/ 0 w 38"/>
                <a:gd name="T7" fmla="*/ 0 h 99"/>
                <a:gd name="T8" fmla="*/ 0 w 38"/>
                <a:gd name="T9" fmla="*/ 0 h 99"/>
                <a:gd name="T10" fmla="*/ 0 w 38"/>
                <a:gd name="T11" fmla="*/ 0 h 99"/>
                <a:gd name="T12" fmla="*/ 0 w 38"/>
                <a:gd name="T13" fmla="*/ 0 h 99"/>
                <a:gd name="T14" fmla="*/ 0 w 38"/>
                <a:gd name="T15" fmla="*/ 0 h 99"/>
                <a:gd name="T16" fmla="*/ 0 w 38"/>
                <a:gd name="T17" fmla="*/ 0 h 99"/>
                <a:gd name="T18" fmla="*/ 0 w 38"/>
                <a:gd name="T19" fmla="*/ 0 h 99"/>
                <a:gd name="T20" fmla="*/ 0 w 38"/>
                <a:gd name="T21" fmla="*/ 0 h 99"/>
                <a:gd name="T22" fmla="*/ 0 w 38"/>
                <a:gd name="T23" fmla="*/ 0 h 99"/>
                <a:gd name="T24" fmla="*/ 0 w 38"/>
                <a:gd name="T25" fmla="*/ 0 h 99"/>
                <a:gd name="T26" fmla="*/ 0 w 38"/>
                <a:gd name="T27" fmla="*/ 0 h 99"/>
                <a:gd name="T28" fmla="*/ 0 w 38"/>
                <a:gd name="T29" fmla="*/ 0 h 99"/>
                <a:gd name="T30" fmla="*/ 0 w 38"/>
                <a:gd name="T31" fmla="*/ 0 h 99"/>
                <a:gd name="T32" fmla="*/ 0 w 38"/>
                <a:gd name="T33" fmla="*/ 0 h 99"/>
                <a:gd name="T34" fmla="*/ 0 w 38"/>
                <a:gd name="T35" fmla="*/ 0 h 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99"/>
                <a:gd name="T56" fmla="*/ 38 w 38"/>
                <a:gd name="T57" fmla="*/ 99 h 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2" name="Freeform 79">
              <a:extLst>
                <a:ext uri="{FF2B5EF4-FFF2-40B4-BE49-F238E27FC236}">
                  <a16:creationId xmlns:a16="http://schemas.microsoft.com/office/drawing/2014/main" id="{29F0DCA2-3538-0C5C-B779-6CC2CD82F0BD}"/>
                </a:ext>
              </a:extLst>
            </p:cNvPr>
            <p:cNvSpPr>
              <a:spLocks noChangeAspect="1"/>
            </p:cNvSpPr>
            <p:nvPr userDrawn="1"/>
          </p:nvSpPr>
          <p:spPr bwMode="gray">
            <a:xfrm>
              <a:off x="9393594" y="4022434"/>
              <a:ext cx="23877" cy="19815"/>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w 39"/>
                <a:gd name="T27" fmla="*/ 0 h 31"/>
                <a:gd name="T28" fmla="*/ 0 w 39"/>
                <a:gd name="T29" fmla="*/ 0 h 31"/>
                <a:gd name="T30" fmla="*/ 0 w 39"/>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31"/>
                <a:gd name="T50" fmla="*/ 39 w 39"/>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3" name="Freeform 80">
              <a:extLst>
                <a:ext uri="{FF2B5EF4-FFF2-40B4-BE49-F238E27FC236}">
                  <a16:creationId xmlns:a16="http://schemas.microsoft.com/office/drawing/2014/main" id="{7D200082-7B35-F042-B9C0-1D9EE1906F74}"/>
                </a:ext>
              </a:extLst>
            </p:cNvPr>
            <p:cNvSpPr>
              <a:spLocks noChangeAspect="1"/>
            </p:cNvSpPr>
            <p:nvPr userDrawn="1"/>
          </p:nvSpPr>
          <p:spPr bwMode="gray">
            <a:xfrm>
              <a:off x="9339870" y="4036153"/>
              <a:ext cx="134311" cy="132606"/>
            </a:xfrm>
            <a:custGeom>
              <a:avLst/>
              <a:gdLst>
                <a:gd name="T0" fmla="*/ 0 w 254"/>
                <a:gd name="T1" fmla="*/ 0 h 227"/>
                <a:gd name="T2" fmla="*/ 0 w 254"/>
                <a:gd name="T3" fmla="*/ 0 h 227"/>
                <a:gd name="T4" fmla="*/ 0 w 254"/>
                <a:gd name="T5" fmla="*/ 0 h 227"/>
                <a:gd name="T6" fmla="*/ 0 w 254"/>
                <a:gd name="T7" fmla="*/ 0 h 227"/>
                <a:gd name="T8" fmla="*/ 0 w 254"/>
                <a:gd name="T9" fmla="*/ 0 h 227"/>
                <a:gd name="T10" fmla="*/ 0 w 254"/>
                <a:gd name="T11" fmla="*/ 0 h 227"/>
                <a:gd name="T12" fmla="*/ 0 w 254"/>
                <a:gd name="T13" fmla="*/ 0 h 227"/>
                <a:gd name="T14" fmla="*/ 0 w 254"/>
                <a:gd name="T15" fmla="*/ 0 h 227"/>
                <a:gd name="T16" fmla="*/ 0 w 254"/>
                <a:gd name="T17" fmla="*/ 0 h 227"/>
                <a:gd name="T18" fmla="*/ 0 w 254"/>
                <a:gd name="T19" fmla="*/ 0 h 227"/>
                <a:gd name="T20" fmla="*/ 0 w 254"/>
                <a:gd name="T21" fmla="*/ 0 h 227"/>
                <a:gd name="T22" fmla="*/ 0 w 254"/>
                <a:gd name="T23" fmla="*/ 0 h 227"/>
                <a:gd name="T24" fmla="*/ 0 w 254"/>
                <a:gd name="T25" fmla="*/ 0 h 227"/>
                <a:gd name="T26" fmla="*/ 0 w 254"/>
                <a:gd name="T27" fmla="*/ 0 h 227"/>
                <a:gd name="T28" fmla="*/ 0 w 254"/>
                <a:gd name="T29" fmla="*/ 0 h 227"/>
                <a:gd name="T30" fmla="*/ 0 w 254"/>
                <a:gd name="T31" fmla="*/ 0 h 227"/>
                <a:gd name="T32" fmla="*/ 0 w 254"/>
                <a:gd name="T33" fmla="*/ 0 h 227"/>
                <a:gd name="T34" fmla="*/ 0 w 254"/>
                <a:gd name="T35" fmla="*/ 0 h 227"/>
                <a:gd name="T36" fmla="*/ 0 w 254"/>
                <a:gd name="T37" fmla="*/ 0 h 227"/>
                <a:gd name="T38" fmla="*/ 0 w 254"/>
                <a:gd name="T39" fmla="*/ 0 h 227"/>
                <a:gd name="T40" fmla="*/ 0 w 254"/>
                <a:gd name="T41" fmla="*/ 0 h 227"/>
                <a:gd name="T42" fmla="*/ 0 w 254"/>
                <a:gd name="T43" fmla="*/ 0 h 227"/>
                <a:gd name="T44" fmla="*/ 0 w 254"/>
                <a:gd name="T45" fmla="*/ 0 h 227"/>
                <a:gd name="T46" fmla="*/ 0 w 254"/>
                <a:gd name="T47" fmla="*/ 0 h 227"/>
                <a:gd name="T48" fmla="*/ 0 w 254"/>
                <a:gd name="T49" fmla="*/ 0 h 227"/>
                <a:gd name="T50" fmla="*/ 0 w 254"/>
                <a:gd name="T51" fmla="*/ 0 h 227"/>
                <a:gd name="T52" fmla="*/ 0 w 254"/>
                <a:gd name="T53" fmla="*/ 0 h 227"/>
                <a:gd name="T54" fmla="*/ 0 w 254"/>
                <a:gd name="T55" fmla="*/ 0 h 227"/>
                <a:gd name="T56" fmla="*/ 0 w 254"/>
                <a:gd name="T57" fmla="*/ 0 h 227"/>
                <a:gd name="T58" fmla="*/ 0 w 254"/>
                <a:gd name="T59" fmla="*/ 0 h 227"/>
                <a:gd name="T60" fmla="*/ 0 w 254"/>
                <a:gd name="T61" fmla="*/ 0 h 227"/>
                <a:gd name="T62" fmla="*/ 0 w 254"/>
                <a:gd name="T63" fmla="*/ 0 h 227"/>
                <a:gd name="T64" fmla="*/ 0 w 254"/>
                <a:gd name="T65" fmla="*/ 0 h 227"/>
                <a:gd name="T66" fmla="*/ 0 w 254"/>
                <a:gd name="T67" fmla="*/ 0 h 227"/>
                <a:gd name="T68" fmla="*/ 0 w 254"/>
                <a:gd name="T69" fmla="*/ 0 h 227"/>
                <a:gd name="T70" fmla="*/ 0 w 254"/>
                <a:gd name="T71" fmla="*/ 0 h 227"/>
                <a:gd name="T72" fmla="*/ 0 w 254"/>
                <a:gd name="T73" fmla="*/ 0 h 227"/>
                <a:gd name="T74" fmla="*/ 0 w 254"/>
                <a:gd name="T75" fmla="*/ 0 h 227"/>
                <a:gd name="T76" fmla="*/ 0 w 254"/>
                <a:gd name="T77" fmla="*/ 0 h 227"/>
                <a:gd name="T78" fmla="*/ 0 w 254"/>
                <a:gd name="T79" fmla="*/ 0 h 227"/>
                <a:gd name="T80" fmla="*/ 0 w 254"/>
                <a:gd name="T81" fmla="*/ 0 h 227"/>
                <a:gd name="T82" fmla="*/ 0 w 254"/>
                <a:gd name="T83" fmla="*/ 0 h 227"/>
                <a:gd name="T84" fmla="*/ 0 w 254"/>
                <a:gd name="T85" fmla="*/ 0 h 227"/>
                <a:gd name="T86" fmla="*/ 0 w 254"/>
                <a:gd name="T87" fmla="*/ 0 h 227"/>
                <a:gd name="T88" fmla="*/ 0 w 254"/>
                <a:gd name="T89" fmla="*/ 0 h 227"/>
                <a:gd name="T90" fmla="*/ 0 w 254"/>
                <a:gd name="T91" fmla="*/ 0 h 227"/>
                <a:gd name="T92" fmla="*/ 0 w 254"/>
                <a:gd name="T93" fmla="*/ 0 h 22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54"/>
                <a:gd name="T142" fmla="*/ 0 h 227"/>
                <a:gd name="T143" fmla="*/ 254 w 254"/>
                <a:gd name="T144" fmla="*/ 227 h 22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4" name="Freeform 81">
              <a:extLst>
                <a:ext uri="{FF2B5EF4-FFF2-40B4-BE49-F238E27FC236}">
                  <a16:creationId xmlns:a16="http://schemas.microsoft.com/office/drawing/2014/main" id="{E449A18B-4536-4C6B-CBA1-0CBAE496D6EE}"/>
                </a:ext>
              </a:extLst>
            </p:cNvPr>
            <p:cNvSpPr>
              <a:spLocks noChangeAspect="1"/>
            </p:cNvSpPr>
            <p:nvPr userDrawn="1"/>
          </p:nvSpPr>
          <p:spPr bwMode="gray">
            <a:xfrm>
              <a:off x="9107065" y="4182478"/>
              <a:ext cx="40293" cy="33533"/>
            </a:xfrm>
            <a:custGeom>
              <a:avLst/>
              <a:gdLst>
                <a:gd name="T0" fmla="*/ 2147483647 w 77"/>
                <a:gd name="T1" fmla="*/ 0 h 58"/>
                <a:gd name="T2" fmla="*/ 2147483647 w 77"/>
                <a:gd name="T3" fmla="*/ 0 h 58"/>
                <a:gd name="T4" fmla="*/ 2147483647 w 77"/>
                <a:gd name="T5" fmla="*/ 0 h 58"/>
                <a:gd name="T6" fmla="*/ 2147483647 w 77"/>
                <a:gd name="T7" fmla="*/ 0 h 58"/>
                <a:gd name="T8" fmla="*/ 2147483647 w 77"/>
                <a:gd name="T9" fmla="*/ 0 h 58"/>
                <a:gd name="T10" fmla="*/ 2147483647 w 77"/>
                <a:gd name="T11" fmla="*/ 0 h 58"/>
                <a:gd name="T12" fmla="*/ 2147483647 w 77"/>
                <a:gd name="T13" fmla="*/ 0 h 58"/>
                <a:gd name="T14" fmla="*/ 2147483647 w 77"/>
                <a:gd name="T15" fmla="*/ 0 h 58"/>
                <a:gd name="T16" fmla="*/ 0 w 77"/>
                <a:gd name="T17" fmla="*/ 0 h 58"/>
                <a:gd name="T18" fmla="*/ 0 w 77"/>
                <a:gd name="T19" fmla="*/ 0 h 58"/>
                <a:gd name="T20" fmla="*/ 0 w 77"/>
                <a:gd name="T21" fmla="*/ 0 h 58"/>
                <a:gd name="T22" fmla="*/ 0 w 77"/>
                <a:gd name="T23" fmla="*/ 0 h 58"/>
                <a:gd name="T24" fmla="*/ 0 w 77"/>
                <a:gd name="T25" fmla="*/ 0 h 58"/>
                <a:gd name="T26" fmla="*/ 0 w 77"/>
                <a:gd name="T27" fmla="*/ 0 h 58"/>
                <a:gd name="T28" fmla="*/ 0 w 77"/>
                <a:gd name="T29" fmla="*/ 0 h 58"/>
                <a:gd name="T30" fmla="*/ 0 w 77"/>
                <a:gd name="T31" fmla="*/ 0 h 58"/>
                <a:gd name="T32" fmla="*/ 0 w 77"/>
                <a:gd name="T33" fmla="*/ 0 h 58"/>
                <a:gd name="T34" fmla="*/ 0 w 77"/>
                <a:gd name="T35" fmla="*/ 0 h 58"/>
                <a:gd name="T36" fmla="*/ 0 w 77"/>
                <a:gd name="T37" fmla="*/ 0 h 58"/>
                <a:gd name="T38" fmla="*/ 0 w 77"/>
                <a:gd name="T39" fmla="*/ 0 h 58"/>
                <a:gd name="T40" fmla="*/ 0 w 77"/>
                <a:gd name="T41" fmla="*/ 0 h 58"/>
                <a:gd name="T42" fmla="*/ 0 w 77"/>
                <a:gd name="T43" fmla="*/ 0 h 58"/>
                <a:gd name="T44" fmla="*/ 0 w 77"/>
                <a:gd name="T45" fmla="*/ 0 h 58"/>
                <a:gd name="T46" fmla="*/ 0 w 77"/>
                <a:gd name="T47" fmla="*/ 0 h 58"/>
                <a:gd name="T48" fmla="*/ 0 w 77"/>
                <a:gd name="T49" fmla="*/ 0 h 58"/>
                <a:gd name="T50" fmla="*/ 0 w 77"/>
                <a:gd name="T51" fmla="*/ 0 h 58"/>
                <a:gd name="T52" fmla="*/ 0 w 77"/>
                <a:gd name="T53" fmla="*/ 0 h 58"/>
                <a:gd name="T54" fmla="*/ 0 w 77"/>
                <a:gd name="T55" fmla="*/ 0 h 58"/>
                <a:gd name="T56" fmla="*/ 0 w 77"/>
                <a:gd name="T57" fmla="*/ 0 h 58"/>
                <a:gd name="T58" fmla="*/ 0 w 77"/>
                <a:gd name="T59" fmla="*/ 0 h 58"/>
                <a:gd name="T60" fmla="*/ 2147483647 w 77"/>
                <a:gd name="T61" fmla="*/ 0 h 5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7"/>
                <a:gd name="T94" fmla="*/ 0 h 58"/>
                <a:gd name="T95" fmla="*/ 77 w 77"/>
                <a:gd name="T96" fmla="*/ 58 h 5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5" name="Freeform 82">
              <a:extLst>
                <a:ext uri="{FF2B5EF4-FFF2-40B4-BE49-F238E27FC236}">
                  <a16:creationId xmlns:a16="http://schemas.microsoft.com/office/drawing/2014/main" id="{538877F1-C8C9-A937-9F3A-56C30A1E4079}"/>
                </a:ext>
              </a:extLst>
            </p:cNvPr>
            <p:cNvSpPr>
              <a:spLocks noChangeAspect="1"/>
            </p:cNvSpPr>
            <p:nvPr userDrawn="1"/>
          </p:nvSpPr>
          <p:spPr bwMode="gray">
            <a:xfrm>
              <a:off x="9168250" y="4443119"/>
              <a:ext cx="8954" cy="24388"/>
            </a:xfrm>
            <a:custGeom>
              <a:avLst/>
              <a:gdLst>
                <a:gd name="T0" fmla="*/ 0 w 15"/>
                <a:gd name="T1" fmla="*/ 0 h 42"/>
                <a:gd name="T2" fmla="*/ 0 w 15"/>
                <a:gd name="T3" fmla="*/ 0 h 42"/>
                <a:gd name="T4" fmla="*/ 0 w 15"/>
                <a:gd name="T5" fmla="*/ 0 h 42"/>
                <a:gd name="T6" fmla="*/ 0 w 15"/>
                <a:gd name="T7" fmla="*/ 0 h 42"/>
                <a:gd name="T8" fmla="*/ 0 w 15"/>
                <a:gd name="T9" fmla="*/ 0 h 42"/>
                <a:gd name="T10" fmla="*/ 0 w 15"/>
                <a:gd name="T11" fmla="*/ 0 h 42"/>
                <a:gd name="T12" fmla="*/ 0 w 15"/>
                <a:gd name="T13" fmla="*/ 0 h 42"/>
                <a:gd name="T14" fmla="*/ 0 w 15"/>
                <a:gd name="T15" fmla="*/ 0 h 42"/>
                <a:gd name="T16" fmla="*/ 0 w 15"/>
                <a:gd name="T17" fmla="*/ 0 h 42"/>
                <a:gd name="T18" fmla="*/ 0 w 15"/>
                <a:gd name="T19" fmla="*/ 0 h 42"/>
                <a:gd name="T20" fmla="*/ 0 w 15"/>
                <a:gd name="T21" fmla="*/ 0 h 42"/>
                <a:gd name="T22" fmla="*/ 0 w 15"/>
                <a:gd name="T23" fmla="*/ 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42"/>
                <a:gd name="T38" fmla="*/ 15 w 15"/>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6" name="Freeform 83">
              <a:extLst>
                <a:ext uri="{FF2B5EF4-FFF2-40B4-BE49-F238E27FC236}">
                  <a16:creationId xmlns:a16="http://schemas.microsoft.com/office/drawing/2014/main" id="{04E58595-5590-A951-D5DE-1A412EEC2C0E}"/>
                </a:ext>
              </a:extLst>
            </p:cNvPr>
            <p:cNvSpPr>
              <a:spLocks noChangeAspect="1"/>
            </p:cNvSpPr>
            <p:nvPr userDrawn="1"/>
          </p:nvSpPr>
          <p:spPr bwMode="gray">
            <a:xfrm>
              <a:off x="9421948" y="4600113"/>
              <a:ext cx="71632" cy="35057"/>
            </a:xfrm>
            <a:custGeom>
              <a:avLst/>
              <a:gdLst>
                <a:gd name="T0" fmla="*/ 0 w 133"/>
                <a:gd name="T1" fmla="*/ 0 h 61"/>
                <a:gd name="T2" fmla="*/ 0 w 133"/>
                <a:gd name="T3" fmla="*/ 0 h 61"/>
                <a:gd name="T4" fmla="*/ 0 w 133"/>
                <a:gd name="T5" fmla="*/ 0 h 61"/>
                <a:gd name="T6" fmla="*/ 0 w 133"/>
                <a:gd name="T7" fmla="*/ 0 h 61"/>
                <a:gd name="T8" fmla="*/ 0 w 133"/>
                <a:gd name="T9" fmla="*/ 0 h 61"/>
                <a:gd name="T10" fmla="*/ 2147483647 w 133"/>
                <a:gd name="T11" fmla="*/ 0 h 61"/>
                <a:gd name="T12" fmla="*/ 2147483647 w 133"/>
                <a:gd name="T13" fmla="*/ 0 h 61"/>
                <a:gd name="T14" fmla="*/ 2147483647 w 133"/>
                <a:gd name="T15" fmla="*/ 0 h 61"/>
                <a:gd name="T16" fmla="*/ 2147483647 w 133"/>
                <a:gd name="T17" fmla="*/ 0 h 61"/>
                <a:gd name="T18" fmla="*/ 2147483647 w 133"/>
                <a:gd name="T19" fmla="*/ 0 h 61"/>
                <a:gd name="T20" fmla="*/ 2147483647 w 133"/>
                <a:gd name="T21" fmla="*/ 0 h 61"/>
                <a:gd name="T22" fmla="*/ 2147483647 w 133"/>
                <a:gd name="T23" fmla="*/ 0 h 61"/>
                <a:gd name="T24" fmla="*/ 2147483647 w 133"/>
                <a:gd name="T25" fmla="*/ 0 h 61"/>
                <a:gd name="T26" fmla="*/ 2147483647 w 133"/>
                <a:gd name="T27" fmla="*/ 0 h 61"/>
                <a:gd name="T28" fmla="*/ 2147483647 w 133"/>
                <a:gd name="T29" fmla="*/ 0 h 61"/>
                <a:gd name="T30" fmla="*/ 2147483647 w 133"/>
                <a:gd name="T31" fmla="*/ 0 h 61"/>
                <a:gd name="T32" fmla="*/ 2147483647 w 133"/>
                <a:gd name="T33" fmla="*/ 0 h 61"/>
                <a:gd name="T34" fmla="*/ 2147483647 w 133"/>
                <a:gd name="T35" fmla="*/ 0 h 61"/>
                <a:gd name="T36" fmla="*/ 2147483647 w 133"/>
                <a:gd name="T37" fmla="*/ 0 h 61"/>
                <a:gd name="T38" fmla="*/ 0 w 133"/>
                <a:gd name="T39" fmla="*/ 0 h 61"/>
                <a:gd name="T40" fmla="*/ 0 w 133"/>
                <a:gd name="T41" fmla="*/ 0 h 61"/>
                <a:gd name="T42" fmla="*/ 0 w 133"/>
                <a:gd name="T43" fmla="*/ 0 h 61"/>
                <a:gd name="T44" fmla="*/ 0 w 133"/>
                <a:gd name="T45" fmla="*/ 0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3"/>
                <a:gd name="T70" fmla="*/ 0 h 61"/>
                <a:gd name="T71" fmla="*/ 133 w 133"/>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7" name="Freeform 84">
              <a:extLst>
                <a:ext uri="{FF2B5EF4-FFF2-40B4-BE49-F238E27FC236}">
                  <a16:creationId xmlns:a16="http://schemas.microsoft.com/office/drawing/2014/main" id="{4FCF87F4-29F8-6944-C45F-CAE2768A4081}"/>
                </a:ext>
              </a:extLst>
            </p:cNvPr>
            <p:cNvSpPr>
              <a:spLocks noChangeAspect="1"/>
            </p:cNvSpPr>
            <p:nvPr userDrawn="1"/>
          </p:nvSpPr>
          <p:spPr bwMode="gray">
            <a:xfrm>
              <a:off x="9387625" y="4622976"/>
              <a:ext cx="44770" cy="38106"/>
            </a:xfrm>
            <a:custGeom>
              <a:avLst/>
              <a:gdLst>
                <a:gd name="T0" fmla="*/ 2147483647 w 85"/>
                <a:gd name="T1" fmla="*/ 0 h 71"/>
                <a:gd name="T2" fmla="*/ 2147483647 w 85"/>
                <a:gd name="T3" fmla="*/ 0 h 71"/>
                <a:gd name="T4" fmla="*/ 2147483647 w 85"/>
                <a:gd name="T5" fmla="*/ 0 h 71"/>
                <a:gd name="T6" fmla="*/ 2147483647 w 85"/>
                <a:gd name="T7" fmla="*/ 0 h 71"/>
                <a:gd name="T8" fmla="*/ 2147483647 w 85"/>
                <a:gd name="T9" fmla="*/ 0 h 71"/>
                <a:gd name="T10" fmla="*/ 2147483647 w 85"/>
                <a:gd name="T11" fmla="*/ 0 h 71"/>
                <a:gd name="T12" fmla="*/ 2147483647 w 85"/>
                <a:gd name="T13" fmla="*/ 0 h 71"/>
                <a:gd name="T14" fmla="*/ 0 w 85"/>
                <a:gd name="T15" fmla="*/ 0 h 71"/>
                <a:gd name="T16" fmla="*/ 0 w 85"/>
                <a:gd name="T17" fmla="*/ 0 h 71"/>
                <a:gd name="T18" fmla="*/ 0 w 85"/>
                <a:gd name="T19" fmla="*/ 0 h 71"/>
                <a:gd name="T20" fmla="*/ 0 w 85"/>
                <a:gd name="T21" fmla="*/ 0 h 71"/>
                <a:gd name="T22" fmla="*/ 0 w 85"/>
                <a:gd name="T23" fmla="*/ 0 h 71"/>
                <a:gd name="T24" fmla="*/ 0 w 85"/>
                <a:gd name="T25" fmla="*/ 0 h 71"/>
                <a:gd name="T26" fmla="*/ 0 w 85"/>
                <a:gd name="T27" fmla="*/ 0 h 71"/>
                <a:gd name="T28" fmla="*/ 0 w 85"/>
                <a:gd name="T29" fmla="*/ 0 h 71"/>
                <a:gd name="T30" fmla="*/ 0 w 85"/>
                <a:gd name="T31" fmla="*/ 0 h 71"/>
                <a:gd name="T32" fmla="*/ 0 w 85"/>
                <a:gd name="T33" fmla="*/ 0 h 71"/>
                <a:gd name="T34" fmla="*/ 0 w 85"/>
                <a:gd name="T35" fmla="*/ 0 h 71"/>
                <a:gd name="T36" fmla="*/ 0 w 85"/>
                <a:gd name="T37" fmla="*/ 0 h 71"/>
                <a:gd name="T38" fmla="*/ 0 w 85"/>
                <a:gd name="T39" fmla="*/ 0 h 71"/>
                <a:gd name="T40" fmla="*/ 0 w 85"/>
                <a:gd name="T41" fmla="*/ 0 h 71"/>
                <a:gd name="T42" fmla="*/ 2147483647 w 85"/>
                <a:gd name="T43" fmla="*/ 0 h 71"/>
                <a:gd name="T44" fmla="*/ 2147483647 w 85"/>
                <a:gd name="T45" fmla="*/ 0 h 71"/>
                <a:gd name="T46" fmla="*/ 2147483647 w 85"/>
                <a:gd name="T47" fmla="*/ 0 h 71"/>
                <a:gd name="T48" fmla="*/ 2147483647 w 85"/>
                <a:gd name="T49" fmla="*/ 0 h 71"/>
                <a:gd name="T50" fmla="*/ 2147483647 w 85"/>
                <a:gd name="T51" fmla="*/ 0 h 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5"/>
                <a:gd name="T79" fmla="*/ 0 h 71"/>
                <a:gd name="T80" fmla="*/ 85 w 85"/>
                <a:gd name="T81" fmla="*/ 71 h 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8" name="Freeform 85">
              <a:extLst>
                <a:ext uri="{FF2B5EF4-FFF2-40B4-BE49-F238E27FC236}">
                  <a16:creationId xmlns:a16="http://schemas.microsoft.com/office/drawing/2014/main" id="{60B1E99A-0017-ECC5-5405-5E665DA3ED57}"/>
                </a:ext>
              </a:extLst>
            </p:cNvPr>
            <p:cNvSpPr>
              <a:spLocks noChangeAspect="1"/>
            </p:cNvSpPr>
            <p:nvPr userDrawn="1"/>
          </p:nvSpPr>
          <p:spPr bwMode="gray">
            <a:xfrm>
              <a:off x="9514474" y="4427877"/>
              <a:ext cx="86556" cy="32009"/>
            </a:xfrm>
            <a:custGeom>
              <a:avLst/>
              <a:gdLst>
                <a:gd name="T0" fmla="*/ 0 w 162"/>
                <a:gd name="T1" fmla="*/ 0 h 59"/>
                <a:gd name="T2" fmla="*/ 0 w 162"/>
                <a:gd name="T3" fmla="*/ 0 h 59"/>
                <a:gd name="T4" fmla="*/ 0 w 162"/>
                <a:gd name="T5" fmla="*/ 0 h 59"/>
                <a:gd name="T6" fmla="*/ 0 w 162"/>
                <a:gd name="T7" fmla="*/ 0 h 59"/>
                <a:gd name="T8" fmla="*/ 0 w 162"/>
                <a:gd name="T9" fmla="*/ 0 h 59"/>
                <a:gd name="T10" fmla="*/ 0 w 162"/>
                <a:gd name="T11" fmla="*/ 0 h 59"/>
                <a:gd name="T12" fmla="*/ 0 w 162"/>
                <a:gd name="T13" fmla="*/ 0 h 59"/>
                <a:gd name="T14" fmla="*/ 0 w 162"/>
                <a:gd name="T15" fmla="*/ 0 h 59"/>
                <a:gd name="T16" fmla="*/ 2147483647 w 162"/>
                <a:gd name="T17" fmla="*/ 0 h 59"/>
                <a:gd name="T18" fmla="*/ 2147483647 w 162"/>
                <a:gd name="T19" fmla="*/ 0 h 59"/>
                <a:gd name="T20" fmla="*/ 2147483647 w 162"/>
                <a:gd name="T21" fmla="*/ 0 h 59"/>
                <a:gd name="T22" fmla="*/ 2147483647 w 162"/>
                <a:gd name="T23" fmla="*/ 0 h 59"/>
                <a:gd name="T24" fmla="*/ 2147483647 w 162"/>
                <a:gd name="T25" fmla="*/ 0 h 59"/>
                <a:gd name="T26" fmla="*/ 2147483647 w 162"/>
                <a:gd name="T27" fmla="*/ 0 h 59"/>
                <a:gd name="T28" fmla="*/ 2147483647 w 162"/>
                <a:gd name="T29" fmla="*/ 0 h 59"/>
                <a:gd name="T30" fmla="*/ 2147483647 w 162"/>
                <a:gd name="T31" fmla="*/ 0 h 59"/>
                <a:gd name="T32" fmla="*/ 2147483647 w 162"/>
                <a:gd name="T33" fmla="*/ 0 h 59"/>
                <a:gd name="T34" fmla="*/ 2147483647 w 162"/>
                <a:gd name="T35" fmla="*/ 0 h 59"/>
                <a:gd name="T36" fmla="*/ 2147483647 w 162"/>
                <a:gd name="T37" fmla="*/ 0 h 59"/>
                <a:gd name="T38" fmla="*/ 2147483647 w 162"/>
                <a:gd name="T39" fmla="*/ 0 h 59"/>
                <a:gd name="T40" fmla="*/ 2147483647 w 162"/>
                <a:gd name="T41" fmla="*/ 0 h 59"/>
                <a:gd name="T42" fmla="*/ 2147483647 w 162"/>
                <a:gd name="T43" fmla="*/ 0 h 59"/>
                <a:gd name="T44" fmla="*/ 2147483647 w 162"/>
                <a:gd name="T45" fmla="*/ 0 h 59"/>
                <a:gd name="T46" fmla="*/ 2147483647 w 162"/>
                <a:gd name="T47" fmla="*/ 0 h 59"/>
                <a:gd name="T48" fmla="*/ 2147483647 w 162"/>
                <a:gd name="T49" fmla="*/ 0 h 59"/>
                <a:gd name="T50" fmla="*/ 2147483647 w 162"/>
                <a:gd name="T51" fmla="*/ 0 h 59"/>
                <a:gd name="T52" fmla="*/ 2147483647 w 162"/>
                <a:gd name="T53" fmla="*/ 0 h 59"/>
                <a:gd name="T54" fmla="*/ 2147483647 w 162"/>
                <a:gd name="T55" fmla="*/ 0 h 59"/>
                <a:gd name="T56" fmla="*/ 2147483647 w 162"/>
                <a:gd name="T57" fmla="*/ 0 h 59"/>
                <a:gd name="T58" fmla="*/ 2147483647 w 162"/>
                <a:gd name="T59" fmla="*/ 0 h 59"/>
                <a:gd name="T60" fmla="*/ 2147483647 w 162"/>
                <a:gd name="T61" fmla="*/ 0 h 59"/>
                <a:gd name="T62" fmla="*/ 2147483647 w 162"/>
                <a:gd name="T63" fmla="*/ 0 h 59"/>
                <a:gd name="T64" fmla="*/ 0 w 162"/>
                <a:gd name="T65" fmla="*/ 0 h 59"/>
                <a:gd name="T66" fmla="*/ 0 w 162"/>
                <a:gd name="T67" fmla="*/ 0 h 59"/>
                <a:gd name="T68" fmla="*/ 0 w 162"/>
                <a:gd name="T69" fmla="*/ 0 h 59"/>
                <a:gd name="T70" fmla="*/ 0 w 162"/>
                <a:gd name="T71" fmla="*/ 0 h 59"/>
                <a:gd name="T72" fmla="*/ 0 w 162"/>
                <a:gd name="T73" fmla="*/ 0 h 59"/>
                <a:gd name="T74" fmla="*/ 0 w 162"/>
                <a:gd name="T75" fmla="*/ 0 h 59"/>
                <a:gd name="T76" fmla="*/ 0 w 162"/>
                <a:gd name="T77" fmla="*/ 0 h 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62"/>
                <a:gd name="T118" fmla="*/ 0 h 59"/>
                <a:gd name="T119" fmla="*/ 162 w 162"/>
                <a:gd name="T120" fmla="*/ 59 h 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89" name="Freeform 86">
              <a:extLst>
                <a:ext uri="{FF2B5EF4-FFF2-40B4-BE49-F238E27FC236}">
                  <a16:creationId xmlns:a16="http://schemas.microsoft.com/office/drawing/2014/main" id="{4C5D0C47-A919-0E98-158E-BCBE04CBEFB2}"/>
                </a:ext>
              </a:extLst>
            </p:cNvPr>
            <p:cNvSpPr>
              <a:spLocks noChangeAspect="1"/>
            </p:cNvSpPr>
            <p:nvPr userDrawn="1"/>
          </p:nvSpPr>
          <p:spPr bwMode="gray">
            <a:xfrm>
              <a:off x="9250329" y="4287648"/>
              <a:ext cx="186542" cy="230157"/>
            </a:xfrm>
            <a:custGeom>
              <a:avLst/>
              <a:gdLst>
                <a:gd name="T0" fmla="*/ 2147483647 w 345"/>
                <a:gd name="T1" fmla="*/ 0 h 404"/>
                <a:gd name="T2" fmla="*/ 2147483647 w 345"/>
                <a:gd name="T3" fmla="*/ 0 h 404"/>
                <a:gd name="T4" fmla="*/ 2147483647 w 345"/>
                <a:gd name="T5" fmla="*/ 0 h 404"/>
                <a:gd name="T6" fmla="*/ 2147483647 w 345"/>
                <a:gd name="T7" fmla="*/ 0 h 404"/>
                <a:gd name="T8" fmla="*/ 2147483647 w 345"/>
                <a:gd name="T9" fmla="*/ 0 h 404"/>
                <a:gd name="T10" fmla="*/ 2147483647 w 345"/>
                <a:gd name="T11" fmla="*/ 0 h 404"/>
                <a:gd name="T12" fmla="*/ 2147483647 w 345"/>
                <a:gd name="T13" fmla="*/ 0 h 404"/>
                <a:gd name="T14" fmla="*/ 2147483647 w 345"/>
                <a:gd name="T15" fmla="*/ 0 h 404"/>
                <a:gd name="T16" fmla="*/ 2147483647 w 345"/>
                <a:gd name="T17" fmla="*/ 0 h 404"/>
                <a:gd name="T18" fmla="*/ 2147483647 w 345"/>
                <a:gd name="T19" fmla="*/ 0 h 404"/>
                <a:gd name="T20" fmla="*/ 2147483647 w 345"/>
                <a:gd name="T21" fmla="*/ 2147483647 h 404"/>
                <a:gd name="T22" fmla="*/ 2147483647 w 345"/>
                <a:gd name="T23" fmla="*/ 0 h 404"/>
                <a:gd name="T24" fmla="*/ 2147483647 w 345"/>
                <a:gd name="T25" fmla="*/ 0 h 404"/>
                <a:gd name="T26" fmla="*/ 2147483647 w 345"/>
                <a:gd name="T27" fmla="*/ 0 h 404"/>
                <a:gd name="T28" fmla="*/ 2147483647 w 345"/>
                <a:gd name="T29" fmla="*/ 0 h 404"/>
                <a:gd name="T30" fmla="*/ 2147483647 w 345"/>
                <a:gd name="T31" fmla="*/ 0 h 404"/>
                <a:gd name="T32" fmla="*/ 2147483647 w 345"/>
                <a:gd name="T33" fmla="*/ 2147483647 h 404"/>
                <a:gd name="T34" fmla="*/ 2147483647 w 345"/>
                <a:gd name="T35" fmla="*/ 2147483647 h 404"/>
                <a:gd name="T36" fmla="*/ 2147483647 w 345"/>
                <a:gd name="T37" fmla="*/ 2147483647 h 404"/>
                <a:gd name="T38" fmla="*/ 2147483647 w 345"/>
                <a:gd name="T39" fmla="*/ 2147483647 h 404"/>
                <a:gd name="T40" fmla="*/ 2147483647 w 345"/>
                <a:gd name="T41" fmla="*/ 2147483647 h 404"/>
                <a:gd name="T42" fmla="*/ 2147483647 w 345"/>
                <a:gd name="T43" fmla="*/ 2147483647 h 404"/>
                <a:gd name="T44" fmla="*/ 2147483647 w 345"/>
                <a:gd name="T45" fmla="*/ 2147483647 h 404"/>
                <a:gd name="T46" fmla="*/ 2147483647 w 345"/>
                <a:gd name="T47" fmla="*/ 2147483647 h 404"/>
                <a:gd name="T48" fmla="*/ 2147483647 w 345"/>
                <a:gd name="T49" fmla="*/ 2147483647 h 404"/>
                <a:gd name="T50" fmla="*/ 2147483647 w 345"/>
                <a:gd name="T51" fmla="*/ 2147483647 h 404"/>
                <a:gd name="T52" fmla="*/ 2147483647 w 345"/>
                <a:gd name="T53" fmla="*/ 2147483647 h 404"/>
                <a:gd name="T54" fmla="*/ 2147483647 w 345"/>
                <a:gd name="T55" fmla="*/ 2147483647 h 404"/>
                <a:gd name="T56" fmla="*/ 2147483647 w 345"/>
                <a:gd name="T57" fmla="*/ 2147483647 h 404"/>
                <a:gd name="T58" fmla="*/ 2147483647 w 345"/>
                <a:gd name="T59" fmla="*/ 2147483647 h 404"/>
                <a:gd name="T60" fmla="*/ 2147483647 w 345"/>
                <a:gd name="T61" fmla="*/ 2147483647 h 404"/>
                <a:gd name="T62" fmla="*/ 2147483647 w 345"/>
                <a:gd name="T63" fmla="*/ 2147483647 h 404"/>
                <a:gd name="T64" fmla="*/ 2147483647 w 345"/>
                <a:gd name="T65" fmla="*/ 2147483647 h 404"/>
                <a:gd name="T66" fmla="*/ 2147483647 w 345"/>
                <a:gd name="T67" fmla="*/ 2147483647 h 404"/>
                <a:gd name="T68" fmla="*/ 2147483647 w 345"/>
                <a:gd name="T69" fmla="*/ 2147483647 h 404"/>
                <a:gd name="T70" fmla="*/ 2147483647 w 345"/>
                <a:gd name="T71" fmla="*/ 2147483647 h 404"/>
                <a:gd name="T72" fmla="*/ 2147483647 w 345"/>
                <a:gd name="T73" fmla="*/ 2147483647 h 404"/>
                <a:gd name="T74" fmla="*/ 2147483647 w 345"/>
                <a:gd name="T75" fmla="*/ 2147483647 h 404"/>
                <a:gd name="T76" fmla="*/ 2147483647 w 345"/>
                <a:gd name="T77" fmla="*/ 2147483647 h 404"/>
                <a:gd name="T78" fmla="*/ 2147483647 w 345"/>
                <a:gd name="T79" fmla="*/ 2147483647 h 404"/>
                <a:gd name="T80" fmla="*/ 2147483647 w 345"/>
                <a:gd name="T81" fmla="*/ 2147483647 h 404"/>
                <a:gd name="T82" fmla="*/ 2147483647 w 345"/>
                <a:gd name="T83" fmla="*/ 2147483647 h 404"/>
                <a:gd name="T84" fmla="*/ 2147483647 w 345"/>
                <a:gd name="T85" fmla="*/ 2147483647 h 404"/>
                <a:gd name="T86" fmla="*/ 0 w 345"/>
                <a:gd name="T87" fmla="*/ 2147483647 h 404"/>
                <a:gd name="T88" fmla="*/ 0 w 345"/>
                <a:gd name="T89" fmla="*/ 2147483647 h 404"/>
                <a:gd name="T90" fmla="*/ 0 w 345"/>
                <a:gd name="T91" fmla="*/ 2147483647 h 404"/>
                <a:gd name="T92" fmla="*/ 0 w 345"/>
                <a:gd name="T93" fmla="*/ 2147483647 h 404"/>
                <a:gd name="T94" fmla="*/ 0 w 345"/>
                <a:gd name="T95" fmla="*/ 2147483647 h 404"/>
                <a:gd name="T96" fmla="*/ 0 w 345"/>
                <a:gd name="T97" fmla="*/ 2147483647 h 404"/>
                <a:gd name="T98" fmla="*/ 2147483647 w 345"/>
                <a:gd name="T99" fmla="*/ 2147483647 h 404"/>
                <a:gd name="T100" fmla="*/ 0 w 345"/>
                <a:gd name="T101" fmla="*/ 2147483647 h 404"/>
                <a:gd name="T102" fmla="*/ 2147483647 w 345"/>
                <a:gd name="T103" fmla="*/ 2147483647 h 404"/>
                <a:gd name="T104" fmla="*/ 2147483647 w 345"/>
                <a:gd name="T105" fmla="*/ 0 h 404"/>
                <a:gd name="T106" fmla="*/ 2147483647 w 345"/>
                <a:gd name="T107" fmla="*/ 0 h 404"/>
                <a:gd name="T108" fmla="*/ 2147483647 w 345"/>
                <a:gd name="T109" fmla="*/ 0 h 4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5"/>
                <a:gd name="T166" fmla="*/ 0 h 404"/>
                <a:gd name="T167" fmla="*/ 345 w 345"/>
                <a:gd name="T168" fmla="*/ 404 h 4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0" name="Freeform 87">
              <a:extLst>
                <a:ext uri="{FF2B5EF4-FFF2-40B4-BE49-F238E27FC236}">
                  <a16:creationId xmlns:a16="http://schemas.microsoft.com/office/drawing/2014/main" id="{5B845DDC-589C-7520-05AD-1284727D57C0}"/>
                </a:ext>
              </a:extLst>
            </p:cNvPr>
            <p:cNvSpPr>
              <a:spLocks noChangeAspect="1"/>
            </p:cNvSpPr>
            <p:nvPr userDrawn="1"/>
          </p:nvSpPr>
          <p:spPr bwMode="gray">
            <a:xfrm>
              <a:off x="9499550" y="4270882"/>
              <a:ext cx="43278" cy="96025"/>
            </a:xfrm>
            <a:custGeom>
              <a:avLst/>
              <a:gdLst>
                <a:gd name="T0" fmla="*/ 0 w 80"/>
                <a:gd name="T1" fmla="*/ 0 h 170"/>
                <a:gd name="T2" fmla="*/ 0 w 80"/>
                <a:gd name="T3" fmla="*/ 0 h 170"/>
                <a:gd name="T4" fmla="*/ 0 w 80"/>
                <a:gd name="T5" fmla="*/ 0 h 170"/>
                <a:gd name="T6" fmla="*/ 0 w 80"/>
                <a:gd name="T7" fmla="*/ 0 h 170"/>
                <a:gd name="T8" fmla="*/ 0 w 80"/>
                <a:gd name="T9" fmla="*/ 0 h 170"/>
                <a:gd name="T10" fmla="*/ 0 w 80"/>
                <a:gd name="T11" fmla="*/ 0 h 170"/>
                <a:gd name="T12" fmla="*/ 0 w 80"/>
                <a:gd name="T13" fmla="*/ 0 h 170"/>
                <a:gd name="T14" fmla="*/ 0 w 80"/>
                <a:gd name="T15" fmla="*/ 0 h 170"/>
                <a:gd name="T16" fmla="*/ 0 w 80"/>
                <a:gd name="T17" fmla="*/ 0 h 170"/>
                <a:gd name="T18" fmla="*/ 0 w 80"/>
                <a:gd name="T19" fmla="*/ 0 h 170"/>
                <a:gd name="T20" fmla="*/ 0 w 80"/>
                <a:gd name="T21" fmla="*/ 0 h 170"/>
                <a:gd name="T22" fmla="*/ 0 w 80"/>
                <a:gd name="T23" fmla="*/ 0 h 170"/>
                <a:gd name="T24" fmla="*/ 0 w 80"/>
                <a:gd name="T25" fmla="*/ 0 h 170"/>
                <a:gd name="T26" fmla="*/ 0 w 80"/>
                <a:gd name="T27" fmla="*/ 0 h 170"/>
                <a:gd name="T28" fmla="*/ 0 w 80"/>
                <a:gd name="T29" fmla="*/ 0 h 170"/>
                <a:gd name="T30" fmla="*/ 0 w 80"/>
                <a:gd name="T31" fmla="*/ 0 h 170"/>
                <a:gd name="T32" fmla="*/ 0 w 80"/>
                <a:gd name="T33" fmla="*/ 0 h 170"/>
                <a:gd name="T34" fmla="*/ 2147483647 w 80"/>
                <a:gd name="T35" fmla="*/ 0 h 170"/>
                <a:gd name="T36" fmla="*/ 2147483647 w 80"/>
                <a:gd name="T37" fmla="*/ 0 h 170"/>
                <a:gd name="T38" fmla="*/ 2147483647 w 80"/>
                <a:gd name="T39" fmla="*/ 0 h 170"/>
                <a:gd name="T40" fmla="*/ 2147483647 w 80"/>
                <a:gd name="T41" fmla="*/ 0 h 170"/>
                <a:gd name="T42" fmla="*/ 2147483647 w 80"/>
                <a:gd name="T43" fmla="*/ 0 h 170"/>
                <a:gd name="T44" fmla="*/ 2147483647 w 80"/>
                <a:gd name="T45" fmla="*/ 0 h 170"/>
                <a:gd name="T46" fmla="*/ 2147483647 w 80"/>
                <a:gd name="T47" fmla="*/ 2147483647 h 170"/>
                <a:gd name="T48" fmla="*/ 2147483647 w 80"/>
                <a:gd name="T49" fmla="*/ 2147483647 h 170"/>
                <a:gd name="T50" fmla="*/ 2147483647 w 80"/>
                <a:gd name="T51" fmla="*/ 2147483647 h 170"/>
                <a:gd name="T52" fmla="*/ 2147483647 w 80"/>
                <a:gd name="T53" fmla="*/ 2147483647 h 170"/>
                <a:gd name="T54" fmla="*/ 2147483647 w 80"/>
                <a:gd name="T55" fmla="*/ 2147483647 h 170"/>
                <a:gd name="T56" fmla="*/ 2147483647 w 80"/>
                <a:gd name="T57" fmla="*/ 2147483647 h 170"/>
                <a:gd name="T58" fmla="*/ 2147483647 w 80"/>
                <a:gd name="T59" fmla="*/ 2147483647 h 170"/>
                <a:gd name="T60" fmla="*/ 2147483647 w 80"/>
                <a:gd name="T61" fmla="*/ 2147483647 h 170"/>
                <a:gd name="T62" fmla="*/ 2147483647 w 80"/>
                <a:gd name="T63" fmla="*/ 2147483647 h 170"/>
                <a:gd name="T64" fmla="*/ 0 w 80"/>
                <a:gd name="T65" fmla="*/ 2147483647 h 170"/>
                <a:gd name="T66" fmla="*/ 0 w 80"/>
                <a:gd name="T67" fmla="*/ 2147483647 h 170"/>
                <a:gd name="T68" fmla="*/ 0 w 80"/>
                <a:gd name="T69" fmla="*/ 2147483647 h 170"/>
                <a:gd name="T70" fmla="*/ 0 w 80"/>
                <a:gd name="T71" fmla="*/ 2147483647 h 170"/>
                <a:gd name="T72" fmla="*/ 0 w 80"/>
                <a:gd name="T73" fmla="*/ 2147483647 h 170"/>
                <a:gd name="T74" fmla="*/ 0 w 80"/>
                <a:gd name="T75" fmla="*/ 2147483647 h 170"/>
                <a:gd name="T76" fmla="*/ 2147483647 w 80"/>
                <a:gd name="T77" fmla="*/ 2147483647 h 170"/>
                <a:gd name="T78" fmla="*/ 2147483647 w 80"/>
                <a:gd name="T79" fmla="*/ 2147483647 h 170"/>
                <a:gd name="T80" fmla="*/ 0 w 80"/>
                <a:gd name="T81" fmla="*/ 2147483647 h 170"/>
                <a:gd name="T82" fmla="*/ 0 w 80"/>
                <a:gd name="T83" fmla="*/ 2147483647 h 170"/>
                <a:gd name="T84" fmla="*/ 0 w 80"/>
                <a:gd name="T85" fmla="*/ 2147483647 h 170"/>
                <a:gd name="T86" fmla="*/ 0 w 80"/>
                <a:gd name="T87" fmla="*/ 2147483647 h 170"/>
                <a:gd name="T88" fmla="*/ 0 w 80"/>
                <a:gd name="T89" fmla="*/ 2147483647 h 170"/>
                <a:gd name="T90" fmla="*/ 0 w 80"/>
                <a:gd name="T91" fmla="*/ 0 h 170"/>
                <a:gd name="T92" fmla="*/ 0 w 80"/>
                <a:gd name="T93" fmla="*/ 0 h 170"/>
                <a:gd name="T94" fmla="*/ 0 w 80"/>
                <a:gd name="T95" fmla="*/ 0 h 170"/>
                <a:gd name="T96" fmla="*/ 0 w 80"/>
                <a:gd name="T97" fmla="*/ 0 h 170"/>
                <a:gd name="T98" fmla="*/ 0 w 80"/>
                <a:gd name="T99" fmla="*/ 0 h 170"/>
                <a:gd name="T100" fmla="*/ 0 w 80"/>
                <a:gd name="T101" fmla="*/ 0 h 170"/>
                <a:gd name="T102" fmla="*/ 0 w 80"/>
                <a:gd name="T103" fmla="*/ 0 h 170"/>
                <a:gd name="T104" fmla="*/ 0 w 80"/>
                <a:gd name="T105" fmla="*/ 0 h 1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0"/>
                <a:gd name="T160" fmla="*/ 0 h 170"/>
                <a:gd name="T161" fmla="*/ 80 w 80"/>
                <a:gd name="T162" fmla="*/ 170 h 1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1" name="Freeform 88">
              <a:extLst>
                <a:ext uri="{FF2B5EF4-FFF2-40B4-BE49-F238E27FC236}">
                  <a16:creationId xmlns:a16="http://schemas.microsoft.com/office/drawing/2014/main" id="{A748EA46-8F02-0858-D6AB-DCFB425B0792}"/>
                </a:ext>
              </a:extLst>
            </p:cNvPr>
            <p:cNvSpPr>
              <a:spLocks noChangeAspect="1"/>
            </p:cNvSpPr>
            <p:nvPr userDrawn="1"/>
          </p:nvSpPr>
          <p:spPr bwMode="gray">
            <a:xfrm>
              <a:off x="9604014" y="4351665"/>
              <a:ext cx="304438" cy="272836"/>
            </a:xfrm>
            <a:custGeom>
              <a:avLst/>
              <a:gdLst>
                <a:gd name="T0" fmla="*/ 2147483647 w 568"/>
                <a:gd name="T1" fmla="*/ 2147483647 h 480"/>
                <a:gd name="T2" fmla="*/ 2147483647 w 568"/>
                <a:gd name="T3" fmla="*/ 2147483647 h 480"/>
                <a:gd name="T4" fmla="*/ 2147483647 w 568"/>
                <a:gd name="T5" fmla="*/ 2147483647 h 480"/>
                <a:gd name="T6" fmla="*/ 2147483647 w 568"/>
                <a:gd name="T7" fmla="*/ 2147483647 h 480"/>
                <a:gd name="T8" fmla="*/ 2147483647 w 568"/>
                <a:gd name="T9" fmla="*/ 2147483647 h 480"/>
                <a:gd name="T10" fmla="*/ 2147483647 w 568"/>
                <a:gd name="T11" fmla="*/ 2147483647 h 480"/>
                <a:gd name="T12" fmla="*/ 2147483647 w 568"/>
                <a:gd name="T13" fmla="*/ 2147483647 h 480"/>
                <a:gd name="T14" fmla="*/ 2147483647 w 568"/>
                <a:gd name="T15" fmla="*/ 2147483647 h 480"/>
                <a:gd name="T16" fmla="*/ 2147483647 w 568"/>
                <a:gd name="T17" fmla="*/ 2147483647 h 480"/>
                <a:gd name="T18" fmla="*/ 2147483647 w 568"/>
                <a:gd name="T19" fmla="*/ 2147483647 h 480"/>
                <a:gd name="T20" fmla="*/ 2147483647 w 568"/>
                <a:gd name="T21" fmla="*/ 2147483647 h 480"/>
                <a:gd name="T22" fmla="*/ 2147483647 w 568"/>
                <a:gd name="T23" fmla="*/ 2147483647 h 480"/>
                <a:gd name="T24" fmla="*/ 2147483647 w 568"/>
                <a:gd name="T25" fmla="*/ 2147483647 h 480"/>
                <a:gd name="T26" fmla="*/ 2147483647 w 568"/>
                <a:gd name="T27" fmla="*/ 2147483647 h 480"/>
                <a:gd name="T28" fmla="*/ 2147483647 w 568"/>
                <a:gd name="T29" fmla="*/ 2147483647 h 480"/>
                <a:gd name="T30" fmla="*/ 2147483647 w 568"/>
                <a:gd name="T31" fmla="*/ 2147483647 h 480"/>
                <a:gd name="T32" fmla="*/ 2147483647 w 568"/>
                <a:gd name="T33" fmla="*/ 2147483647 h 480"/>
                <a:gd name="T34" fmla="*/ 2147483647 w 568"/>
                <a:gd name="T35" fmla="*/ 2147483647 h 480"/>
                <a:gd name="T36" fmla="*/ 2147483647 w 568"/>
                <a:gd name="T37" fmla="*/ 2147483647 h 480"/>
                <a:gd name="T38" fmla="*/ 2147483647 w 568"/>
                <a:gd name="T39" fmla="*/ 2147483647 h 480"/>
                <a:gd name="T40" fmla="*/ 2147483647 w 568"/>
                <a:gd name="T41" fmla="*/ 2147483647 h 480"/>
                <a:gd name="T42" fmla="*/ 2147483647 w 568"/>
                <a:gd name="T43" fmla="*/ 2147483647 h 480"/>
                <a:gd name="T44" fmla="*/ 2147483647 w 568"/>
                <a:gd name="T45" fmla="*/ 2147483647 h 480"/>
                <a:gd name="T46" fmla="*/ 2147483647 w 568"/>
                <a:gd name="T47" fmla="*/ 2147483647 h 480"/>
                <a:gd name="T48" fmla="*/ 2147483647 w 568"/>
                <a:gd name="T49" fmla="*/ 2147483647 h 480"/>
                <a:gd name="T50" fmla="*/ 2147483647 w 568"/>
                <a:gd name="T51" fmla="*/ 2147483647 h 480"/>
                <a:gd name="T52" fmla="*/ 2147483647 w 568"/>
                <a:gd name="T53" fmla="*/ 2147483647 h 480"/>
                <a:gd name="T54" fmla="*/ 2147483647 w 568"/>
                <a:gd name="T55" fmla="*/ 2147483647 h 480"/>
                <a:gd name="T56" fmla="*/ 2147483647 w 568"/>
                <a:gd name="T57" fmla="*/ 2147483647 h 480"/>
                <a:gd name="T58" fmla="*/ 0 w 568"/>
                <a:gd name="T59" fmla="*/ 0 h 480"/>
                <a:gd name="T60" fmla="*/ 0 w 568"/>
                <a:gd name="T61" fmla="*/ 0 h 480"/>
                <a:gd name="T62" fmla="*/ 0 w 568"/>
                <a:gd name="T63" fmla="*/ 0 h 480"/>
                <a:gd name="T64" fmla="*/ 2147483647 w 568"/>
                <a:gd name="T65" fmla="*/ 0 h 480"/>
                <a:gd name="T66" fmla="*/ 2147483647 w 568"/>
                <a:gd name="T67" fmla="*/ 0 h 480"/>
                <a:gd name="T68" fmla="*/ 2147483647 w 568"/>
                <a:gd name="T69" fmla="*/ 0 h 480"/>
                <a:gd name="T70" fmla="*/ 2147483647 w 568"/>
                <a:gd name="T71" fmla="*/ 2147483647 h 480"/>
                <a:gd name="T72" fmla="*/ 2147483647 w 568"/>
                <a:gd name="T73" fmla="*/ 2147483647 h 480"/>
                <a:gd name="T74" fmla="*/ 2147483647 w 568"/>
                <a:gd name="T75" fmla="*/ 2147483647 h 480"/>
                <a:gd name="T76" fmla="*/ 2147483647 w 568"/>
                <a:gd name="T77" fmla="*/ 2147483647 h 480"/>
                <a:gd name="T78" fmla="*/ 2147483647 w 568"/>
                <a:gd name="T79" fmla="*/ 2147483647 h 480"/>
                <a:gd name="T80" fmla="*/ 2147483647 w 568"/>
                <a:gd name="T81" fmla="*/ 2147483647 h 480"/>
                <a:gd name="T82" fmla="*/ 2147483647 w 568"/>
                <a:gd name="T83" fmla="*/ 0 h 480"/>
                <a:gd name="T84" fmla="*/ 2147483647 w 568"/>
                <a:gd name="T85" fmla="*/ 2147483647 h 480"/>
                <a:gd name="T86" fmla="*/ 2147483647 w 568"/>
                <a:gd name="T87" fmla="*/ 2147483647 h 480"/>
                <a:gd name="T88" fmla="*/ 2147483647 w 568"/>
                <a:gd name="T89" fmla="*/ 2147483647 h 480"/>
                <a:gd name="T90" fmla="*/ 2147483647 w 568"/>
                <a:gd name="T91" fmla="*/ 2147483647 h 480"/>
                <a:gd name="T92" fmla="*/ 2147483647 w 568"/>
                <a:gd name="T93" fmla="*/ 2147483647 h 480"/>
                <a:gd name="T94" fmla="*/ 2147483647 w 568"/>
                <a:gd name="T95" fmla="*/ 2147483647 h 480"/>
                <a:gd name="T96" fmla="*/ 2147483647 w 568"/>
                <a:gd name="T97" fmla="*/ 2147483647 h 480"/>
                <a:gd name="T98" fmla="*/ 2147483647 w 568"/>
                <a:gd name="T99" fmla="*/ 2147483647 h 48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68"/>
                <a:gd name="T151" fmla="*/ 0 h 480"/>
                <a:gd name="T152" fmla="*/ 568 w 568"/>
                <a:gd name="T153" fmla="*/ 480 h 48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2" name="Freeform 89">
              <a:extLst>
                <a:ext uri="{FF2B5EF4-FFF2-40B4-BE49-F238E27FC236}">
                  <a16:creationId xmlns:a16="http://schemas.microsoft.com/office/drawing/2014/main" id="{F7E07832-7186-853B-4B3B-705A88ADFF7C}"/>
                </a:ext>
              </a:extLst>
            </p:cNvPr>
            <p:cNvSpPr>
              <a:spLocks noChangeAspect="1"/>
            </p:cNvSpPr>
            <p:nvPr userDrawn="1"/>
          </p:nvSpPr>
          <p:spPr bwMode="gray">
            <a:xfrm>
              <a:off x="10189012" y="4421779"/>
              <a:ext cx="68648" cy="67066"/>
            </a:xfrm>
            <a:custGeom>
              <a:avLst/>
              <a:gdLst>
                <a:gd name="T0" fmla="*/ 0 w 129"/>
                <a:gd name="T1" fmla="*/ 0 h 119"/>
                <a:gd name="T2" fmla="*/ 0 w 129"/>
                <a:gd name="T3" fmla="*/ 0 h 119"/>
                <a:gd name="T4" fmla="*/ 0 w 129"/>
                <a:gd name="T5" fmla="*/ 0 h 119"/>
                <a:gd name="T6" fmla="*/ 0 w 129"/>
                <a:gd name="T7" fmla="*/ 0 h 119"/>
                <a:gd name="T8" fmla="*/ 0 w 129"/>
                <a:gd name="T9" fmla="*/ 0 h 119"/>
                <a:gd name="T10" fmla="*/ 2147483647 w 129"/>
                <a:gd name="T11" fmla="*/ 0 h 119"/>
                <a:gd name="T12" fmla="*/ 2147483647 w 129"/>
                <a:gd name="T13" fmla="*/ 0 h 119"/>
                <a:gd name="T14" fmla="*/ 2147483647 w 129"/>
                <a:gd name="T15" fmla="*/ 0 h 119"/>
                <a:gd name="T16" fmla="*/ 2147483647 w 129"/>
                <a:gd name="T17" fmla="*/ 0 h 119"/>
                <a:gd name="T18" fmla="*/ 2147483647 w 129"/>
                <a:gd name="T19" fmla="*/ 0 h 119"/>
                <a:gd name="T20" fmla="*/ 2147483647 w 129"/>
                <a:gd name="T21" fmla="*/ 0 h 119"/>
                <a:gd name="T22" fmla="*/ 2147483647 w 129"/>
                <a:gd name="T23" fmla="*/ 0 h 119"/>
                <a:gd name="T24" fmla="*/ 2147483647 w 129"/>
                <a:gd name="T25" fmla="*/ 0 h 119"/>
                <a:gd name="T26" fmla="*/ 2147483647 w 129"/>
                <a:gd name="T27" fmla="*/ 2147483647 h 119"/>
                <a:gd name="T28" fmla="*/ 2147483647 w 129"/>
                <a:gd name="T29" fmla="*/ 2147483647 h 119"/>
                <a:gd name="T30" fmla="*/ 2147483647 w 129"/>
                <a:gd name="T31" fmla="*/ 2147483647 h 119"/>
                <a:gd name="T32" fmla="*/ 2147483647 w 129"/>
                <a:gd name="T33" fmla="*/ 2147483647 h 119"/>
                <a:gd name="T34" fmla="*/ 2147483647 w 129"/>
                <a:gd name="T35" fmla="*/ 2147483647 h 119"/>
                <a:gd name="T36" fmla="*/ 2147483647 w 129"/>
                <a:gd name="T37" fmla="*/ 2147483647 h 119"/>
                <a:gd name="T38" fmla="*/ 2147483647 w 129"/>
                <a:gd name="T39" fmla="*/ 2147483647 h 119"/>
                <a:gd name="T40" fmla="*/ 2147483647 w 129"/>
                <a:gd name="T41" fmla="*/ 2147483647 h 119"/>
                <a:gd name="T42" fmla="*/ 2147483647 w 129"/>
                <a:gd name="T43" fmla="*/ 0 h 119"/>
                <a:gd name="T44" fmla="*/ 2147483647 w 129"/>
                <a:gd name="T45" fmla="*/ 0 h 119"/>
                <a:gd name="T46" fmla="*/ 2147483647 w 129"/>
                <a:gd name="T47" fmla="*/ 0 h 119"/>
                <a:gd name="T48" fmla="*/ 2147483647 w 129"/>
                <a:gd name="T49" fmla="*/ 0 h 119"/>
                <a:gd name="T50" fmla="*/ 2147483647 w 129"/>
                <a:gd name="T51" fmla="*/ 0 h 119"/>
                <a:gd name="T52" fmla="*/ 0 w 129"/>
                <a:gd name="T53" fmla="*/ 0 h 119"/>
                <a:gd name="T54" fmla="*/ 0 w 129"/>
                <a:gd name="T55" fmla="*/ 0 h 119"/>
                <a:gd name="T56" fmla="*/ 0 w 129"/>
                <a:gd name="T57" fmla="*/ 0 h 119"/>
                <a:gd name="T58" fmla="*/ 0 w 129"/>
                <a:gd name="T59" fmla="*/ 0 h 119"/>
                <a:gd name="T60" fmla="*/ 0 w 129"/>
                <a:gd name="T61" fmla="*/ 0 h 119"/>
                <a:gd name="T62" fmla="*/ 0 w 129"/>
                <a:gd name="T63" fmla="*/ 0 h 119"/>
                <a:gd name="T64" fmla="*/ 0 w 129"/>
                <a:gd name="T65" fmla="*/ 0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9"/>
                <a:gd name="T100" fmla="*/ 0 h 119"/>
                <a:gd name="T101" fmla="*/ 129 w 129"/>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3" name="Freeform 90">
              <a:extLst>
                <a:ext uri="{FF2B5EF4-FFF2-40B4-BE49-F238E27FC236}">
                  <a16:creationId xmlns:a16="http://schemas.microsoft.com/office/drawing/2014/main" id="{AFE35573-3940-7F14-F615-77CEE6851283}"/>
                </a:ext>
              </a:extLst>
            </p:cNvPr>
            <p:cNvSpPr>
              <a:spLocks noChangeAspect="1"/>
            </p:cNvSpPr>
            <p:nvPr userDrawn="1"/>
          </p:nvSpPr>
          <p:spPr bwMode="gray">
            <a:xfrm>
              <a:off x="8760841" y="3603275"/>
              <a:ext cx="210420" cy="472508"/>
            </a:xfrm>
            <a:custGeom>
              <a:avLst/>
              <a:gdLst>
                <a:gd name="T0" fmla="*/ 2147483647 w 395"/>
                <a:gd name="T1" fmla="*/ 2147483647 h 832"/>
                <a:gd name="T2" fmla="*/ 2147483647 w 395"/>
                <a:gd name="T3" fmla="*/ 2147483647 h 832"/>
                <a:gd name="T4" fmla="*/ 2147483647 w 395"/>
                <a:gd name="T5" fmla="*/ 2147483647 h 832"/>
                <a:gd name="T6" fmla="*/ 2147483647 w 395"/>
                <a:gd name="T7" fmla="*/ 2147483647 h 832"/>
                <a:gd name="T8" fmla="*/ 2147483647 w 395"/>
                <a:gd name="T9" fmla="*/ 2147483647 h 832"/>
                <a:gd name="T10" fmla="*/ 2147483647 w 395"/>
                <a:gd name="T11" fmla="*/ 2147483647 h 832"/>
                <a:gd name="T12" fmla="*/ 2147483647 w 395"/>
                <a:gd name="T13" fmla="*/ 2147483647 h 832"/>
                <a:gd name="T14" fmla="*/ 2147483647 w 395"/>
                <a:gd name="T15" fmla="*/ 2147483647 h 832"/>
                <a:gd name="T16" fmla="*/ 2147483647 w 395"/>
                <a:gd name="T17" fmla="*/ 2147483647 h 832"/>
                <a:gd name="T18" fmla="*/ 2147483647 w 395"/>
                <a:gd name="T19" fmla="*/ 2147483647 h 832"/>
                <a:gd name="T20" fmla="*/ 2147483647 w 395"/>
                <a:gd name="T21" fmla="*/ 2147483647 h 832"/>
                <a:gd name="T22" fmla="*/ 2147483647 w 395"/>
                <a:gd name="T23" fmla="*/ 2147483647 h 832"/>
                <a:gd name="T24" fmla="*/ 2147483647 w 395"/>
                <a:gd name="T25" fmla="*/ 2147483647 h 832"/>
                <a:gd name="T26" fmla="*/ 2147483647 w 395"/>
                <a:gd name="T27" fmla="*/ 2147483647 h 832"/>
                <a:gd name="T28" fmla="*/ 2147483647 w 395"/>
                <a:gd name="T29" fmla="*/ 2147483647 h 832"/>
                <a:gd name="T30" fmla="*/ 2147483647 w 395"/>
                <a:gd name="T31" fmla="*/ 2147483647 h 832"/>
                <a:gd name="T32" fmla="*/ 2147483647 w 395"/>
                <a:gd name="T33" fmla="*/ 2147483647 h 832"/>
                <a:gd name="T34" fmla="*/ 2147483647 w 395"/>
                <a:gd name="T35" fmla="*/ 2147483647 h 832"/>
                <a:gd name="T36" fmla="*/ 2147483647 w 395"/>
                <a:gd name="T37" fmla="*/ 2147483647 h 832"/>
                <a:gd name="T38" fmla="*/ 2147483647 w 395"/>
                <a:gd name="T39" fmla="*/ 2147483647 h 832"/>
                <a:gd name="T40" fmla="*/ 2147483647 w 395"/>
                <a:gd name="T41" fmla="*/ 2147483647 h 832"/>
                <a:gd name="T42" fmla="*/ 2147483647 w 395"/>
                <a:gd name="T43" fmla="*/ 0 h 832"/>
                <a:gd name="T44" fmla="*/ 2147483647 w 395"/>
                <a:gd name="T45" fmla="*/ 0 h 832"/>
                <a:gd name="T46" fmla="*/ 2147483647 w 395"/>
                <a:gd name="T47" fmla="*/ 0 h 832"/>
                <a:gd name="T48" fmla="*/ 2147483647 w 395"/>
                <a:gd name="T49" fmla="*/ 0 h 832"/>
                <a:gd name="T50" fmla="*/ 2147483647 w 395"/>
                <a:gd name="T51" fmla="*/ 0 h 832"/>
                <a:gd name="T52" fmla="*/ 2147483647 w 395"/>
                <a:gd name="T53" fmla="*/ 0 h 832"/>
                <a:gd name="T54" fmla="*/ 0 w 395"/>
                <a:gd name="T55" fmla="*/ 0 h 832"/>
                <a:gd name="T56" fmla="*/ 0 w 395"/>
                <a:gd name="T57" fmla="*/ 0 h 832"/>
                <a:gd name="T58" fmla="*/ 0 w 395"/>
                <a:gd name="T59" fmla="*/ 0 h 832"/>
                <a:gd name="T60" fmla="*/ 0 w 395"/>
                <a:gd name="T61" fmla="*/ 2147483647 h 832"/>
                <a:gd name="T62" fmla="*/ 2147483647 w 395"/>
                <a:gd name="T63" fmla="*/ 2147483647 h 832"/>
                <a:gd name="T64" fmla="*/ 2147483647 w 395"/>
                <a:gd name="T65" fmla="*/ 2147483647 h 832"/>
                <a:gd name="T66" fmla="*/ 2147483647 w 395"/>
                <a:gd name="T67" fmla="*/ 2147483647 h 832"/>
                <a:gd name="T68" fmla="*/ 2147483647 w 395"/>
                <a:gd name="T69" fmla="*/ 2147483647 h 832"/>
                <a:gd name="T70" fmla="*/ 2147483647 w 395"/>
                <a:gd name="T71" fmla="*/ 2147483647 h 832"/>
                <a:gd name="T72" fmla="*/ 2147483647 w 395"/>
                <a:gd name="T73" fmla="*/ 2147483647 h 832"/>
                <a:gd name="T74" fmla="*/ 2147483647 w 395"/>
                <a:gd name="T75" fmla="*/ 2147483647 h 832"/>
                <a:gd name="T76" fmla="*/ 2147483647 w 395"/>
                <a:gd name="T77" fmla="*/ 2147483647 h 832"/>
                <a:gd name="T78" fmla="*/ 2147483647 w 395"/>
                <a:gd name="T79" fmla="*/ 2147483647 h 832"/>
                <a:gd name="T80" fmla="*/ 2147483647 w 395"/>
                <a:gd name="T81" fmla="*/ 2147483647 h 832"/>
                <a:gd name="T82" fmla="*/ 2147483647 w 395"/>
                <a:gd name="T83" fmla="*/ 2147483647 h 832"/>
                <a:gd name="T84" fmla="*/ 2147483647 w 395"/>
                <a:gd name="T85" fmla="*/ 2147483647 h 832"/>
                <a:gd name="T86" fmla="*/ 2147483647 w 395"/>
                <a:gd name="T87" fmla="*/ 2147483647 h 832"/>
                <a:gd name="T88" fmla="*/ 2147483647 w 395"/>
                <a:gd name="T89" fmla="*/ 2147483647 h 832"/>
                <a:gd name="T90" fmla="*/ 2147483647 w 395"/>
                <a:gd name="T91" fmla="*/ 2147483647 h 832"/>
                <a:gd name="T92" fmla="*/ 2147483647 w 395"/>
                <a:gd name="T93" fmla="*/ 2147483647 h 832"/>
                <a:gd name="T94" fmla="*/ 2147483647 w 395"/>
                <a:gd name="T95" fmla="*/ 2147483647 h 832"/>
                <a:gd name="T96" fmla="*/ 2147483647 w 395"/>
                <a:gd name="T97" fmla="*/ 2147483647 h 832"/>
                <a:gd name="T98" fmla="*/ 2147483647 w 395"/>
                <a:gd name="T99" fmla="*/ 2147483647 h 832"/>
                <a:gd name="T100" fmla="*/ 2147483647 w 395"/>
                <a:gd name="T101" fmla="*/ 2147483647 h 832"/>
                <a:gd name="T102" fmla="*/ 2147483647 w 395"/>
                <a:gd name="T103" fmla="*/ 2147483647 h 832"/>
                <a:gd name="T104" fmla="*/ 2147483647 w 395"/>
                <a:gd name="T105" fmla="*/ 2147483647 h 83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95"/>
                <a:gd name="T160" fmla="*/ 0 h 832"/>
                <a:gd name="T161" fmla="*/ 395 w 395"/>
                <a:gd name="T162" fmla="*/ 832 h 83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4" name="Freeform 91">
              <a:extLst>
                <a:ext uri="{FF2B5EF4-FFF2-40B4-BE49-F238E27FC236}">
                  <a16:creationId xmlns:a16="http://schemas.microsoft.com/office/drawing/2014/main" id="{0550DD30-4488-A565-0618-33B6A86424E6}"/>
                </a:ext>
              </a:extLst>
            </p:cNvPr>
            <p:cNvSpPr>
              <a:spLocks noChangeAspect="1"/>
            </p:cNvSpPr>
            <p:nvPr userDrawn="1"/>
          </p:nvSpPr>
          <p:spPr bwMode="gray">
            <a:xfrm>
              <a:off x="8980215" y="4126081"/>
              <a:ext cx="280560" cy="187480"/>
            </a:xfrm>
            <a:custGeom>
              <a:avLst/>
              <a:gdLst>
                <a:gd name="T0" fmla="*/ 2147483647 w 530"/>
                <a:gd name="T1" fmla="*/ 2147483647 h 330"/>
                <a:gd name="T2" fmla="*/ 2147483647 w 530"/>
                <a:gd name="T3" fmla="*/ 2147483647 h 330"/>
                <a:gd name="T4" fmla="*/ 2147483647 w 530"/>
                <a:gd name="T5" fmla="*/ 2147483647 h 330"/>
                <a:gd name="T6" fmla="*/ 2147483647 w 530"/>
                <a:gd name="T7" fmla="*/ 2147483647 h 330"/>
                <a:gd name="T8" fmla="*/ 2147483647 w 530"/>
                <a:gd name="T9" fmla="*/ 2147483647 h 330"/>
                <a:gd name="T10" fmla="*/ 2147483647 w 530"/>
                <a:gd name="T11" fmla="*/ 2147483647 h 330"/>
                <a:gd name="T12" fmla="*/ 2147483647 w 530"/>
                <a:gd name="T13" fmla="*/ 2147483647 h 330"/>
                <a:gd name="T14" fmla="*/ 2147483647 w 530"/>
                <a:gd name="T15" fmla="*/ 2147483647 h 330"/>
                <a:gd name="T16" fmla="*/ 2147483647 w 530"/>
                <a:gd name="T17" fmla="*/ 2147483647 h 330"/>
                <a:gd name="T18" fmla="*/ 2147483647 w 530"/>
                <a:gd name="T19" fmla="*/ 2147483647 h 330"/>
                <a:gd name="T20" fmla="*/ 2147483647 w 530"/>
                <a:gd name="T21" fmla="*/ 0 h 330"/>
                <a:gd name="T22" fmla="*/ 2147483647 w 530"/>
                <a:gd name="T23" fmla="*/ 0 h 330"/>
                <a:gd name="T24" fmla="*/ 2147483647 w 530"/>
                <a:gd name="T25" fmla="*/ 0 h 330"/>
                <a:gd name="T26" fmla="*/ 2147483647 w 530"/>
                <a:gd name="T27" fmla="*/ 0 h 330"/>
                <a:gd name="T28" fmla="*/ 2147483647 w 530"/>
                <a:gd name="T29" fmla="*/ 0 h 330"/>
                <a:gd name="T30" fmla="*/ 2147483647 w 530"/>
                <a:gd name="T31" fmla="*/ 0 h 330"/>
                <a:gd name="T32" fmla="*/ 2147483647 w 530"/>
                <a:gd name="T33" fmla="*/ 0 h 330"/>
                <a:gd name="T34" fmla="*/ 2147483647 w 530"/>
                <a:gd name="T35" fmla="*/ 0 h 330"/>
                <a:gd name="T36" fmla="*/ 2147483647 w 530"/>
                <a:gd name="T37" fmla="*/ 0 h 330"/>
                <a:gd name="T38" fmla="*/ 2147483647 w 530"/>
                <a:gd name="T39" fmla="*/ 0 h 330"/>
                <a:gd name="T40" fmla="*/ 2147483647 w 530"/>
                <a:gd name="T41" fmla="*/ 0 h 330"/>
                <a:gd name="T42" fmla="*/ 2147483647 w 530"/>
                <a:gd name="T43" fmla="*/ 0 h 330"/>
                <a:gd name="T44" fmla="*/ 2147483647 w 530"/>
                <a:gd name="T45" fmla="*/ 2147483647 h 330"/>
                <a:gd name="T46" fmla="*/ 2147483647 w 530"/>
                <a:gd name="T47" fmla="*/ 2147483647 h 330"/>
                <a:gd name="T48" fmla="*/ 2147483647 w 530"/>
                <a:gd name="T49" fmla="*/ 2147483647 h 330"/>
                <a:gd name="T50" fmla="*/ 2147483647 w 530"/>
                <a:gd name="T51" fmla="*/ 2147483647 h 330"/>
                <a:gd name="T52" fmla="*/ 2147483647 w 530"/>
                <a:gd name="T53" fmla="*/ 2147483647 h 330"/>
                <a:gd name="T54" fmla="*/ 2147483647 w 530"/>
                <a:gd name="T55" fmla="*/ 2147483647 h 330"/>
                <a:gd name="T56" fmla="*/ 2147483647 w 530"/>
                <a:gd name="T57" fmla="*/ 2147483647 h 330"/>
                <a:gd name="T58" fmla="*/ 2147483647 w 530"/>
                <a:gd name="T59" fmla="*/ 2147483647 h 330"/>
                <a:gd name="T60" fmla="*/ 2147483647 w 530"/>
                <a:gd name="T61" fmla="*/ 2147483647 h 330"/>
                <a:gd name="T62" fmla="*/ 2147483647 w 530"/>
                <a:gd name="T63" fmla="*/ 2147483647 h 330"/>
                <a:gd name="T64" fmla="*/ 2147483647 w 530"/>
                <a:gd name="T65" fmla="*/ 2147483647 h 330"/>
                <a:gd name="T66" fmla="*/ 2147483647 w 530"/>
                <a:gd name="T67" fmla="*/ 2147483647 h 330"/>
                <a:gd name="T68" fmla="*/ 2147483647 w 530"/>
                <a:gd name="T69" fmla="*/ 2147483647 h 330"/>
                <a:gd name="T70" fmla="*/ 2147483647 w 530"/>
                <a:gd name="T71" fmla="*/ 2147483647 h 330"/>
                <a:gd name="T72" fmla="*/ 2147483647 w 530"/>
                <a:gd name="T73" fmla="*/ 2147483647 h 330"/>
                <a:gd name="T74" fmla="*/ 2147483647 w 530"/>
                <a:gd name="T75" fmla="*/ 2147483647 h 330"/>
                <a:gd name="T76" fmla="*/ 2147483647 w 530"/>
                <a:gd name="T77" fmla="*/ 2147483647 h 330"/>
                <a:gd name="T78" fmla="*/ 2147483647 w 530"/>
                <a:gd name="T79" fmla="*/ 2147483647 h 330"/>
                <a:gd name="T80" fmla="*/ 2147483647 w 530"/>
                <a:gd name="T81" fmla="*/ 2147483647 h 330"/>
                <a:gd name="T82" fmla="*/ 2147483647 w 530"/>
                <a:gd name="T83" fmla="*/ 2147483647 h 330"/>
                <a:gd name="T84" fmla="*/ 0 w 530"/>
                <a:gd name="T85" fmla="*/ 2147483647 h 330"/>
                <a:gd name="T86" fmla="*/ 0 w 530"/>
                <a:gd name="T87" fmla="*/ 2147483647 h 330"/>
                <a:gd name="T88" fmla="*/ 0 w 530"/>
                <a:gd name="T89" fmla="*/ 2147483647 h 330"/>
                <a:gd name="T90" fmla="*/ 0 w 530"/>
                <a:gd name="T91" fmla="*/ 2147483647 h 330"/>
                <a:gd name="T92" fmla="*/ 2147483647 w 530"/>
                <a:gd name="T93" fmla="*/ 2147483647 h 330"/>
                <a:gd name="T94" fmla="*/ 2147483647 w 530"/>
                <a:gd name="T95" fmla="*/ 2147483647 h 330"/>
                <a:gd name="T96" fmla="*/ 2147483647 w 530"/>
                <a:gd name="T97" fmla="*/ 2147483647 h 330"/>
                <a:gd name="T98" fmla="*/ 2147483647 w 530"/>
                <a:gd name="T99" fmla="*/ 2147483647 h 330"/>
                <a:gd name="T100" fmla="*/ 2147483647 w 530"/>
                <a:gd name="T101" fmla="*/ 2147483647 h 330"/>
                <a:gd name="T102" fmla="*/ 2147483647 w 530"/>
                <a:gd name="T103" fmla="*/ 2147483647 h 330"/>
                <a:gd name="T104" fmla="*/ 2147483647 w 530"/>
                <a:gd name="T105" fmla="*/ 2147483647 h 330"/>
                <a:gd name="T106" fmla="*/ 2147483647 w 530"/>
                <a:gd name="T107" fmla="*/ 2147483647 h 330"/>
                <a:gd name="T108" fmla="*/ 2147483647 w 530"/>
                <a:gd name="T109" fmla="*/ 2147483647 h 330"/>
                <a:gd name="T110" fmla="*/ 2147483647 w 530"/>
                <a:gd name="T111" fmla="*/ 2147483647 h 330"/>
                <a:gd name="T112" fmla="*/ 2147483647 w 530"/>
                <a:gd name="T113" fmla="*/ 2147483647 h 33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0"/>
                <a:gd name="T172" fmla="*/ 0 h 330"/>
                <a:gd name="T173" fmla="*/ 530 w 530"/>
                <a:gd name="T174" fmla="*/ 330 h 33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5" name="Freeform 92">
              <a:extLst>
                <a:ext uri="{FF2B5EF4-FFF2-40B4-BE49-F238E27FC236}">
                  <a16:creationId xmlns:a16="http://schemas.microsoft.com/office/drawing/2014/main" id="{D77E2D89-C6B1-BA20-D156-503F3FA91F81}"/>
                </a:ext>
              </a:extLst>
            </p:cNvPr>
            <p:cNvSpPr>
              <a:spLocks noChangeAspect="1"/>
            </p:cNvSpPr>
            <p:nvPr userDrawn="1"/>
          </p:nvSpPr>
          <p:spPr bwMode="gray">
            <a:xfrm>
              <a:off x="8704132" y="4132179"/>
              <a:ext cx="119387" cy="167664"/>
            </a:xfrm>
            <a:custGeom>
              <a:avLst/>
              <a:gdLst>
                <a:gd name="T0" fmla="*/ 0 w 226"/>
                <a:gd name="T1" fmla="*/ 0 h 291"/>
                <a:gd name="T2" fmla="*/ 0 w 226"/>
                <a:gd name="T3" fmla="*/ 0 h 291"/>
                <a:gd name="T4" fmla="*/ 0 w 226"/>
                <a:gd name="T5" fmla="*/ 0 h 291"/>
                <a:gd name="T6" fmla="*/ 0 w 226"/>
                <a:gd name="T7" fmla="*/ 0 h 291"/>
                <a:gd name="T8" fmla="*/ 0 w 226"/>
                <a:gd name="T9" fmla="*/ 0 h 291"/>
                <a:gd name="T10" fmla="*/ 0 w 226"/>
                <a:gd name="T11" fmla="*/ 2147483647 h 291"/>
                <a:gd name="T12" fmla="*/ 0 w 226"/>
                <a:gd name="T13" fmla="*/ 2147483647 h 291"/>
                <a:gd name="T14" fmla="*/ 0 w 226"/>
                <a:gd name="T15" fmla="*/ 2147483647 h 291"/>
                <a:gd name="T16" fmla="*/ 0 w 226"/>
                <a:gd name="T17" fmla="*/ 2147483647 h 291"/>
                <a:gd name="T18" fmla="*/ 0 w 226"/>
                <a:gd name="T19" fmla="*/ 2147483647 h 291"/>
                <a:gd name="T20" fmla="*/ 0 w 226"/>
                <a:gd name="T21" fmla="*/ 2147483647 h 291"/>
                <a:gd name="T22" fmla="*/ 0 w 226"/>
                <a:gd name="T23" fmla="*/ 2147483647 h 291"/>
                <a:gd name="T24" fmla="*/ 2147483647 w 226"/>
                <a:gd name="T25" fmla="*/ 2147483647 h 291"/>
                <a:gd name="T26" fmla="*/ 2147483647 w 226"/>
                <a:gd name="T27" fmla="*/ 2147483647 h 291"/>
                <a:gd name="T28" fmla="*/ 2147483647 w 226"/>
                <a:gd name="T29" fmla="*/ 2147483647 h 291"/>
                <a:gd name="T30" fmla="*/ 2147483647 w 226"/>
                <a:gd name="T31" fmla="*/ 2147483647 h 291"/>
                <a:gd name="T32" fmla="*/ 2147483647 w 226"/>
                <a:gd name="T33" fmla="*/ 2147483647 h 291"/>
                <a:gd name="T34" fmla="*/ 2147483647 w 226"/>
                <a:gd name="T35" fmla="*/ 2147483647 h 291"/>
                <a:gd name="T36" fmla="*/ 2147483647 w 226"/>
                <a:gd name="T37" fmla="*/ 2147483647 h 291"/>
                <a:gd name="T38" fmla="*/ 2147483647 w 226"/>
                <a:gd name="T39" fmla="*/ 2147483647 h 291"/>
                <a:gd name="T40" fmla="*/ 2147483647 w 226"/>
                <a:gd name="T41" fmla="*/ 2147483647 h 291"/>
                <a:gd name="T42" fmla="*/ 2147483647 w 226"/>
                <a:gd name="T43" fmla="*/ 2147483647 h 291"/>
                <a:gd name="T44" fmla="*/ 2147483647 w 226"/>
                <a:gd name="T45" fmla="*/ 2147483647 h 291"/>
                <a:gd name="T46" fmla="*/ 2147483647 w 226"/>
                <a:gd name="T47" fmla="*/ 2147483647 h 291"/>
                <a:gd name="T48" fmla="*/ 2147483647 w 226"/>
                <a:gd name="T49" fmla="*/ 2147483647 h 291"/>
                <a:gd name="T50" fmla="*/ 2147483647 w 226"/>
                <a:gd name="T51" fmla="*/ 2147483647 h 291"/>
                <a:gd name="T52" fmla="*/ 2147483647 w 226"/>
                <a:gd name="T53" fmla="*/ 2147483647 h 291"/>
                <a:gd name="T54" fmla="*/ 2147483647 w 226"/>
                <a:gd name="T55" fmla="*/ 2147483647 h 291"/>
                <a:gd name="T56" fmla="*/ 2147483647 w 226"/>
                <a:gd name="T57" fmla="*/ 2147483647 h 291"/>
                <a:gd name="T58" fmla="*/ 2147483647 w 226"/>
                <a:gd name="T59" fmla="*/ 2147483647 h 291"/>
                <a:gd name="T60" fmla="*/ 2147483647 w 226"/>
                <a:gd name="T61" fmla="*/ 2147483647 h 291"/>
                <a:gd name="T62" fmla="*/ 2147483647 w 226"/>
                <a:gd name="T63" fmla="*/ 2147483647 h 291"/>
                <a:gd name="T64" fmla="*/ 2147483647 w 226"/>
                <a:gd name="T65" fmla="*/ 2147483647 h 291"/>
                <a:gd name="T66" fmla="*/ 2147483647 w 226"/>
                <a:gd name="T67" fmla="*/ 2147483647 h 291"/>
                <a:gd name="T68" fmla="*/ 2147483647 w 226"/>
                <a:gd name="T69" fmla="*/ 2147483647 h 291"/>
                <a:gd name="T70" fmla="*/ 2147483647 w 226"/>
                <a:gd name="T71" fmla="*/ 2147483647 h 291"/>
                <a:gd name="T72" fmla="*/ 2147483647 w 226"/>
                <a:gd name="T73" fmla="*/ 2147483647 h 291"/>
                <a:gd name="T74" fmla="*/ 2147483647 w 226"/>
                <a:gd name="T75" fmla="*/ 2147483647 h 291"/>
                <a:gd name="T76" fmla="*/ 2147483647 w 226"/>
                <a:gd name="T77" fmla="*/ 2147483647 h 291"/>
                <a:gd name="T78" fmla="*/ 2147483647 w 226"/>
                <a:gd name="T79" fmla="*/ 2147483647 h 291"/>
                <a:gd name="T80" fmla="*/ 2147483647 w 226"/>
                <a:gd name="T81" fmla="*/ 2147483647 h 291"/>
                <a:gd name="T82" fmla="*/ 2147483647 w 226"/>
                <a:gd name="T83" fmla="*/ 2147483647 h 291"/>
                <a:gd name="T84" fmla="*/ 2147483647 w 226"/>
                <a:gd name="T85" fmla="*/ 0 h 291"/>
                <a:gd name="T86" fmla="*/ 2147483647 w 226"/>
                <a:gd name="T87" fmla="*/ 0 h 291"/>
                <a:gd name="T88" fmla="*/ 2147483647 w 226"/>
                <a:gd name="T89" fmla="*/ 0 h 291"/>
                <a:gd name="T90" fmla="*/ 2147483647 w 226"/>
                <a:gd name="T91" fmla="*/ 0 h 291"/>
                <a:gd name="T92" fmla="*/ 2147483647 w 226"/>
                <a:gd name="T93" fmla="*/ 0 h 291"/>
                <a:gd name="T94" fmla="*/ 2147483647 w 226"/>
                <a:gd name="T95" fmla="*/ 0 h 291"/>
                <a:gd name="T96" fmla="*/ 2147483647 w 226"/>
                <a:gd name="T97" fmla="*/ 0 h 291"/>
                <a:gd name="T98" fmla="*/ 2147483647 w 226"/>
                <a:gd name="T99" fmla="*/ 0 h 291"/>
                <a:gd name="T100" fmla="*/ 2147483647 w 226"/>
                <a:gd name="T101" fmla="*/ 0 h 291"/>
                <a:gd name="T102" fmla="*/ 2147483647 w 226"/>
                <a:gd name="T103" fmla="*/ 0 h 291"/>
                <a:gd name="T104" fmla="*/ 0 w 226"/>
                <a:gd name="T105" fmla="*/ 0 h 291"/>
                <a:gd name="T106" fmla="*/ 0 w 226"/>
                <a:gd name="T107" fmla="*/ 0 h 291"/>
                <a:gd name="T108" fmla="*/ 0 w 226"/>
                <a:gd name="T109" fmla="*/ 0 h 291"/>
                <a:gd name="T110" fmla="*/ 0 w 226"/>
                <a:gd name="T111" fmla="*/ 0 h 291"/>
                <a:gd name="T112" fmla="*/ 0 w 226"/>
                <a:gd name="T113" fmla="*/ 0 h 291"/>
                <a:gd name="T114" fmla="*/ 0 w 226"/>
                <a:gd name="T115" fmla="*/ 0 h 29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6"/>
                <a:gd name="T175" fmla="*/ 0 h 291"/>
                <a:gd name="T176" fmla="*/ 226 w 226"/>
                <a:gd name="T177" fmla="*/ 291 h 29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6" name="Freeform 93">
              <a:extLst>
                <a:ext uri="{FF2B5EF4-FFF2-40B4-BE49-F238E27FC236}">
                  <a16:creationId xmlns:a16="http://schemas.microsoft.com/office/drawing/2014/main" id="{70FC7F23-AB2B-CE1F-2357-930F00A24DA8}"/>
                </a:ext>
              </a:extLst>
            </p:cNvPr>
            <p:cNvSpPr>
              <a:spLocks noChangeAspect="1"/>
            </p:cNvSpPr>
            <p:nvPr userDrawn="1"/>
          </p:nvSpPr>
          <p:spPr bwMode="gray">
            <a:xfrm>
              <a:off x="8629515" y="3684058"/>
              <a:ext cx="229821" cy="480129"/>
            </a:xfrm>
            <a:custGeom>
              <a:avLst/>
              <a:gdLst>
                <a:gd name="T0" fmla="*/ 2147483647 w 431"/>
                <a:gd name="T1" fmla="*/ 0 h 844"/>
                <a:gd name="T2" fmla="*/ 2147483647 w 431"/>
                <a:gd name="T3" fmla="*/ 0 h 844"/>
                <a:gd name="T4" fmla="*/ 0 w 431"/>
                <a:gd name="T5" fmla="*/ 0 h 844"/>
                <a:gd name="T6" fmla="*/ 0 w 431"/>
                <a:gd name="T7" fmla="*/ 2147483647 h 844"/>
                <a:gd name="T8" fmla="*/ 0 w 431"/>
                <a:gd name="T9" fmla="*/ 2147483647 h 844"/>
                <a:gd name="T10" fmla="*/ 2147483647 w 431"/>
                <a:gd name="T11" fmla="*/ 2147483647 h 844"/>
                <a:gd name="T12" fmla="*/ 2147483647 w 431"/>
                <a:gd name="T13" fmla="*/ 2147483647 h 844"/>
                <a:gd name="T14" fmla="*/ 0 w 431"/>
                <a:gd name="T15" fmla="*/ 2147483647 h 844"/>
                <a:gd name="T16" fmla="*/ 2147483647 w 431"/>
                <a:gd name="T17" fmla="*/ 2147483647 h 844"/>
                <a:gd name="T18" fmla="*/ 2147483647 w 431"/>
                <a:gd name="T19" fmla="*/ 2147483647 h 844"/>
                <a:gd name="T20" fmla="*/ 2147483647 w 431"/>
                <a:gd name="T21" fmla="*/ 2147483647 h 844"/>
                <a:gd name="T22" fmla="*/ 2147483647 w 431"/>
                <a:gd name="T23" fmla="*/ 2147483647 h 844"/>
                <a:gd name="T24" fmla="*/ 2147483647 w 431"/>
                <a:gd name="T25" fmla="*/ 2147483647 h 844"/>
                <a:gd name="T26" fmla="*/ 0 w 431"/>
                <a:gd name="T27" fmla="*/ 2147483647 h 844"/>
                <a:gd name="T28" fmla="*/ 2147483647 w 431"/>
                <a:gd name="T29" fmla="*/ 2147483647 h 844"/>
                <a:gd name="T30" fmla="*/ 2147483647 w 431"/>
                <a:gd name="T31" fmla="*/ 2147483647 h 844"/>
                <a:gd name="T32" fmla="*/ 2147483647 w 431"/>
                <a:gd name="T33" fmla="*/ 2147483647 h 844"/>
                <a:gd name="T34" fmla="*/ 2147483647 w 431"/>
                <a:gd name="T35" fmla="*/ 2147483647 h 844"/>
                <a:gd name="T36" fmla="*/ 2147483647 w 431"/>
                <a:gd name="T37" fmla="*/ 2147483647 h 844"/>
                <a:gd name="T38" fmla="*/ 2147483647 w 431"/>
                <a:gd name="T39" fmla="*/ 2147483647 h 844"/>
                <a:gd name="T40" fmla="*/ 2147483647 w 431"/>
                <a:gd name="T41" fmla="*/ 2147483647 h 844"/>
                <a:gd name="T42" fmla="*/ 2147483647 w 431"/>
                <a:gd name="T43" fmla="*/ 2147483647 h 844"/>
                <a:gd name="T44" fmla="*/ 2147483647 w 431"/>
                <a:gd name="T45" fmla="*/ 2147483647 h 844"/>
                <a:gd name="T46" fmla="*/ 2147483647 w 431"/>
                <a:gd name="T47" fmla="*/ 2147483647 h 844"/>
                <a:gd name="T48" fmla="*/ 2147483647 w 431"/>
                <a:gd name="T49" fmla="*/ 2147483647 h 844"/>
                <a:gd name="T50" fmla="*/ 2147483647 w 431"/>
                <a:gd name="T51" fmla="*/ 2147483647 h 844"/>
                <a:gd name="T52" fmla="*/ 2147483647 w 431"/>
                <a:gd name="T53" fmla="*/ 2147483647 h 844"/>
                <a:gd name="T54" fmla="*/ 2147483647 w 431"/>
                <a:gd name="T55" fmla="*/ 2147483647 h 844"/>
                <a:gd name="T56" fmla="*/ 2147483647 w 431"/>
                <a:gd name="T57" fmla="*/ 2147483647 h 844"/>
                <a:gd name="T58" fmla="*/ 2147483647 w 431"/>
                <a:gd name="T59" fmla="*/ 2147483647 h 844"/>
                <a:gd name="T60" fmla="*/ 2147483647 w 431"/>
                <a:gd name="T61" fmla="*/ 2147483647 h 844"/>
                <a:gd name="T62" fmla="*/ 2147483647 w 431"/>
                <a:gd name="T63" fmla="*/ 2147483647 h 844"/>
                <a:gd name="T64" fmla="*/ 2147483647 w 431"/>
                <a:gd name="T65" fmla="*/ 2147483647 h 844"/>
                <a:gd name="T66" fmla="*/ 2147483647 w 431"/>
                <a:gd name="T67" fmla="*/ 2147483647 h 844"/>
                <a:gd name="T68" fmla="*/ 2147483647 w 431"/>
                <a:gd name="T69" fmla="*/ 2147483647 h 844"/>
                <a:gd name="T70" fmla="*/ 2147483647 w 431"/>
                <a:gd name="T71" fmla="*/ 2147483647 h 844"/>
                <a:gd name="T72" fmla="*/ 2147483647 w 431"/>
                <a:gd name="T73" fmla="*/ 2147483647 h 844"/>
                <a:gd name="T74" fmla="*/ 2147483647 w 431"/>
                <a:gd name="T75" fmla="*/ 2147483647 h 844"/>
                <a:gd name="T76" fmla="*/ 2147483647 w 431"/>
                <a:gd name="T77" fmla="*/ 2147483647 h 844"/>
                <a:gd name="T78" fmla="*/ 2147483647 w 431"/>
                <a:gd name="T79" fmla="*/ 2147483647 h 844"/>
                <a:gd name="T80" fmla="*/ 2147483647 w 431"/>
                <a:gd name="T81" fmla="*/ 2147483647 h 844"/>
                <a:gd name="T82" fmla="*/ 2147483647 w 431"/>
                <a:gd name="T83" fmla="*/ 2147483647 h 844"/>
                <a:gd name="T84" fmla="*/ 2147483647 w 431"/>
                <a:gd name="T85" fmla="*/ 2147483647 h 844"/>
                <a:gd name="T86" fmla="*/ 2147483647 w 431"/>
                <a:gd name="T87" fmla="*/ 2147483647 h 844"/>
                <a:gd name="T88" fmla="*/ 2147483647 w 431"/>
                <a:gd name="T89" fmla="*/ 2147483647 h 844"/>
                <a:gd name="T90" fmla="*/ 2147483647 w 431"/>
                <a:gd name="T91" fmla="*/ 2147483647 h 844"/>
                <a:gd name="T92" fmla="*/ 2147483647 w 431"/>
                <a:gd name="T93" fmla="*/ 2147483647 h 844"/>
                <a:gd name="T94" fmla="*/ 2147483647 w 431"/>
                <a:gd name="T95" fmla="*/ 2147483647 h 844"/>
                <a:gd name="T96" fmla="*/ 2147483647 w 431"/>
                <a:gd name="T97" fmla="*/ 2147483647 h 844"/>
                <a:gd name="T98" fmla="*/ 2147483647 w 431"/>
                <a:gd name="T99" fmla="*/ 2147483647 h 844"/>
                <a:gd name="T100" fmla="*/ 2147483647 w 431"/>
                <a:gd name="T101" fmla="*/ 0 h 844"/>
                <a:gd name="T102" fmla="*/ 2147483647 w 431"/>
                <a:gd name="T103" fmla="*/ 0 h 844"/>
                <a:gd name="T104" fmla="*/ 2147483647 w 431"/>
                <a:gd name="T105" fmla="*/ 0 h 8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31"/>
                <a:gd name="T160" fmla="*/ 0 h 844"/>
                <a:gd name="T161" fmla="*/ 431 w 431"/>
                <a:gd name="T162" fmla="*/ 844 h 84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7" name="Freeform 94">
              <a:extLst>
                <a:ext uri="{FF2B5EF4-FFF2-40B4-BE49-F238E27FC236}">
                  <a16:creationId xmlns:a16="http://schemas.microsoft.com/office/drawing/2014/main" id="{7E798E38-48C7-2BDC-8BFA-2A9352C3F695}"/>
                </a:ext>
              </a:extLst>
            </p:cNvPr>
            <p:cNvSpPr>
              <a:spLocks noChangeAspect="1"/>
            </p:cNvSpPr>
            <p:nvPr userDrawn="1"/>
          </p:nvSpPr>
          <p:spPr bwMode="gray">
            <a:xfrm>
              <a:off x="8472819" y="3424941"/>
              <a:ext cx="258176" cy="597493"/>
            </a:xfrm>
            <a:custGeom>
              <a:avLst/>
              <a:gdLst>
                <a:gd name="T0" fmla="*/ 2147483647 w 489"/>
                <a:gd name="T1" fmla="*/ 2147483647 h 1050"/>
                <a:gd name="T2" fmla="*/ 2147483647 w 489"/>
                <a:gd name="T3" fmla="*/ 2147483647 h 1050"/>
                <a:gd name="T4" fmla="*/ 2147483647 w 489"/>
                <a:gd name="T5" fmla="*/ 2147483647 h 1050"/>
                <a:gd name="T6" fmla="*/ 2147483647 w 489"/>
                <a:gd name="T7" fmla="*/ 2147483647 h 1050"/>
                <a:gd name="T8" fmla="*/ 2147483647 w 489"/>
                <a:gd name="T9" fmla="*/ 2147483647 h 1050"/>
                <a:gd name="T10" fmla="*/ 0 w 489"/>
                <a:gd name="T11" fmla="*/ 2147483647 h 1050"/>
                <a:gd name="T12" fmla="*/ 0 w 489"/>
                <a:gd name="T13" fmla="*/ 2147483647 h 1050"/>
                <a:gd name="T14" fmla="*/ 0 w 489"/>
                <a:gd name="T15" fmla="*/ 2147483647 h 1050"/>
                <a:gd name="T16" fmla="*/ 0 w 489"/>
                <a:gd name="T17" fmla="*/ 2147483647 h 1050"/>
                <a:gd name="T18" fmla="*/ 0 w 489"/>
                <a:gd name="T19" fmla="*/ 2147483647 h 1050"/>
                <a:gd name="T20" fmla="*/ 0 w 489"/>
                <a:gd name="T21" fmla="*/ 2147483647 h 1050"/>
                <a:gd name="T22" fmla="*/ 2147483647 w 489"/>
                <a:gd name="T23" fmla="*/ 2147483647 h 1050"/>
                <a:gd name="T24" fmla="*/ 2147483647 w 489"/>
                <a:gd name="T25" fmla="*/ 2147483647 h 1050"/>
                <a:gd name="T26" fmla="*/ 2147483647 w 489"/>
                <a:gd name="T27" fmla="*/ 2147483647 h 1050"/>
                <a:gd name="T28" fmla="*/ 2147483647 w 489"/>
                <a:gd name="T29" fmla="*/ 2147483647 h 1050"/>
                <a:gd name="T30" fmla="*/ 2147483647 w 489"/>
                <a:gd name="T31" fmla="*/ 2147483647 h 1050"/>
                <a:gd name="T32" fmla="*/ 2147483647 w 489"/>
                <a:gd name="T33" fmla="*/ 0 h 1050"/>
                <a:gd name="T34" fmla="*/ 2147483647 w 489"/>
                <a:gd name="T35" fmla="*/ 0 h 1050"/>
                <a:gd name="T36" fmla="*/ 2147483647 w 489"/>
                <a:gd name="T37" fmla="*/ 0 h 1050"/>
                <a:gd name="T38" fmla="*/ 2147483647 w 489"/>
                <a:gd name="T39" fmla="*/ 0 h 1050"/>
                <a:gd name="T40" fmla="*/ 2147483647 w 489"/>
                <a:gd name="T41" fmla="*/ 2147483647 h 1050"/>
                <a:gd name="T42" fmla="*/ 2147483647 w 489"/>
                <a:gd name="T43" fmla="*/ 2147483647 h 1050"/>
                <a:gd name="T44" fmla="*/ 2147483647 w 489"/>
                <a:gd name="T45" fmla="*/ 2147483647 h 1050"/>
                <a:gd name="T46" fmla="*/ 2147483647 w 489"/>
                <a:gd name="T47" fmla="*/ 2147483647 h 1050"/>
                <a:gd name="T48" fmla="*/ 2147483647 w 489"/>
                <a:gd name="T49" fmla="*/ 2147483647 h 1050"/>
                <a:gd name="T50" fmla="*/ 2147483647 w 489"/>
                <a:gd name="T51" fmla="*/ 2147483647 h 1050"/>
                <a:gd name="T52" fmla="*/ 2147483647 w 489"/>
                <a:gd name="T53" fmla="*/ 2147483647 h 1050"/>
                <a:gd name="T54" fmla="*/ 2147483647 w 489"/>
                <a:gd name="T55" fmla="*/ 2147483647 h 1050"/>
                <a:gd name="T56" fmla="*/ 2147483647 w 489"/>
                <a:gd name="T57" fmla="*/ 2147483647 h 1050"/>
                <a:gd name="T58" fmla="*/ 2147483647 w 489"/>
                <a:gd name="T59" fmla="*/ 2147483647 h 1050"/>
                <a:gd name="T60" fmla="*/ 2147483647 w 489"/>
                <a:gd name="T61" fmla="*/ 2147483647 h 1050"/>
                <a:gd name="T62" fmla="*/ 2147483647 w 489"/>
                <a:gd name="T63" fmla="*/ 2147483647 h 1050"/>
                <a:gd name="T64" fmla="*/ 2147483647 w 489"/>
                <a:gd name="T65" fmla="*/ 2147483647 h 1050"/>
                <a:gd name="T66" fmla="*/ 2147483647 w 489"/>
                <a:gd name="T67" fmla="*/ 2147483647 h 1050"/>
                <a:gd name="T68" fmla="*/ 2147483647 w 489"/>
                <a:gd name="T69" fmla="*/ 2147483647 h 1050"/>
                <a:gd name="T70" fmla="*/ 2147483647 w 489"/>
                <a:gd name="T71" fmla="*/ 2147483647 h 1050"/>
                <a:gd name="T72" fmla="*/ 2147483647 w 489"/>
                <a:gd name="T73" fmla="*/ 2147483647 h 1050"/>
                <a:gd name="T74" fmla="*/ 2147483647 w 489"/>
                <a:gd name="T75" fmla="*/ 2147483647 h 1050"/>
                <a:gd name="T76" fmla="*/ 2147483647 w 489"/>
                <a:gd name="T77" fmla="*/ 2147483647 h 1050"/>
                <a:gd name="T78" fmla="*/ 2147483647 w 489"/>
                <a:gd name="T79" fmla="*/ 2147483647 h 1050"/>
                <a:gd name="T80" fmla="*/ 2147483647 w 489"/>
                <a:gd name="T81" fmla="*/ 2147483647 h 1050"/>
                <a:gd name="T82" fmla="*/ 2147483647 w 489"/>
                <a:gd name="T83" fmla="*/ 2147483647 h 1050"/>
                <a:gd name="T84" fmla="*/ 2147483647 w 489"/>
                <a:gd name="T85" fmla="*/ 2147483647 h 1050"/>
                <a:gd name="T86" fmla="*/ 2147483647 w 489"/>
                <a:gd name="T87" fmla="*/ 2147483647 h 1050"/>
                <a:gd name="T88" fmla="*/ 2147483647 w 489"/>
                <a:gd name="T89" fmla="*/ 2147483647 h 1050"/>
                <a:gd name="T90" fmla="*/ 2147483647 w 489"/>
                <a:gd name="T91" fmla="*/ 2147483647 h 1050"/>
                <a:gd name="T92" fmla="*/ 2147483647 w 489"/>
                <a:gd name="T93" fmla="*/ 2147483647 h 1050"/>
                <a:gd name="T94" fmla="*/ 2147483647 w 489"/>
                <a:gd name="T95" fmla="*/ 2147483647 h 1050"/>
                <a:gd name="T96" fmla="*/ 2147483647 w 489"/>
                <a:gd name="T97" fmla="*/ 2147483647 h 1050"/>
                <a:gd name="T98" fmla="*/ 2147483647 w 489"/>
                <a:gd name="T99" fmla="*/ 2147483647 h 1050"/>
                <a:gd name="T100" fmla="*/ 2147483647 w 489"/>
                <a:gd name="T101" fmla="*/ 2147483647 h 1050"/>
                <a:gd name="T102" fmla="*/ 2147483647 w 489"/>
                <a:gd name="T103" fmla="*/ 2147483647 h 1050"/>
                <a:gd name="T104" fmla="*/ 2147483647 w 489"/>
                <a:gd name="T105" fmla="*/ 2147483647 h 1050"/>
                <a:gd name="T106" fmla="*/ 2147483647 w 489"/>
                <a:gd name="T107" fmla="*/ 2147483647 h 1050"/>
                <a:gd name="T108" fmla="*/ 2147483647 w 489"/>
                <a:gd name="T109" fmla="*/ 2147483647 h 1050"/>
                <a:gd name="T110" fmla="*/ 2147483647 w 489"/>
                <a:gd name="T111" fmla="*/ 2147483647 h 1050"/>
                <a:gd name="T112" fmla="*/ 2147483647 w 489"/>
                <a:gd name="T113" fmla="*/ 2147483647 h 10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9"/>
                <a:gd name="T172" fmla="*/ 0 h 1050"/>
                <a:gd name="T173" fmla="*/ 489 w 489"/>
                <a:gd name="T174" fmla="*/ 1050 h 10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8" name="Freeform 95">
              <a:extLst>
                <a:ext uri="{FF2B5EF4-FFF2-40B4-BE49-F238E27FC236}">
                  <a16:creationId xmlns:a16="http://schemas.microsoft.com/office/drawing/2014/main" id="{098C65EF-4FFE-DED7-8592-C24C73E15E5C}"/>
                </a:ext>
              </a:extLst>
            </p:cNvPr>
            <p:cNvSpPr>
              <a:spLocks noChangeAspect="1"/>
            </p:cNvSpPr>
            <p:nvPr userDrawn="1"/>
          </p:nvSpPr>
          <p:spPr bwMode="gray">
            <a:xfrm>
              <a:off x="8766811" y="3879158"/>
              <a:ext cx="153711" cy="135656"/>
            </a:xfrm>
            <a:custGeom>
              <a:avLst/>
              <a:gdLst>
                <a:gd name="T0" fmla="*/ 2147483647 w 290"/>
                <a:gd name="T1" fmla="*/ 2147483647 h 237"/>
                <a:gd name="T2" fmla="*/ 2147483647 w 290"/>
                <a:gd name="T3" fmla="*/ 2147483647 h 237"/>
                <a:gd name="T4" fmla="*/ 2147483647 w 290"/>
                <a:gd name="T5" fmla="*/ 2147483647 h 237"/>
                <a:gd name="T6" fmla="*/ 2147483647 w 290"/>
                <a:gd name="T7" fmla="*/ 2147483647 h 237"/>
                <a:gd name="T8" fmla="*/ 2147483647 w 290"/>
                <a:gd name="T9" fmla="*/ 2147483647 h 237"/>
                <a:gd name="T10" fmla="*/ 2147483647 w 290"/>
                <a:gd name="T11" fmla="*/ 2147483647 h 237"/>
                <a:gd name="T12" fmla="*/ 2147483647 w 290"/>
                <a:gd name="T13" fmla="*/ 2147483647 h 237"/>
                <a:gd name="T14" fmla="*/ 0 w 290"/>
                <a:gd name="T15" fmla="*/ 2147483647 h 237"/>
                <a:gd name="T16" fmla="*/ 0 w 290"/>
                <a:gd name="T17" fmla="*/ 2147483647 h 237"/>
                <a:gd name="T18" fmla="*/ 0 w 290"/>
                <a:gd name="T19" fmla="*/ 2147483647 h 237"/>
                <a:gd name="T20" fmla="*/ 0 w 290"/>
                <a:gd name="T21" fmla="*/ 2147483647 h 237"/>
                <a:gd name="T22" fmla="*/ 0 w 290"/>
                <a:gd name="T23" fmla="*/ 2147483647 h 237"/>
                <a:gd name="T24" fmla="*/ 0 w 290"/>
                <a:gd name="T25" fmla="*/ 2147483647 h 237"/>
                <a:gd name="T26" fmla="*/ 0 w 290"/>
                <a:gd name="T27" fmla="*/ 0 h 237"/>
                <a:gd name="T28" fmla="*/ 0 w 290"/>
                <a:gd name="T29" fmla="*/ 0 h 237"/>
                <a:gd name="T30" fmla="*/ 0 w 290"/>
                <a:gd name="T31" fmla="*/ 0 h 237"/>
                <a:gd name="T32" fmla="*/ 2147483647 w 290"/>
                <a:gd name="T33" fmla="*/ 0 h 237"/>
                <a:gd name="T34" fmla="*/ 2147483647 w 290"/>
                <a:gd name="T35" fmla="*/ 0 h 237"/>
                <a:gd name="T36" fmla="*/ 2147483647 w 290"/>
                <a:gd name="T37" fmla="*/ 0 h 237"/>
                <a:gd name="T38" fmla="*/ 2147483647 w 290"/>
                <a:gd name="T39" fmla="*/ 0 h 237"/>
                <a:gd name="T40" fmla="*/ 2147483647 w 290"/>
                <a:gd name="T41" fmla="*/ 0 h 237"/>
                <a:gd name="T42" fmla="*/ 2147483647 w 290"/>
                <a:gd name="T43" fmla="*/ 0 h 237"/>
                <a:gd name="T44" fmla="*/ 2147483647 w 290"/>
                <a:gd name="T45" fmla="*/ 0 h 237"/>
                <a:gd name="T46" fmla="*/ 2147483647 w 290"/>
                <a:gd name="T47" fmla="*/ 0 h 237"/>
                <a:gd name="T48" fmla="*/ 2147483647 w 290"/>
                <a:gd name="T49" fmla="*/ 0 h 237"/>
                <a:gd name="T50" fmla="*/ 2147483647 w 290"/>
                <a:gd name="T51" fmla="*/ 0 h 237"/>
                <a:gd name="T52" fmla="*/ 2147483647 w 290"/>
                <a:gd name="T53" fmla="*/ 0 h 237"/>
                <a:gd name="T54" fmla="*/ 2147483647 w 290"/>
                <a:gd name="T55" fmla="*/ 0 h 237"/>
                <a:gd name="T56" fmla="*/ 2147483647 w 290"/>
                <a:gd name="T57" fmla="*/ 2147483647 h 237"/>
                <a:gd name="T58" fmla="*/ 2147483647 w 290"/>
                <a:gd name="T59" fmla="*/ 2147483647 h 237"/>
                <a:gd name="T60" fmla="*/ 2147483647 w 290"/>
                <a:gd name="T61" fmla="*/ 2147483647 h 237"/>
                <a:gd name="T62" fmla="*/ 2147483647 w 290"/>
                <a:gd name="T63" fmla="*/ 2147483647 h 237"/>
                <a:gd name="T64" fmla="*/ 2147483647 w 290"/>
                <a:gd name="T65" fmla="*/ 2147483647 h 237"/>
                <a:gd name="T66" fmla="*/ 2147483647 w 290"/>
                <a:gd name="T67" fmla="*/ 2147483647 h 237"/>
                <a:gd name="T68" fmla="*/ 2147483647 w 290"/>
                <a:gd name="T69" fmla="*/ 2147483647 h 237"/>
                <a:gd name="T70" fmla="*/ 2147483647 w 290"/>
                <a:gd name="T71" fmla="*/ 2147483647 h 237"/>
                <a:gd name="T72" fmla="*/ 2147483647 w 290"/>
                <a:gd name="T73" fmla="*/ 2147483647 h 237"/>
                <a:gd name="T74" fmla="*/ 2147483647 w 290"/>
                <a:gd name="T75" fmla="*/ 2147483647 h 237"/>
                <a:gd name="T76" fmla="*/ 2147483647 w 290"/>
                <a:gd name="T77" fmla="*/ 2147483647 h 237"/>
                <a:gd name="T78" fmla="*/ 2147483647 w 290"/>
                <a:gd name="T79" fmla="*/ 2147483647 h 23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0"/>
                <a:gd name="T121" fmla="*/ 0 h 237"/>
                <a:gd name="T122" fmla="*/ 290 w 290"/>
                <a:gd name="T123" fmla="*/ 237 h 23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99" name="Freeform 96">
              <a:extLst>
                <a:ext uri="{FF2B5EF4-FFF2-40B4-BE49-F238E27FC236}">
                  <a16:creationId xmlns:a16="http://schemas.microsoft.com/office/drawing/2014/main" id="{5DAF3700-ED29-A793-78A5-FB95EB46F659}"/>
                </a:ext>
              </a:extLst>
            </p:cNvPr>
            <p:cNvSpPr>
              <a:spLocks noChangeAspect="1"/>
            </p:cNvSpPr>
            <p:nvPr userDrawn="1"/>
          </p:nvSpPr>
          <p:spPr bwMode="gray">
            <a:xfrm>
              <a:off x="8704132" y="3624614"/>
              <a:ext cx="210420" cy="280456"/>
            </a:xfrm>
            <a:custGeom>
              <a:avLst/>
              <a:gdLst>
                <a:gd name="T0" fmla="*/ 2147483647 w 398"/>
                <a:gd name="T1" fmla="*/ 0 h 490"/>
                <a:gd name="T2" fmla="*/ 2147483647 w 398"/>
                <a:gd name="T3" fmla="*/ 0 h 490"/>
                <a:gd name="T4" fmla="*/ 2147483647 w 398"/>
                <a:gd name="T5" fmla="*/ 2147483647 h 490"/>
                <a:gd name="T6" fmla="*/ 2147483647 w 398"/>
                <a:gd name="T7" fmla="*/ 2147483647 h 490"/>
                <a:gd name="T8" fmla="*/ 2147483647 w 398"/>
                <a:gd name="T9" fmla="*/ 2147483647 h 490"/>
                <a:gd name="T10" fmla="*/ 2147483647 w 398"/>
                <a:gd name="T11" fmla="*/ 2147483647 h 490"/>
                <a:gd name="T12" fmla="*/ 2147483647 w 398"/>
                <a:gd name="T13" fmla="*/ 2147483647 h 490"/>
                <a:gd name="T14" fmla="*/ 2147483647 w 398"/>
                <a:gd name="T15" fmla="*/ 2147483647 h 490"/>
                <a:gd name="T16" fmla="*/ 2147483647 w 398"/>
                <a:gd name="T17" fmla="*/ 2147483647 h 490"/>
                <a:gd name="T18" fmla="*/ 2147483647 w 398"/>
                <a:gd name="T19" fmla="*/ 2147483647 h 490"/>
                <a:gd name="T20" fmla="*/ 2147483647 w 398"/>
                <a:gd name="T21" fmla="*/ 2147483647 h 490"/>
                <a:gd name="T22" fmla="*/ 2147483647 w 398"/>
                <a:gd name="T23" fmla="*/ 2147483647 h 490"/>
                <a:gd name="T24" fmla="*/ 2147483647 w 398"/>
                <a:gd name="T25" fmla="*/ 2147483647 h 490"/>
                <a:gd name="T26" fmla="*/ 2147483647 w 398"/>
                <a:gd name="T27" fmla="*/ 2147483647 h 490"/>
                <a:gd name="T28" fmla="*/ 2147483647 w 398"/>
                <a:gd name="T29" fmla="*/ 2147483647 h 490"/>
                <a:gd name="T30" fmla="*/ 2147483647 w 398"/>
                <a:gd name="T31" fmla="*/ 2147483647 h 490"/>
                <a:gd name="T32" fmla="*/ 2147483647 w 398"/>
                <a:gd name="T33" fmla="*/ 2147483647 h 490"/>
                <a:gd name="T34" fmla="*/ 2147483647 w 398"/>
                <a:gd name="T35" fmla="*/ 2147483647 h 490"/>
                <a:gd name="T36" fmla="*/ 2147483647 w 398"/>
                <a:gd name="T37" fmla="*/ 2147483647 h 490"/>
                <a:gd name="T38" fmla="*/ 2147483647 w 398"/>
                <a:gd name="T39" fmla="*/ 2147483647 h 490"/>
                <a:gd name="T40" fmla="*/ 2147483647 w 398"/>
                <a:gd name="T41" fmla="*/ 2147483647 h 490"/>
                <a:gd name="T42" fmla="*/ 2147483647 w 398"/>
                <a:gd name="T43" fmla="*/ 2147483647 h 490"/>
                <a:gd name="T44" fmla="*/ 2147483647 w 398"/>
                <a:gd name="T45" fmla="*/ 2147483647 h 490"/>
                <a:gd name="T46" fmla="*/ 2147483647 w 398"/>
                <a:gd name="T47" fmla="*/ 2147483647 h 490"/>
                <a:gd name="T48" fmla="*/ 2147483647 w 398"/>
                <a:gd name="T49" fmla="*/ 2147483647 h 490"/>
                <a:gd name="T50" fmla="*/ 2147483647 w 398"/>
                <a:gd name="T51" fmla="*/ 2147483647 h 490"/>
                <a:gd name="T52" fmla="*/ 2147483647 w 398"/>
                <a:gd name="T53" fmla="*/ 2147483647 h 490"/>
                <a:gd name="T54" fmla="*/ 2147483647 w 398"/>
                <a:gd name="T55" fmla="*/ 2147483647 h 490"/>
                <a:gd name="T56" fmla="*/ 2147483647 w 398"/>
                <a:gd name="T57" fmla="*/ 2147483647 h 490"/>
                <a:gd name="T58" fmla="*/ 2147483647 w 398"/>
                <a:gd name="T59" fmla="*/ 2147483647 h 490"/>
                <a:gd name="T60" fmla="*/ 2147483647 w 398"/>
                <a:gd name="T61" fmla="*/ 2147483647 h 490"/>
                <a:gd name="T62" fmla="*/ 2147483647 w 398"/>
                <a:gd name="T63" fmla="*/ 2147483647 h 490"/>
                <a:gd name="T64" fmla="*/ 2147483647 w 398"/>
                <a:gd name="T65" fmla="*/ 2147483647 h 490"/>
                <a:gd name="T66" fmla="*/ 0 w 398"/>
                <a:gd name="T67" fmla="*/ 2147483647 h 490"/>
                <a:gd name="T68" fmla="*/ 2147483647 w 398"/>
                <a:gd name="T69" fmla="*/ 2147483647 h 490"/>
                <a:gd name="T70" fmla="*/ 2147483647 w 398"/>
                <a:gd name="T71" fmla="*/ 2147483647 h 490"/>
                <a:gd name="T72" fmla="*/ 2147483647 w 398"/>
                <a:gd name="T73" fmla="*/ 2147483647 h 490"/>
                <a:gd name="T74" fmla="*/ 0 w 398"/>
                <a:gd name="T75" fmla="*/ 2147483647 h 490"/>
                <a:gd name="T76" fmla="*/ 0 w 398"/>
                <a:gd name="T77" fmla="*/ 2147483647 h 490"/>
                <a:gd name="T78" fmla="*/ 0 w 398"/>
                <a:gd name="T79" fmla="*/ 2147483647 h 490"/>
                <a:gd name="T80" fmla="*/ 0 w 398"/>
                <a:gd name="T81" fmla="*/ 2147483647 h 490"/>
                <a:gd name="T82" fmla="*/ 0 w 398"/>
                <a:gd name="T83" fmla="*/ 2147483647 h 490"/>
                <a:gd name="T84" fmla="*/ 2147483647 w 398"/>
                <a:gd name="T85" fmla="*/ 0 h 490"/>
                <a:gd name="T86" fmla="*/ 2147483647 w 398"/>
                <a:gd name="T87" fmla="*/ 0 h 490"/>
                <a:gd name="T88" fmla="*/ 2147483647 w 398"/>
                <a:gd name="T89" fmla="*/ 0 h 490"/>
                <a:gd name="T90" fmla="*/ 2147483647 w 398"/>
                <a:gd name="T91" fmla="*/ 0 h 490"/>
                <a:gd name="T92" fmla="*/ 2147483647 w 398"/>
                <a:gd name="T93" fmla="*/ 0 h 4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8"/>
                <a:gd name="T142" fmla="*/ 0 h 490"/>
                <a:gd name="T143" fmla="*/ 398 w 398"/>
                <a:gd name="T144" fmla="*/ 490 h 4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0" name="Freeform 98">
              <a:extLst>
                <a:ext uri="{FF2B5EF4-FFF2-40B4-BE49-F238E27FC236}">
                  <a16:creationId xmlns:a16="http://schemas.microsoft.com/office/drawing/2014/main" id="{8D7BE77B-60BB-03D8-9CC8-11302B573225}"/>
                </a:ext>
              </a:extLst>
            </p:cNvPr>
            <p:cNvSpPr>
              <a:spLocks noChangeAspect="1"/>
            </p:cNvSpPr>
            <p:nvPr userDrawn="1"/>
          </p:nvSpPr>
          <p:spPr bwMode="gray">
            <a:xfrm>
              <a:off x="8422079" y="3616993"/>
              <a:ext cx="7462" cy="15242"/>
            </a:xfrm>
            <a:custGeom>
              <a:avLst/>
              <a:gdLst>
                <a:gd name="T0" fmla="*/ 0 w 14"/>
                <a:gd name="T1" fmla="*/ 0 h 27"/>
                <a:gd name="T2" fmla="*/ 0 w 14"/>
                <a:gd name="T3" fmla="*/ 0 h 27"/>
                <a:gd name="T4" fmla="*/ 0 w 14"/>
                <a:gd name="T5" fmla="*/ 0 h 27"/>
                <a:gd name="T6" fmla="*/ 0 w 14"/>
                <a:gd name="T7" fmla="*/ 0 h 27"/>
                <a:gd name="T8" fmla="*/ 0 w 14"/>
                <a:gd name="T9" fmla="*/ 0 h 27"/>
                <a:gd name="T10" fmla="*/ 0 w 14"/>
                <a:gd name="T11" fmla="*/ 0 h 27"/>
                <a:gd name="T12" fmla="*/ 0 w 14"/>
                <a:gd name="T13" fmla="*/ 0 h 27"/>
                <a:gd name="T14" fmla="*/ 0 w 14"/>
                <a:gd name="T15" fmla="*/ 0 h 27"/>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7"/>
                <a:gd name="T26" fmla="*/ 14 w 14"/>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1" name="Freeform 99">
              <a:extLst>
                <a:ext uri="{FF2B5EF4-FFF2-40B4-BE49-F238E27FC236}">
                  <a16:creationId xmlns:a16="http://schemas.microsoft.com/office/drawing/2014/main" id="{FCF4779E-B152-B5D7-0236-E8C6CF3E2D59}"/>
                </a:ext>
              </a:extLst>
            </p:cNvPr>
            <p:cNvSpPr>
              <a:spLocks noChangeAspect="1"/>
            </p:cNvSpPr>
            <p:nvPr userDrawn="1"/>
          </p:nvSpPr>
          <p:spPr bwMode="gray">
            <a:xfrm>
              <a:off x="7762464" y="3146010"/>
              <a:ext cx="858097" cy="943490"/>
            </a:xfrm>
            <a:custGeom>
              <a:avLst/>
              <a:gdLst>
                <a:gd name="T0" fmla="*/ 2147483647 w 1608"/>
                <a:gd name="T1" fmla="*/ 2147483647 h 1661"/>
                <a:gd name="T2" fmla="*/ 2147483647 w 1608"/>
                <a:gd name="T3" fmla="*/ 2147483647 h 1661"/>
                <a:gd name="T4" fmla="*/ 2147483647 w 1608"/>
                <a:gd name="T5" fmla="*/ 2147483647 h 1661"/>
                <a:gd name="T6" fmla="*/ 2147483647 w 1608"/>
                <a:gd name="T7" fmla="*/ 2147483647 h 1661"/>
                <a:gd name="T8" fmla="*/ 2147483647 w 1608"/>
                <a:gd name="T9" fmla="*/ 2147483647 h 1661"/>
                <a:gd name="T10" fmla="*/ 2147483647 w 1608"/>
                <a:gd name="T11" fmla="*/ 2147483647 h 1661"/>
                <a:gd name="T12" fmla="*/ 2147483647 w 1608"/>
                <a:gd name="T13" fmla="*/ 2147483647 h 1661"/>
                <a:gd name="T14" fmla="*/ 2147483647 w 1608"/>
                <a:gd name="T15" fmla="*/ 2147483647 h 1661"/>
                <a:gd name="T16" fmla="*/ 2147483647 w 1608"/>
                <a:gd name="T17" fmla="*/ 2147483647 h 1661"/>
                <a:gd name="T18" fmla="*/ 2147483647 w 1608"/>
                <a:gd name="T19" fmla="*/ 2147483647 h 1661"/>
                <a:gd name="T20" fmla="*/ 2147483647 w 1608"/>
                <a:gd name="T21" fmla="*/ 2147483647 h 1661"/>
                <a:gd name="T22" fmla="*/ 2147483647 w 1608"/>
                <a:gd name="T23" fmla="*/ 2147483647 h 1661"/>
                <a:gd name="T24" fmla="*/ 2147483647 w 1608"/>
                <a:gd name="T25" fmla="*/ 2147483647 h 1661"/>
                <a:gd name="T26" fmla="*/ 2147483647 w 1608"/>
                <a:gd name="T27" fmla="*/ 2147483647 h 1661"/>
                <a:gd name="T28" fmla="*/ 2147483647 w 1608"/>
                <a:gd name="T29" fmla="*/ 2147483647 h 1661"/>
                <a:gd name="T30" fmla="*/ 2147483647 w 1608"/>
                <a:gd name="T31" fmla="*/ 2147483647 h 1661"/>
                <a:gd name="T32" fmla="*/ 2147483647 w 1608"/>
                <a:gd name="T33" fmla="*/ 2147483647 h 1661"/>
                <a:gd name="T34" fmla="*/ 2147483647 w 1608"/>
                <a:gd name="T35" fmla="*/ 2147483647 h 1661"/>
                <a:gd name="T36" fmla="*/ 2147483647 w 1608"/>
                <a:gd name="T37" fmla="*/ 2147483647 h 1661"/>
                <a:gd name="T38" fmla="*/ 2147483647 w 1608"/>
                <a:gd name="T39" fmla="*/ 2147483647 h 1661"/>
                <a:gd name="T40" fmla="*/ 2147483647 w 1608"/>
                <a:gd name="T41" fmla="*/ 2147483647 h 1661"/>
                <a:gd name="T42" fmla="*/ 2147483647 w 1608"/>
                <a:gd name="T43" fmla="*/ 2147483647 h 1661"/>
                <a:gd name="T44" fmla="*/ 2147483647 w 1608"/>
                <a:gd name="T45" fmla="*/ 2147483647 h 1661"/>
                <a:gd name="T46" fmla="*/ 2147483647 w 1608"/>
                <a:gd name="T47" fmla="*/ 2147483647 h 1661"/>
                <a:gd name="T48" fmla="*/ 2147483647 w 1608"/>
                <a:gd name="T49" fmla="*/ 2147483647 h 1661"/>
                <a:gd name="T50" fmla="*/ 2147483647 w 1608"/>
                <a:gd name="T51" fmla="*/ 2147483647 h 1661"/>
                <a:gd name="T52" fmla="*/ 2147483647 w 1608"/>
                <a:gd name="T53" fmla="*/ 2147483647 h 1661"/>
                <a:gd name="T54" fmla="*/ 2147483647 w 1608"/>
                <a:gd name="T55" fmla="*/ 2147483647 h 1661"/>
                <a:gd name="T56" fmla="*/ 2147483647 w 1608"/>
                <a:gd name="T57" fmla="*/ 2147483647 h 1661"/>
                <a:gd name="T58" fmla="*/ 2147483647 w 1608"/>
                <a:gd name="T59" fmla="*/ 2147483647 h 1661"/>
                <a:gd name="T60" fmla="*/ 2147483647 w 1608"/>
                <a:gd name="T61" fmla="*/ 2147483647 h 1661"/>
                <a:gd name="T62" fmla="*/ 2147483647 w 1608"/>
                <a:gd name="T63" fmla="*/ 2147483647 h 1661"/>
                <a:gd name="T64" fmla="*/ 2147483647 w 1608"/>
                <a:gd name="T65" fmla="*/ 0 h 1661"/>
                <a:gd name="T66" fmla="*/ 2147483647 w 1608"/>
                <a:gd name="T67" fmla="*/ 0 h 1661"/>
                <a:gd name="T68" fmla="*/ 2147483647 w 1608"/>
                <a:gd name="T69" fmla="*/ 0 h 1661"/>
                <a:gd name="T70" fmla="*/ 2147483647 w 1608"/>
                <a:gd name="T71" fmla="*/ 0 h 1661"/>
                <a:gd name="T72" fmla="*/ 2147483647 w 1608"/>
                <a:gd name="T73" fmla="*/ 0 h 1661"/>
                <a:gd name="T74" fmla="*/ 2147483647 w 1608"/>
                <a:gd name="T75" fmla="*/ 0 h 1661"/>
                <a:gd name="T76" fmla="*/ 2147483647 w 1608"/>
                <a:gd name="T77" fmla="*/ 0 h 1661"/>
                <a:gd name="T78" fmla="*/ 2147483647 w 1608"/>
                <a:gd name="T79" fmla="*/ 0 h 1661"/>
                <a:gd name="T80" fmla="*/ 2147483647 w 1608"/>
                <a:gd name="T81" fmla="*/ 0 h 1661"/>
                <a:gd name="T82" fmla="*/ 2147483647 w 1608"/>
                <a:gd name="T83" fmla="*/ 0 h 1661"/>
                <a:gd name="T84" fmla="*/ 2147483647 w 1608"/>
                <a:gd name="T85" fmla="*/ 0 h 1661"/>
                <a:gd name="T86" fmla="*/ 2147483647 w 1608"/>
                <a:gd name="T87" fmla="*/ 0 h 1661"/>
                <a:gd name="T88" fmla="*/ 2147483647 w 1608"/>
                <a:gd name="T89" fmla="*/ 0 h 1661"/>
                <a:gd name="T90" fmla="*/ 2147483647 w 1608"/>
                <a:gd name="T91" fmla="*/ 0 h 1661"/>
                <a:gd name="T92" fmla="*/ 2147483647 w 1608"/>
                <a:gd name="T93" fmla="*/ 0 h 1661"/>
                <a:gd name="T94" fmla="*/ 2147483647 w 1608"/>
                <a:gd name="T95" fmla="*/ 2147483647 h 1661"/>
                <a:gd name="T96" fmla="*/ 2147483647 w 1608"/>
                <a:gd name="T97" fmla="*/ 2147483647 h 1661"/>
                <a:gd name="T98" fmla="*/ 0 w 1608"/>
                <a:gd name="T99" fmla="*/ 2147483647 h 1661"/>
                <a:gd name="T100" fmla="*/ 0 w 1608"/>
                <a:gd name="T101" fmla="*/ 2147483647 h 1661"/>
                <a:gd name="T102" fmla="*/ 0 w 1608"/>
                <a:gd name="T103" fmla="*/ 2147483647 h 1661"/>
                <a:gd name="T104" fmla="*/ 0 w 1608"/>
                <a:gd name="T105" fmla="*/ 2147483647 h 1661"/>
                <a:gd name="T106" fmla="*/ 0 w 1608"/>
                <a:gd name="T107" fmla="*/ 2147483647 h 1661"/>
                <a:gd name="T108" fmla="*/ 0 w 1608"/>
                <a:gd name="T109" fmla="*/ 2147483647 h 1661"/>
                <a:gd name="T110" fmla="*/ 0 w 1608"/>
                <a:gd name="T111" fmla="*/ 2147483647 h 1661"/>
                <a:gd name="T112" fmla="*/ 0 w 1608"/>
                <a:gd name="T113" fmla="*/ 2147483647 h 1661"/>
                <a:gd name="T114" fmla="*/ 0 w 1608"/>
                <a:gd name="T115" fmla="*/ 2147483647 h 1661"/>
                <a:gd name="T116" fmla="*/ 0 w 1608"/>
                <a:gd name="T117" fmla="*/ 2147483647 h 1661"/>
                <a:gd name="T118" fmla="*/ 0 w 1608"/>
                <a:gd name="T119" fmla="*/ 2147483647 h 1661"/>
                <a:gd name="T120" fmla="*/ 0 w 1608"/>
                <a:gd name="T121" fmla="*/ 2147483647 h 1661"/>
                <a:gd name="T122" fmla="*/ 0 w 1608"/>
                <a:gd name="T123" fmla="*/ 2147483647 h 1661"/>
                <a:gd name="T124" fmla="*/ 0 w 1608"/>
                <a:gd name="T125" fmla="*/ 2147483647 h 16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08"/>
                <a:gd name="T190" fmla="*/ 0 h 1661"/>
                <a:gd name="T191" fmla="*/ 1608 w 1608"/>
                <a:gd name="T192" fmla="*/ 1661 h 166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2" name="Freeform 100">
              <a:extLst>
                <a:ext uri="{FF2B5EF4-FFF2-40B4-BE49-F238E27FC236}">
                  <a16:creationId xmlns:a16="http://schemas.microsoft.com/office/drawing/2014/main" id="{BEB427B7-157D-12BE-7580-37F6274D2D2A}"/>
                </a:ext>
              </a:extLst>
            </p:cNvPr>
            <p:cNvSpPr>
              <a:spLocks noChangeAspect="1"/>
            </p:cNvSpPr>
            <p:nvPr userDrawn="1"/>
          </p:nvSpPr>
          <p:spPr bwMode="gray">
            <a:xfrm>
              <a:off x="7550552" y="3106380"/>
              <a:ext cx="492473" cy="477079"/>
            </a:xfrm>
            <a:custGeom>
              <a:avLst/>
              <a:gdLst>
                <a:gd name="T0" fmla="*/ 0 w 921"/>
                <a:gd name="T1" fmla="*/ 2147483647 h 842"/>
                <a:gd name="T2" fmla="*/ 0 w 921"/>
                <a:gd name="T3" fmla="*/ 2147483647 h 842"/>
                <a:gd name="T4" fmla="*/ 0 w 921"/>
                <a:gd name="T5" fmla="*/ 2147483647 h 842"/>
                <a:gd name="T6" fmla="*/ 0 w 921"/>
                <a:gd name="T7" fmla="*/ 2147483647 h 842"/>
                <a:gd name="T8" fmla="*/ 0 w 921"/>
                <a:gd name="T9" fmla="*/ 2147483647 h 842"/>
                <a:gd name="T10" fmla="*/ 0 w 921"/>
                <a:gd name="T11" fmla="*/ 2147483647 h 842"/>
                <a:gd name="T12" fmla="*/ 2147483647 w 921"/>
                <a:gd name="T13" fmla="*/ 2147483647 h 842"/>
                <a:gd name="T14" fmla="*/ 2147483647 w 921"/>
                <a:gd name="T15" fmla="*/ 2147483647 h 842"/>
                <a:gd name="T16" fmla="*/ 2147483647 w 921"/>
                <a:gd name="T17" fmla="*/ 2147483647 h 842"/>
                <a:gd name="T18" fmla="*/ 2147483647 w 921"/>
                <a:gd name="T19" fmla="*/ 2147483647 h 842"/>
                <a:gd name="T20" fmla="*/ 2147483647 w 921"/>
                <a:gd name="T21" fmla="*/ 0 h 842"/>
                <a:gd name="T22" fmla="*/ 2147483647 w 921"/>
                <a:gd name="T23" fmla="*/ 0 h 842"/>
                <a:gd name="T24" fmla="*/ 2147483647 w 921"/>
                <a:gd name="T25" fmla="*/ 0 h 842"/>
                <a:gd name="T26" fmla="*/ 2147483647 w 921"/>
                <a:gd name="T27" fmla="*/ 0 h 842"/>
                <a:gd name="T28" fmla="*/ 2147483647 w 921"/>
                <a:gd name="T29" fmla="*/ 0 h 842"/>
                <a:gd name="T30" fmla="*/ 2147483647 w 921"/>
                <a:gd name="T31" fmla="*/ 0 h 842"/>
                <a:gd name="T32" fmla="*/ 2147483647 w 921"/>
                <a:gd name="T33" fmla="*/ 0 h 842"/>
                <a:gd name="T34" fmla="*/ 2147483647 w 921"/>
                <a:gd name="T35" fmla="*/ 0 h 842"/>
                <a:gd name="T36" fmla="*/ 2147483647 w 921"/>
                <a:gd name="T37" fmla="*/ 0 h 842"/>
                <a:gd name="T38" fmla="*/ 2147483647 w 921"/>
                <a:gd name="T39" fmla="*/ 0 h 842"/>
                <a:gd name="T40" fmla="*/ 2147483647 w 921"/>
                <a:gd name="T41" fmla="*/ 0 h 842"/>
                <a:gd name="T42" fmla="*/ 2147483647 w 921"/>
                <a:gd name="T43" fmla="*/ 0 h 842"/>
                <a:gd name="T44" fmla="*/ 2147483647 w 921"/>
                <a:gd name="T45" fmla="*/ 0 h 842"/>
                <a:gd name="T46" fmla="*/ 2147483647 w 921"/>
                <a:gd name="T47" fmla="*/ 0 h 842"/>
                <a:gd name="T48" fmla="*/ 2147483647 w 921"/>
                <a:gd name="T49" fmla="*/ 0 h 842"/>
                <a:gd name="T50" fmla="*/ 2147483647 w 921"/>
                <a:gd name="T51" fmla="*/ 0 h 842"/>
                <a:gd name="T52" fmla="*/ 2147483647 w 921"/>
                <a:gd name="T53" fmla="*/ 0 h 842"/>
                <a:gd name="T54" fmla="*/ 2147483647 w 921"/>
                <a:gd name="T55" fmla="*/ 0 h 842"/>
                <a:gd name="T56" fmla="*/ 2147483647 w 921"/>
                <a:gd name="T57" fmla="*/ 0 h 842"/>
                <a:gd name="T58" fmla="*/ 2147483647 w 921"/>
                <a:gd name="T59" fmla="*/ 0 h 842"/>
                <a:gd name="T60" fmla="*/ 2147483647 w 921"/>
                <a:gd name="T61" fmla="*/ 0 h 842"/>
                <a:gd name="T62" fmla="*/ 2147483647 w 921"/>
                <a:gd name="T63" fmla="*/ 0 h 842"/>
                <a:gd name="T64" fmla="*/ 2147483647 w 921"/>
                <a:gd name="T65" fmla="*/ 0 h 842"/>
                <a:gd name="T66" fmla="*/ 2147483647 w 921"/>
                <a:gd name="T67" fmla="*/ 0 h 842"/>
                <a:gd name="T68" fmla="*/ 2147483647 w 921"/>
                <a:gd name="T69" fmla="*/ 2147483647 h 842"/>
                <a:gd name="T70" fmla="*/ 2147483647 w 921"/>
                <a:gd name="T71" fmla="*/ 2147483647 h 842"/>
                <a:gd name="T72" fmla="*/ 2147483647 w 921"/>
                <a:gd name="T73" fmla="*/ 2147483647 h 842"/>
                <a:gd name="T74" fmla="*/ 2147483647 w 921"/>
                <a:gd name="T75" fmla="*/ 2147483647 h 842"/>
                <a:gd name="T76" fmla="*/ 2147483647 w 921"/>
                <a:gd name="T77" fmla="*/ 2147483647 h 842"/>
                <a:gd name="T78" fmla="*/ 2147483647 w 921"/>
                <a:gd name="T79" fmla="*/ 2147483647 h 842"/>
                <a:gd name="T80" fmla="*/ 2147483647 w 921"/>
                <a:gd name="T81" fmla="*/ 2147483647 h 842"/>
                <a:gd name="T82" fmla="*/ 2147483647 w 921"/>
                <a:gd name="T83" fmla="*/ 2147483647 h 842"/>
                <a:gd name="T84" fmla="*/ 2147483647 w 921"/>
                <a:gd name="T85" fmla="*/ 2147483647 h 842"/>
                <a:gd name="T86" fmla="*/ 2147483647 w 921"/>
                <a:gd name="T87" fmla="*/ 2147483647 h 842"/>
                <a:gd name="T88" fmla="*/ 2147483647 w 921"/>
                <a:gd name="T89" fmla="*/ 2147483647 h 842"/>
                <a:gd name="T90" fmla="*/ 2147483647 w 921"/>
                <a:gd name="T91" fmla="*/ 2147483647 h 842"/>
                <a:gd name="T92" fmla="*/ 2147483647 w 921"/>
                <a:gd name="T93" fmla="*/ 2147483647 h 842"/>
                <a:gd name="T94" fmla="*/ 2147483647 w 921"/>
                <a:gd name="T95" fmla="*/ 2147483647 h 842"/>
                <a:gd name="T96" fmla="*/ 2147483647 w 921"/>
                <a:gd name="T97" fmla="*/ 2147483647 h 842"/>
                <a:gd name="T98" fmla="*/ 2147483647 w 921"/>
                <a:gd name="T99" fmla="*/ 2147483647 h 842"/>
                <a:gd name="T100" fmla="*/ 2147483647 w 921"/>
                <a:gd name="T101" fmla="*/ 2147483647 h 842"/>
                <a:gd name="T102" fmla="*/ 2147483647 w 921"/>
                <a:gd name="T103" fmla="*/ 2147483647 h 842"/>
                <a:gd name="T104" fmla="*/ 2147483647 w 921"/>
                <a:gd name="T105" fmla="*/ 2147483647 h 842"/>
                <a:gd name="T106" fmla="*/ 0 w 921"/>
                <a:gd name="T107" fmla="*/ 2147483647 h 842"/>
                <a:gd name="T108" fmla="*/ 0 w 921"/>
                <a:gd name="T109" fmla="*/ 2147483647 h 842"/>
                <a:gd name="T110" fmla="*/ 0 w 921"/>
                <a:gd name="T111" fmla="*/ 2147483647 h 84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21"/>
                <a:gd name="T169" fmla="*/ 0 h 842"/>
                <a:gd name="T170" fmla="*/ 921 w 921"/>
                <a:gd name="T171" fmla="*/ 842 h 84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3" name="Freeform 101">
              <a:extLst>
                <a:ext uri="{FF2B5EF4-FFF2-40B4-BE49-F238E27FC236}">
                  <a16:creationId xmlns:a16="http://schemas.microsoft.com/office/drawing/2014/main" id="{126F009E-624C-495A-CEAD-AA96E434DA59}"/>
                </a:ext>
              </a:extLst>
            </p:cNvPr>
            <p:cNvSpPr>
              <a:spLocks noChangeAspect="1"/>
            </p:cNvSpPr>
            <p:nvPr userDrawn="1"/>
          </p:nvSpPr>
          <p:spPr bwMode="gray">
            <a:xfrm>
              <a:off x="8368355" y="3426466"/>
              <a:ext cx="97003" cy="56396"/>
            </a:xfrm>
            <a:custGeom>
              <a:avLst/>
              <a:gdLst>
                <a:gd name="T0" fmla="*/ 0 w 187"/>
                <a:gd name="T1" fmla="*/ 0 h 98"/>
                <a:gd name="T2" fmla="*/ 0 w 187"/>
                <a:gd name="T3" fmla="*/ 0 h 98"/>
                <a:gd name="T4" fmla="*/ 0 w 187"/>
                <a:gd name="T5" fmla="*/ 0 h 98"/>
                <a:gd name="T6" fmla="*/ 0 w 187"/>
                <a:gd name="T7" fmla="*/ 0 h 98"/>
                <a:gd name="T8" fmla="*/ 0 w 187"/>
                <a:gd name="T9" fmla="*/ 0 h 98"/>
                <a:gd name="T10" fmla="*/ 0 w 187"/>
                <a:gd name="T11" fmla="*/ 0 h 98"/>
                <a:gd name="T12" fmla="*/ 0 w 187"/>
                <a:gd name="T13" fmla="*/ 0 h 98"/>
                <a:gd name="T14" fmla="*/ 0 w 187"/>
                <a:gd name="T15" fmla="*/ 0 h 98"/>
                <a:gd name="T16" fmla="*/ 0 w 187"/>
                <a:gd name="T17" fmla="*/ 0 h 98"/>
                <a:gd name="T18" fmla="*/ 0 w 187"/>
                <a:gd name="T19" fmla="*/ 0 h 98"/>
                <a:gd name="T20" fmla="*/ 0 w 187"/>
                <a:gd name="T21" fmla="*/ 0 h 98"/>
                <a:gd name="T22" fmla="*/ 0 w 187"/>
                <a:gd name="T23" fmla="*/ 0 h 98"/>
                <a:gd name="T24" fmla="*/ 0 w 187"/>
                <a:gd name="T25" fmla="*/ 0 h 98"/>
                <a:gd name="T26" fmla="*/ 0 w 187"/>
                <a:gd name="T27" fmla="*/ 0 h 98"/>
                <a:gd name="T28" fmla="*/ 0 w 187"/>
                <a:gd name="T29" fmla="*/ 0 h 98"/>
                <a:gd name="T30" fmla="*/ 0 w 187"/>
                <a:gd name="T31" fmla="*/ 0 h 98"/>
                <a:gd name="T32" fmla="*/ 0 w 187"/>
                <a:gd name="T33" fmla="*/ 0 h 98"/>
                <a:gd name="T34" fmla="*/ 0 w 187"/>
                <a:gd name="T35" fmla="*/ 0 h 98"/>
                <a:gd name="T36" fmla="*/ 0 w 187"/>
                <a:gd name="T37" fmla="*/ 0 h 98"/>
                <a:gd name="T38" fmla="*/ 0 w 187"/>
                <a:gd name="T39" fmla="*/ 0 h 98"/>
                <a:gd name="T40" fmla="*/ 0 w 187"/>
                <a:gd name="T41" fmla="*/ 0 h 98"/>
                <a:gd name="T42" fmla="*/ 0 w 187"/>
                <a:gd name="T43" fmla="*/ 0 h 98"/>
                <a:gd name="T44" fmla="*/ 0 w 187"/>
                <a:gd name="T45" fmla="*/ 0 h 98"/>
                <a:gd name="T46" fmla="*/ 0 w 187"/>
                <a:gd name="T47" fmla="*/ 0 h 98"/>
                <a:gd name="T48" fmla="*/ 0 w 187"/>
                <a:gd name="T49" fmla="*/ 0 h 98"/>
                <a:gd name="T50" fmla="*/ 0 w 187"/>
                <a:gd name="T51" fmla="*/ 0 h 98"/>
                <a:gd name="T52" fmla="*/ 0 w 187"/>
                <a:gd name="T53" fmla="*/ 0 h 98"/>
                <a:gd name="T54" fmla="*/ 0 w 187"/>
                <a:gd name="T55" fmla="*/ 0 h 98"/>
                <a:gd name="T56" fmla="*/ 0 w 187"/>
                <a:gd name="T57" fmla="*/ 0 h 98"/>
                <a:gd name="T58" fmla="*/ 0 w 187"/>
                <a:gd name="T59" fmla="*/ 0 h 98"/>
                <a:gd name="T60" fmla="*/ 0 w 187"/>
                <a:gd name="T61" fmla="*/ 0 h 98"/>
                <a:gd name="T62" fmla="*/ 0 w 187"/>
                <a:gd name="T63" fmla="*/ 0 h 98"/>
                <a:gd name="T64" fmla="*/ 0 w 187"/>
                <a:gd name="T65" fmla="*/ 0 h 98"/>
                <a:gd name="T66" fmla="*/ 0 w 187"/>
                <a:gd name="T67" fmla="*/ 0 h 98"/>
                <a:gd name="T68" fmla="*/ 0 w 187"/>
                <a:gd name="T69" fmla="*/ 0 h 98"/>
                <a:gd name="T70" fmla="*/ 0 w 187"/>
                <a:gd name="T71" fmla="*/ 0 h 98"/>
                <a:gd name="T72" fmla="*/ 0 w 187"/>
                <a:gd name="T73" fmla="*/ 0 h 98"/>
                <a:gd name="T74" fmla="*/ 0 w 187"/>
                <a:gd name="T75" fmla="*/ 0 h 98"/>
                <a:gd name="T76" fmla="*/ 0 w 187"/>
                <a:gd name="T77" fmla="*/ 0 h 98"/>
                <a:gd name="T78" fmla="*/ 0 w 187"/>
                <a:gd name="T79" fmla="*/ 0 h 98"/>
                <a:gd name="T80" fmla="*/ 0 w 187"/>
                <a:gd name="T81" fmla="*/ 0 h 98"/>
                <a:gd name="T82" fmla="*/ 0 w 187"/>
                <a:gd name="T83" fmla="*/ 0 h 98"/>
                <a:gd name="T84" fmla="*/ 0 w 187"/>
                <a:gd name="T85" fmla="*/ 0 h 98"/>
                <a:gd name="T86" fmla="*/ 0 w 187"/>
                <a:gd name="T87" fmla="*/ 0 h 98"/>
                <a:gd name="T88" fmla="*/ 0 w 187"/>
                <a:gd name="T89" fmla="*/ 0 h 98"/>
                <a:gd name="T90" fmla="*/ 0 w 187"/>
                <a:gd name="T91" fmla="*/ 0 h 98"/>
                <a:gd name="T92" fmla="*/ 0 w 187"/>
                <a:gd name="T93" fmla="*/ 0 h 98"/>
                <a:gd name="T94" fmla="*/ 0 w 187"/>
                <a:gd name="T95" fmla="*/ 0 h 98"/>
                <a:gd name="T96" fmla="*/ 0 w 187"/>
                <a:gd name="T97" fmla="*/ 0 h 9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7"/>
                <a:gd name="T148" fmla="*/ 0 h 98"/>
                <a:gd name="T149" fmla="*/ 187 w 187"/>
                <a:gd name="T150" fmla="*/ 98 h 9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4" name="Freeform 102">
              <a:extLst>
                <a:ext uri="{FF2B5EF4-FFF2-40B4-BE49-F238E27FC236}">
                  <a16:creationId xmlns:a16="http://schemas.microsoft.com/office/drawing/2014/main" id="{D3B31A2F-55E8-C9C5-09C5-552676C097AA}"/>
                </a:ext>
              </a:extLst>
            </p:cNvPr>
            <p:cNvSpPr>
              <a:spLocks noChangeAspect="1"/>
            </p:cNvSpPr>
            <p:nvPr userDrawn="1"/>
          </p:nvSpPr>
          <p:spPr bwMode="gray">
            <a:xfrm>
              <a:off x="8114657" y="3354827"/>
              <a:ext cx="234298" cy="140228"/>
            </a:xfrm>
            <a:custGeom>
              <a:avLst/>
              <a:gdLst>
                <a:gd name="T0" fmla="*/ 2147483647 w 441"/>
                <a:gd name="T1" fmla="*/ 0 h 244"/>
                <a:gd name="T2" fmla="*/ 2147483647 w 441"/>
                <a:gd name="T3" fmla="*/ 0 h 244"/>
                <a:gd name="T4" fmla="*/ 2147483647 w 441"/>
                <a:gd name="T5" fmla="*/ 0 h 244"/>
                <a:gd name="T6" fmla="*/ 2147483647 w 441"/>
                <a:gd name="T7" fmla="*/ 0 h 244"/>
                <a:gd name="T8" fmla="*/ 2147483647 w 441"/>
                <a:gd name="T9" fmla="*/ 0 h 244"/>
                <a:gd name="T10" fmla="*/ 2147483647 w 441"/>
                <a:gd name="T11" fmla="*/ 0 h 244"/>
                <a:gd name="T12" fmla="*/ 0 w 441"/>
                <a:gd name="T13" fmla="*/ 0 h 244"/>
                <a:gd name="T14" fmla="*/ 0 w 441"/>
                <a:gd name="T15" fmla="*/ 0 h 244"/>
                <a:gd name="T16" fmla="*/ 0 w 441"/>
                <a:gd name="T17" fmla="*/ 0 h 244"/>
                <a:gd name="T18" fmla="*/ 0 w 441"/>
                <a:gd name="T19" fmla="*/ 0 h 244"/>
                <a:gd name="T20" fmla="*/ 0 w 441"/>
                <a:gd name="T21" fmla="*/ 0 h 244"/>
                <a:gd name="T22" fmla="*/ 0 w 441"/>
                <a:gd name="T23" fmla="*/ 0 h 244"/>
                <a:gd name="T24" fmla="*/ 0 w 441"/>
                <a:gd name="T25" fmla="*/ 0 h 244"/>
                <a:gd name="T26" fmla="*/ 0 w 441"/>
                <a:gd name="T27" fmla="*/ 0 h 244"/>
                <a:gd name="T28" fmla="*/ 0 w 441"/>
                <a:gd name="T29" fmla="*/ 0 h 244"/>
                <a:gd name="T30" fmla="*/ 0 w 441"/>
                <a:gd name="T31" fmla="*/ 0 h 244"/>
                <a:gd name="T32" fmla="*/ 0 w 441"/>
                <a:gd name="T33" fmla="*/ 0 h 244"/>
                <a:gd name="T34" fmla="*/ 0 w 441"/>
                <a:gd name="T35" fmla="*/ 0 h 244"/>
                <a:gd name="T36" fmla="*/ 0 w 441"/>
                <a:gd name="T37" fmla="*/ 0 h 244"/>
                <a:gd name="T38" fmla="*/ 0 w 441"/>
                <a:gd name="T39" fmla="*/ 0 h 244"/>
                <a:gd name="T40" fmla="*/ 0 w 441"/>
                <a:gd name="T41" fmla="*/ 0 h 244"/>
                <a:gd name="T42" fmla="*/ 0 w 441"/>
                <a:gd name="T43" fmla="*/ 0 h 244"/>
                <a:gd name="T44" fmla="*/ 0 w 441"/>
                <a:gd name="T45" fmla="*/ 0 h 244"/>
                <a:gd name="T46" fmla="*/ 0 w 441"/>
                <a:gd name="T47" fmla="*/ 0 h 244"/>
                <a:gd name="T48" fmla="*/ 0 w 441"/>
                <a:gd name="T49" fmla="*/ 0 h 244"/>
                <a:gd name="T50" fmla="*/ 0 w 441"/>
                <a:gd name="T51" fmla="*/ 0 h 244"/>
                <a:gd name="T52" fmla="*/ 0 w 441"/>
                <a:gd name="T53" fmla="*/ 0 h 244"/>
                <a:gd name="T54" fmla="*/ 0 w 441"/>
                <a:gd name="T55" fmla="*/ 0 h 244"/>
                <a:gd name="T56" fmla="*/ 0 w 441"/>
                <a:gd name="T57" fmla="*/ 0 h 244"/>
                <a:gd name="T58" fmla="*/ 0 w 441"/>
                <a:gd name="T59" fmla="*/ 0 h 244"/>
                <a:gd name="T60" fmla="*/ 0 w 441"/>
                <a:gd name="T61" fmla="*/ 0 h 244"/>
                <a:gd name="T62" fmla="*/ 0 w 441"/>
                <a:gd name="T63" fmla="*/ 0 h 244"/>
                <a:gd name="T64" fmla="*/ 0 w 441"/>
                <a:gd name="T65" fmla="*/ 0 h 244"/>
                <a:gd name="T66" fmla="*/ 0 w 441"/>
                <a:gd name="T67" fmla="*/ 0 h 244"/>
                <a:gd name="T68" fmla="*/ 0 w 441"/>
                <a:gd name="T69" fmla="*/ 0 h 244"/>
                <a:gd name="T70" fmla="*/ 0 w 441"/>
                <a:gd name="T71" fmla="*/ 0 h 244"/>
                <a:gd name="T72" fmla="*/ 0 w 441"/>
                <a:gd name="T73" fmla="*/ 0 h 244"/>
                <a:gd name="T74" fmla="*/ 0 w 441"/>
                <a:gd name="T75" fmla="*/ 0 h 244"/>
                <a:gd name="T76" fmla="*/ 0 w 441"/>
                <a:gd name="T77" fmla="*/ 0 h 244"/>
                <a:gd name="T78" fmla="*/ 0 w 441"/>
                <a:gd name="T79" fmla="*/ 0 h 244"/>
                <a:gd name="T80" fmla="*/ 0 w 441"/>
                <a:gd name="T81" fmla="*/ 0 h 244"/>
                <a:gd name="T82" fmla="*/ 0 w 441"/>
                <a:gd name="T83" fmla="*/ 0 h 244"/>
                <a:gd name="T84" fmla="*/ 0 w 441"/>
                <a:gd name="T85" fmla="*/ 0 h 244"/>
                <a:gd name="T86" fmla="*/ 2147483647 w 441"/>
                <a:gd name="T87" fmla="*/ 0 h 244"/>
                <a:gd name="T88" fmla="*/ 2147483647 w 441"/>
                <a:gd name="T89" fmla="*/ 0 h 244"/>
                <a:gd name="T90" fmla="*/ 2147483647 w 441"/>
                <a:gd name="T91" fmla="*/ 0 h 244"/>
                <a:gd name="T92" fmla="*/ 2147483647 w 441"/>
                <a:gd name="T93" fmla="*/ 0 h 244"/>
                <a:gd name="T94" fmla="*/ 2147483647 w 441"/>
                <a:gd name="T95" fmla="*/ 0 h 244"/>
                <a:gd name="T96" fmla="*/ 2147483647 w 441"/>
                <a:gd name="T97" fmla="*/ 0 h 244"/>
                <a:gd name="T98" fmla="*/ 2147483647 w 441"/>
                <a:gd name="T99" fmla="*/ 0 h 244"/>
                <a:gd name="T100" fmla="*/ 2147483647 w 441"/>
                <a:gd name="T101" fmla="*/ 0 h 2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1"/>
                <a:gd name="T154" fmla="*/ 0 h 244"/>
                <a:gd name="T155" fmla="*/ 441 w 441"/>
                <a:gd name="T156" fmla="*/ 244 h 2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5" name="Freeform 103">
              <a:extLst>
                <a:ext uri="{FF2B5EF4-FFF2-40B4-BE49-F238E27FC236}">
                  <a16:creationId xmlns:a16="http://schemas.microsoft.com/office/drawing/2014/main" id="{1499197F-8420-BBE1-1DE4-200A525C352A}"/>
                </a:ext>
              </a:extLst>
            </p:cNvPr>
            <p:cNvSpPr>
              <a:spLocks noChangeAspect="1"/>
            </p:cNvSpPr>
            <p:nvPr userDrawn="1"/>
          </p:nvSpPr>
          <p:spPr bwMode="gray">
            <a:xfrm>
              <a:off x="8341493" y="3488958"/>
              <a:ext cx="138788" cy="189003"/>
            </a:xfrm>
            <a:custGeom>
              <a:avLst/>
              <a:gdLst>
                <a:gd name="T0" fmla="*/ 0 w 262"/>
                <a:gd name="T1" fmla="*/ 2147483647 h 337"/>
                <a:gd name="T2" fmla="*/ 0 w 262"/>
                <a:gd name="T3" fmla="*/ 0 h 337"/>
                <a:gd name="T4" fmla="*/ 0 w 262"/>
                <a:gd name="T5" fmla="*/ 0 h 337"/>
                <a:gd name="T6" fmla="*/ 0 w 262"/>
                <a:gd name="T7" fmla="*/ 0 h 337"/>
                <a:gd name="T8" fmla="*/ 0 w 262"/>
                <a:gd name="T9" fmla="*/ 0 h 337"/>
                <a:gd name="T10" fmla="*/ 0 w 262"/>
                <a:gd name="T11" fmla="*/ 0 h 337"/>
                <a:gd name="T12" fmla="*/ 0 w 262"/>
                <a:gd name="T13" fmla="*/ 0 h 337"/>
                <a:gd name="T14" fmla="*/ 0 w 262"/>
                <a:gd name="T15" fmla="*/ 0 h 337"/>
                <a:gd name="T16" fmla="*/ 0 w 262"/>
                <a:gd name="T17" fmla="*/ 0 h 337"/>
                <a:gd name="T18" fmla="*/ 0 w 262"/>
                <a:gd name="T19" fmla="*/ 0 h 337"/>
                <a:gd name="T20" fmla="*/ 0 w 262"/>
                <a:gd name="T21" fmla="*/ 0 h 337"/>
                <a:gd name="T22" fmla="*/ 0 w 262"/>
                <a:gd name="T23" fmla="*/ 0 h 337"/>
                <a:gd name="T24" fmla="*/ 0 w 262"/>
                <a:gd name="T25" fmla="*/ 0 h 337"/>
                <a:gd name="T26" fmla="*/ 0 w 262"/>
                <a:gd name="T27" fmla="*/ 0 h 337"/>
                <a:gd name="T28" fmla="*/ 0 w 262"/>
                <a:gd name="T29" fmla="*/ 0 h 337"/>
                <a:gd name="T30" fmla="*/ 0 w 262"/>
                <a:gd name="T31" fmla="*/ 0 h 337"/>
                <a:gd name="T32" fmla="*/ 0 w 262"/>
                <a:gd name="T33" fmla="*/ 0 h 337"/>
                <a:gd name="T34" fmla="*/ 0 w 262"/>
                <a:gd name="T35" fmla="*/ 0 h 337"/>
                <a:gd name="T36" fmla="*/ 0 w 262"/>
                <a:gd name="T37" fmla="*/ 0 h 337"/>
                <a:gd name="T38" fmla="*/ 0 w 262"/>
                <a:gd name="T39" fmla="*/ 0 h 337"/>
                <a:gd name="T40" fmla="*/ 0 w 262"/>
                <a:gd name="T41" fmla="*/ 0 h 337"/>
                <a:gd name="T42" fmla="*/ 0 w 262"/>
                <a:gd name="T43" fmla="*/ 0 h 337"/>
                <a:gd name="T44" fmla="*/ 0 w 262"/>
                <a:gd name="T45" fmla="*/ 0 h 337"/>
                <a:gd name="T46" fmla="*/ 0 w 262"/>
                <a:gd name="T47" fmla="*/ 0 h 337"/>
                <a:gd name="T48" fmla="*/ 0 w 262"/>
                <a:gd name="T49" fmla="*/ 0 h 337"/>
                <a:gd name="T50" fmla="*/ 0 w 262"/>
                <a:gd name="T51" fmla="*/ 0 h 337"/>
                <a:gd name="T52" fmla="*/ 0 w 262"/>
                <a:gd name="T53" fmla="*/ 0 h 337"/>
                <a:gd name="T54" fmla="*/ 0 w 262"/>
                <a:gd name="T55" fmla="*/ 0 h 337"/>
                <a:gd name="T56" fmla="*/ 0 w 262"/>
                <a:gd name="T57" fmla="*/ 0 h 337"/>
                <a:gd name="T58" fmla="*/ 0 w 262"/>
                <a:gd name="T59" fmla="*/ 0 h 337"/>
                <a:gd name="T60" fmla="*/ 0 w 262"/>
                <a:gd name="T61" fmla="*/ 0 h 337"/>
                <a:gd name="T62" fmla="*/ 0 w 262"/>
                <a:gd name="T63" fmla="*/ 0 h 337"/>
                <a:gd name="T64" fmla="*/ 0 w 262"/>
                <a:gd name="T65" fmla="*/ 0 h 337"/>
                <a:gd name="T66" fmla="*/ 0 w 262"/>
                <a:gd name="T67" fmla="*/ 0 h 337"/>
                <a:gd name="T68" fmla="*/ 0 w 262"/>
                <a:gd name="T69" fmla="*/ 0 h 337"/>
                <a:gd name="T70" fmla="*/ 0 w 262"/>
                <a:gd name="T71" fmla="*/ 0 h 337"/>
                <a:gd name="T72" fmla="*/ 0 w 262"/>
                <a:gd name="T73" fmla="*/ 0 h 337"/>
                <a:gd name="T74" fmla="*/ 0 w 262"/>
                <a:gd name="T75" fmla="*/ 0 h 337"/>
                <a:gd name="T76" fmla="*/ 0 w 262"/>
                <a:gd name="T77" fmla="*/ 0 h 337"/>
                <a:gd name="T78" fmla="*/ 0 w 262"/>
                <a:gd name="T79" fmla="*/ 0 h 337"/>
                <a:gd name="T80" fmla="*/ 0 w 262"/>
                <a:gd name="T81" fmla="*/ 0 h 337"/>
                <a:gd name="T82" fmla="*/ 0 w 262"/>
                <a:gd name="T83" fmla="*/ 0 h 337"/>
                <a:gd name="T84" fmla="*/ 0 w 262"/>
                <a:gd name="T85" fmla="*/ 0 h 337"/>
                <a:gd name="T86" fmla="*/ 0 w 262"/>
                <a:gd name="T87" fmla="*/ 0 h 337"/>
                <a:gd name="T88" fmla="*/ 0 w 262"/>
                <a:gd name="T89" fmla="*/ 0 h 337"/>
                <a:gd name="T90" fmla="*/ 0 w 262"/>
                <a:gd name="T91" fmla="*/ 0 h 337"/>
                <a:gd name="T92" fmla="*/ 0 w 262"/>
                <a:gd name="T93" fmla="*/ 0 h 337"/>
                <a:gd name="T94" fmla="*/ 0 w 262"/>
                <a:gd name="T95" fmla="*/ 0 h 337"/>
                <a:gd name="T96" fmla="*/ 0 w 262"/>
                <a:gd name="T97" fmla="*/ 0 h 337"/>
                <a:gd name="T98" fmla="*/ 0 w 262"/>
                <a:gd name="T99" fmla="*/ 0 h 337"/>
                <a:gd name="T100" fmla="*/ 0 w 262"/>
                <a:gd name="T101" fmla="*/ 0 h 337"/>
                <a:gd name="T102" fmla="*/ 0 w 262"/>
                <a:gd name="T103" fmla="*/ 0 h 337"/>
                <a:gd name="T104" fmla="*/ 0 w 262"/>
                <a:gd name="T105" fmla="*/ 0 h 337"/>
                <a:gd name="T106" fmla="*/ 0 w 262"/>
                <a:gd name="T107" fmla="*/ 0 h 337"/>
                <a:gd name="T108" fmla="*/ 0 w 262"/>
                <a:gd name="T109" fmla="*/ 0 h 337"/>
                <a:gd name="T110" fmla="*/ 0 w 262"/>
                <a:gd name="T111" fmla="*/ 0 h 337"/>
                <a:gd name="T112" fmla="*/ 0 w 262"/>
                <a:gd name="T113" fmla="*/ 0 h 337"/>
                <a:gd name="T114" fmla="*/ 0 w 262"/>
                <a:gd name="T115" fmla="*/ 0 h 337"/>
                <a:gd name="T116" fmla="*/ 0 w 262"/>
                <a:gd name="T117" fmla="*/ 0 h 337"/>
                <a:gd name="T118" fmla="*/ 0 w 262"/>
                <a:gd name="T119" fmla="*/ 2147483647 h 3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2"/>
                <a:gd name="T181" fmla="*/ 0 h 337"/>
                <a:gd name="T182" fmla="*/ 262 w 262"/>
                <a:gd name="T183" fmla="*/ 337 h 3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6" name="Freeform 104">
              <a:extLst>
                <a:ext uri="{FF2B5EF4-FFF2-40B4-BE49-F238E27FC236}">
                  <a16:creationId xmlns:a16="http://schemas.microsoft.com/office/drawing/2014/main" id="{12EDB569-2F66-0C0D-985D-ACB7797143E2}"/>
                </a:ext>
              </a:extLst>
            </p:cNvPr>
            <p:cNvSpPr>
              <a:spLocks noChangeAspect="1"/>
            </p:cNvSpPr>
            <p:nvPr userDrawn="1"/>
          </p:nvSpPr>
          <p:spPr bwMode="gray">
            <a:xfrm>
              <a:off x="8104211" y="4034628"/>
              <a:ext cx="61186" cy="121938"/>
            </a:xfrm>
            <a:custGeom>
              <a:avLst/>
              <a:gdLst>
                <a:gd name="T0" fmla="*/ 0 w 116"/>
                <a:gd name="T1" fmla="*/ 0 h 211"/>
                <a:gd name="T2" fmla="*/ 0 w 116"/>
                <a:gd name="T3" fmla="*/ 0 h 211"/>
                <a:gd name="T4" fmla="*/ 0 w 116"/>
                <a:gd name="T5" fmla="*/ 0 h 211"/>
                <a:gd name="T6" fmla="*/ 0 w 116"/>
                <a:gd name="T7" fmla="*/ 0 h 211"/>
                <a:gd name="T8" fmla="*/ 0 w 116"/>
                <a:gd name="T9" fmla="*/ 0 h 211"/>
                <a:gd name="T10" fmla="*/ 0 w 116"/>
                <a:gd name="T11" fmla="*/ 0 h 211"/>
                <a:gd name="T12" fmla="*/ 0 w 116"/>
                <a:gd name="T13" fmla="*/ 0 h 211"/>
                <a:gd name="T14" fmla="*/ 0 w 116"/>
                <a:gd name="T15" fmla="*/ 0 h 211"/>
                <a:gd name="T16" fmla="*/ 0 w 116"/>
                <a:gd name="T17" fmla="*/ 0 h 211"/>
                <a:gd name="T18" fmla="*/ 0 w 116"/>
                <a:gd name="T19" fmla="*/ 0 h 211"/>
                <a:gd name="T20" fmla="*/ 0 w 116"/>
                <a:gd name="T21" fmla="*/ 0 h 211"/>
                <a:gd name="T22" fmla="*/ 0 w 116"/>
                <a:gd name="T23" fmla="*/ 0 h 211"/>
                <a:gd name="T24" fmla="*/ 0 w 116"/>
                <a:gd name="T25" fmla="*/ 0 h 211"/>
                <a:gd name="T26" fmla="*/ 0 w 116"/>
                <a:gd name="T27" fmla="*/ 0 h 211"/>
                <a:gd name="T28" fmla="*/ 0 w 116"/>
                <a:gd name="T29" fmla="*/ 0 h 211"/>
                <a:gd name="T30" fmla="*/ 0 w 116"/>
                <a:gd name="T31" fmla="*/ 0 h 211"/>
                <a:gd name="T32" fmla="*/ 0 w 116"/>
                <a:gd name="T33" fmla="*/ 0 h 211"/>
                <a:gd name="T34" fmla="*/ 0 w 116"/>
                <a:gd name="T35" fmla="*/ 0 h 211"/>
                <a:gd name="T36" fmla="*/ 0 w 116"/>
                <a:gd name="T37" fmla="*/ 0 h 211"/>
                <a:gd name="T38" fmla="*/ 0 w 116"/>
                <a:gd name="T39" fmla="*/ 0 h 211"/>
                <a:gd name="T40" fmla="*/ 0 w 116"/>
                <a:gd name="T41" fmla="*/ 0 h 211"/>
                <a:gd name="T42" fmla="*/ 0 w 116"/>
                <a:gd name="T43" fmla="*/ 0 h 211"/>
                <a:gd name="T44" fmla="*/ 0 w 116"/>
                <a:gd name="T45" fmla="*/ 0 h 211"/>
                <a:gd name="T46" fmla="*/ 0 w 116"/>
                <a:gd name="T47" fmla="*/ 0 h 211"/>
                <a:gd name="T48" fmla="*/ 0 w 116"/>
                <a:gd name="T49" fmla="*/ 0 h 211"/>
                <a:gd name="T50" fmla="*/ 0 w 116"/>
                <a:gd name="T51" fmla="*/ 0 h 211"/>
                <a:gd name="T52" fmla="*/ 0 w 116"/>
                <a:gd name="T53" fmla="*/ 0 h 211"/>
                <a:gd name="T54" fmla="*/ 0 w 116"/>
                <a:gd name="T55" fmla="*/ 0 h 211"/>
                <a:gd name="T56" fmla="*/ 0 w 116"/>
                <a:gd name="T57" fmla="*/ 0 h 211"/>
                <a:gd name="T58" fmla="*/ 0 w 116"/>
                <a:gd name="T59" fmla="*/ 0 h 211"/>
                <a:gd name="T60" fmla="*/ 0 w 116"/>
                <a:gd name="T61" fmla="*/ 0 h 211"/>
                <a:gd name="T62" fmla="*/ 0 w 116"/>
                <a:gd name="T63" fmla="*/ 0 h 211"/>
                <a:gd name="T64" fmla="*/ 0 w 116"/>
                <a:gd name="T65" fmla="*/ 0 h 211"/>
                <a:gd name="T66" fmla="*/ 0 w 116"/>
                <a:gd name="T67" fmla="*/ 0 h 211"/>
                <a:gd name="T68" fmla="*/ 0 w 116"/>
                <a:gd name="T69" fmla="*/ 0 h 211"/>
                <a:gd name="T70" fmla="*/ 0 w 116"/>
                <a:gd name="T71" fmla="*/ 0 h 211"/>
                <a:gd name="T72" fmla="*/ 0 w 116"/>
                <a:gd name="T73" fmla="*/ 0 h 2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6"/>
                <a:gd name="T112" fmla="*/ 0 h 211"/>
                <a:gd name="T113" fmla="*/ 116 w 116"/>
                <a:gd name="T114" fmla="*/ 211 h 2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7" name="Freeform 105">
              <a:extLst>
                <a:ext uri="{FF2B5EF4-FFF2-40B4-BE49-F238E27FC236}">
                  <a16:creationId xmlns:a16="http://schemas.microsoft.com/office/drawing/2014/main" id="{C53E242B-7D34-FBE6-26B8-9220A272C1D9}"/>
                </a:ext>
              </a:extLst>
            </p:cNvPr>
            <p:cNvSpPr>
              <a:spLocks noChangeAspect="1"/>
            </p:cNvSpPr>
            <p:nvPr userDrawn="1"/>
          </p:nvSpPr>
          <p:spPr bwMode="gray">
            <a:xfrm>
              <a:off x="9286146" y="3531637"/>
              <a:ext cx="50740" cy="114317"/>
            </a:xfrm>
            <a:custGeom>
              <a:avLst/>
              <a:gdLst>
                <a:gd name="T0" fmla="*/ 2147483647 w 97"/>
                <a:gd name="T1" fmla="*/ 0 h 199"/>
                <a:gd name="T2" fmla="*/ 2147483647 w 97"/>
                <a:gd name="T3" fmla="*/ 0 h 199"/>
                <a:gd name="T4" fmla="*/ 2147483647 w 97"/>
                <a:gd name="T5" fmla="*/ 0 h 199"/>
                <a:gd name="T6" fmla="*/ 2147483647 w 97"/>
                <a:gd name="T7" fmla="*/ 0 h 199"/>
                <a:gd name="T8" fmla="*/ 2147483647 w 97"/>
                <a:gd name="T9" fmla="*/ 0 h 199"/>
                <a:gd name="T10" fmla="*/ 2147483647 w 97"/>
                <a:gd name="T11" fmla="*/ 0 h 199"/>
                <a:gd name="T12" fmla="*/ 2147483647 w 97"/>
                <a:gd name="T13" fmla="*/ 0 h 199"/>
                <a:gd name="T14" fmla="*/ 2147483647 w 97"/>
                <a:gd name="T15" fmla="*/ 0 h 199"/>
                <a:gd name="T16" fmla="*/ 2147483647 w 97"/>
                <a:gd name="T17" fmla="*/ 0 h 199"/>
                <a:gd name="T18" fmla="*/ 2147483647 w 97"/>
                <a:gd name="T19" fmla="*/ 0 h 199"/>
                <a:gd name="T20" fmla="*/ 2147483647 w 97"/>
                <a:gd name="T21" fmla="*/ 0 h 199"/>
                <a:gd name="T22" fmla="*/ 2147483647 w 97"/>
                <a:gd name="T23" fmla="*/ 0 h 199"/>
                <a:gd name="T24" fmla="*/ 2147483647 w 97"/>
                <a:gd name="T25" fmla="*/ 2147483647 h 199"/>
                <a:gd name="T26" fmla="*/ 2147483647 w 97"/>
                <a:gd name="T27" fmla="*/ 2147483647 h 199"/>
                <a:gd name="T28" fmla="*/ 2147483647 w 97"/>
                <a:gd name="T29" fmla="*/ 2147483647 h 199"/>
                <a:gd name="T30" fmla="*/ 0 w 97"/>
                <a:gd name="T31" fmla="*/ 2147483647 h 199"/>
                <a:gd name="T32" fmla="*/ 0 w 97"/>
                <a:gd name="T33" fmla="*/ 2147483647 h 199"/>
                <a:gd name="T34" fmla="*/ 0 w 97"/>
                <a:gd name="T35" fmla="*/ 2147483647 h 199"/>
                <a:gd name="T36" fmla="*/ 0 w 97"/>
                <a:gd name="T37" fmla="*/ 2147483647 h 199"/>
                <a:gd name="T38" fmla="*/ 0 w 97"/>
                <a:gd name="T39" fmla="*/ 2147483647 h 199"/>
                <a:gd name="T40" fmla="*/ 0 w 97"/>
                <a:gd name="T41" fmla="*/ 2147483647 h 199"/>
                <a:gd name="T42" fmla="*/ 0 w 97"/>
                <a:gd name="T43" fmla="*/ 2147483647 h 199"/>
                <a:gd name="T44" fmla="*/ 0 w 97"/>
                <a:gd name="T45" fmla="*/ 2147483647 h 199"/>
                <a:gd name="T46" fmla="*/ 0 w 97"/>
                <a:gd name="T47" fmla="*/ 2147483647 h 199"/>
                <a:gd name="T48" fmla="*/ 0 w 97"/>
                <a:gd name="T49" fmla="*/ 2147483647 h 199"/>
                <a:gd name="T50" fmla="*/ 0 w 97"/>
                <a:gd name="T51" fmla="*/ 2147483647 h 199"/>
                <a:gd name="T52" fmla="*/ 0 w 97"/>
                <a:gd name="T53" fmla="*/ 2147483647 h 199"/>
                <a:gd name="T54" fmla="*/ 0 w 97"/>
                <a:gd name="T55" fmla="*/ 2147483647 h 199"/>
                <a:gd name="T56" fmla="*/ 0 w 97"/>
                <a:gd name="T57" fmla="*/ 0 h 199"/>
                <a:gd name="T58" fmla="*/ 2147483647 w 97"/>
                <a:gd name="T59" fmla="*/ 0 h 199"/>
                <a:gd name="T60" fmla="*/ 2147483647 w 97"/>
                <a:gd name="T61" fmla="*/ 0 h 199"/>
                <a:gd name="T62" fmla="*/ 2147483647 w 97"/>
                <a:gd name="T63" fmla="*/ 0 h 1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
                <a:gd name="T97" fmla="*/ 0 h 199"/>
                <a:gd name="T98" fmla="*/ 97 w 97"/>
                <a:gd name="T99" fmla="*/ 199 h 1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8" name="Freeform 107">
              <a:extLst>
                <a:ext uri="{FF2B5EF4-FFF2-40B4-BE49-F238E27FC236}">
                  <a16:creationId xmlns:a16="http://schemas.microsoft.com/office/drawing/2014/main" id="{A7AC7A8C-89A4-C1D1-3F01-84D6C615C979}"/>
                </a:ext>
              </a:extLst>
            </p:cNvPr>
            <p:cNvSpPr>
              <a:spLocks noChangeAspect="1"/>
            </p:cNvSpPr>
            <p:nvPr userDrawn="1"/>
          </p:nvSpPr>
          <p:spPr bwMode="gray">
            <a:xfrm>
              <a:off x="9865174" y="2755809"/>
              <a:ext cx="176096" cy="173761"/>
            </a:xfrm>
            <a:custGeom>
              <a:avLst/>
              <a:gdLst>
                <a:gd name="T0" fmla="*/ 0 w 330"/>
                <a:gd name="T1" fmla="*/ 0 h 307"/>
                <a:gd name="T2" fmla="*/ 0 w 330"/>
                <a:gd name="T3" fmla="*/ 0 h 307"/>
                <a:gd name="T4" fmla="*/ 0 w 330"/>
                <a:gd name="T5" fmla="*/ 0 h 307"/>
                <a:gd name="T6" fmla="*/ 0 w 330"/>
                <a:gd name="T7" fmla="*/ 0 h 307"/>
                <a:gd name="T8" fmla="*/ 2147483647 w 330"/>
                <a:gd name="T9" fmla="*/ 0 h 307"/>
                <a:gd name="T10" fmla="*/ 0 w 330"/>
                <a:gd name="T11" fmla="*/ 0 h 307"/>
                <a:gd name="T12" fmla="*/ 0 w 330"/>
                <a:gd name="T13" fmla="*/ 0 h 307"/>
                <a:gd name="T14" fmla="*/ 0 w 330"/>
                <a:gd name="T15" fmla="*/ 0 h 307"/>
                <a:gd name="T16" fmla="*/ 0 w 330"/>
                <a:gd name="T17" fmla="*/ 0 h 307"/>
                <a:gd name="T18" fmla="*/ 0 w 330"/>
                <a:gd name="T19" fmla="*/ 0 h 307"/>
                <a:gd name="T20" fmla="*/ 0 w 330"/>
                <a:gd name="T21" fmla="*/ 0 h 307"/>
                <a:gd name="T22" fmla="*/ 0 w 330"/>
                <a:gd name="T23" fmla="*/ 0 h 307"/>
                <a:gd name="T24" fmla="*/ 0 w 330"/>
                <a:gd name="T25" fmla="*/ 0 h 307"/>
                <a:gd name="T26" fmla="*/ 0 w 330"/>
                <a:gd name="T27" fmla="*/ 0 h 307"/>
                <a:gd name="T28" fmla="*/ 0 w 330"/>
                <a:gd name="T29" fmla="*/ 0 h 307"/>
                <a:gd name="T30" fmla="*/ 0 w 330"/>
                <a:gd name="T31" fmla="*/ 0 h 307"/>
                <a:gd name="T32" fmla="*/ 0 w 330"/>
                <a:gd name="T33" fmla="*/ 0 h 307"/>
                <a:gd name="T34" fmla="*/ 0 w 330"/>
                <a:gd name="T35" fmla="*/ 0 h 307"/>
                <a:gd name="T36" fmla="*/ 0 w 330"/>
                <a:gd name="T37" fmla="*/ 0 h 307"/>
                <a:gd name="T38" fmla="*/ 0 w 330"/>
                <a:gd name="T39" fmla="*/ 0 h 307"/>
                <a:gd name="T40" fmla="*/ 0 w 330"/>
                <a:gd name="T41" fmla="*/ 0 h 307"/>
                <a:gd name="T42" fmla="*/ 0 w 330"/>
                <a:gd name="T43" fmla="*/ 0 h 307"/>
                <a:gd name="T44" fmla="*/ 0 w 330"/>
                <a:gd name="T45" fmla="*/ 0 h 307"/>
                <a:gd name="T46" fmla="*/ 0 w 330"/>
                <a:gd name="T47" fmla="*/ 0 h 307"/>
                <a:gd name="T48" fmla="*/ 0 w 330"/>
                <a:gd name="T49" fmla="*/ 0 h 307"/>
                <a:gd name="T50" fmla="*/ 0 w 330"/>
                <a:gd name="T51" fmla="*/ 0 h 307"/>
                <a:gd name="T52" fmla="*/ 0 w 330"/>
                <a:gd name="T53" fmla="*/ 0 h 307"/>
                <a:gd name="T54" fmla="*/ 0 w 330"/>
                <a:gd name="T55" fmla="*/ 0 h 307"/>
                <a:gd name="T56" fmla="*/ 0 w 330"/>
                <a:gd name="T57" fmla="*/ 0 h 307"/>
                <a:gd name="T58" fmla="*/ 0 w 330"/>
                <a:gd name="T59" fmla="*/ 0 h 307"/>
                <a:gd name="T60" fmla="*/ 0 w 330"/>
                <a:gd name="T61" fmla="*/ 0 h 307"/>
                <a:gd name="T62" fmla="*/ 0 w 330"/>
                <a:gd name="T63" fmla="*/ 0 h 307"/>
                <a:gd name="T64" fmla="*/ 0 w 330"/>
                <a:gd name="T65" fmla="*/ 0 h 307"/>
                <a:gd name="T66" fmla="*/ 0 w 330"/>
                <a:gd name="T67" fmla="*/ 0 h 307"/>
                <a:gd name="T68" fmla="*/ 0 w 330"/>
                <a:gd name="T69" fmla="*/ 0 h 307"/>
                <a:gd name="T70" fmla="*/ 0 w 330"/>
                <a:gd name="T71" fmla="*/ 0 h 307"/>
                <a:gd name="T72" fmla="*/ 0 w 330"/>
                <a:gd name="T73" fmla="*/ 0 h 307"/>
                <a:gd name="T74" fmla="*/ 0 w 330"/>
                <a:gd name="T75" fmla="*/ 0 h 307"/>
                <a:gd name="T76" fmla="*/ 0 w 330"/>
                <a:gd name="T77" fmla="*/ 0 h 30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30"/>
                <a:gd name="T118" fmla="*/ 0 h 307"/>
                <a:gd name="T119" fmla="*/ 330 w 330"/>
                <a:gd name="T120" fmla="*/ 307 h 30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09" name="Freeform 108">
              <a:extLst>
                <a:ext uri="{FF2B5EF4-FFF2-40B4-BE49-F238E27FC236}">
                  <a16:creationId xmlns:a16="http://schemas.microsoft.com/office/drawing/2014/main" id="{0AF5CAF0-B631-168D-42FC-E2E0340630FF}"/>
                </a:ext>
              </a:extLst>
            </p:cNvPr>
            <p:cNvSpPr>
              <a:spLocks noChangeAspect="1"/>
            </p:cNvSpPr>
            <p:nvPr userDrawn="1"/>
          </p:nvSpPr>
          <p:spPr bwMode="gray">
            <a:xfrm>
              <a:off x="9602522" y="2926522"/>
              <a:ext cx="328315" cy="312464"/>
            </a:xfrm>
            <a:custGeom>
              <a:avLst/>
              <a:gdLst>
                <a:gd name="T0" fmla="*/ 2147483647 w 613"/>
                <a:gd name="T1" fmla="*/ 0 h 552"/>
                <a:gd name="T2" fmla="*/ 2147483647 w 613"/>
                <a:gd name="T3" fmla="*/ 0 h 552"/>
                <a:gd name="T4" fmla="*/ 2147483647 w 613"/>
                <a:gd name="T5" fmla="*/ 0 h 552"/>
                <a:gd name="T6" fmla="*/ 2147483647 w 613"/>
                <a:gd name="T7" fmla="*/ 0 h 552"/>
                <a:gd name="T8" fmla="*/ 2147483647 w 613"/>
                <a:gd name="T9" fmla="*/ 0 h 552"/>
                <a:gd name="T10" fmla="*/ 2147483647 w 613"/>
                <a:gd name="T11" fmla="*/ 0 h 552"/>
                <a:gd name="T12" fmla="*/ 2147483647 w 613"/>
                <a:gd name="T13" fmla="*/ 0 h 552"/>
                <a:gd name="T14" fmla="*/ 2147483647 w 613"/>
                <a:gd name="T15" fmla="*/ 2147483647 h 552"/>
                <a:gd name="T16" fmla="*/ 2147483647 w 613"/>
                <a:gd name="T17" fmla="*/ 2147483647 h 552"/>
                <a:gd name="T18" fmla="*/ 2147483647 w 613"/>
                <a:gd name="T19" fmla="*/ 2147483647 h 552"/>
                <a:gd name="T20" fmla="*/ 2147483647 w 613"/>
                <a:gd name="T21" fmla="*/ 2147483647 h 552"/>
                <a:gd name="T22" fmla="*/ 2147483647 w 613"/>
                <a:gd name="T23" fmla="*/ 2147483647 h 552"/>
                <a:gd name="T24" fmla="*/ 2147483647 w 613"/>
                <a:gd name="T25" fmla="*/ 2147483647 h 552"/>
                <a:gd name="T26" fmla="*/ 2147483647 w 613"/>
                <a:gd name="T27" fmla="*/ 2147483647 h 552"/>
                <a:gd name="T28" fmla="*/ 2147483647 w 613"/>
                <a:gd name="T29" fmla="*/ 2147483647 h 552"/>
                <a:gd name="T30" fmla="*/ 2147483647 w 613"/>
                <a:gd name="T31" fmla="*/ 2147483647 h 552"/>
                <a:gd name="T32" fmla="*/ 2147483647 w 613"/>
                <a:gd name="T33" fmla="*/ 2147483647 h 552"/>
                <a:gd name="T34" fmla="*/ 2147483647 w 613"/>
                <a:gd name="T35" fmla="*/ 2147483647 h 552"/>
                <a:gd name="T36" fmla="*/ 2147483647 w 613"/>
                <a:gd name="T37" fmla="*/ 2147483647 h 552"/>
                <a:gd name="T38" fmla="*/ 2147483647 w 613"/>
                <a:gd name="T39" fmla="*/ 2147483647 h 552"/>
                <a:gd name="T40" fmla="*/ 2147483647 w 613"/>
                <a:gd name="T41" fmla="*/ 2147483647 h 552"/>
                <a:gd name="T42" fmla="*/ 2147483647 w 613"/>
                <a:gd name="T43" fmla="*/ 2147483647 h 552"/>
                <a:gd name="T44" fmla="*/ 2147483647 w 613"/>
                <a:gd name="T45" fmla="*/ 2147483647 h 552"/>
                <a:gd name="T46" fmla="*/ 0 w 613"/>
                <a:gd name="T47" fmla="*/ 2147483647 h 552"/>
                <a:gd name="T48" fmla="*/ 0 w 613"/>
                <a:gd name="T49" fmla="*/ 2147483647 h 552"/>
                <a:gd name="T50" fmla="*/ 0 w 613"/>
                <a:gd name="T51" fmla="*/ 2147483647 h 552"/>
                <a:gd name="T52" fmla="*/ 0 w 613"/>
                <a:gd name="T53" fmla="*/ 2147483647 h 552"/>
                <a:gd name="T54" fmla="*/ 0 w 613"/>
                <a:gd name="T55" fmla="*/ 2147483647 h 552"/>
                <a:gd name="T56" fmla="*/ 0 w 613"/>
                <a:gd name="T57" fmla="*/ 2147483647 h 552"/>
                <a:gd name="T58" fmla="*/ 0 w 613"/>
                <a:gd name="T59" fmla="*/ 2147483647 h 552"/>
                <a:gd name="T60" fmla="*/ 0 w 613"/>
                <a:gd name="T61" fmla="*/ 2147483647 h 552"/>
                <a:gd name="T62" fmla="*/ 0 w 613"/>
                <a:gd name="T63" fmla="*/ 2147483647 h 552"/>
                <a:gd name="T64" fmla="*/ 0 w 613"/>
                <a:gd name="T65" fmla="*/ 2147483647 h 552"/>
                <a:gd name="T66" fmla="*/ 0 w 613"/>
                <a:gd name="T67" fmla="*/ 2147483647 h 552"/>
                <a:gd name="T68" fmla="*/ 0 w 613"/>
                <a:gd name="T69" fmla="*/ 2147483647 h 552"/>
                <a:gd name="T70" fmla="*/ 0 w 613"/>
                <a:gd name="T71" fmla="*/ 2147483647 h 552"/>
                <a:gd name="T72" fmla="*/ 0 w 613"/>
                <a:gd name="T73" fmla="*/ 2147483647 h 552"/>
                <a:gd name="T74" fmla="*/ 0 w 613"/>
                <a:gd name="T75" fmla="*/ 2147483647 h 552"/>
                <a:gd name="T76" fmla="*/ 0 w 613"/>
                <a:gd name="T77" fmla="*/ 2147483647 h 552"/>
                <a:gd name="T78" fmla="*/ 0 w 613"/>
                <a:gd name="T79" fmla="*/ 2147483647 h 552"/>
                <a:gd name="T80" fmla="*/ 0 w 613"/>
                <a:gd name="T81" fmla="*/ 2147483647 h 552"/>
                <a:gd name="T82" fmla="*/ 0 w 613"/>
                <a:gd name="T83" fmla="*/ 2147483647 h 552"/>
                <a:gd name="T84" fmla="*/ 0 w 613"/>
                <a:gd name="T85" fmla="*/ 2147483647 h 552"/>
                <a:gd name="T86" fmla="*/ 0 w 613"/>
                <a:gd name="T87" fmla="*/ 2147483647 h 552"/>
                <a:gd name="T88" fmla="*/ 0 w 613"/>
                <a:gd name="T89" fmla="*/ 2147483647 h 552"/>
                <a:gd name="T90" fmla="*/ 2147483647 w 613"/>
                <a:gd name="T91" fmla="*/ 0 h 552"/>
                <a:gd name="T92" fmla="*/ 2147483647 w 613"/>
                <a:gd name="T93" fmla="*/ 0 h 552"/>
                <a:gd name="T94" fmla="*/ 2147483647 w 613"/>
                <a:gd name="T95" fmla="*/ 0 h 552"/>
                <a:gd name="T96" fmla="*/ 2147483647 w 613"/>
                <a:gd name="T97" fmla="*/ 2147483647 h 552"/>
                <a:gd name="T98" fmla="*/ 2147483647 w 613"/>
                <a:gd name="T99" fmla="*/ 2147483647 h 552"/>
                <a:gd name="T100" fmla="*/ 2147483647 w 613"/>
                <a:gd name="T101" fmla="*/ 0 h 552"/>
                <a:gd name="T102" fmla="*/ 2147483647 w 613"/>
                <a:gd name="T103" fmla="*/ 0 h 552"/>
                <a:gd name="T104" fmla="*/ 2147483647 w 613"/>
                <a:gd name="T105" fmla="*/ 0 h 552"/>
                <a:gd name="T106" fmla="*/ 2147483647 w 613"/>
                <a:gd name="T107" fmla="*/ 0 h 552"/>
                <a:gd name="T108" fmla="*/ 2147483647 w 613"/>
                <a:gd name="T109" fmla="*/ 0 h 552"/>
                <a:gd name="T110" fmla="*/ 2147483647 w 613"/>
                <a:gd name="T111" fmla="*/ 0 h 552"/>
                <a:gd name="T112" fmla="*/ 2147483647 w 613"/>
                <a:gd name="T113" fmla="*/ 0 h 552"/>
                <a:gd name="T114" fmla="*/ 2147483647 w 613"/>
                <a:gd name="T115" fmla="*/ 0 h 552"/>
                <a:gd name="T116" fmla="*/ 2147483647 w 613"/>
                <a:gd name="T117" fmla="*/ 0 h 552"/>
                <a:gd name="T118" fmla="*/ 2147483647 w 613"/>
                <a:gd name="T119" fmla="*/ 0 h 552"/>
                <a:gd name="T120" fmla="*/ 2147483647 w 613"/>
                <a:gd name="T121" fmla="*/ 0 h 552"/>
                <a:gd name="T122" fmla="*/ 2147483647 w 613"/>
                <a:gd name="T123" fmla="*/ 0 h 552"/>
                <a:gd name="T124" fmla="*/ 2147483647 w 613"/>
                <a:gd name="T125" fmla="*/ 0 h 55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13"/>
                <a:gd name="T190" fmla="*/ 0 h 552"/>
                <a:gd name="T191" fmla="*/ 613 w 613"/>
                <a:gd name="T192" fmla="*/ 552 h 55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0" name="Freeform 109">
              <a:extLst>
                <a:ext uri="{FF2B5EF4-FFF2-40B4-BE49-F238E27FC236}">
                  <a16:creationId xmlns:a16="http://schemas.microsoft.com/office/drawing/2014/main" id="{8E4C91DA-A63E-6EBD-8DAA-51E03500CA50}"/>
                </a:ext>
              </a:extLst>
            </p:cNvPr>
            <p:cNvSpPr>
              <a:spLocks noChangeAspect="1"/>
            </p:cNvSpPr>
            <p:nvPr userDrawn="1"/>
          </p:nvSpPr>
          <p:spPr bwMode="gray">
            <a:xfrm>
              <a:off x="9641323" y="3208502"/>
              <a:ext cx="74617" cy="59445"/>
            </a:xfrm>
            <a:custGeom>
              <a:avLst/>
              <a:gdLst>
                <a:gd name="T0" fmla="*/ 0 w 140"/>
                <a:gd name="T1" fmla="*/ 0 h 107"/>
                <a:gd name="T2" fmla="*/ 0 w 140"/>
                <a:gd name="T3" fmla="*/ 0 h 107"/>
                <a:gd name="T4" fmla="*/ 0 w 140"/>
                <a:gd name="T5" fmla="*/ 0 h 107"/>
                <a:gd name="T6" fmla="*/ 0 w 140"/>
                <a:gd name="T7" fmla="*/ 0 h 107"/>
                <a:gd name="T8" fmla="*/ 0 w 140"/>
                <a:gd name="T9" fmla="*/ 0 h 107"/>
                <a:gd name="T10" fmla="*/ 0 w 140"/>
                <a:gd name="T11" fmla="*/ 0 h 107"/>
                <a:gd name="T12" fmla="*/ 0 w 140"/>
                <a:gd name="T13" fmla="*/ 0 h 107"/>
                <a:gd name="T14" fmla="*/ 0 w 140"/>
                <a:gd name="T15" fmla="*/ 0 h 107"/>
                <a:gd name="T16" fmla="*/ 0 w 140"/>
                <a:gd name="T17" fmla="*/ 0 h 107"/>
                <a:gd name="T18" fmla="*/ 0 w 140"/>
                <a:gd name="T19" fmla="*/ 0 h 107"/>
                <a:gd name="T20" fmla="*/ 0 w 140"/>
                <a:gd name="T21" fmla="*/ 0 h 107"/>
                <a:gd name="T22" fmla="*/ 0 w 140"/>
                <a:gd name="T23" fmla="*/ 0 h 107"/>
                <a:gd name="T24" fmla="*/ 0 w 140"/>
                <a:gd name="T25" fmla="*/ 0 h 107"/>
                <a:gd name="T26" fmla="*/ 0 w 140"/>
                <a:gd name="T27" fmla="*/ 0 h 107"/>
                <a:gd name="T28" fmla="*/ 0 w 140"/>
                <a:gd name="T29" fmla="*/ 0 h 107"/>
                <a:gd name="T30" fmla="*/ 0 w 140"/>
                <a:gd name="T31" fmla="*/ 0 h 107"/>
                <a:gd name="T32" fmla="*/ 0 w 140"/>
                <a:gd name="T33" fmla="*/ 0 h 107"/>
                <a:gd name="T34" fmla="*/ 0 w 140"/>
                <a:gd name="T35" fmla="*/ 0 h 107"/>
                <a:gd name="T36" fmla="*/ 0 w 140"/>
                <a:gd name="T37" fmla="*/ 0 h 107"/>
                <a:gd name="T38" fmla="*/ 0 w 140"/>
                <a:gd name="T39" fmla="*/ 0 h 107"/>
                <a:gd name="T40" fmla="*/ 0 w 140"/>
                <a:gd name="T41" fmla="*/ 0 h 107"/>
                <a:gd name="T42" fmla="*/ 0 w 140"/>
                <a:gd name="T43" fmla="*/ 0 h 107"/>
                <a:gd name="T44" fmla="*/ 0 w 140"/>
                <a:gd name="T45" fmla="*/ 0 h 107"/>
                <a:gd name="T46" fmla="*/ 0 w 140"/>
                <a:gd name="T47" fmla="*/ 0 h 107"/>
                <a:gd name="T48" fmla="*/ 0 w 140"/>
                <a:gd name="T49" fmla="*/ 0 h 107"/>
                <a:gd name="T50" fmla="*/ 0 w 140"/>
                <a:gd name="T51" fmla="*/ 0 h 107"/>
                <a:gd name="T52" fmla="*/ 0 w 140"/>
                <a:gd name="T53" fmla="*/ 0 h 107"/>
                <a:gd name="T54" fmla="*/ 0 w 140"/>
                <a:gd name="T55" fmla="*/ 0 h 107"/>
                <a:gd name="T56" fmla="*/ 0 w 140"/>
                <a:gd name="T57" fmla="*/ 0 h 107"/>
                <a:gd name="T58" fmla="*/ 0 w 140"/>
                <a:gd name="T59" fmla="*/ 0 h 107"/>
                <a:gd name="T60" fmla="*/ 0 w 140"/>
                <a:gd name="T61" fmla="*/ 0 h 107"/>
                <a:gd name="T62" fmla="*/ 0 w 140"/>
                <a:gd name="T63" fmla="*/ 0 h 107"/>
                <a:gd name="T64" fmla="*/ 0 w 140"/>
                <a:gd name="T65" fmla="*/ 0 h 107"/>
                <a:gd name="T66" fmla="*/ 0 w 140"/>
                <a:gd name="T67" fmla="*/ 0 h 107"/>
                <a:gd name="T68" fmla="*/ 0 w 140"/>
                <a:gd name="T69" fmla="*/ 0 h 1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0"/>
                <a:gd name="T106" fmla="*/ 0 h 107"/>
                <a:gd name="T107" fmla="*/ 140 w 140"/>
                <a:gd name="T108" fmla="*/ 107 h 1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1" name="Freeform 110">
              <a:extLst>
                <a:ext uri="{FF2B5EF4-FFF2-40B4-BE49-F238E27FC236}">
                  <a16:creationId xmlns:a16="http://schemas.microsoft.com/office/drawing/2014/main" id="{A72B038E-6FE2-06C2-F72A-06AC95BD5CA3}"/>
                </a:ext>
              </a:extLst>
            </p:cNvPr>
            <p:cNvSpPr>
              <a:spLocks noChangeAspect="1"/>
            </p:cNvSpPr>
            <p:nvPr userDrawn="1"/>
          </p:nvSpPr>
          <p:spPr bwMode="gray">
            <a:xfrm>
              <a:off x="9565213" y="3222220"/>
              <a:ext cx="70141" cy="108219"/>
            </a:xfrm>
            <a:custGeom>
              <a:avLst/>
              <a:gdLst>
                <a:gd name="T0" fmla="*/ 0 w 131"/>
                <a:gd name="T1" fmla="*/ 0 h 187"/>
                <a:gd name="T2" fmla="*/ 0 w 131"/>
                <a:gd name="T3" fmla="*/ 0 h 187"/>
                <a:gd name="T4" fmla="*/ 0 w 131"/>
                <a:gd name="T5" fmla="*/ 0 h 187"/>
                <a:gd name="T6" fmla="*/ 0 w 131"/>
                <a:gd name="T7" fmla="*/ 0 h 187"/>
                <a:gd name="T8" fmla="*/ 0 w 131"/>
                <a:gd name="T9" fmla="*/ 0 h 187"/>
                <a:gd name="T10" fmla="*/ 0 w 131"/>
                <a:gd name="T11" fmla="*/ 0 h 187"/>
                <a:gd name="T12" fmla="*/ 0 w 131"/>
                <a:gd name="T13" fmla="*/ 0 h 187"/>
                <a:gd name="T14" fmla="*/ 0 w 131"/>
                <a:gd name="T15" fmla="*/ 0 h 187"/>
                <a:gd name="T16" fmla="*/ 0 w 131"/>
                <a:gd name="T17" fmla="*/ 0 h 187"/>
                <a:gd name="T18" fmla="*/ 0 w 131"/>
                <a:gd name="T19" fmla="*/ 0 h 187"/>
                <a:gd name="T20" fmla="*/ 0 w 131"/>
                <a:gd name="T21" fmla="*/ 0 h 187"/>
                <a:gd name="T22" fmla="*/ 0 w 131"/>
                <a:gd name="T23" fmla="*/ 0 h 187"/>
                <a:gd name="T24" fmla="*/ 0 w 131"/>
                <a:gd name="T25" fmla="*/ 0 h 187"/>
                <a:gd name="T26" fmla="*/ 0 w 131"/>
                <a:gd name="T27" fmla="*/ 0 h 187"/>
                <a:gd name="T28" fmla="*/ 0 w 131"/>
                <a:gd name="T29" fmla="*/ 0 h 187"/>
                <a:gd name="T30" fmla="*/ 0 w 131"/>
                <a:gd name="T31" fmla="*/ 0 h 187"/>
                <a:gd name="T32" fmla="*/ 0 w 131"/>
                <a:gd name="T33" fmla="*/ 0 h 187"/>
                <a:gd name="T34" fmla="*/ 0 w 131"/>
                <a:gd name="T35" fmla="*/ 0 h 187"/>
                <a:gd name="T36" fmla="*/ 0 w 131"/>
                <a:gd name="T37" fmla="*/ 0 h 187"/>
                <a:gd name="T38" fmla="*/ 0 w 131"/>
                <a:gd name="T39" fmla="*/ 0 h 187"/>
                <a:gd name="T40" fmla="*/ 0 w 131"/>
                <a:gd name="T41" fmla="*/ 0 h 187"/>
                <a:gd name="T42" fmla="*/ 0 w 131"/>
                <a:gd name="T43" fmla="*/ 0 h 187"/>
                <a:gd name="T44" fmla="*/ 0 w 131"/>
                <a:gd name="T45" fmla="*/ 0 h 187"/>
                <a:gd name="T46" fmla="*/ 0 w 131"/>
                <a:gd name="T47" fmla="*/ 0 h 187"/>
                <a:gd name="T48" fmla="*/ 0 w 131"/>
                <a:gd name="T49" fmla="*/ 0 h 187"/>
                <a:gd name="T50" fmla="*/ 0 w 131"/>
                <a:gd name="T51" fmla="*/ 0 h 187"/>
                <a:gd name="T52" fmla="*/ 0 w 131"/>
                <a:gd name="T53" fmla="*/ 0 h 187"/>
                <a:gd name="T54" fmla="*/ 0 w 131"/>
                <a:gd name="T55" fmla="*/ 0 h 187"/>
                <a:gd name="T56" fmla="*/ 0 w 131"/>
                <a:gd name="T57" fmla="*/ 0 h 187"/>
                <a:gd name="T58" fmla="*/ 0 w 131"/>
                <a:gd name="T59" fmla="*/ 0 h 187"/>
                <a:gd name="T60" fmla="*/ 0 w 131"/>
                <a:gd name="T61" fmla="*/ 0 h 187"/>
                <a:gd name="T62" fmla="*/ 0 w 131"/>
                <a:gd name="T63" fmla="*/ 0 h 187"/>
                <a:gd name="T64" fmla="*/ 0 w 131"/>
                <a:gd name="T65" fmla="*/ 0 h 187"/>
                <a:gd name="T66" fmla="*/ 0 w 131"/>
                <a:gd name="T67" fmla="*/ 0 h 1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1"/>
                <a:gd name="T103" fmla="*/ 0 h 187"/>
                <a:gd name="T104" fmla="*/ 131 w 131"/>
                <a:gd name="T105" fmla="*/ 187 h 1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2" name="Freeform 111">
              <a:extLst>
                <a:ext uri="{FF2B5EF4-FFF2-40B4-BE49-F238E27FC236}">
                  <a16:creationId xmlns:a16="http://schemas.microsoft.com/office/drawing/2014/main" id="{45C5C117-9BEB-C970-15CE-230E795904C6}"/>
                </a:ext>
              </a:extLst>
            </p:cNvPr>
            <p:cNvSpPr>
              <a:spLocks noChangeAspect="1"/>
            </p:cNvSpPr>
            <p:nvPr userDrawn="1"/>
          </p:nvSpPr>
          <p:spPr bwMode="gray">
            <a:xfrm>
              <a:off x="9462242" y="3045411"/>
              <a:ext cx="101479" cy="161567"/>
            </a:xfrm>
            <a:custGeom>
              <a:avLst/>
              <a:gdLst>
                <a:gd name="T0" fmla="*/ 2147483647 w 190"/>
                <a:gd name="T1" fmla="*/ 0 h 285"/>
                <a:gd name="T2" fmla="*/ 2147483647 w 190"/>
                <a:gd name="T3" fmla="*/ 0 h 285"/>
                <a:gd name="T4" fmla="*/ 2147483647 w 190"/>
                <a:gd name="T5" fmla="*/ 0 h 285"/>
                <a:gd name="T6" fmla="*/ 2147483647 w 190"/>
                <a:gd name="T7" fmla="*/ 2147483647 h 285"/>
                <a:gd name="T8" fmla="*/ 2147483647 w 190"/>
                <a:gd name="T9" fmla="*/ 2147483647 h 285"/>
                <a:gd name="T10" fmla="*/ 2147483647 w 190"/>
                <a:gd name="T11" fmla="*/ 2147483647 h 285"/>
                <a:gd name="T12" fmla="*/ 2147483647 w 190"/>
                <a:gd name="T13" fmla="*/ 2147483647 h 285"/>
                <a:gd name="T14" fmla="*/ 2147483647 w 190"/>
                <a:gd name="T15" fmla="*/ 2147483647 h 285"/>
                <a:gd name="T16" fmla="*/ 2147483647 w 190"/>
                <a:gd name="T17" fmla="*/ 2147483647 h 285"/>
                <a:gd name="T18" fmla="*/ 2147483647 w 190"/>
                <a:gd name="T19" fmla="*/ 2147483647 h 285"/>
                <a:gd name="T20" fmla="*/ 2147483647 w 190"/>
                <a:gd name="T21" fmla="*/ 2147483647 h 285"/>
                <a:gd name="T22" fmla="*/ 2147483647 w 190"/>
                <a:gd name="T23" fmla="*/ 2147483647 h 285"/>
                <a:gd name="T24" fmla="*/ 2147483647 w 190"/>
                <a:gd name="T25" fmla="*/ 2147483647 h 285"/>
                <a:gd name="T26" fmla="*/ 2147483647 w 190"/>
                <a:gd name="T27" fmla="*/ 2147483647 h 285"/>
                <a:gd name="T28" fmla="*/ 2147483647 w 190"/>
                <a:gd name="T29" fmla="*/ 2147483647 h 285"/>
                <a:gd name="T30" fmla="*/ 2147483647 w 190"/>
                <a:gd name="T31" fmla="*/ 2147483647 h 285"/>
                <a:gd name="T32" fmla="*/ 2147483647 w 190"/>
                <a:gd name="T33" fmla="*/ 2147483647 h 285"/>
                <a:gd name="T34" fmla="*/ 2147483647 w 190"/>
                <a:gd name="T35" fmla="*/ 2147483647 h 285"/>
                <a:gd name="T36" fmla="*/ 2147483647 w 190"/>
                <a:gd name="T37" fmla="*/ 2147483647 h 285"/>
                <a:gd name="T38" fmla="*/ 0 w 190"/>
                <a:gd name="T39" fmla="*/ 2147483647 h 285"/>
                <a:gd name="T40" fmla="*/ 0 w 190"/>
                <a:gd name="T41" fmla="*/ 2147483647 h 285"/>
                <a:gd name="T42" fmla="*/ 0 w 190"/>
                <a:gd name="T43" fmla="*/ 2147483647 h 285"/>
                <a:gd name="T44" fmla="*/ 0 w 190"/>
                <a:gd name="T45" fmla="*/ 2147483647 h 285"/>
                <a:gd name="T46" fmla="*/ 0 w 190"/>
                <a:gd name="T47" fmla="*/ 2147483647 h 285"/>
                <a:gd name="T48" fmla="*/ 0 w 190"/>
                <a:gd name="T49" fmla="*/ 2147483647 h 285"/>
                <a:gd name="T50" fmla="*/ 0 w 190"/>
                <a:gd name="T51" fmla="*/ 2147483647 h 285"/>
                <a:gd name="T52" fmla="*/ 0 w 190"/>
                <a:gd name="T53" fmla="*/ 2147483647 h 285"/>
                <a:gd name="T54" fmla="*/ 0 w 190"/>
                <a:gd name="T55" fmla="*/ 2147483647 h 285"/>
                <a:gd name="T56" fmla="*/ 0 w 190"/>
                <a:gd name="T57" fmla="*/ 2147483647 h 285"/>
                <a:gd name="T58" fmla="*/ 0 w 190"/>
                <a:gd name="T59" fmla="*/ 2147483647 h 285"/>
                <a:gd name="T60" fmla="*/ 0 w 190"/>
                <a:gd name="T61" fmla="*/ 2147483647 h 285"/>
                <a:gd name="T62" fmla="*/ 0 w 190"/>
                <a:gd name="T63" fmla="*/ 2147483647 h 285"/>
                <a:gd name="T64" fmla="*/ 0 w 190"/>
                <a:gd name="T65" fmla="*/ 2147483647 h 285"/>
                <a:gd name="T66" fmla="*/ 0 w 190"/>
                <a:gd name="T67" fmla="*/ 2147483647 h 285"/>
                <a:gd name="T68" fmla="*/ 0 w 190"/>
                <a:gd name="T69" fmla="*/ 2147483647 h 285"/>
                <a:gd name="T70" fmla="*/ 0 w 190"/>
                <a:gd name="T71" fmla="*/ 2147483647 h 285"/>
                <a:gd name="T72" fmla="*/ 0 w 190"/>
                <a:gd name="T73" fmla="*/ 2147483647 h 285"/>
                <a:gd name="T74" fmla="*/ 0 w 190"/>
                <a:gd name="T75" fmla="*/ 2147483647 h 285"/>
                <a:gd name="T76" fmla="*/ 0 w 190"/>
                <a:gd name="T77" fmla="*/ 2147483647 h 285"/>
                <a:gd name="T78" fmla="*/ 0 w 190"/>
                <a:gd name="T79" fmla="*/ 2147483647 h 285"/>
                <a:gd name="T80" fmla="*/ 0 w 190"/>
                <a:gd name="T81" fmla="*/ 2147483647 h 285"/>
                <a:gd name="T82" fmla="*/ 0 w 190"/>
                <a:gd name="T83" fmla="*/ 2147483647 h 285"/>
                <a:gd name="T84" fmla="*/ 0 w 190"/>
                <a:gd name="T85" fmla="*/ 2147483647 h 285"/>
                <a:gd name="T86" fmla="*/ 0 w 190"/>
                <a:gd name="T87" fmla="*/ 0 h 285"/>
                <a:gd name="T88" fmla="*/ 0 w 190"/>
                <a:gd name="T89" fmla="*/ 0 h 285"/>
                <a:gd name="T90" fmla="*/ 0 w 190"/>
                <a:gd name="T91" fmla="*/ 0 h 285"/>
                <a:gd name="T92" fmla="*/ 0 w 190"/>
                <a:gd name="T93" fmla="*/ 0 h 285"/>
                <a:gd name="T94" fmla="*/ 2147483647 w 190"/>
                <a:gd name="T95" fmla="*/ 0 h 285"/>
                <a:gd name="T96" fmla="*/ 2147483647 w 190"/>
                <a:gd name="T97" fmla="*/ 0 h 28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0"/>
                <a:gd name="T148" fmla="*/ 0 h 285"/>
                <a:gd name="T149" fmla="*/ 190 w 190"/>
                <a:gd name="T150" fmla="*/ 285 h 28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3" name="Freeform 112">
              <a:extLst>
                <a:ext uri="{FF2B5EF4-FFF2-40B4-BE49-F238E27FC236}">
                  <a16:creationId xmlns:a16="http://schemas.microsoft.com/office/drawing/2014/main" id="{AEB68A84-385B-0B2D-7B2D-08FBAE6DB46C}"/>
                </a:ext>
              </a:extLst>
            </p:cNvPr>
            <p:cNvSpPr>
              <a:spLocks noChangeAspect="1"/>
            </p:cNvSpPr>
            <p:nvPr userDrawn="1"/>
          </p:nvSpPr>
          <p:spPr bwMode="gray">
            <a:xfrm>
              <a:off x="8341493" y="2438773"/>
              <a:ext cx="925252" cy="481653"/>
            </a:xfrm>
            <a:custGeom>
              <a:avLst/>
              <a:gdLst>
                <a:gd name="T0" fmla="*/ 0 w 1734"/>
                <a:gd name="T1" fmla="*/ 2147483647 h 848"/>
                <a:gd name="T2" fmla="*/ 2147483647 w 1734"/>
                <a:gd name="T3" fmla="*/ 2147483647 h 848"/>
                <a:gd name="T4" fmla="*/ 2147483647 w 1734"/>
                <a:gd name="T5" fmla="*/ 2147483647 h 848"/>
                <a:gd name="T6" fmla="*/ 2147483647 w 1734"/>
                <a:gd name="T7" fmla="*/ 2147483647 h 848"/>
                <a:gd name="T8" fmla="*/ 2147483647 w 1734"/>
                <a:gd name="T9" fmla="*/ 2147483647 h 848"/>
                <a:gd name="T10" fmla="*/ 2147483647 w 1734"/>
                <a:gd name="T11" fmla="*/ 2147483647 h 848"/>
                <a:gd name="T12" fmla="*/ 2147483647 w 1734"/>
                <a:gd name="T13" fmla="*/ 2147483647 h 848"/>
                <a:gd name="T14" fmla="*/ 2147483647 w 1734"/>
                <a:gd name="T15" fmla="*/ 2147483647 h 848"/>
                <a:gd name="T16" fmla="*/ 2147483647 w 1734"/>
                <a:gd name="T17" fmla="*/ 0 h 848"/>
                <a:gd name="T18" fmla="*/ 2147483647 w 1734"/>
                <a:gd name="T19" fmla="*/ 0 h 848"/>
                <a:gd name="T20" fmla="*/ 2147483647 w 1734"/>
                <a:gd name="T21" fmla="*/ 0 h 848"/>
                <a:gd name="T22" fmla="*/ 2147483647 w 1734"/>
                <a:gd name="T23" fmla="*/ 2147483647 h 848"/>
                <a:gd name="T24" fmla="*/ 2147483647 w 1734"/>
                <a:gd name="T25" fmla="*/ 2147483647 h 848"/>
                <a:gd name="T26" fmla="*/ 2147483647 w 1734"/>
                <a:gd name="T27" fmla="*/ 2147483647 h 848"/>
                <a:gd name="T28" fmla="*/ 2147483647 w 1734"/>
                <a:gd name="T29" fmla="*/ 2147483647 h 848"/>
                <a:gd name="T30" fmla="*/ 2147483647 w 1734"/>
                <a:gd name="T31" fmla="*/ 2147483647 h 848"/>
                <a:gd name="T32" fmla="*/ 2147483647 w 1734"/>
                <a:gd name="T33" fmla="*/ 2147483647 h 848"/>
                <a:gd name="T34" fmla="*/ 2147483647 w 1734"/>
                <a:gd name="T35" fmla="*/ 2147483647 h 848"/>
                <a:gd name="T36" fmla="*/ 2147483647 w 1734"/>
                <a:gd name="T37" fmla="*/ 2147483647 h 848"/>
                <a:gd name="T38" fmla="*/ 2147483647 w 1734"/>
                <a:gd name="T39" fmla="*/ 2147483647 h 848"/>
                <a:gd name="T40" fmla="*/ 2147483647 w 1734"/>
                <a:gd name="T41" fmla="*/ 2147483647 h 848"/>
                <a:gd name="T42" fmla="*/ 2147483647 w 1734"/>
                <a:gd name="T43" fmla="*/ 2147483647 h 848"/>
                <a:gd name="T44" fmla="*/ 2147483647 w 1734"/>
                <a:gd name="T45" fmla="*/ 2147483647 h 848"/>
                <a:gd name="T46" fmla="*/ 2147483647 w 1734"/>
                <a:gd name="T47" fmla="*/ 2147483647 h 848"/>
                <a:gd name="T48" fmla="*/ 2147483647 w 1734"/>
                <a:gd name="T49" fmla="*/ 2147483647 h 848"/>
                <a:gd name="T50" fmla="*/ 2147483647 w 1734"/>
                <a:gd name="T51" fmla="*/ 2147483647 h 848"/>
                <a:gd name="T52" fmla="*/ 2147483647 w 1734"/>
                <a:gd name="T53" fmla="*/ 2147483647 h 848"/>
                <a:gd name="T54" fmla="*/ 2147483647 w 1734"/>
                <a:gd name="T55" fmla="*/ 2147483647 h 848"/>
                <a:gd name="T56" fmla="*/ 2147483647 w 1734"/>
                <a:gd name="T57" fmla="*/ 2147483647 h 848"/>
                <a:gd name="T58" fmla="*/ 2147483647 w 1734"/>
                <a:gd name="T59" fmla="*/ 2147483647 h 848"/>
                <a:gd name="T60" fmla="*/ 2147483647 w 1734"/>
                <a:gd name="T61" fmla="*/ 2147483647 h 848"/>
                <a:gd name="T62" fmla="*/ 2147483647 w 1734"/>
                <a:gd name="T63" fmla="*/ 2147483647 h 848"/>
                <a:gd name="T64" fmla="*/ 2147483647 w 1734"/>
                <a:gd name="T65" fmla="*/ 2147483647 h 848"/>
                <a:gd name="T66" fmla="*/ 2147483647 w 1734"/>
                <a:gd name="T67" fmla="*/ 2147483647 h 848"/>
                <a:gd name="T68" fmla="*/ 2147483647 w 1734"/>
                <a:gd name="T69" fmla="*/ 2147483647 h 848"/>
                <a:gd name="T70" fmla="*/ 2147483647 w 1734"/>
                <a:gd name="T71" fmla="*/ 2147483647 h 848"/>
                <a:gd name="T72" fmla="*/ 2147483647 w 1734"/>
                <a:gd name="T73" fmla="*/ 2147483647 h 848"/>
                <a:gd name="T74" fmla="*/ 2147483647 w 1734"/>
                <a:gd name="T75" fmla="*/ 2147483647 h 848"/>
                <a:gd name="T76" fmla="*/ 2147483647 w 1734"/>
                <a:gd name="T77" fmla="*/ 2147483647 h 848"/>
                <a:gd name="T78" fmla="*/ 2147483647 w 1734"/>
                <a:gd name="T79" fmla="*/ 2147483647 h 848"/>
                <a:gd name="T80" fmla="*/ 2147483647 w 1734"/>
                <a:gd name="T81" fmla="*/ 2147483647 h 848"/>
                <a:gd name="T82" fmla="*/ 2147483647 w 1734"/>
                <a:gd name="T83" fmla="*/ 2147483647 h 848"/>
                <a:gd name="T84" fmla="*/ 2147483647 w 1734"/>
                <a:gd name="T85" fmla="*/ 2147483647 h 848"/>
                <a:gd name="T86" fmla="*/ 2147483647 w 1734"/>
                <a:gd name="T87" fmla="*/ 2147483647 h 848"/>
                <a:gd name="T88" fmla="*/ 2147483647 w 1734"/>
                <a:gd name="T89" fmla="*/ 2147483647 h 848"/>
                <a:gd name="T90" fmla="*/ 2147483647 w 1734"/>
                <a:gd name="T91" fmla="*/ 2147483647 h 848"/>
                <a:gd name="T92" fmla="*/ 2147483647 w 1734"/>
                <a:gd name="T93" fmla="*/ 2147483647 h 848"/>
                <a:gd name="T94" fmla="*/ 2147483647 w 1734"/>
                <a:gd name="T95" fmla="*/ 2147483647 h 848"/>
                <a:gd name="T96" fmla="*/ 2147483647 w 1734"/>
                <a:gd name="T97" fmla="*/ 2147483647 h 848"/>
                <a:gd name="T98" fmla="*/ 2147483647 w 1734"/>
                <a:gd name="T99" fmla="*/ 2147483647 h 848"/>
                <a:gd name="T100" fmla="*/ 2147483647 w 1734"/>
                <a:gd name="T101" fmla="*/ 2147483647 h 848"/>
                <a:gd name="T102" fmla="*/ 0 w 1734"/>
                <a:gd name="T103" fmla="*/ 2147483647 h 8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34"/>
                <a:gd name="T157" fmla="*/ 0 h 848"/>
                <a:gd name="T158" fmla="*/ 1734 w 1734"/>
                <a:gd name="T159" fmla="*/ 848 h 8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4" name="Freeform 113">
              <a:extLst>
                <a:ext uri="{FF2B5EF4-FFF2-40B4-BE49-F238E27FC236}">
                  <a16:creationId xmlns:a16="http://schemas.microsoft.com/office/drawing/2014/main" id="{CCC6E7F2-BBDD-5C23-F782-B1540E946FCF}"/>
                </a:ext>
              </a:extLst>
            </p:cNvPr>
            <p:cNvSpPr>
              <a:spLocks noChangeAspect="1"/>
            </p:cNvSpPr>
            <p:nvPr userDrawn="1"/>
          </p:nvSpPr>
          <p:spPr bwMode="gray">
            <a:xfrm>
              <a:off x="8950368" y="3702348"/>
              <a:ext cx="70141" cy="65542"/>
            </a:xfrm>
            <a:custGeom>
              <a:avLst/>
              <a:gdLst>
                <a:gd name="T0" fmla="*/ 2147483647 w 127"/>
                <a:gd name="T1" fmla="*/ 0 h 113"/>
                <a:gd name="T2" fmla="*/ 2147483647 w 127"/>
                <a:gd name="T3" fmla="*/ 0 h 113"/>
                <a:gd name="T4" fmla="*/ 2147483647 w 127"/>
                <a:gd name="T5" fmla="*/ 0 h 113"/>
                <a:gd name="T6" fmla="*/ 2147483647 w 127"/>
                <a:gd name="T7" fmla="*/ 0 h 113"/>
                <a:gd name="T8" fmla="*/ 2147483647 w 127"/>
                <a:gd name="T9" fmla="*/ 0 h 113"/>
                <a:gd name="T10" fmla="*/ 2147483647 w 127"/>
                <a:gd name="T11" fmla="*/ 0 h 113"/>
                <a:gd name="T12" fmla="*/ 2147483647 w 127"/>
                <a:gd name="T13" fmla="*/ 0 h 113"/>
                <a:gd name="T14" fmla="*/ 2147483647 w 127"/>
                <a:gd name="T15" fmla="*/ 0 h 113"/>
                <a:gd name="T16" fmla="*/ 2147483647 w 127"/>
                <a:gd name="T17" fmla="*/ 0 h 113"/>
                <a:gd name="T18" fmla="*/ 2147483647 w 127"/>
                <a:gd name="T19" fmla="*/ 2147483647 h 113"/>
                <a:gd name="T20" fmla="*/ 2147483647 w 127"/>
                <a:gd name="T21" fmla="*/ 2147483647 h 113"/>
                <a:gd name="T22" fmla="*/ 2147483647 w 127"/>
                <a:gd name="T23" fmla="*/ 2147483647 h 113"/>
                <a:gd name="T24" fmla="*/ 2147483647 w 127"/>
                <a:gd name="T25" fmla="*/ 2147483647 h 113"/>
                <a:gd name="T26" fmla="*/ 2147483647 w 127"/>
                <a:gd name="T27" fmla="*/ 2147483647 h 113"/>
                <a:gd name="T28" fmla="*/ 2147483647 w 127"/>
                <a:gd name="T29" fmla="*/ 2147483647 h 113"/>
                <a:gd name="T30" fmla="*/ 2147483647 w 127"/>
                <a:gd name="T31" fmla="*/ 2147483647 h 113"/>
                <a:gd name="T32" fmla="*/ 0 w 127"/>
                <a:gd name="T33" fmla="*/ 2147483647 h 113"/>
                <a:gd name="T34" fmla="*/ 0 w 127"/>
                <a:gd name="T35" fmla="*/ 2147483647 h 113"/>
                <a:gd name="T36" fmla="*/ 0 w 127"/>
                <a:gd name="T37" fmla="*/ 0 h 113"/>
                <a:gd name="T38" fmla="*/ 0 w 127"/>
                <a:gd name="T39" fmla="*/ 0 h 113"/>
                <a:gd name="T40" fmla="*/ 0 w 127"/>
                <a:gd name="T41" fmla="*/ 0 h 113"/>
                <a:gd name="T42" fmla="*/ 0 w 127"/>
                <a:gd name="T43" fmla="*/ 0 h 113"/>
                <a:gd name="T44" fmla="*/ 0 w 127"/>
                <a:gd name="T45" fmla="*/ 0 h 113"/>
                <a:gd name="T46" fmla="*/ 0 w 127"/>
                <a:gd name="T47" fmla="*/ 0 h 113"/>
                <a:gd name="T48" fmla="*/ 2147483647 w 127"/>
                <a:gd name="T49" fmla="*/ 0 h 113"/>
                <a:gd name="T50" fmla="*/ 2147483647 w 127"/>
                <a:gd name="T51" fmla="*/ 0 h 113"/>
                <a:gd name="T52" fmla="*/ 2147483647 w 127"/>
                <a:gd name="T53" fmla="*/ 0 h 113"/>
                <a:gd name="T54" fmla="*/ 2147483647 w 127"/>
                <a:gd name="T55" fmla="*/ 0 h 113"/>
                <a:gd name="T56" fmla="*/ 2147483647 w 127"/>
                <a:gd name="T57" fmla="*/ 0 h 113"/>
                <a:gd name="T58" fmla="*/ 2147483647 w 127"/>
                <a:gd name="T59" fmla="*/ 0 h 1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7"/>
                <a:gd name="T91" fmla="*/ 0 h 113"/>
                <a:gd name="T92" fmla="*/ 127 w 127"/>
                <a:gd name="T93" fmla="*/ 113 h 11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5" name="Freeform 114">
              <a:extLst>
                <a:ext uri="{FF2B5EF4-FFF2-40B4-BE49-F238E27FC236}">
                  <a16:creationId xmlns:a16="http://schemas.microsoft.com/office/drawing/2014/main" id="{1583ED70-6059-86A2-BE3C-25250AE0F52D}"/>
                </a:ext>
              </a:extLst>
            </p:cNvPr>
            <p:cNvSpPr>
              <a:spLocks noChangeAspect="1"/>
            </p:cNvSpPr>
            <p:nvPr userDrawn="1"/>
          </p:nvSpPr>
          <p:spPr bwMode="gray">
            <a:xfrm>
              <a:off x="7925130" y="2371707"/>
              <a:ext cx="1792302" cy="1327593"/>
            </a:xfrm>
            <a:custGeom>
              <a:avLst/>
              <a:gdLst>
                <a:gd name="T0" fmla="*/ 2147483647 w 3356"/>
                <a:gd name="T1" fmla="*/ 2147483647 h 2335"/>
                <a:gd name="T2" fmla="*/ 2147483647 w 3356"/>
                <a:gd name="T3" fmla="*/ 2147483647 h 2335"/>
                <a:gd name="T4" fmla="*/ 2147483647 w 3356"/>
                <a:gd name="T5" fmla="*/ 2147483647 h 2335"/>
                <a:gd name="T6" fmla="*/ 2147483647 w 3356"/>
                <a:gd name="T7" fmla="*/ 2147483647 h 2335"/>
                <a:gd name="T8" fmla="*/ 2147483647 w 3356"/>
                <a:gd name="T9" fmla="*/ 2147483647 h 2335"/>
                <a:gd name="T10" fmla="*/ 2147483647 w 3356"/>
                <a:gd name="T11" fmla="*/ 2147483647 h 2335"/>
                <a:gd name="T12" fmla="*/ 2147483647 w 3356"/>
                <a:gd name="T13" fmla="*/ 2147483647 h 2335"/>
                <a:gd name="T14" fmla="*/ 2147483647 w 3356"/>
                <a:gd name="T15" fmla="*/ 2147483647 h 2335"/>
                <a:gd name="T16" fmla="*/ 2147483647 w 3356"/>
                <a:gd name="T17" fmla="*/ 2147483647 h 2335"/>
                <a:gd name="T18" fmla="*/ 2147483647 w 3356"/>
                <a:gd name="T19" fmla="*/ 2147483647 h 2335"/>
                <a:gd name="T20" fmla="*/ 2147483647 w 3356"/>
                <a:gd name="T21" fmla="*/ 2147483647 h 2335"/>
                <a:gd name="T22" fmla="*/ 2147483647 w 3356"/>
                <a:gd name="T23" fmla="*/ 2147483647 h 2335"/>
                <a:gd name="T24" fmla="*/ 2147483647 w 3356"/>
                <a:gd name="T25" fmla="*/ 2147483647 h 2335"/>
                <a:gd name="T26" fmla="*/ 2147483647 w 3356"/>
                <a:gd name="T27" fmla="*/ 2147483647 h 2335"/>
                <a:gd name="T28" fmla="*/ 2147483647 w 3356"/>
                <a:gd name="T29" fmla="*/ 2147483647 h 2335"/>
                <a:gd name="T30" fmla="*/ 2147483647 w 3356"/>
                <a:gd name="T31" fmla="*/ 2147483647 h 2335"/>
                <a:gd name="T32" fmla="*/ 2147483647 w 3356"/>
                <a:gd name="T33" fmla="*/ 2147483647 h 2335"/>
                <a:gd name="T34" fmla="*/ 2147483647 w 3356"/>
                <a:gd name="T35" fmla="*/ 2147483647 h 2335"/>
                <a:gd name="T36" fmla="*/ 2147483647 w 3356"/>
                <a:gd name="T37" fmla="*/ 2147483647 h 2335"/>
                <a:gd name="T38" fmla="*/ 2147483647 w 3356"/>
                <a:gd name="T39" fmla="*/ 2147483647 h 2335"/>
                <a:gd name="T40" fmla="*/ 2147483647 w 3356"/>
                <a:gd name="T41" fmla="*/ 2147483647 h 2335"/>
                <a:gd name="T42" fmla="*/ 2147483647 w 3356"/>
                <a:gd name="T43" fmla="*/ 2147483647 h 2335"/>
                <a:gd name="T44" fmla="*/ 2147483647 w 3356"/>
                <a:gd name="T45" fmla="*/ 2147483647 h 2335"/>
                <a:gd name="T46" fmla="*/ 2147483647 w 3356"/>
                <a:gd name="T47" fmla="*/ 2147483647 h 2335"/>
                <a:gd name="T48" fmla="*/ 2147483647 w 3356"/>
                <a:gd name="T49" fmla="*/ 2147483647 h 2335"/>
                <a:gd name="T50" fmla="*/ 2147483647 w 3356"/>
                <a:gd name="T51" fmla="*/ 2147483647 h 2335"/>
                <a:gd name="T52" fmla="*/ 2147483647 w 3356"/>
                <a:gd name="T53" fmla="*/ 2147483647 h 2335"/>
                <a:gd name="T54" fmla="*/ 2147483647 w 3356"/>
                <a:gd name="T55" fmla="*/ 2147483647 h 2335"/>
                <a:gd name="T56" fmla="*/ 2147483647 w 3356"/>
                <a:gd name="T57" fmla="*/ 2147483647 h 2335"/>
                <a:gd name="T58" fmla="*/ 2147483647 w 3356"/>
                <a:gd name="T59" fmla="*/ 2147483647 h 2335"/>
                <a:gd name="T60" fmla="*/ 2147483647 w 3356"/>
                <a:gd name="T61" fmla="*/ 2147483647 h 2335"/>
                <a:gd name="T62" fmla="*/ 2147483647 w 3356"/>
                <a:gd name="T63" fmla="*/ 2147483647 h 2335"/>
                <a:gd name="T64" fmla="*/ 2147483647 w 3356"/>
                <a:gd name="T65" fmla="*/ 2147483647 h 2335"/>
                <a:gd name="T66" fmla="*/ 2147483647 w 3356"/>
                <a:gd name="T67" fmla="*/ 2147483647 h 2335"/>
                <a:gd name="T68" fmla="*/ 2147483647 w 3356"/>
                <a:gd name="T69" fmla="*/ 2147483647 h 2335"/>
                <a:gd name="T70" fmla="*/ 2147483647 w 3356"/>
                <a:gd name="T71" fmla="*/ 2147483647 h 2335"/>
                <a:gd name="T72" fmla="*/ 2147483647 w 3356"/>
                <a:gd name="T73" fmla="*/ 2147483647 h 2335"/>
                <a:gd name="T74" fmla="*/ 2147483647 w 3356"/>
                <a:gd name="T75" fmla="*/ 2147483647 h 2335"/>
                <a:gd name="T76" fmla="*/ 2147483647 w 3356"/>
                <a:gd name="T77" fmla="*/ 2147483647 h 2335"/>
                <a:gd name="T78" fmla="*/ 2147483647 w 3356"/>
                <a:gd name="T79" fmla="*/ 2147483647 h 2335"/>
                <a:gd name="T80" fmla="*/ 2147483647 w 3356"/>
                <a:gd name="T81" fmla="*/ 2147483647 h 2335"/>
                <a:gd name="T82" fmla="*/ 2147483647 w 3356"/>
                <a:gd name="T83" fmla="*/ 0 h 2335"/>
                <a:gd name="T84" fmla="*/ 2147483647 w 3356"/>
                <a:gd name="T85" fmla="*/ 2147483647 h 2335"/>
                <a:gd name="T86" fmla="*/ 2147483647 w 3356"/>
                <a:gd name="T87" fmla="*/ 2147483647 h 2335"/>
                <a:gd name="T88" fmla="*/ 2147483647 w 3356"/>
                <a:gd name="T89" fmla="*/ 2147483647 h 2335"/>
                <a:gd name="T90" fmla="*/ 2147483647 w 3356"/>
                <a:gd name="T91" fmla="*/ 2147483647 h 2335"/>
                <a:gd name="T92" fmla="*/ 2147483647 w 3356"/>
                <a:gd name="T93" fmla="*/ 2147483647 h 2335"/>
                <a:gd name="T94" fmla="*/ 2147483647 w 3356"/>
                <a:gd name="T95" fmla="*/ 2147483647 h 2335"/>
                <a:gd name="T96" fmla="*/ 2147483647 w 3356"/>
                <a:gd name="T97" fmla="*/ 2147483647 h 2335"/>
                <a:gd name="T98" fmla="*/ 2147483647 w 3356"/>
                <a:gd name="T99" fmla="*/ 2147483647 h 2335"/>
                <a:gd name="T100" fmla="*/ 2147483647 w 3356"/>
                <a:gd name="T101" fmla="*/ 2147483647 h 2335"/>
                <a:gd name="T102" fmla="*/ 2147483647 w 3356"/>
                <a:gd name="T103" fmla="*/ 2147483647 h 2335"/>
                <a:gd name="T104" fmla="*/ 2147483647 w 3356"/>
                <a:gd name="T105" fmla="*/ 2147483647 h 2335"/>
                <a:gd name="T106" fmla="*/ 2147483647 w 3356"/>
                <a:gd name="T107" fmla="*/ 2147483647 h 2335"/>
                <a:gd name="T108" fmla="*/ 2147483647 w 3356"/>
                <a:gd name="T109" fmla="*/ 2147483647 h 2335"/>
                <a:gd name="T110" fmla="*/ 2147483647 w 3356"/>
                <a:gd name="T111" fmla="*/ 2147483647 h 2335"/>
                <a:gd name="T112" fmla="*/ 2147483647 w 3356"/>
                <a:gd name="T113" fmla="*/ 2147483647 h 2335"/>
                <a:gd name="T114" fmla="*/ 2147483647 w 3356"/>
                <a:gd name="T115" fmla="*/ 2147483647 h 2335"/>
                <a:gd name="T116" fmla="*/ 2147483647 w 3356"/>
                <a:gd name="T117" fmla="*/ 2147483647 h 2335"/>
                <a:gd name="T118" fmla="*/ 2147483647 w 3356"/>
                <a:gd name="T119" fmla="*/ 2147483647 h 2335"/>
                <a:gd name="T120" fmla="*/ 2147483647 w 3356"/>
                <a:gd name="T121" fmla="*/ 2147483647 h 2335"/>
                <a:gd name="T122" fmla="*/ 2147483647 w 3356"/>
                <a:gd name="T123" fmla="*/ 2147483647 h 2335"/>
                <a:gd name="T124" fmla="*/ 2147483647 w 3356"/>
                <a:gd name="T125" fmla="*/ 2147483647 h 23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356"/>
                <a:gd name="T190" fmla="*/ 0 h 2335"/>
                <a:gd name="T191" fmla="*/ 3356 w 3356"/>
                <a:gd name="T192" fmla="*/ 2335 h 233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6" name="Freeform 115">
              <a:extLst>
                <a:ext uri="{FF2B5EF4-FFF2-40B4-BE49-F238E27FC236}">
                  <a16:creationId xmlns:a16="http://schemas.microsoft.com/office/drawing/2014/main" id="{34EC3E9E-27BA-551D-D707-81BF250C695F}"/>
                </a:ext>
              </a:extLst>
            </p:cNvPr>
            <p:cNvSpPr>
              <a:spLocks noChangeAspect="1"/>
            </p:cNvSpPr>
            <p:nvPr userDrawn="1"/>
          </p:nvSpPr>
          <p:spPr bwMode="gray">
            <a:xfrm>
              <a:off x="9411502" y="2862505"/>
              <a:ext cx="183558" cy="217963"/>
            </a:xfrm>
            <a:custGeom>
              <a:avLst/>
              <a:gdLst>
                <a:gd name="T0" fmla="*/ 2147483647 w 349"/>
                <a:gd name="T1" fmla="*/ 2147483647 h 377"/>
                <a:gd name="T2" fmla="*/ 2147483647 w 349"/>
                <a:gd name="T3" fmla="*/ 2147483647 h 377"/>
                <a:gd name="T4" fmla="*/ 2147483647 w 349"/>
                <a:gd name="T5" fmla="*/ 2147483647 h 377"/>
                <a:gd name="T6" fmla="*/ 2147483647 w 349"/>
                <a:gd name="T7" fmla="*/ 2147483647 h 377"/>
                <a:gd name="T8" fmla="*/ 2147483647 w 349"/>
                <a:gd name="T9" fmla="*/ 2147483647 h 377"/>
                <a:gd name="T10" fmla="*/ 2147483647 w 349"/>
                <a:gd name="T11" fmla="*/ 2147483647 h 377"/>
                <a:gd name="T12" fmla="*/ 2147483647 w 349"/>
                <a:gd name="T13" fmla="*/ 2147483647 h 377"/>
                <a:gd name="T14" fmla="*/ 2147483647 w 349"/>
                <a:gd name="T15" fmla="*/ 2147483647 h 377"/>
                <a:gd name="T16" fmla="*/ 2147483647 w 349"/>
                <a:gd name="T17" fmla="*/ 2147483647 h 377"/>
                <a:gd name="T18" fmla="*/ 2147483647 w 349"/>
                <a:gd name="T19" fmla="*/ 2147483647 h 377"/>
                <a:gd name="T20" fmla="*/ 2147483647 w 349"/>
                <a:gd name="T21" fmla="*/ 2147483647 h 377"/>
                <a:gd name="T22" fmla="*/ 2147483647 w 349"/>
                <a:gd name="T23" fmla="*/ 2147483647 h 377"/>
                <a:gd name="T24" fmla="*/ 2147483647 w 349"/>
                <a:gd name="T25" fmla="*/ 2147483647 h 377"/>
                <a:gd name="T26" fmla="*/ 2147483647 w 349"/>
                <a:gd name="T27" fmla="*/ 0 h 377"/>
                <a:gd name="T28" fmla="*/ 2147483647 w 349"/>
                <a:gd name="T29" fmla="*/ 0 h 377"/>
                <a:gd name="T30" fmla="*/ 2147483647 w 349"/>
                <a:gd name="T31" fmla="*/ 0 h 377"/>
                <a:gd name="T32" fmla="*/ 2147483647 w 349"/>
                <a:gd name="T33" fmla="*/ 0 h 377"/>
                <a:gd name="T34" fmla="*/ 2147483647 w 349"/>
                <a:gd name="T35" fmla="*/ 0 h 377"/>
                <a:gd name="T36" fmla="*/ 2147483647 w 349"/>
                <a:gd name="T37" fmla="*/ 0 h 377"/>
                <a:gd name="T38" fmla="*/ 2147483647 w 349"/>
                <a:gd name="T39" fmla="*/ 0 h 377"/>
                <a:gd name="T40" fmla="*/ 2147483647 w 349"/>
                <a:gd name="T41" fmla="*/ 2147483647 h 377"/>
                <a:gd name="T42" fmla="*/ 2147483647 w 349"/>
                <a:gd name="T43" fmla="*/ 2147483647 h 377"/>
                <a:gd name="T44" fmla="*/ 2147483647 w 349"/>
                <a:gd name="T45" fmla="*/ 2147483647 h 377"/>
                <a:gd name="T46" fmla="*/ 2147483647 w 349"/>
                <a:gd name="T47" fmla="*/ 2147483647 h 377"/>
                <a:gd name="T48" fmla="*/ 0 w 349"/>
                <a:gd name="T49" fmla="*/ 2147483647 h 377"/>
                <a:gd name="T50" fmla="*/ 0 w 349"/>
                <a:gd name="T51" fmla="*/ 2147483647 h 377"/>
                <a:gd name="T52" fmla="*/ 0 w 349"/>
                <a:gd name="T53" fmla="*/ 2147483647 h 377"/>
                <a:gd name="T54" fmla="*/ 0 w 349"/>
                <a:gd name="T55" fmla="*/ 2147483647 h 377"/>
                <a:gd name="T56" fmla="*/ 2147483647 w 349"/>
                <a:gd name="T57" fmla="*/ 2147483647 h 377"/>
                <a:gd name="T58" fmla="*/ 2147483647 w 349"/>
                <a:gd name="T59" fmla="*/ 2147483647 h 377"/>
                <a:gd name="T60" fmla="*/ 2147483647 w 349"/>
                <a:gd name="T61" fmla="*/ 2147483647 h 377"/>
                <a:gd name="T62" fmla="*/ 2147483647 w 349"/>
                <a:gd name="T63" fmla="*/ 2147483647 h 377"/>
                <a:gd name="T64" fmla="*/ 0 w 349"/>
                <a:gd name="T65" fmla="*/ 2147483647 h 377"/>
                <a:gd name="T66" fmla="*/ 0 w 349"/>
                <a:gd name="T67" fmla="*/ 2147483647 h 377"/>
                <a:gd name="T68" fmla="*/ 0 w 349"/>
                <a:gd name="T69" fmla="*/ 2147483647 h 377"/>
                <a:gd name="T70" fmla="*/ 0 w 349"/>
                <a:gd name="T71" fmla="*/ 2147483647 h 377"/>
                <a:gd name="T72" fmla="*/ 0 w 349"/>
                <a:gd name="T73" fmla="*/ 2147483647 h 377"/>
                <a:gd name="T74" fmla="*/ 0 w 349"/>
                <a:gd name="T75" fmla="*/ 2147483647 h 377"/>
                <a:gd name="T76" fmla="*/ 2147483647 w 349"/>
                <a:gd name="T77" fmla="*/ 2147483647 h 377"/>
                <a:gd name="T78" fmla="*/ 2147483647 w 349"/>
                <a:gd name="T79" fmla="*/ 2147483647 h 377"/>
                <a:gd name="T80" fmla="*/ 2147483647 w 349"/>
                <a:gd name="T81" fmla="*/ 2147483647 h 377"/>
                <a:gd name="T82" fmla="*/ 2147483647 w 349"/>
                <a:gd name="T83" fmla="*/ 2147483647 h 377"/>
                <a:gd name="T84" fmla="*/ 2147483647 w 349"/>
                <a:gd name="T85" fmla="*/ 2147483647 h 377"/>
                <a:gd name="T86" fmla="*/ 2147483647 w 349"/>
                <a:gd name="T87" fmla="*/ 2147483647 h 377"/>
                <a:gd name="T88" fmla="*/ 2147483647 w 349"/>
                <a:gd name="T89" fmla="*/ 2147483647 h 377"/>
                <a:gd name="T90" fmla="*/ 2147483647 w 349"/>
                <a:gd name="T91" fmla="*/ 2147483647 h 377"/>
                <a:gd name="T92" fmla="*/ 2147483647 w 349"/>
                <a:gd name="T93" fmla="*/ 2147483647 h 377"/>
                <a:gd name="T94" fmla="*/ 2147483647 w 349"/>
                <a:gd name="T95" fmla="*/ 2147483647 h 3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49"/>
                <a:gd name="T145" fmla="*/ 0 h 377"/>
                <a:gd name="T146" fmla="*/ 349 w 349"/>
                <a:gd name="T147" fmla="*/ 377 h 3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7" name="Freeform 118">
              <a:extLst>
                <a:ext uri="{FF2B5EF4-FFF2-40B4-BE49-F238E27FC236}">
                  <a16:creationId xmlns:a16="http://schemas.microsoft.com/office/drawing/2014/main" id="{96D59047-556C-88A9-5D7C-E2627C4D8834}"/>
                </a:ext>
              </a:extLst>
            </p:cNvPr>
            <p:cNvSpPr>
              <a:spLocks noChangeAspect="1"/>
            </p:cNvSpPr>
            <p:nvPr userDrawn="1"/>
          </p:nvSpPr>
          <p:spPr bwMode="gray">
            <a:xfrm>
              <a:off x="7180171" y="1297016"/>
              <a:ext cx="61389" cy="71108"/>
            </a:xfrm>
            <a:custGeom>
              <a:avLst/>
              <a:gdLst>
                <a:gd name="T0" fmla="*/ 0 w 116"/>
                <a:gd name="T1" fmla="*/ 0 h 126"/>
                <a:gd name="T2" fmla="*/ 0 w 116"/>
                <a:gd name="T3" fmla="*/ 0 h 126"/>
                <a:gd name="T4" fmla="*/ 0 w 116"/>
                <a:gd name="T5" fmla="*/ 0 h 126"/>
                <a:gd name="T6" fmla="*/ 0 w 116"/>
                <a:gd name="T7" fmla="*/ 0 h 126"/>
                <a:gd name="T8" fmla="*/ 0 w 116"/>
                <a:gd name="T9" fmla="*/ 0 h 126"/>
                <a:gd name="T10" fmla="*/ 0 w 116"/>
                <a:gd name="T11" fmla="*/ 0 h 126"/>
                <a:gd name="T12" fmla="*/ 0 w 116"/>
                <a:gd name="T13" fmla="*/ 0 h 126"/>
                <a:gd name="T14" fmla="*/ 0 w 116"/>
                <a:gd name="T15" fmla="*/ 0 h 126"/>
                <a:gd name="T16" fmla="*/ 0 w 116"/>
                <a:gd name="T17" fmla="*/ 0 h 126"/>
                <a:gd name="T18" fmla="*/ 0 w 116"/>
                <a:gd name="T19" fmla="*/ 0 h 126"/>
                <a:gd name="T20" fmla="*/ 0 w 116"/>
                <a:gd name="T21" fmla="*/ 0 h 126"/>
                <a:gd name="T22" fmla="*/ 0 w 116"/>
                <a:gd name="T23" fmla="*/ 0 h 126"/>
                <a:gd name="T24" fmla="*/ 0 w 116"/>
                <a:gd name="T25" fmla="*/ 0 h 126"/>
                <a:gd name="T26" fmla="*/ 0 w 116"/>
                <a:gd name="T27" fmla="*/ 0 h 126"/>
                <a:gd name="T28" fmla="*/ 0 w 116"/>
                <a:gd name="T29" fmla="*/ 0 h 126"/>
                <a:gd name="T30" fmla="*/ 0 w 116"/>
                <a:gd name="T31" fmla="*/ 0 h 126"/>
                <a:gd name="T32" fmla="*/ 0 w 116"/>
                <a:gd name="T33" fmla="*/ 0 h 126"/>
                <a:gd name="T34" fmla="*/ 0 w 116"/>
                <a:gd name="T35" fmla="*/ 0 h 126"/>
                <a:gd name="T36" fmla="*/ 0 w 116"/>
                <a:gd name="T37" fmla="*/ 0 h 126"/>
                <a:gd name="T38" fmla="*/ 0 w 116"/>
                <a:gd name="T39" fmla="*/ 0 h 126"/>
                <a:gd name="T40" fmla="*/ 0 w 116"/>
                <a:gd name="T41" fmla="*/ 0 h 126"/>
                <a:gd name="T42" fmla="*/ 0 w 116"/>
                <a:gd name="T43" fmla="*/ 0 h 126"/>
                <a:gd name="T44" fmla="*/ 0 w 116"/>
                <a:gd name="T45" fmla="*/ 0 h 126"/>
                <a:gd name="T46" fmla="*/ 0 w 116"/>
                <a:gd name="T47" fmla="*/ 0 h 126"/>
                <a:gd name="T48" fmla="*/ 0 w 116"/>
                <a:gd name="T49" fmla="*/ 0 h 126"/>
                <a:gd name="T50" fmla="*/ 0 w 116"/>
                <a:gd name="T51" fmla="*/ 0 h 126"/>
                <a:gd name="T52" fmla="*/ 0 w 116"/>
                <a:gd name="T53" fmla="*/ 0 h 126"/>
                <a:gd name="T54" fmla="*/ 0 w 116"/>
                <a:gd name="T55" fmla="*/ 0 h 126"/>
                <a:gd name="T56" fmla="*/ 0 w 116"/>
                <a:gd name="T57" fmla="*/ 0 h 126"/>
                <a:gd name="T58" fmla="*/ 0 w 116"/>
                <a:gd name="T59" fmla="*/ 0 h 126"/>
                <a:gd name="T60" fmla="*/ 0 w 116"/>
                <a:gd name="T61" fmla="*/ 0 h 126"/>
                <a:gd name="T62" fmla="*/ 0 w 116"/>
                <a:gd name="T63" fmla="*/ 0 h 126"/>
                <a:gd name="T64" fmla="*/ 0 w 116"/>
                <a:gd name="T65" fmla="*/ 0 h 126"/>
                <a:gd name="T66" fmla="*/ 0 w 116"/>
                <a:gd name="T67" fmla="*/ 0 h 1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126"/>
                <a:gd name="T104" fmla="*/ 116 w 116"/>
                <a:gd name="T105" fmla="*/ 126 h 12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8" name="Freeform 119">
              <a:extLst>
                <a:ext uri="{FF2B5EF4-FFF2-40B4-BE49-F238E27FC236}">
                  <a16:creationId xmlns:a16="http://schemas.microsoft.com/office/drawing/2014/main" id="{C9AC9C94-8359-2093-010F-5D1A689FD2C6}"/>
                </a:ext>
              </a:extLst>
            </p:cNvPr>
            <p:cNvSpPr>
              <a:spLocks noChangeAspect="1"/>
            </p:cNvSpPr>
            <p:nvPr userDrawn="1"/>
          </p:nvSpPr>
          <p:spPr bwMode="gray">
            <a:xfrm>
              <a:off x="8677515" y="99551"/>
              <a:ext cx="178827" cy="238924"/>
            </a:xfrm>
            <a:custGeom>
              <a:avLst/>
              <a:gdLst>
                <a:gd name="T0" fmla="*/ 0 w 337"/>
                <a:gd name="T1" fmla="*/ 0 h 418"/>
                <a:gd name="T2" fmla="*/ 0 w 337"/>
                <a:gd name="T3" fmla="*/ 0 h 418"/>
                <a:gd name="T4" fmla="*/ 0 w 337"/>
                <a:gd name="T5" fmla="*/ 0 h 418"/>
                <a:gd name="T6" fmla="*/ 0 w 337"/>
                <a:gd name="T7" fmla="*/ 0 h 418"/>
                <a:gd name="T8" fmla="*/ 0 w 337"/>
                <a:gd name="T9" fmla="*/ 0 h 418"/>
                <a:gd name="T10" fmla="*/ 0 w 337"/>
                <a:gd name="T11" fmla="*/ 0 h 418"/>
                <a:gd name="T12" fmla="*/ 0 w 337"/>
                <a:gd name="T13" fmla="*/ 0 h 418"/>
                <a:gd name="T14" fmla="*/ 0 w 337"/>
                <a:gd name="T15" fmla="*/ 0 h 418"/>
                <a:gd name="T16" fmla="*/ 0 w 337"/>
                <a:gd name="T17" fmla="*/ 0 h 418"/>
                <a:gd name="T18" fmla="*/ 0 w 337"/>
                <a:gd name="T19" fmla="*/ 0 h 418"/>
                <a:gd name="T20" fmla="*/ 0 w 337"/>
                <a:gd name="T21" fmla="*/ 0 h 418"/>
                <a:gd name="T22" fmla="*/ 0 w 337"/>
                <a:gd name="T23" fmla="*/ 0 h 418"/>
                <a:gd name="T24" fmla="*/ 0 w 337"/>
                <a:gd name="T25" fmla="*/ 0 h 418"/>
                <a:gd name="T26" fmla="*/ 0 w 337"/>
                <a:gd name="T27" fmla="*/ 0 h 418"/>
                <a:gd name="T28" fmla="*/ 0 w 337"/>
                <a:gd name="T29" fmla="*/ 0 h 418"/>
                <a:gd name="T30" fmla="*/ 0 w 337"/>
                <a:gd name="T31" fmla="*/ 0 h 418"/>
                <a:gd name="T32" fmla="*/ 0 w 337"/>
                <a:gd name="T33" fmla="*/ 0 h 418"/>
                <a:gd name="T34" fmla="*/ 0 w 337"/>
                <a:gd name="T35" fmla="*/ 0 h 418"/>
                <a:gd name="T36" fmla="*/ 0 w 337"/>
                <a:gd name="T37" fmla="*/ 0 h 418"/>
                <a:gd name="T38" fmla="*/ 0 w 337"/>
                <a:gd name="T39" fmla="*/ 0 h 418"/>
                <a:gd name="T40" fmla="*/ 0 w 337"/>
                <a:gd name="T41" fmla="*/ 0 h 418"/>
                <a:gd name="T42" fmla="*/ 0 w 337"/>
                <a:gd name="T43" fmla="*/ 0 h 418"/>
                <a:gd name="T44" fmla="*/ 0 w 337"/>
                <a:gd name="T45" fmla="*/ 0 h 418"/>
                <a:gd name="T46" fmla="*/ 0 w 337"/>
                <a:gd name="T47" fmla="*/ 0 h 418"/>
                <a:gd name="T48" fmla="*/ 0 w 337"/>
                <a:gd name="T49" fmla="*/ 0 h 418"/>
                <a:gd name="T50" fmla="*/ 0 w 337"/>
                <a:gd name="T51" fmla="*/ 0 h 418"/>
                <a:gd name="T52" fmla="*/ 0 w 337"/>
                <a:gd name="T53" fmla="*/ 0 h 418"/>
                <a:gd name="T54" fmla="*/ 0 w 337"/>
                <a:gd name="T55" fmla="*/ 0 h 418"/>
                <a:gd name="T56" fmla="*/ 0 w 337"/>
                <a:gd name="T57" fmla="*/ 0 h 418"/>
                <a:gd name="T58" fmla="*/ 0 w 337"/>
                <a:gd name="T59" fmla="*/ 0 h 418"/>
                <a:gd name="T60" fmla="*/ 0 w 337"/>
                <a:gd name="T61" fmla="*/ 0 h 418"/>
                <a:gd name="T62" fmla="*/ 0 w 337"/>
                <a:gd name="T63" fmla="*/ 0 h 418"/>
                <a:gd name="T64" fmla="*/ 0 w 337"/>
                <a:gd name="T65" fmla="*/ 0 h 418"/>
                <a:gd name="T66" fmla="*/ 0 w 337"/>
                <a:gd name="T67" fmla="*/ 0 h 418"/>
                <a:gd name="T68" fmla="*/ 0 w 337"/>
                <a:gd name="T69" fmla="*/ 0 h 418"/>
                <a:gd name="T70" fmla="*/ 0 w 337"/>
                <a:gd name="T71" fmla="*/ 0 h 418"/>
                <a:gd name="T72" fmla="*/ 0 w 337"/>
                <a:gd name="T73" fmla="*/ 0 h 418"/>
                <a:gd name="T74" fmla="*/ 0 w 337"/>
                <a:gd name="T75" fmla="*/ 0 h 418"/>
                <a:gd name="T76" fmla="*/ 0 w 337"/>
                <a:gd name="T77" fmla="*/ 0 h 418"/>
                <a:gd name="T78" fmla="*/ 0 w 337"/>
                <a:gd name="T79" fmla="*/ 0 h 418"/>
                <a:gd name="T80" fmla="*/ 0 w 337"/>
                <a:gd name="T81" fmla="*/ 0 h 418"/>
                <a:gd name="T82" fmla="*/ 0 w 337"/>
                <a:gd name="T83" fmla="*/ 0 h 418"/>
                <a:gd name="T84" fmla="*/ 0 w 337"/>
                <a:gd name="T85" fmla="*/ 0 h 418"/>
                <a:gd name="T86" fmla="*/ 0 w 337"/>
                <a:gd name="T87" fmla="*/ 0 h 418"/>
                <a:gd name="T88" fmla="*/ 0 w 337"/>
                <a:gd name="T89" fmla="*/ 0 h 418"/>
                <a:gd name="T90" fmla="*/ 0 w 337"/>
                <a:gd name="T91" fmla="*/ 0 h 418"/>
                <a:gd name="T92" fmla="*/ 0 w 337"/>
                <a:gd name="T93" fmla="*/ 0 h 418"/>
                <a:gd name="T94" fmla="*/ 0 w 337"/>
                <a:gd name="T95" fmla="*/ 0 h 4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7"/>
                <a:gd name="T145" fmla="*/ 0 h 418"/>
                <a:gd name="T146" fmla="*/ 337 w 337"/>
                <a:gd name="T147" fmla="*/ 418 h 41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19" name="Freeform 120">
              <a:extLst>
                <a:ext uri="{FF2B5EF4-FFF2-40B4-BE49-F238E27FC236}">
                  <a16:creationId xmlns:a16="http://schemas.microsoft.com/office/drawing/2014/main" id="{5B5E9F2C-14B1-4325-8025-0F03BC2970A4}"/>
                </a:ext>
              </a:extLst>
            </p:cNvPr>
            <p:cNvSpPr>
              <a:spLocks noChangeAspect="1"/>
            </p:cNvSpPr>
            <p:nvPr userDrawn="1"/>
          </p:nvSpPr>
          <p:spPr bwMode="gray">
            <a:xfrm>
              <a:off x="9771830" y="577400"/>
              <a:ext cx="194841" cy="190570"/>
            </a:xfrm>
            <a:custGeom>
              <a:avLst/>
              <a:gdLst>
                <a:gd name="T0" fmla="*/ 0 w 365"/>
                <a:gd name="T1" fmla="*/ 0 h 334"/>
                <a:gd name="T2" fmla="*/ 0 w 365"/>
                <a:gd name="T3" fmla="*/ 0 h 334"/>
                <a:gd name="T4" fmla="*/ 0 w 365"/>
                <a:gd name="T5" fmla="*/ 0 h 334"/>
                <a:gd name="T6" fmla="*/ 0 w 365"/>
                <a:gd name="T7" fmla="*/ 0 h 334"/>
                <a:gd name="T8" fmla="*/ 0 w 365"/>
                <a:gd name="T9" fmla="*/ 0 h 334"/>
                <a:gd name="T10" fmla="*/ 0 w 365"/>
                <a:gd name="T11" fmla="*/ 0 h 334"/>
                <a:gd name="T12" fmla="*/ 0 w 365"/>
                <a:gd name="T13" fmla="*/ 0 h 334"/>
                <a:gd name="T14" fmla="*/ 0 w 365"/>
                <a:gd name="T15" fmla="*/ 0 h 334"/>
                <a:gd name="T16" fmla="*/ 0 w 365"/>
                <a:gd name="T17" fmla="*/ 0 h 334"/>
                <a:gd name="T18" fmla="*/ 0 w 365"/>
                <a:gd name="T19" fmla="*/ 0 h 334"/>
                <a:gd name="T20" fmla="*/ 0 w 365"/>
                <a:gd name="T21" fmla="*/ 0 h 334"/>
                <a:gd name="T22" fmla="*/ 0 w 365"/>
                <a:gd name="T23" fmla="*/ 0 h 334"/>
                <a:gd name="T24" fmla="*/ 0 w 365"/>
                <a:gd name="T25" fmla="*/ 0 h 334"/>
                <a:gd name="T26" fmla="*/ 0 w 365"/>
                <a:gd name="T27" fmla="*/ 0 h 334"/>
                <a:gd name="T28" fmla="*/ 0 w 365"/>
                <a:gd name="T29" fmla="*/ 0 h 334"/>
                <a:gd name="T30" fmla="*/ 0 w 365"/>
                <a:gd name="T31" fmla="*/ 0 h 334"/>
                <a:gd name="T32" fmla="*/ 0 w 365"/>
                <a:gd name="T33" fmla="*/ 0 h 334"/>
                <a:gd name="T34" fmla="*/ 0 w 365"/>
                <a:gd name="T35" fmla="*/ 0 h 334"/>
                <a:gd name="T36" fmla="*/ 0 w 365"/>
                <a:gd name="T37" fmla="*/ 0 h 334"/>
                <a:gd name="T38" fmla="*/ 0 w 365"/>
                <a:gd name="T39" fmla="*/ 0 h 334"/>
                <a:gd name="T40" fmla="*/ 0 w 365"/>
                <a:gd name="T41" fmla="*/ 0 h 334"/>
                <a:gd name="T42" fmla="*/ 0 w 365"/>
                <a:gd name="T43" fmla="*/ 0 h 334"/>
                <a:gd name="T44" fmla="*/ 0 w 365"/>
                <a:gd name="T45" fmla="*/ 0 h 334"/>
                <a:gd name="T46" fmla="*/ 0 w 365"/>
                <a:gd name="T47" fmla="*/ 0 h 334"/>
                <a:gd name="T48" fmla="*/ 0 w 365"/>
                <a:gd name="T49" fmla="*/ 0 h 334"/>
                <a:gd name="T50" fmla="*/ 0 w 365"/>
                <a:gd name="T51" fmla="*/ 0 h 334"/>
                <a:gd name="T52" fmla="*/ 0 w 365"/>
                <a:gd name="T53" fmla="*/ 0 h 334"/>
                <a:gd name="T54" fmla="*/ 0 w 365"/>
                <a:gd name="T55" fmla="*/ 0 h 334"/>
                <a:gd name="T56" fmla="*/ 0 w 365"/>
                <a:gd name="T57" fmla="*/ 0 h 334"/>
                <a:gd name="T58" fmla="*/ 0 w 365"/>
                <a:gd name="T59" fmla="*/ 0 h 334"/>
                <a:gd name="T60" fmla="*/ 0 w 365"/>
                <a:gd name="T61" fmla="*/ 0 h 334"/>
                <a:gd name="T62" fmla="*/ 0 w 365"/>
                <a:gd name="T63" fmla="*/ 0 h 334"/>
                <a:gd name="T64" fmla="*/ 0 w 365"/>
                <a:gd name="T65" fmla="*/ 0 h 334"/>
                <a:gd name="T66" fmla="*/ 0 w 365"/>
                <a:gd name="T67" fmla="*/ 0 h 334"/>
                <a:gd name="T68" fmla="*/ 0 w 365"/>
                <a:gd name="T69" fmla="*/ 0 h 334"/>
                <a:gd name="T70" fmla="*/ 0 w 365"/>
                <a:gd name="T71" fmla="*/ 0 h 334"/>
                <a:gd name="T72" fmla="*/ 0 w 365"/>
                <a:gd name="T73" fmla="*/ 0 h 334"/>
                <a:gd name="T74" fmla="*/ 0 w 365"/>
                <a:gd name="T75" fmla="*/ 0 h 334"/>
                <a:gd name="T76" fmla="*/ 0 w 365"/>
                <a:gd name="T77" fmla="*/ 0 h 334"/>
                <a:gd name="T78" fmla="*/ 0 w 365"/>
                <a:gd name="T79" fmla="*/ 0 h 334"/>
                <a:gd name="T80" fmla="*/ 0 w 365"/>
                <a:gd name="T81" fmla="*/ 0 h 334"/>
                <a:gd name="T82" fmla="*/ 0 w 365"/>
                <a:gd name="T83" fmla="*/ 0 h 334"/>
                <a:gd name="T84" fmla="*/ 0 w 365"/>
                <a:gd name="T85" fmla="*/ 0 h 334"/>
                <a:gd name="T86" fmla="*/ 0 w 365"/>
                <a:gd name="T87" fmla="*/ 0 h 334"/>
                <a:gd name="T88" fmla="*/ 0 w 365"/>
                <a:gd name="T89" fmla="*/ 0 h 334"/>
                <a:gd name="T90" fmla="*/ 0 w 365"/>
                <a:gd name="T91" fmla="*/ 0 h 334"/>
                <a:gd name="T92" fmla="*/ 0 w 365"/>
                <a:gd name="T93" fmla="*/ 0 h 334"/>
                <a:gd name="T94" fmla="*/ 0 w 365"/>
                <a:gd name="T95" fmla="*/ 0 h 334"/>
                <a:gd name="T96" fmla="*/ 0 w 365"/>
                <a:gd name="T97" fmla="*/ 0 h 334"/>
                <a:gd name="T98" fmla="*/ 0 w 365"/>
                <a:gd name="T99" fmla="*/ 0 h 334"/>
                <a:gd name="T100" fmla="*/ 0 w 365"/>
                <a:gd name="T101" fmla="*/ 0 h 334"/>
                <a:gd name="T102" fmla="*/ 0 w 365"/>
                <a:gd name="T103" fmla="*/ 0 h 334"/>
                <a:gd name="T104" fmla="*/ 0 w 365"/>
                <a:gd name="T105" fmla="*/ 0 h 334"/>
                <a:gd name="T106" fmla="*/ 0 w 365"/>
                <a:gd name="T107" fmla="*/ 0 h 334"/>
                <a:gd name="T108" fmla="*/ 0 w 365"/>
                <a:gd name="T109" fmla="*/ 0 h 334"/>
                <a:gd name="T110" fmla="*/ 0 w 365"/>
                <a:gd name="T111" fmla="*/ 0 h 334"/>
                <a:gd name="T112" fmla="*/ 0 w 365"/>
                <a:gd name="T113" fmla="*/ 0 h 334"/>
                <a:gd name="T114" fmla="*/ 0 w 365"/>
                <a:gd name="T115" fmla="*/ 0 h 334"/>
                <a:gd name="T116" fmla="*/ 0 w 365"/>
                <a:gd name="T117" fmla="*/ 0 h 334"/>
                <a:gd name="T118" fmla="*/ 0 w 365"/>
                <a:gd name="T119" fmla="*/ 0 h 334"/>
                <a:gd name="T120" fmla="*/ 0 w 365"/>
                <a:gd name="T121" fmla="*/ 0 h 3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5"/>
                <a:gd name="T184" fmla="*/ 0 h 334"/>
                <a:gd name="T185" fmla="*/ 365 w 365"/>
                <a:gd name="T186" fmla="*/ 334 h 3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0" name="Freeform 121">
              <a:extLst>
                <a:ext uri="{FF2B5EF4-FFF2-40B4-BE49-F238E27FC236}">
                  <a16:creationId xmlns:a16="http://schemas.microsoft.com/office/drawing/2014/main" id="{C6F64529-05F3-167D-F8D6-64153404C99B}"/>
                </a:ext>
              </a:extLst>
            </p:cNvPr>
            <p:cNvSpPr>
              <a:spLocks noChangeAspect="1"/>
            </p:cNvSpPr>
            <p:nvPr userDrawn="1"/>
          </p:nvSpPr>
          <p:spPr bwMode="gray">
            <a:xfrm>
              <a:off x="9907953" y="585933"/>
              <a:ext cx="117439" cy="142217"/>
            </a:xfrm>
            <a:custGeom>
              <a:avLst/>
              <a:gdLst>
                <a:gd name="T0" fmla="*/ 0 w 224"/>
                <a:gd name="T1" fmla="*/ 0 h 248"/>
                <a:gd name="T2" fmla="*/ 0 w 224"/>
                <a:gd name="T3" fmla="*/ 0 h 248"/>
                <a:gd name="T4" fmla="*/ 0 w 224"/>
                <a:gd name="T5" fmla="*/ 0 h 248"/>
                <a:gd name="T6" fmla="*/ 0 w 224"/>
                <a:gd name="T7" fmla="*/ 0 h 248"/>
                <a:gd name="T8" fmla="*/ 0 w 224"/>
                <a:gd name="T9" fmla="*/ 0 h 248"/>
                <a:gd name="T10" fmla="*/ 0 w 224"/>
                <a:gd name="T11" fmla="*/ 0 h 248"/>
                <a:gd name="T12" fmla="*/ 0 w 224"/>
                <a:gd name="T13" fmla="*/ 0 h 248"/>
                <a:gd name="T14" fmla="*/ 0 w 224"/>
                <a:gd name="T15" fmla="*/ 0 h 248"/>
                <a:gd name="T16" fmla="*/ 0 w 224"/>
                <a:gd name="T17" fmla="*/ 0 h 248"/>
                <a:gd name="T18" fmla="*/ 0 w 224"/>
                <a:gd name="T19" fmla="*/ 0 h 248"/>
                <a:gd name="T20" fmla="*/ 0 w 224"/>
                <a:gd name="T21" fmla="*/ 0 h 248"/>
                <a:gd name="T22" fmla="*/ 0 w 224"/>
                <a:gd name="T23" fmla="*/ 0 h 248"/>
                <a:gd name="T24" fmla="*/ 0 w 224"/>
                <a:gd name="T25" fmla="*/ 0 h 248"/>
                <a:gd name="T26" fmla="*/ 0 w 224"/>
                <a:gd name="T27" fmla="*/ 0 h 248"/>
                <a:gd name="T28" fmla="*/ 0 w 224"/>
                <a:gd name="T29" fmla="*/ 0 h 248"/>
                <a:gd name="T30" fmla="*/ 0 w 224"/>
                <a:gd name="T31" fmla="*/ 0 h 248"/>
                <a:gd name="T32" fmla="*/ 0 w 224"/>
                <a:gd name="T33" fmla="*/ 0 h 248"/>
                <a:gd name="T34" fmla="*/ 0 w 224"/>
                <a:gd name="T35" fmla="*/ 0 h 248"/>
                <a:gd name="T36" fmla="*/ 0 w 224"/>
                <a:gd name="T37" fmla="*/ 0 h 248"/>
                <a:gd name="T38" fmla="*/ 0 w 224"/>
                <a:gd name="T39" fmla="*/ 0 h 248"/>
                <a:gd name="T40" fmla="*/ 0 w 224"/>
                <a:gd name="T41" fmla="*/ 0 h 248"/>
                <a:gd name="T42" fmla="*/ 0 w 224"/>
                <a:gd name="T43" fmla="*/ 0 h 248"/>
                <a:gd name="T44" fmla="*/ 0 w 224"/>
                <a:gd name="T45" fmla="*/ 0 h 248"/>
                <a:gd name="T46" fmla="*/ 0 w 224"/>
                <a:gd name="T47" fmla="*/ 0 h 248"/>
                <a:gd name="T48" fmla="*/ 0 w 224"/>
                <a:gd name="T49" fmla="*/ 0 h 248"/>
                <a:gd name="T50" fmla="*/ 0 w 224"/>
                <a:gd name="T51" fmla="*/ 0 h 248"/>
                <a:gd name="T52" fmla="*/ 0 w 224"/>
                <a:gd name="T53" fmla="*/ 0 h 248"/>
                <a:gd name="T54" fmla="*/ 0 w 224"/>
                <a:gd name="T55" fmla="*/ 0 h 248"/>
                <a:gd name="T56" fmla="*/ 0 w 224"/>
                <a:gd name="T57" fmla="*/ 0 h 248"/>
                <a:gd name="T58" fmla="*/ 0 w 224"/>
                <a:gd name="T59" fmla="*/ 0 h 248"/>
                <a:gd name="T60" fmla="*/ 0 w 224"/>
                <a:gd name="T61" fmla="*/ 0 h 248"/>
                <a:gd name="T62" fmla="*/ 0 w 224"/>
                <a:gd name="T63" fmla="*/ 0 h 248"/>
                <a:gd name="T64" fmla="*/ 0 w 224"/>
                <a:gd name="T65" fmla="*/ 0 h 248"/>
                <a:gd name="T66" fmla="*/ 0 w 224"/>
                <a:gd name="T67" fmla="*/ 0 h 248"/>
                <a:gd name="T68" fmla="*/ 0 w 224"/>
                <a:gd name="T69" fmla="*/ 0 h 248"/>
                <a:gd name="T70" fmla="*/ 0 w 224"/>
                <a:gd name="T71" fmla="*/ 0 h 248"/>
                <a:gd name="T72" fmla="*/ 0 w 224"/>
                <a:gd name="T73" fmla="*/ 0 h 248"/>
                <a:gd name="T74" fmla="*/ 0 w 224"/>
                <a:gd name="T75" fmla="*/ 0 h 248"/>
                <a:gd name="T76" fmla="*/ 0 w 224"/>
                <a:gd name="T77" fmla="*/ 0 h 248"/>
                <a:gd name="T78" fmla="*/ 0 w 224"/>
                <a:gd name="T79" fmla="*/ 0 h 248"/>
                <a:gd name="T80" fmla="*/ 0 w 224"/>
                <a:gd name="T81" fmla="*/ 0 h 248"/>
                <a:gd name="T82" fmla="*/ 0 w 224"/>
                <a:gd name="T83" fmla="*/ 0 h 2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4"/>
                <a:gd name="T127" fmla="*/ 0 h 248"/>
                <a:gd name="T128" fmla="*/ 224 w 224"/>
                <a:gd name="T129" fmla="*/ 248 h 2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1" name="Freeform 122">
              <a:extLst>
                <a:ext uri="{FF2B5EF4-FFF2-40B4-BE49-F238E27FC236}">
                  <a16:creationId xmlns:a16="http://schemas.microsoft.com/office/drawing/2014/main" id="{9A4FA815-23D6-D677-F7BA-71B633D092B8}"/>
                </a:ext>
              </a:extLst>
            </p:cNvPr>
            <p:cNvSpPr>
              <a:spLocks noChangeAspect="1"/>
            </p:cNvSpPr>
            <p:nvPr userDrawn="1"/>
          </p:nvSpPr>
          <p:spPr bwMode="gray">
            <a:xfrm>
              <a:off x="10049413" y="662730"/>
              <a:ext cx="144130" cy="102396"/>
            </a:xfrm>
            <a:custGeom>
              <a:avLst/>
              <a:gdLst>
                <a:gd name="T0" fmla="*/ 0 w 266"/>
                <a:gd name="T1" fmla="*/ 0 h 180"/>
                <a:gd name="T2" fmla="*/ 0 w 266"/>
                <a:gd name="T3" fmla="*/ 0 h 180"/>
                <a:gd name="T4" fmla="*/ 0 w 266"/>
                <a:gd name="T5" fmla="*/ 0 h 180"/>
                <a:gd name="T6" fmla="*/ 0 w 266"/>
                <a:gd name="T7" fmla="*/ 0 h 180"/>
                <a:gd name="T8" fmla="*/ 0 w 266"/>
                <a:gd name="T9" fmla="*/ 0 h 180"/>
                <a:gd name="T10" fmla="*/ 0 w 266"/>
                <a:gd name="T11" fmla="*/ 0 h 180"/>
                <a:gd name="T12" fmla="*/ 0 w 266"/>
                <a:gd name="T13" fmla="*/ 0 h 180"/>
                <a:gd name="T14" fmla="*/ 0 w 266"/>
                <a:gd name="T15" fmla="*/ 0 h 180"/>
                <a:gd name="T16" fmla="*/ 0 w 266"/>
                <a:gd name="T17" fmla="*/ 0 h 180"/>
                <a:gd name="T18" fmla="*/ 0 w 266"/>
                <a:gd name="T19" fmla="*/ 0 h 180"/>
                <a:gd name="T20" fmla="*/ 0 w 266"/>
                <a:gd name="T21" fmla="*/ 0 h 180"/>
                <a:gd name="T22" fmla="*/ 0 w 266"/>
                <a:gd name="T23" fmla="*/ 0 h 180"/>
                <a:gd name="T24" fmla="*/ 0 w 266"/>
                <a:gd name="T25" fmla="*/ 0 h 180"/>
                <a:gd name="T26" fmla="*/ 0 w 266"/>
                <a:gd name="T27" fmla="*/ 0 h 180"/>
                <a:gd name="T28" fmla="*/ 0 w 266"/>
                <a:gd name="T29" fmla="*/ 0 h 180"/>
                <a:gd name="T30" fmla="*/ 0 w 266"/>
                <a:gd name="T31" fmla="*/ 0 h 180"/>
                <a:gd name="T32" fmla="*/ 0 w 266"/>
                <a:gd name="T33" fmla="*/ 0 h 180"/>
                <a:gd name="T34" fmla="*/ 0 w 266"/>
                <a:gd name="T35" fmla="*/ 0 h 180"/>
                <a:gd name="T36" fmla="*/ 0 w 266"/>
                <a:gd name="T37" fmla="*/ 0 h 180"/>
                <a:gd name="T38" fmla="*/ 0 w 266"/>
                <a:gd name="T39" fmla="*/ 0 h 180"/>
                <a:gd name="T40" fmla="*/ 0 w 266"/>
                <a:gd name="T41" fmla="*/ 0 h 180"/>
                <a:gd name="T42" fmla="*/ 0 w 266"/>
                <a:gd name="T43" fmla="*/ 0 h 180"/>
                <a:gd name="T44" fmla="*/ 0 w 266"/>
                <a:gd name="T45" fmla="*/ 0 h 180"/>
                <a:gd name="T46" fmla="*/ 0 w 266"/>
                <a:gd name="T47" fmla="*/ 0 h 180"/>
                <a:gd name="T48" fmla="*/ 0 w 266"/>
                <a:gd name="T49" fmla="*/ 0 h 180"/>
                <a:gd name="T50" fmla="*/ 0 w 266"/>
                <a:gd name="T51" fmla="*/ 0 h 180"/>
                <a:gd name="T52" fmla="*/ 0 w 266"/>
                <a:gd name="T53" fmla="*/ 0 h 180"/>
                <a:gd name="T54" fmla="*/ 0 w 266"/>
                <a:gd name="T55" fmla="*/ 0 h 180"/>
                <a:gd name="T56" fmla="*/ 0 w 266"/>
                <a:gd name="T57" fmla="*/ 0 h 180"/>
                <a:gd name="T58" fmla="*/ 0 w 266"/>
                <a:gd name="T59" fmla="*/ 0 h 180"/>
                <a:gd name="T60" fmla="*/ 0 w 266"/>
                <a:gd name="T61" fmla="*/ 0 h 180"/>
                <a:gd name="T62" fmla="*/ 0 w 266"/>
                <a:gd name="T63" fmla="*/ 0 h 180"/>
                <a:gd name="T64" fmla="*/ 0 w 266"/>
                <a:gd name="T65" fmla="*/ 0 h 180"/>
                <a:gd name="T66" fmla="*/ 0 w 266"/>
                <a:gd name="T67" fmla="*/ 0 h 180"/>
                <a:gd name="T68" fmla="*/ 0 w 266"/>
                <a:gd name="T69" fmla="*/ 0 h 180"/>
                <a:gd name="T70" fmla="*/ 0 w 266"/>
                <a:gd name="T71" fmla="*/ 0 h 180"/>
                <a:gd name="T72" fmla="*/ 0 w 266"/>
                <a:gd name="T73" fmla="*/ 0 h 180"/>
                <a:gd name="T74" fmla="*/ 0 w 266"/>
                <a:gd name="T75" fmla="*/ 0 h 180"/>
                <a:gd name="T76" fmla="*/ 0 w 266"/>
                <a:gd name="T77" fmla="*/ 0 h 180"/>
                <a:gd name="T78" fmla="*/ 0 w 266"/>
                <a:gd name="T79" fmla="*/ 0 h 180"/>
                <a:gd name="T80" fmla="*/ 0 w 266"/>
                <a:gd name="T81" fmla="*/ 0 h 180"/>
                <a:gd name="T82" fmla="*/ 0 w 266"/>
                <a:gd name="T83" fmla="*/ 0 h 180"/>
                <a:gd name="T84" fmla="*/ 0 w 266"/>
                <a:gd name="T85" fmla="*/ 0 h 180"/>
                <a:gd name="T86" fmla="*/ 0 w 266"/>
                <a:gd name="T87" fmla="*/ 0 h 180"/>
                <a:gd name="T88" fmla="*/ 0 w 266"/>
                <a:gd name="T89" fmla="*/ 0 h 180"/>
                <a:gd name="T90" fmla="*/ 0 w 266"/>
                <a:gd name="T91" fmla="*/ 0 h 180"/>
                <a:gd name="T92" fmla="*/ 0 w 266"/>
                <a:gd name="T93" fmla="*/ 0 h 180"/>
                <a:gd name="T94" fmla="*/ 0 w 266"/>
                <a:gd name="T95" fmla="*/ 0 h 180"/>
                <a:gd name="T96" fmla="*/ 0 w 266"/>
                <a:gd name="T97" fmla="*/ 0 h 180"/>
                <a:gd name="T98" fmla="*/ 0 w 266"/>
                <a:gd name="T99" fmla="*/ 0 h 18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6"/>
                <a:gd name="T151" fmla="*/ 0 h 180"/>
                <a:gd name="T152" fmla="*/ 266 w 266"/>
                <a:gd name="T153" fmla="*/ 180 h 18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2" name="Freeform 123">
              <a:extLst>
                <a:ext uri="{FF2B5EF4-FFF2-40B4-BE49-F238E27FC236}">
                  <a16:creationId xmlns:a16="http://schemas.microsoft.com/office/drawing/2014/main" id="{EBC39F87-AF32-AB19-750A-CCE38AA7F0F5}"/>
                </a:ext>
              </a:extLst>
            </p:cNvPr>
            <p:cNvSpPr>
              <a:spLocks noChangeAspect="1"/>
            </p:cNvSpPr>
            <p:nvPr userDrawn="1"/>
          </p:nvSpPr>
          <p:spPr bwMode="gray">
            <a:xfrm>
              <a:off x="9857240" y="856144"/>
              <a:ext cx="114770" cy="76797"/>
            </a:xfrm>
            <a:custGeom>
              <a:avLst/>
              <a:gdLst>
                <a:gd name="T0" fmla="*/ 0 w 212"/>
                <a:gd name="T1" fmla="*/ 0 h 136"/>
                <a:gd name="T2" fmla="*/ 0 w 212"/>
                <a:gd name="T3" fmla="*/ 0 h 136"/>
                <a:gd name="T4" fmla="*/ 0 w 212"/>
                <a:gd name="T5" fmla="*/ 0 h 136"/>
                <a:gd name="T6" fmla="*/ 0 w 212"/>
                <a:gd name="T7" fmla="*/ 0 h 136"/>
                <a:gd name="T8" fmla="*/ 0 w 212"/>
                <a:gd name="T9" fmla="*/ 0 h 136"/>
                <a:gd name="T10" fmla="*/ 0 w 212"/>
                <a:gd name="T11" fmla="*/ 0 h 136"/>
                <a:gd name="T12" fmla="*/ 0 w 212"/>
                <a:gd name="T13" fmla="*/ 0 h 136"/>
                <a:gd name="T14" fmla="*/ 0 w 212"/>
                <a:gd name="T15" fmla="*/ 0 h 136"/>
                <a:gd name="T16" fmla="*/ 0 w 212"/>
                <a:gd name="T17" fmla="*/ 0 h 136"/>
                <a:gd name="T18" fmla="*/ 0 w 212"/>
                <a:gd name="T19" fmla="*/ 0 h 136"/>
                <a:gd name="T20" fmla="*/ 0 w 212"/>
                <a:gd name="T21" fmla="*/ 0 h 136"/>
                <a:gd name="T22" fmla="*/ 0 w 212"/>
                <a:gd name="T23" fmla="*/ 0 h 136"/>
                <a:gd name="T24" fmla="*/ 0 w 212"/>
                <a:gd name="T25" fmla="*/ 0 h 136"/>
                <a:gd name="T26" fmla="*/ 0 w 212"/>
                <a:gd name="T27" fmla="*/ 0 h 136"/>
                <a:gd name="T28" fmla="*/ 0 w 212"/>
                <a:gd name="T29" fmla="*/ 0 h 136"/>
                <a:gd name="T30" fmla="*/ 0 w 212"/>
                <a:gd name="T31" fmla="*/ 0 h 136"/>
                <a:gd name="T32" fmla="*/ 0 w 212"/>
                <a:gd name="T33" fmla="*/ 0 h 136"/>
                <a:gd name="T34" fmla="*/ 0 w 212"/>
                <a:gd name="T35" fmla="*/ 0 h 136"/>
                <a:gd name="T36" fmla="*/ 0 w 212"/>
                <a:gd name="T37" fmla="*/ 0 h 136"/>
                <a:gd name="T38" fmla="*/ 0 w 212"/>
                <a:gd name="T39" fmla="*/ 0 h 136"/>
                <a:gd name="T40" fmla="*/ 0 w 212"/>
                <a:gd name="T41" fmla="*/ 0 h 136"/>
                <a:gd name="T42" fmla="*/ 0 w 212"/>
                <a:gd name="T43" fmla="*/ 0 h 136"/>
                <a:gd name="T44" fmla="*/ 0 w 212"/>
                <a:gd name="T45" fmla="*/ 0 h 136"/>
                <a:gd name="T46" fmla="*/ 0 w 212"/>
                <a:gd name="T47" fmla="*/ 0 h 136"/>
                <a:gd name="T48" fmla="*/ 0 w 212"/>
                <a:gd name="T49" fmla="*/ 0 h 136"/>
                <a:gd name="T50" fmla="*/ 0 w 212"/>
                <a:gd name="T51" fmla="*/ 0 h 136"/>
                <a:gd name="T52" fmla="*/ 0 w 212"/>
                <a:gd name="T53" fmla="*/ 0 h 136"/>
                <a:gd name="T54" fmla="*/ 0 w 212"/>
                <a:gd name="T55" fmla="*/ 0 h 136"/>
                <a:gd name="T56" fmla="*/ 0 w 212"/>
                <a:gd name="T57" fmla="*/ 0 h 136"/>
                <a:gd name="T58" fmla="*/ 0 w 212"/>
                <a:gd name="T59" fmla="*/ 0 h 136"/>
                <a:gd name="T60" fmla="*/ 0 w 212"/>
                <a:gd name="T61" fmla="*/ 0 h 136"/>
                <a:gd name="T62" fmla="*/ 0 w 212"/>
                <a:gd name="T63" fmla="*/ 0 h 136"/>
                <a:gd name="T64" fmla="*/ 0 w 212"/>
                <a:gd name="T65" fmla="*/ 0 h 136"/>
                <a:gd name="T66" fmla="*/ 0 w 212"/>
                <a:gd name="T67" fmla="*/ 0 h 136"/>
                <a:gd name="T68" fmla="*/ 0 w 212"/>
                <a:gd name="T69" fmla="*/ 0 h 1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2"/>
                <a:gd name="T106" fmla="*/ 0 h 136"/>
                <a:gd name="T107" fmla="*/ 212 w 212"/>
                <a:gd name="T108" fmla="*/ 136 h 1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3" name="Freeform 124">
              <a:extLst>
                <a:ext uri="{FF2B5EF4-FFF2-40B4-BE49-F238E27FC236}">
                  <a16:creationId xmlns:a16="http://schemas.microsoft.com/office/drawing/2014/main" id="{57A215C7-D599-A07A-F201-90D063D294B4}"/>
                </a:ext>
              </a:extLst>
            </p:cNvPr>
            <p:cNvSpPr>
              <a:spLocks noChangeAspect="1"/>
            </p:cNvSpPr>
            <p:nvPr userDrawn="1"/>
          </p:nvSpPr>
          <p:spPr bwMode="gray">
            <a:xfrm>
              <a:off x="7276257" y="915875"/>
              <a:ext cx="181496" cy="290122"/>
            </a:xfrm>
            <a:custGeom>
              <a:avLst/>
              <a:gdLst>
                <a:gd name="T0" fmla="*/ 0 w 338"/>
                <a:gd name="T1" fmla="*/ 0 h 508"/>
                <a:gd name="T2" fmla="*/ 0 w 338"/>
                <a:gd name="T3" fmla="*/ 0 h 508"/>
                <a:gd name="T4" fmla="*/ 0 w 338"/>
                <a:gd name="T5" fmla="*/ 0 h 508"/>
                <a:gd name="T6" fmla="*/ 0 w 338"/>
                <a:gd name="T7" fmla="*/ 0 h 508"/>
                <a:gd name="T8" fmla="*/ 0 w 338"/>
                <a:gd name="T9" fmla="*/ 0 h 508"/>
                <a:gd name="T10" fmla="*/ 0 w 338"/>
                <a:gd name="T11" fmla="*/ 0 h 508"/>
                <a:gd name="T12" fmla="*/ 0 w 338"/>
                <a:gd name="T13" fmla="*/ 0 h 508"/>
                <a:gd name="T14" fmla="*/ 0 w 338"/>
                <a:gd name="T15" fmla="*/ 0 h 508"/>
                <a:gd name="T16" fmla="*/ 0 w 338"/>
                <a:gd name="T17" fmla="*/ 0 h 508"/>
                <a:gd name="T18" fmla="*/ 0 w 338"/>
                <a:gd name="T19" fmla="*/ 0 h 508"/>
                <a:gd name="T20" fmla="*/ 0 w 338"/>
                <a:gd name="T21" fmla="*/ 0 h 508"/>
                <a:gd name="T22" fmla="*/ 0 w 338"/>
                <a:gd name="T23" fmla="*/ 0 h 508"/>
                <a:gd name="T24" fmla="*/ 0 w 338"/>
                <a:gd name="T25" fmla="*/ 0 h 508"/>
                <a:gd name="T26" fmla="*/ 0 w 338"/>
                <a:gd name="T27" fmla="*/ 0 h 508"/>
                <a:gd name="T28" fmla="*/ 0 w 338"/>
                <a:gd name="T29" fmla="*/ 0 h 508"/>
                <a:gd name="T30" fmla="*/ 0 w 338"/>
                <a:gd name="T31" fmla="*/ 0 h 508"/>
                <a:gd name="T32" fmla="*/ 0 w 338"/>
                <a:gd name="T33" fmla="*/ 0 h 508"/>
                <a:gd name="T34" fmla="*/ 0 w 338"/>
                <a:gd name="T35" fmla="*/ 0 h 508"/>
                <a:gd name="T36" fmla="*/ 0 w 338"/>
                <a:gd name="T37" fmla="*/ 0 h 508"/>
                <a:gd name="T38" fmla="*/ 0 w 338"/>
                <a:gd name="T39" fmla="*/ 0 h 508"/>
                <a:gd name="T40" fmla="*/ 0 w 338"/>
                <a:gd name="T41" fmla="*/ 0 h 508"/>
                <a:gd name="T42" fmla="*/ 0 w 338"/>
                <a:gd name="T43" fmla="*/ 0 h 508"/>
                <a:gd name="T44" fmla="*/ 0 w 338"/>
                <a:gd name="T45" fmla="*/ 0 h 508"/>
                <a:gd name="T46" fmla="*/ 0 w 338"/>
                <a:gd name="T47" fmla="*/ 0 h 508"/>
                <a:gd name="T48" fmla="*/ 0 w 338"/>
                <a:gd name="T49" fmla="*/ 0 h 508"/>
                <a:gd name="T50" fmla="*/ 0 w 338"/>
                <a:gd name="T51" fmla="*/ 0 h 508"/>
                <a:gd name="T52" fmla="*/ 0 w 338"/>
                <a:gd name="T53" fmla="*/ 0 h 508"/>
                <a:gd name="T54" fmla="*/ 0 w 338"/>
                <a:gd name="T55" fmla="*/ 0 h 508"/>
                <a:gd name="T56" fmla="*/ 0 w 338"/>
                <a:gd name="T57" fmla="*/ 0 h 508"/>
                <a:gd name="T58" fmla="*/ 0 w 338"/>
                <a:gd name="T59" fmla="*/ 0 h 508"/>
                <a:gd name="T60" fmla="*/ 0 w 338"/>
                <a:gd name="T61" fmla="*/ 0 h 508"/>
                <a:gd name="T62" fmla="*/ 0 w 338"/>
                <a:gd name="T63" fmla="*/ 0 h 508"/>
                <a:gd name="T64" fmla="*/ 0 w 338"/>
                <a:gd name="T65" fmla="*/ 0 h 508"/>
                <a:gd name="T66" fmla="*/ 0 w 338"/>
                <a:gd name="T67" fmla="*/ 0 h 508"/>
                <a:gd name="T68" fmla="*/ 0 w 338"/>
                <a:gd name="T69" fmla="*/ 0 h 508"/>
                <a:gd name="T70" fmla="*/ 0 w 338"/>
                <a:gd name="T71" fmla="*/ 0 h 508"/>
                <a:gd name="T72" fmla="*/ 0 w 338"/>
                <a:gd name="T73" fmla="*/ 0 h 508"/>
                <a:gd name="T74" fmla="*/ 0 w 338"/>
                <a:gd name="T75" fmla="*/ 0 h 508"/>
                <a:gd name="T76" fmla="*/ 0 w 338"/>
                <a:gd name="T77" fmla="*/ 0 h 508"/>
                <a:gd name="T78" fmla="*/ 0 w 338"/>
                <a:gd name="T79" fmla="*/ 0 h 508"/>
                <a:gd name="T80" fmla="*/ 0 w 338"/>
                <a:gd name="T81" fmla="*/ 0 h 508"/>
                <a:gd name="T82" fmla="*/ 0 w 338"/>
                <a:gd name="T83" fmla="*/ 0 h 508"/>
                <a:gd name="T84" fmla="*/ 0 w 338"/>
                <a:gd name="T85" fmla="*/ 0 h 508"/>
                <a:gd name="T86" fmla="*/ 0 w 338"/>
                <a:gd name="T87" fmla="*/ 0 h 508"/>
                <a:gd name="T88" fmla="*/ 0 w 338"/>
                <a:gd name="T89" fmla="*/ 0 h 508"/>
                <a:gd name="T90" fmla="*/ 0 w 338"/>
                <a:gd name="T91" fmla="*/ 0 h 508"/>
                <a:gd name="T92" fmla="*/ 0 w 338"/>
                <a:gd name="T93" fmla="*/ 0 h 508"/>
                <a:gd name="T94" fmla="*/ 0 w 338"/>
                <a:gd name="T95" fmla="*/ 0 h 508"/>
                <a:gd name="T96" fmla="*/ 0 w 338"/>
                <a:gd name="T97" fmla="*/ 0 h 508"/>
                <a:gd name="T98" fmla="*/ 0 w 338"/>
                <a:gd name="T99" fmla="*/ 0 h 508"/>
                <a:gd name="T100" fmla="*/ 0 w 338"/>
                <a:gd name="T101" fmla="*/ 0 h 508"/>
                <a:gd name="T102" fmla="*/ 0 w 338"/>
                <a:gd name="T103" fmla="*/ 0 h 508"/>
                <a:gd name="T104" fmla="*/ 0 w 338"/>
                <a:gd name="T105" fmla="*/ 0 h 508"/>
                <a:gd name="T106" fmla="*/ 0 w 338"/>
                <a:gd name="T107" fmla="*/ 0 h 508"/>
                <a:gd name="T108" fmla="*/ 0 w 338"/>
                <a:gd name="T109" fmla="*/ 0 h 508"/>
                <a:gd name="T110" fmla="*/ 0 w 338"/>
                <a:gd name="T111" fmla="*/ 0 h 508"/>
                <a:gd name="T112" fmla="*/ 0 w 338"/>
                <a:gd name="T113" fmla="*/ 0 h 508"/>
                <a:gd name="T114" fmla="*/ 0 w 338"/>
                <a:gd name="T115" fmla="*/ 0 h 508"/>
                <a:gd name="T116" fmla="*/ 0 w 338"/>
                <a:gd name="T117" fmla="*/ 0 h 508"/>
                <a:gd name="T118" fmla="*/ 0 w 338"/>
                <a:gd name="T119" fmla="*/ 0 h 508"/>
                <a:gd name="T120" fmla="*/ 0 w 338"/>
                <a:gd name="T121" fmla="*/ 0 h 508"/>
                <a:gd name="T122" fmla="*/ 0 w 338"/>
                <a:gd name="T123" fmla="*/ 0 h 508"/>
                <a:gd name="T124" fmla="*/ 0 w 338"/>
                <a:gd name="T125" fmla="*/ 0 h 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38"/>
                <a:gd name="T190" fmla="*/ 0 h 508"/>
                <a:gd name="T191" fmla="*/ 338 w 338"/>
                <a:gd name="T192" fmla="*/ 508 h 50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4" name="Freeform 125">
              <a:extLst>
                <a:ext uri="{FF2B5EF4-FFF2-40B4-BE49-F238E27FC236}">
                  <a16:creationId xmlns:a16="http://schemas.microsoft.com/office/drawing/2014/main" id="{3692F0DB-8008-9A21-3B71-2156629F73A8}"/>
                </a:ext>
              </a:extLst>
            </p:cNvPr>
            <p:cNvSpPr>
              <a:spLocks noChangeAspect="1"/>
            </p:cNvSpPr>
            <p:nvPr userDrawn="1"/>
          </p:nvSpPr>
          <p:spPr bwMode="gray">
            <a:xfrm>
              <a:off x="7340314" y="480692"/>
              <a:ext cx="451072" cy="452249"/>
            </a:xfrm>
            <a:custGeom>
              <a:avLst/>
              <a:gdLst>
                <a:gd name="T0" fmla="*/ 0 w 843"/>
                <a:gd name="T1" fmla="*/ 0 h 796"/>
                <a:gd name="T2" fmla="*/ 0 w 843"/>
                <a:gd name="T3" fmla="*/ 0 h 796"/>
                <a:gd name="T4" fmla="*/ 0 w 843"/>
                <a:gd name="T5" fmla="*/ 0 h 796"/>
                <a:gd name="T6" fmla="*/ 0 w 843"/>
                <a:gd name="T7" fmla="*/ 0 h 796"/>
                <a:gd name="T8" fmla="*/ 0 w 843"/>
                <a:gd name="T9" fmla="*/ 0 h 796"/>
                <a:gd name="T10" fmla="*/ 0 w 843"/>
                <a:gd name="T11" fmla="*/ 0 h 796"/>
                <a:gd name="T12" fmla="*/ 0 w 843"/>
                <a:gd name="T13" fmla="*/ 0 h 796"/>
                <a:gd name="T14" fmla="*/ 0 w 843"/>
                <a:gd name="T15" fmla="*/ 0 h 796"/>
                <a:gd name="T16" fmla="*/ 0 w 843"/>
                <a:gd name="T17" fmla="*/ 0 h 796"/>
                <a:gd name="T18" fmla="*/ 0 w 843"/>
                <a:gd name="T19" fmla="*/ 0 h 796"/>
                <a:gd name="T20" fmla="*/ 0 w 843"/>
                <a:gd name="T21" fmla="*/ 0 h 796"/>
                <a:gd name="T22" fmla="*/ 0 w 843"/>
                <a:gd name="T23" fmla="*/ 0 h 796"/>
                <a:gd name="T24" fmla="*/ 0 w 843"/>
                <a:gd name="T25" fmla="*/ 0 h 796"/>
                <a:gd name="T26" fmla="*/ 0 w 843"/>
                <a:gd name="T27" fmla="*/ 0 h 796"/>
                <a:gd name="T28" fmla="*/ 0 w 843"/>
                <a:gd name="T29" fmla="*/ 0 h 796"/>
                <a:gd name="T30" fmla="*/ 0 w 843"/>
                <a:gd name="T31" fmla="*/ 0 h 796"/>
                <a:gd name="T32" fmla="*/ 0 w 843"/>
                <a:gd name="T33" fmla="*/ 0 h 796"/>
                <a:gd name="T34" fmla="*/ 0 w 843"/>
                <a:gd name="T35" fmla="*/ 0 h 796"/>
                <a:gd name="T36" fmla="*/ 0 w 843"/>
                <a:gd name="T37" fmla="*/ 0 h 796"/>
                <a:gd name="T38" fmla="*/ 0 w 843"/>
                <a:gd name="T39" fmla="*/ 0 h 796"/>
                <a:gd name="T40" fmla="*/ 0 w 843"/>
                <a:gd name="T41" fmla="*/ 0 h 796"/>
                <a:gd name="T42" fmla="*/ 0 w 843"/>
                <a:gd name="T43" fmla="*/ 0 h 796"/>
                <a:gd name="T44" fmla="*/ 0 w 843"/>
                <a:gd name="T45" fmla="*/ 0 h 796"/>
                <a:gd name="T46" fmla="*/ 0 w 843"/>
                <a:gd name="T47" fmla="*/ 0 h 796"/>
                <a:gd name="T48" fmla="*/ 0 w 843"/>
                <a:gd name="T49" fmla="*/ 0 h 796"/>
                <a:gd name="T50" fmla="*/ 0 w 843"/>
                <a:gd name="T51" fmla="*/ 0 h 796"/>
                <a:gd name="T52" fmla="*/ 0 w 843"/>
                <a:gd name="T53" fmla="*/ 0 h 796"/>
                <a:gd name="T54" fmla="*/ 0 w 843"/>
                <a:gd name="T55" fmla="*/ 0 h 796"/>
                <a:gd name="T56" fmla="*/ 0 w 843"/>
                <a:gd name="T57" fmla="*/ 0 h 796"/>
                <a:gd name="T58" fmla="*/ 0 w 843"/>
                <a:gd name="T59" fmla="*/ 0 h 796"/>
                <a:gd name="T60" fmla="*/ 0 w 843"/>
                <a:gd name="T61" fmla="*/ 0 h 796"/>
                <a:gd name="T62" fmla="*/ 0 w 843"/>
                <a:gd name="T63" fmla="*/ 0 h 796"/>
                <a:gd name="T64" fmla="*/ 0 w 843"/>
                <a:gd name="T65" fmla="*/ 0 h 796"/>
                <a:gd name="T66" fmla="*/ 0 w 843"/>
                <a:gd name="T67" fmla="*/ 0 h 796"/>
                <a:gd name="T68" fmla="*/ 0 w 843"/>
                <a:gd name="T69" fmla="*/ 0 h 796"/>
                <a:gd name="T70" fmla="*/ 0 w 843"/>
                <a:gd name="T71" fmla="*/ 0 h 796"/>
                <a:gd name="T72" fmla="*/ 0 w 843"/>
                <a:gd name="T73" fmla="*/ 0 h 796"/>
                <a:gd name="T74" fmla="*/ 0 w 843"/>
                <a:gd name="T75" fmla="*/ 0 h 796"/>
                <a:gd name="T76" fmla="*/ 0 w 843"/>
                <a:gd name="T77" fmla="*/ 0 h 796"/>
                <a:gd name="T78" fmla="*/ 0 w 843"/>
                <a:gd name="T79" fmla="*/ 0 h 796"/>
                <a:gd name="T80" fmla="*/ 0 w 843"/>
                <a:gd name="T81" fmla="*/ 0 h 796"/>
                <a:gd name="T82" fmla="*/ 0 w 843"/>
                <a:gd name="T83" fmla="*/ 0 h 796"/>
                <a:gd name="T84" fmla="*/ 0 w 843"/>
                <a:gd name="T85" fmla="*/ 0 h 796"/>
                <a:gd name="T86" fmla="*/ 0 w 843"/>
                <a:gd name="T87" fmla="*/ 0 h 796"/>
                <a:gd name="T88" fmla="*/ 0 w 843"/>
                <a:gd name="T89" fmla="*/ 0 h 796"/>
                <a:gd name="T90" fmla="*/ 0 w 843"/>
                <a:gd name="T91" fmla="*/ 0 h 796"/>
                <a:gd name="T92" fmla="*/ 0 w 843"/>
                <a:gd name="T93" fmla="*/ 0 h 796"/>
                <a:gd name="T94" fmla="*/ 0 w 843"/>
                <a:gd name="T95" fmla="*/ 0 h 796"/>
                <a:gd name="T96" fmla="*/ 0 w 843"/>
                <a:gd name="T97" fmla="*/ 0 h 796"/>
                <a:gd name="T98" fmla="*/ 0 w 843"/>
                <a:gd name="T99" fmla="*/ 0 h 796"/>
                <a:gd name="T100" fmla="*/ 0 w 843"/>
                <a:gd name="T101" fmla="*/ 0 h 796"/>
                <a:gd name="T102" fmla="*/ 0 w 843"/>
                <a:gd name="T103" fmla="*/ 0 h 796"/>
                <a:gd name="T104" fmla="*/ 0 w 843"/>
                <a:gd name="T105" fmla="*/ 0 h 796"/>
                <a:gd name="T106" fmla="*/ 0 w 843"/>
                <a:gd name="T107" fmla="*/ 0 h 796"/>
                <a:gd name="T108" fmla="*/ 0 w 843"/>
                <a:gd name="T109" fmla="*/ 0 h 7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3"/>
                <a:gd name="T166" fmla="*/ 0 h 796"/>
                <a:gd name="T167" fmla="*/ 843 w 843"/>
                <a:gd name="T168" fmla="*/ 796 h 7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5" name="Freeform 126">
              <a:extLst>
                <a:ext uri="{FF2B5EF4-FFF2-40B4-BE49-F238E27FC236}">
                  <a16:creationId xmlns:a16="http://schemas.microsoft.com/office/drawing/2014/main" id="{DCD39319-E6A9-227F-45E5-A0A6FA6F58DF}"/>
                </a:ext>
              </a:extLst>
            </p:cNvPr>
            <p:cNvSpPr>
              <a:spLocks noChangeAspect="1"/>
            </p:cNvSpPr>
            <p:nvPr userDrawn="1"/>
          </p:nvSpPr>
          <p:spPr bwMode="gray">
            <a:xfrm>
              <a:off x="7302948" y="1123511"/>
              <a:ext cx="24021" cy="45509"/>
            </a:xfrm>
            <a:custGeom>
              <a:avLst/>
              <a:gdLst>
                <a:gd name="T0" fmla="*/ 0 w 48"/>
                <a:gd name="T1" fmla="*/ 0 h 81"/>
                <a:gd name="T2" fmla="*/ 0 w 48"/>
                <a:gd name="T3" fmla="*/ 0 h 81"/>
                <a:gd name="T4" fmla="*/ 0 w 48"/>
                <a:gd name="T5" fmla="*/ 0 h 81"/>
                <a:gd name="T6" fmla="*/ 0 w 48"/>
                <a:gd name="T7" fmla="*/ 0 h 81"/>
                <a:gd name="T8" fmla="*/ 0 w 48"/>
                <a:gd name="T9" fmla="*/ 0 h 81"/>
                <a:gd name="T10" fmla="*/ 0 w 48"/>
                <a:gd name="T11" fmla="*/ 0 h 81"/>
                <a:gd name="T12" fmla="*/ 0 w 48"/>
                <a:gd name="T13" fmla="*/ 0 h 81"/>
                <a:gd name="T14" fmla="*/ 0 w 48"/>
                <a:gd name="T15" fmla="*/ 0 h 81"/>
                <a:gd name="T16" fmla="*/ 0 w 48"/>
                <a:gd name="T17" fmla="*/ 0 h 81"/>
                <a:gd name="T18" fmla="*/ 0 w 48"/>
                <a:gd name="T19" fmla="*/ 0 h 81"/>
                <a:gd name="T20" fmla="*/ 0 w 48"/>
                <a:gd name="T21" fmla="*/ 0 h 81"/>
                <a:gd name="T22" fmla="*/ 0 w 48"/>
                <a:gd name="T23" fmla="*/ 0 h 81"/>
                <a:gd name="T24" fmla="*/ 0 w 48"/>
                <a:gd name="T25" fmla="*/ 0 h 81"/>
                <a:gd name="T26" fmla="*/ 0 w 48"/>
                <a:gd name="T27" fmla="*/ 0 h 81"/>
                <a:gd name="T28" fmla="*/ 0 w 48"/>
                <a:gd name="T29" fmla="*/ 0 h 81"/>
                <a:gd name="T30" fmla="*/ 0 w 48"/>
                <a:gd name="T31" fmla="*/ 0 h 81"/>
                <a:gd name="T32" fmla="*/ 0 w 48"/>
                <a:gd name="T33" fmla="*/ 0 h 81"/>
                <a:gd name="T34" fmla="*/ 0 w 48"/>
                <a:gd name="T35" fmla="*/ 0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81"/>
                <a:gd name="T56" fmla="*/ 48 w 48"/>
                <a:gd name="T57" fmla="*/ 81 h 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6" name="Freeform 127">
              <a:extLst>
                <a:ext uri="{FF2B5EF4-FFF2-40B4-BE49-F238E27FC236}">
                  <a16:creationId xmlns:a16="http://schemas.microsoft.com/office/drawing/2014/main" id="{4CC0D312-A148-5F02-9818-0019C674FBF6}"/>
                </a:ext>
              </a:extLst>
            </p:cNvPr>
            <p:cNvSpPr>
              <a:spLocks noChangeAspect="1"/>
            </p:cNvSpPr>
            <p:nvPr userDrawn="1"/>
          </p:nvSpPr>
          <p:spPr bwMode="gray">
            <a:xfrm>
              <a:off x="9843895" y="1006893"/>
              <a:ext cx="45374" cy="36976"/>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w 85"/>
                <a:gd name="T57" fmla="*/ 0 h 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5"/>
                <a:gd name="T88" fmla="*/ 0 h 61"/>
                <a:gd name="T89" fmla="*/ 85 w 85"/>
                <a:gd name="T90" fmla="*/ 61 h 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7" name="Freeform 128">
              <a:extLst>
                <a:ext uri="{FF2B5EF4-FFF2-40B4-BE49-F238E27FC236}">
                  <a16:creationId xmlns:a16="http://schemas.microsoft.com/office/drawing/2014/main" id="{1B9DABEC-B12E-88DD-D985-1428DDC926FB}"/>
                </a:ext>
              </a:extLst>
            </p:cNvPr>
            <p:cNvSpPr>
              <a:spLocks noChangeAspect="1"/>
            </p:cNvSpPr>
            <p:nvPr userDrawn="1"/>
          </p:nvSpPr>
          <p:spPr bwMode="gray">
            <a:xfrm>
              <a:off x="7484444" y="1211686"/>
              <a:ext cx="58720" cy="71108"/>
            </a:xfrm>
            <a:custGeom>
              <a:avLst/>
              <a:gdLst>
                <a:gd name="T0" fmla="*/ 0 w 112"/>
                <a:gd name="T1" fmla="*/ 0 h 123"/>
                <a:gd name="T2" fmla="*/ 0 w 112"/>
                <a:gd name="T3" fmla="*/ 0 h 123"/>
                <a:gd name="T4" fmla="*/ 0 w 112"/>
                <a:gd name="T5" fmla="*/ 0 h 123"/>
                <a:gd name="T6" fmla="*/ 0 w 112"/>
                <a:gd name="T7" fmla="*/ 0 h 123"/>
                <a:gd name="T8" fmla="*/ 0 w 112"/>
                <a:gd name="T9" fmla="*/ 0 h 123"/>
                <a:gd name="T10" fmla="*/ 0 w 112"/>
                <a:gd name="T11" fmla="*/ 0 h 123"/>
                <a:gd name="T12" fmla="*/ 0 w 112"/>
                <a:gd name="T13" fmla="*/ 0 h 123"/>
                <a:gd name="T14" fmla="*/ 0 w 112"/>
                <a:gd name="T15" fmla="*/ 0 h 123"/>
                <a:gd name="T16" fmla="*/ 0 w 112"/>
                <a:gd name="T17" fmla="*/ 0 h 123"/>
                <a:gd name="T18" fmla="*/ 0 w 112"/>
                <a:gd name="T19" fmla="*/ 0 h 123"/>
                <a:gd name="T20" fmla="*/ 0 w 112"/>
                <a:gd name="T21" fmla="*/ 0 h 123"/>
                <a:gd name="T22" fmla="*/ 0 w 112"/>
                <a:gd name="T23" fmla="*/ 0 h 123"/>
                <a:gd name="T24" fmla="*/ 0 w 112"/>
                <a:gd name="T25" fmla="*/ 0 h 123"/>
                <a:gd name="T26" fmla="*/ 0 w 112"/>
                <a:gd name="T27" fmla="*/ 0 h 123"/>
                <a:gd name="T28" fmla="*/ 0 w 112"/>
                <a:gd name="T29" fmla="*/ 0 h 123"/>
                <a:gd name="T30" fmla="*/ 0 w 112"/>
                <a:gd name="T31" fmla="*/ 0 h 123"/>
                <a:gd name="T32" fmla="*/ 0 w 112"/>
                <a:gd name="T33" fmla="*/ 0 h 123"/>
                <a:gd name="T34" fmla="*/ 0 w 112"/>
                <a:gd name="T35" fmla="*/ 0 h 123"/>
                <a:gd name="T36" fmla="*/ 0 w 112"/>
                <a:gd name="T37" fmla="*/ 0 h 123"/>
                <a:gd name="T38" fmla="*/ 0 w 112"/>
                <a:gd name="T39" fmla="*/ 0 h 123"/>
                <a:gd name="T40" fmla="*/ 0 w 112"/>
                <a:gd name="T41" fmla="*/ 0 h 123"/>
                <a:gd name="T42" fmla="*/ 0 w 112"/>
                <a:gd name="T43" fmla="*/ 0 h 123"/>
                <a:gd name="T44" fmla="*/ 0 w 112"/>
                <a:gd name="T45" fmla="*/ 0 h 123"/>
                <a:gd name="T46" fmla="*/ 0 w 112"/>
                <a:gd name="T47" fmla="*/ 0 h 123"/>
                <a:gd name="T48" fmla="*/ 0 w 112"/>
                <a:gd name="T49" fmla="*/ 0 h 123"/>
                <a:gd name="T50" fmla="*/ 0 w 112"/>
                <a:gd name="T51" fmla="*/ 0 h 123"/>
                <a:gd name="T52" fmla="*/ 0 w 112"/>
                <a:gd name="T53" fmla="*/ 0 h 123"/>
                <a:gd name="T54" fmla="*/ 0 w 112"/>
                <a:gd name="T55" fmla="*/ 0 h 123"/>
                <a:gd name="T56" fmla="*/ 0 w 112"/>
                <a:gd name="T57" fmla="*/ 0 h 123"/>
                <a:gd name="T58" fmla="*/ 0 w 112"/>
                <a:gd name="T59" fmla="*/ 0 h 123"/>
                <a:gd name="T60" fmla="*/ 0 w 112"/>
                <a:gd name="T61" fmla="*/ 0 h 123"/>
                <a:gd name="T62" fmla="*/ 0 w 112"/>
                <a:gd name="T63" fmla="*/ 0 h 123"/>
                <a:gd name="T64" fmla="*/ 0 w 112"/>
                <a:gd name="T65" fmla="*/ 0 h 123"/>
                <a:gd name="T66" fmla="*/ 0 w 112"/>
                <a:gd name="T67" fmla="*/ 0 h 123"/>
                <a:gd name="T68" fmla="*/ 0 w 112"/>
                <a:gd name="T69" fmla="*/ 0 h 12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123"/>
                <a:gd name="T107" fmla="*/ 112 w 112"/>
                <a:gd name="T108" fmla="*/ 123 h 12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8" name="Freeform 129">
              <a:extLst>
                <a:ext uri="{FF2B5EF4-FFF2-40B4-BE49-F238E27FC236}">
                  <a16:creationId xmlns:a16="http://schemas.microsoft.com/office/drawing/2014/main" id="{B0E0B236-8796-1979-812C-A6109AC60519}"/>
                </a:ext>
              </a:extLst>
            </p:cNvPr>
            <p:cNvSpPr>
              <a:spLocks noChangeAspect="1"/>
            </p:cNvSpPr>
            <p:nvPr userDrawn="1"/>
          </p:nvSpPr>
          <p:spPr bwMode="gray">
            <a:xfrm>
              <a:off x="8488011" y="0"/>
              <a:ext cx="216195" cy="213325"/>
            </a:xfrm>
            <a:custGeom>
              <a:avLst/>
              <a:gdLst>
                <a:gd name="T0" fmla="*/ 0 w 405"/>
                <a:gd name="T1" fmla="*/ 0 h 373"/>
                <a:gd name="T2" fmla="*/ 0 w 405"/>
                <a:gd name="T3" fmla="*/ 0 h 373"/>
                <a:gd name="T4" fmla="*/ 0 w 405"/>
                <a:gd name="T5" fmla="*/ 0 h 373"/>
                <a:gd name="T6" fmla="*/ 0 w 405"/>
                <a:gd name="T7" fmla="*/ 0 h 373"/>
                <a:gd name="T8" fmla="*/ 0 w 405"/>
                <a:gd name="T9" fmla="*/ 0 h 373"/>
                <a:gd name="T10" fmla="*/ 0 w 405"/>
                <a:gd name="T11" fmla="*/ 0 h 373"/>
                <a:gd name="T12" fmla="*/ 0 w 405"/>
                <a:gd name="T13" fmla="*/ 0 h 373"/>
                <a:gd name="T14" fmla="*/ 0 w 405"/>
                <a:gd name="T15" fmla="*/ 0 h 373"/>
                <a:gd name="T16" fmla="*/ 0 w 405"/>
                <a:gd name="T17" fmla="*/ 0 h 373"/>
                <a:gd name="T18" fmla="*/ 0 w 405"/>
                <a:gd name="T19" fmla="*/ 0 h 373"/>
                <a:gd name="T20" fmla="*/ 0 w 405"/>
                <a:gd name="T21" fmla="*/ 0 h 373"/>
                <a:gd name="T22" fmla="*/ 0 w 405"/>
                <a:gd name="T23" fmla="*/ 0 h 373"/>
                <a:gd name="T24" fmla="*/ 0 w 405"/>
                <a:gd name="T25" fmla="*/ 0 h 373"/>
                <a:gd name="T26" fmla="*/ 0 w 405"/>
                <a:gd name="T27" fmla="*/ 0 h 373"/>
                <a:gd name="T28" fmla="*/ 0 w 405"/>
                <a:gd name="T29" fmla="*/ 0 h 373"/>
                <a:gd name="T30" fmla="*/ 0 w 405"/>
                <a:gd name="T31" fmla="*/ 0 h 373"/>
                <a:gd name="T32" fmla="*/ 0 w 405"/>
                <a:gd name="T33" fmla="*/ 0 h 373"/>
                <a:gd name="T34" fmla="*/ 0 w 405"/>
                <a:gd name="T35" fmla="*/ 0 h 373"/>
                <a:gd name="T36" fmla="*/ 0 w 405"/>
                <a:gd name="T37" fmla="*/ 0 h 373"/>
                <a:gd name="T38" fmla="*/ 0 w 405"/>
                <a:gd name="T39" fmla="*/ 0 h 373"/>
                <a:gd name="T40" fmla="*/ 0 w 405"/>
                <a:gd name="T41" fmla="*/ 0 h 373"/>
                <a:gd name="T42" fmla="*/ 0 w 405"/>
                <a:gd name="T43" fmla="*/ 0 h 373"/>
                <a:gd name="T44" fmla="*/ 0 w 405"/>
                <a:gd name="T45" fmla="*/ 0 h 373"/>
                <a:gd name="T46" fmla="*/ 0 w 405"/>
                <a:gd name="T47" fmla="*/ 0 h 373"/>
                <a:gd name="T48" fmla="*/ 0 w 405"/>
                <a:gd name="T49" fmla="*/ 0 h 373"/>
                <a:gd name="T50" fmla="*/ 0 w 405"/>
                <a:gd name="T51" fmla="*/ 0 h 373"/>
                <a:gd name="T52" fmla="*/ 0 w 405"/>
                <a:gd name="T53" fmla="*/ 0 h 373"/>
                <a:gd name="T54" fmla="*/ 0 w 405"/>
                <a:gd name="T55" fmla="*/ 0 h 373"/>
                <a:gd name="T56" fmla="*/ 0 w 405"/>
                <a:gd name="T57" fmla="*/ 0 h 373"/>
                <a:gd name="T58" fmla="*/ 0 w 405"/>
                <a:gd name="T59" fmla="*/ 0 h 373"/>
                <a:gd name="T60" fmla="*/ 0 w 405"/>
                <a:gd name="T61" fmla="*/ 0 h 373"/>
                <a:gd name="T62" fmla="*/ 0 w 405"/>
                <a:gd name="T63" fmla="*/ 0 h 373"/>
                <a:gd name="T64" fmla="*/ 0 w 405"/>
                <a:gd name="T65" fmla="*/ 0 h 373"/>
                <a:gd name="T66" fmla="*/ 0 w 405"/>
                <a:gd name="T67" fmla="*/ 0 h 373"/>
                <a:gd name="T68" fmla="*/ 0 w 405"/>
                <a:gd name="T69" fmla="*/ 0 h 373"/>
                <a:gd name="T70" fmla="*/ 0 w 405"/>
                <a:gd name="T71" fmla="*/ 0 h 373"/>
                <a:gd name="T72" fmla="*/ 0 w 405"/>
                <a:gd name="T73" fmla="*/ 0 h 373"/>
                <a:gd name="T74" fmla="*/ 0 w 405"/>
                <a:gd name="T75" fmla="*/ 0 h 373"/>
                <a:gd name="T76" fmla="*/ 0 w 405"/>
                <a:gd name="T77" fmla="*/ 0 h 373"/>
                <a:gd name="T78" fmla="*/ 0 w 405"/>
                <a:gd name="T79" fmla="*/ 0 h 373"/>
                <a:gd name="T80" fmla="*/ 0 w 405"/>
                <a:gd name="T81" fmla="*/ 0 h 373"/>
                <a:gd name="T82" fmla="*/ 0 w 405"/>
                <a:gd name="T83" fmla="*/ 0 h 373"/>
                <a:gd name="T84" fmla="*/ 0 w 405"/>
                <a:gd name="T85" fmla="*/ 0 h 373"/>
                <a:gd name="T86" fmla="*/ 0 w 405"/>
                <a:gd name="T87" fmla="*/ 0 h 373"/>
                <a:gd name="T88" fmla="*/ 0 w 405"/>
                <a:gd name="T89" fmla="*/ 0 h 373"/>
                <a:gd name="T90" fmla="*/ 0 w 405"/>
                <a:gd name="T91" fmla="*/ 0 h 373"/>
                <a:gd name="T92" fmla="*/ 0 w 405"/>
                <a:gd name="T93" fmla="*/ 0 h 373"/>
                <a:gd name="T94" fmla="*/ 0 w 405"/>
                <a:gd name="T95" fmla="*/ 0 h 373"/>
                <a:gd name="T96" fmla="*/ 0 w 405"/>
                <a:gd name="T97" fmla="*/ 0 h 3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5"/>
                <a:gd name="T148" fmla="*/ 0 h 373"/>
                <a:gd name="T149" fmla="*/ 405 w 405"/>
                <a:gd name="T150" fmla="*/ 373 h 37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29" name="Freeform 130">
              <a:extLst>
                <a:ext uri="{FF2B5EF4-FFF2-40B4-BE49-F238E27FC236}">
                  <a16:creationId xmlns:a16="http://schemas.microsoft.com/office/drawing/2014/main" id="{8F43E6BF-3830-944D-AC6A-78BFF564D239}"/>
                </a:ext>
              </a:extLst>
            </p:cNvPr>
            <p:cNvSpPr>
              <a:spLocks noChangeAspect="1"/>
            </p:cNvSpPr>
            <p:nvPr userDrawn="1"/>
          </p:nvSpPr>
          <p:spPr bwMode="gray">
            <a:xfrm>
              <a:off x="10994261" y="1103601"/>
              <a:ext cx="117439" cy="71108"/>
            </a:xfrm>
            <a:custGeom>
              <a:avLst/>
              <a:gdLst>
                <a:gd name="T0" fmla="*/ 0 w 218"/>
                <a:gd name="T1" fmla="*/ 0 h 125"/>
                <a:gd name="T2" fmla="*/ 0 w 218"/>
                <a:gd name="T3" fmla="*/ 0 h 125"/>
                <a:gd name="T4" fmla="*/ 0 w 218"/>
                <a:gd name="T5" fmla="*/ 0 h 125"/>
                <a:gd name="T6" fmla="*/ 0 w 218"/>
                <a:gd name="T7" fmla="*/ 0 h 125"/>
                <a:gd name="T8" fmla="*/ 0 w 218"/>
                <a:gd name="T9" fmla="*/ 0 h 125"/>
                <a:gd name="T10" fmla="*/ 0 w 218"/>
                <a:gd name="T11" fmla="*/ 0 h 125"/>
                <a:gd name="T12" fmla="*/ 0 w 218"/>
                <a:gd name="T13" fmla="*/ 0 h 125"/>
                <a:gd name="T14" fmla="*/ 0 w 218"/>
                <a:gd name="T15" fmla="*/ 0 h 125"/>
                <a:gd name="T16" fmla="*/ 0 w 218"/>
                <a:gd name="T17" fmla="*/ 0 h 125"/>
                <a:gd name="T18" fmla="*/ 0 w 218"/>
                <a:gd name="T19" fmla="*/ 0 h 125"/>
                <a:gd name="T20" fmla="*/ 0 w 218"/>
                <a:gd name="T21" fmla="*/ 0 h 125"/>
                <a:gd name="T22" fmla="*/ 0 w 218"/>
                <a:gd name="T23" fmla="*/ 0 h 125"/>
                <a:gd name="T24" fmla="*/ 0 w 218"/>
                <a:gd name="T25" fmla="*/ 0 h 125"/>
                <a:gd name="T26" fmla="*/ 0 w 218"/>
                <a:gd name="T27" fmla="*/ 0 h 125"/>
                <a:gd name="T28" fmla="*/ 0 w 218"/>
                <a:gd name="T29" fmla="*/ 0 h 125"/>
                <a:gd name="T30" fmla="*/ 0 w 218"/>
                <a:gd name="T31" fmla="*/ 0 h 125"/>
                <a:gd name="T32" fmla="*/ 0 w 218"/>
                <a:gd name="T33" fmla="*/ 0 h 125"/>
                <a:gd name="T34" fmla="*/ 0 w 218"/>
                <a:gd name="T35" fmla="*/ 0 h 125"/>
                <a:gd name="T36" fmla="*/ 0 w 218"/>
                <a:gd name="T37" fmla="*/ 0 h 125"/>
                <a:gd name="T38" fmla="*/ 0 w 218"/>
                <a:gd name="T39" fmla="*/ 0 h 125"/>
                <a:gd name="T40" fmla="*/ 0 w 218"/>
                <a:gd name="T41" fmla="*/ 0 h 125"/>
                <a:gd name="T42" fmla="*/ 0 w 218"/>
                <a:gd name="T43" fmla="*/ 0 h 125"/>
                <a:gd name="T44" fmla="*/ 0 w 218"/>
                <a:gd name="T45" fmla="*/ 0 h 125"/>
                <a:gd name="T46" fmla="*/ 0 w 218"/>
                <a:gd name="T47" fmla="*/ 0 h 125"/>
                <a:gd name="T48" fmla="*/ 0 w 218"/>
                <a:gd name="T49" fmla="*/ 0 h 125"/>
                <a:gd name="T50" fmla="*/ 0 w 218"/>
                <a:gd name="T51" fmla="*/ 0 h 125"/>
                <a:gd name="T52" fmla="*/ 0 w 218"/>
                <a:gd name="T53" fmla="*/ 0 h 125"/>
                <a:gd name="T54" fmla="*/ 0 w 218"/>
                <a:gd name="T55" fmla="*/ 0 h 125"/>
                <a:gd name="T56" fmla="*/ 0 w 218"/>
                <a:gd name="T57" fmla="*/ 0 h 125"/>
                <a:gd name="T58" fmla="*/ 0 w 218"/>
                <a:gd name="T59" fmla="*/ 0 h 125"/>
                <a:gd name="T60" fmla="*/ 0 w 218"/>
                <a:gd name="T61" fmla="*/ 0 h 125"/>
                <a:gd name="T62" fmla="*/ 0 w 218"/>
                <a:gd name="T63" fmla="*/ 0 h 125"/>
                <a:gd name="T64" fmla="*/ 0 w 218"/>
                <a:gd name="T65" fmla="*/ 0 h 125"/>
                <a:gd name="T66" fmla="*/ 0 w 218"/>
                <a:gd name="T67" fmla="*/ 0 h 125"/>
                <a:gd name="T68" fmla="*/ 0 w 218"/>
                <a:gd name="T69" fmla="*/ 0 h 125"/>
                <a:gd name="T70" fmla="*/ 0 w 218"/>
                <a:gd name="T71" fmla="*/ 0 h 125"/>
                <a:gd name="T72" fmla="*/ 0 w 218"/>
                <a:gd name="T73" fmla="*/ 0 h 125"/>
                <a:gd name="T74" fmla="*/ 0 w 218"/>
                <a:gd name="T75" fmla="*/ 0 h 125"/>
                <a:gd name="T76" fmla="*/ 0 w 218"/>
                <a:gd name="T77" fmla="*/ 0 h 125"/>
                <a:gd name="T78" fmla="*/ 0 w 218"/>
                <a:gd name="T79" fmla="*/ 0 h 125"/>
                <a:gd name="T80" fmla="*/ 0 w 218"/>
                <a:gd name="T81" fmla="*/ 0 h 125"/>
                <a:gd name="T82" fmla="*/ 0 w 218"/>
                <a:gd name="T83" fmla="*/ 0 h 125"/>
                <a:gd name="T84" fmla="*/ 0 w 218"/>
                <a:gd name="T85" fmla="*/ 0 h 125"/>
                <a:gd name="T86" fmla="*/ 0 w 218"/>
                <a:gd name="T87" fmla="*/ 0 h 125"/>
                <a:gd name="T88" fmla="*/ 0 w 218"/>
                <a:gd name="T89" fmla="*/ 0 h 12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8"/>
                <a:gd name="T136" fmla="*/ 0 h 125"/>
                <a:gd name="T137" fmla="*/ 218 w 218"/>
                <a:gd name="T138" fmla="*/ 125 h 12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0" name="Freeform 131">
              <a:extLst>
                <a:ext uri="{FF2B5EF4-FFF2-40B4-BE49-F238E27FC236}">
                  <a16:creationId xmlns:a16="http://schemas.microsoft.com/office/drawing/2014/main" id="{7688F3CA-7F6D-EDC2-8795-D336D20A7FE6}"/>
                </a:ext>
              </a:extLst>
            </p:cNvPr>
            <p:cNvSpPr>
              <a:spLocks noChangeAspect="1"/>
            </p:cNvSpPr>
            <p:nvPr userDrawn="1"/>
          </p:nvSpPr>
          <p:spPr bwMode="gray">
            <a:xfrm>
              <a:off x="9920391" y="2324455"/>
              <a:ext cx="91033" cy="410015"/>
            </a:xfrm>
            <a:custGeom>
              <a:avLst/>
              <a:gdLst>
                <a:gd name="T0" fmla="*/ 0 w 170"/>
                <a:gd name="T1" fmla="*/ 0 h 721"/>
                <a:gd name="T2" fmla="*/ 0 w 170"/>
                <a:gd name="T3" fmla="*/ 0 h 721"/>
                <a:gd name="T4" fmla="*/ 0 w 170"/>
                <a:gd name="T5" fmla="*/ 0 h 721"/>
                <a:gd name="T6" fmla="*/ 0 w 170"/>
                <a:gd name="T7" fmla="*/ 0 h 721"/>
                <a:gd name="T8" fmla="*/ 0 w 170"/>
                <a:gd name="T9" fmla="*/ 0 h 721"/>
                <a:gd name="T10" fmla="*/ 0 w 170"/>
                <a:gd name="T11" fmla="*/ 0 h 721"/>
                <a:gd name="T12" fmla="*/ 0 w 170"/>
                <a:gd name="T13" fmla="*/ 0 h 721"/>
                <a:gd name="T14" fmla="*/ 0 w 170"/>
                <a:gd name="T15" fmla="*/ 0 h 721"/>
                <a:gd name="T16" fmla="*/ 0 w 170"/>
                <a:gd name="T17" fmla="*/ 0 h 721"/>
                <a:gd name="T18" fmla="*/ 0 w 170"/>
                <a:gd name="T19" fmla="*/ 2147483647 h 721"/>
                <a:gd name="T20" fmla="*/ 0 w 170"/>
                <a:gd name="T21" fmla="*/ 2147483647 h 721"/>
                <a:gd name="T22" fmla="*/ 0 w 170"/>
                <a:gd name="T23" fmla="*/ 2147483647 h 721"/>
                <a:gd name="T24" fmla="*/ 0 w 170"/>
                <a:gd name="T25" fmla="*/ 2147483647 h 721"/>
                <a:gd name="T26" fmla="*/ 0 w 170"/>
                <a:gd name="T27" fmla="*/ 2147483647 h 721"/>
                <a:gd name="T28" fmla="*/ 0 w 170"/>
                <a:gd name="T29" fmla="*/ 2147483647 h 721"/>
                <a:gd name="T30" fmla="*/ 0 w 170"/>
                <a:gd name="T31" fmla="*/ 2147483647 h 721"/>
                <a:gd name="T32" fmla="*/ 0 w 170"/>
                <a:gd name="T33" fmla="*/ 2147483647 h 721"/>
                <a:gd name="T34" fmla="*/ 0 w 170"/>
                <a:gd name="T35" fmla="*/ 2147483647 h 721"/>
                <a:gd name="T36" fmla="*/ 0 w 170"/>
                <a:gd name="T37" fmla="*/ 2147483647 h 721"/>
                <a:gd name="T38" fmla="*/ 0 w 170"/>
                <a:gd name="T39" fmla="*/ 2147483647 h 721"/>
                <a:gd name="T40" fmla="*/ 0 w 170"/>
                <a:gd name="T41" fmla="*/ 2147483647 h 721"/>
                <a:gd name="T42" fmla="*/ 0 w 170"/>
                <a:gd name="T43" fmla="*/ 2147483647 h 721"/>
                <a:gd name="T44" fmla="*/ 0 w 170"/>
                <a:gd name="T45" fmla="*/ 2147483647 h 721"/>
                <a:gd name="T46" fmla="*/ 0 w 170"/>
                <a:gd name="T47" fmla="*/ 2147483647 h 721"/>
                <a:gd name="T48" fmla="*/ 0 w 170"/>
                <a:gd name="T49" fmla="*/ 2147483647 h 721"/>
                <a:gd name="T50" fmla="*/ 0 w 170"/>
                <a:gd name="T51" fmla="*/ 2147483647 h 721"/>
                <a:gd name="T52" fmla="*/ 0 w 170"/>
                <a:gd name="T53" fmla="*/ 2147483647 h 721"/>
                <a:gd name="T54" fmla="*/ 0 w 170"/>
                <a:gd name="T55" fmla="*/ 2147483647 h 721"/>
                <a:gd name="T56" fmla="*/ 0 w 170"/>
                <a:gd name="T57" fmla="*/ 2147483647 h 721"/>
                <a:gd name="T58" fmla="*/ 0 w 170"/>
                <a:gd name="T59" fmla="*/ 2147483647 h 721"/>
                <a:gd name="T60" fmla="*/ 0 w 170"/>
                <a:gd name="T61" fmla="*/ 2147483647 h 721"/>
                <a:gd name="T62" fmla="*/ 0 w 170"/>
                <a:gd name="T63" fmla="*/ 2147483647 h 721"/>
                <a:gd name="T64" fmla="*/ 0 w 170"/>
                <a:gd name="T65" fmla="*/ 2147483647 h 721"/>
                <a:gd name="T66" fmla="*/ 0 w 170"/>
                <a:gd name="T67" fmla="*/ 2147483647 h 721"/>
                <a:gd name="T68" fmla="*/ 0 w 170"/>
                <a:gd name="T69" fmla="*/ 2147483647 h 721"/>
                <a:gd name="T70" fmla="*/ 0 w 170"/>
                <a:gd name="T71" fmla="*/ 2147483647 h 721"/>
                <a:gd name="T72" fmla="*/ 0 w 170"/>
                <a:gd name="T73" fmla="*/ 2147483647 h 721"/>
                <a:gd name="T74" fmla="*/ 0 w 170"/>
                <a:gd name="T75" fmla="*/ 0 h 721"/>
                <a:gd name="T76" fmla="*/ 0 w 170"/>
                <a:gd name="T77" fmla="*/ 0 h 721"/>
                <a:gd name="T78" fmla="*/ 0 w 170"/>
                <a:gd name="T79" fmla="*/ 0 h 721"/>
                <a:gd name="T80" fmla="*/ 0 w 170"/>
                <a:gd name="T81" fmla="*/ 0 h 721"/>
                <a:gd name="T82" fmla="*/ 0 w 170"/>
                <a:gd name="T83" fmla="*/ 0 h 721"/>
                <a:gd name="T84" fmla="*/ 0 w 170"/>
                <a:gd name="T85" fmla="*/ 0 h 721"/>
                <a:gd name="T86" fmla="*/ 0 w 170"/>
                <a:gd name="T87" fmla="*/ 0 h 721"/>
                <a:gd name="T88" fmla="*/ 0 w 170"/>
                <a:gd name="T89" fmla="*/ 0 h 721"/>
                <a:gd name="T90" fmla="*/ 0 w 170"/>
                <a:gd name="T91" fmla="*/ 0 h 721"/>
                <a:gd name="T92" fmla="*/ 0 w 170"/>
                <a:gd name="T93" fmla="*/ 0 h 721"/>
                <a:gd name="T94" fmla="*/ 0 w 170"/>
                <a:gd name="T95" fmla="*/ 0 h 721"/>
                <a:gd name="T96" fmla="*/ 0 w 170"/>
                <a:gd name="T97" fmla="*/ 0 h 721"/>
                <a:gd name="T98" fmla="*/ 0 w 170"/>
                <a:gd name="T99" fmla="*/ 0 h 721"/>
                <a:gd name="T100" fmla="*/ 0 w 170"/>
                <a:gd name="T101" fmla="*/ 0 h 721"/>
                <a:gd name="T102" fmla="*/ 0 w 170"/>
                <a:gd name="T103" fmla="*/ 0 h 7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0"/>
                <a:gd name="T157" fmla="*/ 0 h 721"/>
                <a:gd name="T158" fmla="*/ 170 w 170"/>
                <a:gd name="T159" fmla="*/ 721 h 7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1" name="Freeform 132">
              <a:extLst>
                <a:ext uri="{FF2B5EF4-FFF2-40B4-BE49-F238E27FC236}">
                  <a16:creationId xmlns:a16="http://schemas.microsoft.com/office/drawing/2014/main" id="{ADCB9269-0093-21F6-AD20-221EC3061253}"/>
                </a:ext>
              </a:extLst>
            </p:cNvPr>
            <p:cNvSpPr>
              <a:spLocks noChangeAspect="1"/>
            </p:cNvSpPr>
            <p:nvPr userDrawn="1"/>
          </p:nvSpPr>
          <p:spPr bwMode="gray">
            <a:xfrm>
              <a:off x="6574560" y="373457"/>
              <a:ext cx="4766540" cy="2562211"/>
            </a:xfrm>
            <a:custGeom>
              <a:avLst/>
              <a:gdLst>
                <a:gd name="T0" fmla="*/ 2147483647 w 8931"/>
                <a:gd name="T1" fmla="*/ 2147483647 h 4504"/>
                <a:gd name="T2" fmla="*/ 2147483647 w 8931"/>
                <a:gd name="T3" fmla="*/ 2147483647 h 4504"/>
                <a:gd name="T4" fmla="*/ 2147483647 w 8931"/>
                <a:gd name="T5" fmla="*/ 2147483647 h 4504"/>
                <a:gd name="T6" fmla="*/ 2147483647 w 8931"/>
                <a:gd name="T7" fmla="*/ 2147483647 h 4504"/>
                <a:gd name="T8" fmla="*/ 2147483647 w 8931"/>
                <a:gd name="T9" fmla="*/ 2147483647 h 4504"/>
                <a:gd name="T10" fmla="*/ 2147483647 w 8931"/>
                <a:gd name="T11" fmla="*/ 2147483647 h 4504"/>
                <a:gd name="T12" fmla="*/ 2147483647 w 8931"/>
                <a:gd name="T13" fmla="*/ 2147483647 h 4504"/>
                <a:gd name="T14" fmla="*/ 2147483647 w 8931"/>
                <a:gd name="T15" fmla="*/ 2147483647 h 4504"/>
                <a:gd name="T16" fmla="*/ 2147483647 w 8931"/>
                <a:gd name="T17" fmla="*/ 2147483647 h 4504"/>
                <a:gd name="T18" fmla="*/ 2147483647 w 8931"/>
                <a:gd name="T19" fmla="*/ 2147483647 h 4504"/>
                <a:gd name="T20" fmla="*/ 2147483647 w 8931"/>
                <a:gd name="T21" fmla="*/ 2147483647 h 4504"/>
                <a:gd name="T22" fmla="*/ 2147483647 w 8931"/>
                <a:gd name="T23" fmla="*/ 2147483647 h 4504"/>
                <a:gd name="T24" fmla="*/ 2147483647 w 8931"/>
                <a:gd name="T25" fmla="*/ 2147483647 h 4504"/>
                <a:gd name="T26" fmla="*/ 2147483647 w 8931"/>
                <a:gd name="T27" fmla="*/ 2147483647 h 4504"/>
                <a:gd name="T28" fmla="*/ 2147483647 w 8931"/>
                <a:gd name="T29" fmla="*/ 2147483647 h 4504"/>
                <a:gd name="T30" fmla="*/ 2147483647 w 8931"/>
                <a:gd name="T31" fmla="*/ 2147483647 h 4504"/>
                <a:gd name="T32" fmla="*/ 2147483647 w 8931"/>
                <a:gd name="T33" fmla="*/ 2147483647 h 4504"/>
                <a:gd name="T34" fmla="*/ 2147483647 w 8931"/>
                <a:gd name="T35" fmla="*/ 2147483647 h 4504"/>
                <a:gd name="T36" fmla="*/ 2147483647 w 8931"/>
                <a:gd name="T37" fmla="*/ 2147483647 h 4504"/>
                <a:gd name="T38" fmla="*/ 2147483647 w 8931"/>
                <a:gd name="T39" fmla="*/ 2147483647 h 4504"/>
                <a:gd name="T40" fmla="*/ 2147483647 w 8931"/>
                <a:gd name="T41" fmla="*/ 2147483647 h 4504"/>
                <a:gd name="T42" fmla="*/ 2147483647 w 8931"/>
                <a:gd name="T43" fmla="*/ 2147483647 h 4504"/>
                <a:gd name="T44" fmla="*/ 2147483647 w 8931"/>
                <a:gd name="T45" fmla="*/ 2147483647 h 4504"/>
                <a:gd name="T46" fmla="*/ 2147483647 w 8931"/>
                <a:gd name="T47" fmla="*/ 2147483647 h 4504"/>
                <a:gd name="T48" fmla="*/ 2147483647 w 8931"/>
                <a:gd name="T49" fmla="*/ 2147483647 h 4504"/>
                <a:gd name="T50" fmla="*/ 2147483647 w 8931"/>
                <a:gd name="T51" fmla="*/ 2147483647 h 4504"/>
                <a:gd name="T52" fmla="*/ 2147483647 w 8931"/>
                <a:gd name="T53" fmla="*/ 2147483647 h 4504"/>
                <a:gd name="T54" fmla="*/ 2147483647 w 8931"/>
                <a:gd name="T55" fmla="*/ 2147483647 h 4504"/>
                <a:gd name="T56" fmla="*/ 2147483647 w 8931"/>
                <a:gd name="T57" fmla="*/ 2147483647 h 4504"/>
                <a:gd name="T58" fmla="*/ 2147483647 w 8931"/>
                <a:gd name="T59" fmla="*/ 2147483647 h 4504"/>
                <a:gd name="T60" fmla="*/ 2147483647 w 8931"/>
                <a:gd name="T61" fmla="*/ 2147483647 h 4504"/>
                <a:gd name="T62" fmla="*/ 2147483647 w 8931"/>
                <a:gd name="T63" fmla="*/ 0 h 4504"/>
                <a:gd name="T64" fmla="*/ 2147483647 w 8931"/>
                <a:gd name="T65" fmla="*/ 0 h 4504"/>
                <a:gd name="T66" fmla="*/ 2147483647 w 8931"/>
                <a:gd name="T67" fmla="*/ 2147483647 h 4504"/>
                <a:gd name="T68" fmla="*/ 2147483647 w 8931"/>
                <a:gd name="T69" fmla="*/ 2147483647 h 4504"/>
                <a:gd name="T70" fmla="*/ 2147483647 w 8931"/>
                <a:gd name="T71" fmla="*/ 2147483647 h 4504"/>
                <a:gd name="T72" fmla="*/ 2147483647 w 8931"/>
                <a:gd name="T73" fmla="*/ 2147483647 h 4504"/>
                <a:gd name="T74" fmla="*/ 2147483647 w 8931"/>
                <a:gd name="T75" fmla="*/ 2147483647 h 4504"/>
                <a:gd name="T76" fmla="*/ 2147483647 w 8931"/>
                <a:gd name="T77" fmla="*/ 2147483647 h 4504"/>
                <a:gd name="T78" fmla="*/ 2147483647 w 8931"/>
                <a:gd name="T79" fmla="*/ 2147483647 h 4504"/>
                <a:gd name="T80" fmla="*/ 2147483647 w 8931"/>
                <a:gd name="T81" fmla="*/ 2147483647 h 4504"/>
                <a:gd name="T82" fmla="*/ 2147483647 w 8931"/>
                <a:gd name="T83" fmla="*/ 2147483647 h 4504"/>
                <a:gd name="T84" fmla="*/ 2147483647 w 8931"/>
                <a:gd name="T85" fmla="*/ 2147483647 h 4504"/>
                <a:gd name="T86" fmla="*/ 2147483647 w 8931"/>
                <a:gd name="T87" fmla="*/ 2147483647 h 4504"/>
                <a:gd name="T88" fmla="*/ 2147483647 w 8931"/>
                <a:gd name="T89" fmla="*/ 2147483647 h 4504"/>
                <a:gd name="T90" fmla="*/ 2147483647 w 8931"/>
                <a:gd name="T91" fmla="*/ 2147483647 h 4504"/>
                <a:gd name="T92" fmla="*/ 2147483647 w 8931"/>
                <a:gd name="T93" fmla="*/ 2147483647 h 4504"/>
                <a:gd name="T94" fmla="*/ 2147483647 w 8931"/>
                <a:gd name="T95" fmla="*/ 2147483647 h 4504"/>
                <a:gd name="T96" fmla="*/ 0 w 8931"/>
                <a:gd name="T97" fmla="*/ 2147483647 h 4504"/>
                <a:gd name="T98" fmla="*/ 2147483647 w 8931"/>
                <a:gd name="T99" fmla="*/ 2147483647 h 4504"/>
                <a:gd name="T100" fmla="*/ 0 w 8931"/>
                <a:gd name="T101" fmla="*/ 2147483647 h 4504"/>
                <a:gd name="T102" fmla="*/ 0 w 8931"/>
                <a:gd name="T103" fmla="*/ 2147483647 h 4504"/>
                <a:gd name="T104" fmla="*/ 0 w 8931"/>
                <a:gd name="T105" fmla="*/ 2147483647 h 4504"/>
                <a:gd name="T106" fmla="*/ 0 w 8931"/>
                <a:gd name="T107" fmla="*/ 2147483647 h 4504"/>
                <a:gd name="T108" fmla="*/ 2147483647 w 8931"/>
                <a:gd name="T109" fmla="*/ 2147483647 h 4504"/>
                <a:gd name="T110" fmla="*/ 2147483647 w 8931"/>
                <a:gd name="T111" fmla="*/ 2147483647 h 4504"/>
                <a:gd name="T112" fmla="*/ 2147483647 w 8931"/>
                <a:gd name="T113" fmla="*/ 2147483647 h 4504"/>
                <a:gd name="T114" fmla="*/ 2147483647 w 8931"/>
                <a:gd name="T115" fmla="*/ 2147483647 h 4504"/>
                <a:gd name="T116" fmla="*/ 2147483647 w 8931"/>
                <a:gd name="T117" fmla="*/ 2147483647 h 4504"/>
                <a:gd name="T118" fmla="*/ 2147483647 w 8931"/>
                <a:gd name="T119" fmla="*/ 2147483647 h 4504"/>
                <a:gd name="T120" fmla="*/ 2147483647 w 8931"/>
                <a:gd name="T121" fmla="*/ 2147483647 h 4504"/>
                <a:gd name="T122" fmla="*/ 2147483647 w 8931"/>
                <a:gd name="T123" fmla="*/ 2147483647 h 4504"/>
                <a:gd name="T124" fmla="*/ 2147483647 w 8931"/>
                <a:gd name="T125" fmla="*/ 2147483647 h 45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931"/>
                <a:gd name="T190" fmla="*/ 0 h 4504"/>
                <a:gd name="T191" fmla="*/ 8931 w 8931"/>
                <a:gd name="T192" fmla="*/ 4504 h 45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2" name="Freeform 133">
              <a:extLst>
                <a:ext uri="{FF2B5EF4-FFF2-40B4-BE49-F238E27FC236}">
                  <a16:creationId xmlns:a16="http://schemas.microsoft.com/office/drawing/2014/main" id="{A540BCA6-1EE9-D0D3-A0AA-796F6C19FC1A}"/>
                </a:ext>
              </a:extLst>
            </p:cNvPr>
            <p:cNvSpPr>
              <a:spLocks noChangeAspect="1"/>
            </p:cNvSpPr>
            <p:nvPr userDrawn="1"/>
          </p:nvSpPr>
          <p:spPr bwMode="gray">
            <a:xfrm>
              <a:off x="6341755" y="2246721"/>
              <a:ext cx="97003" cy="77734"/>
            </a:xfrm>
            <a:custGeom>
              <a:avLst/>
              <a:gdLst>
                <a:gd name="T0" fmla="*/ 0 w 180"/>
                <a:gd name="T1" fmla="*/ 0 h 134"/>
                <a:gd name="T2" fmla="*/ 0 w 180"/>
                <a:gd name="T3" fmla="*/ 0 h 134"/>
                <a:gd name="T4" fmla="*/ 0 w 180"/>
                <a:gd name="T5" fmla="*/ 0 h 134"/>
                <a:gd name="T6" fmla="*/ 0 w 180"/>
                <a:gd name="T7" fmla="*/ 0 h 134"/>
                <a:gd name="T8" fmla="*/ 0 w 180"/>
                <a:gd name="T9" fmla="*/ 0 h 134"/>
                <a:gd name="T10" fmla="*/ 0 w 180"/>
                <a:gd name="T11" fmla="*/ 0 h 134"/>
                <a:gd name="T12" fmla="*/ 0 w 180"/>
                <a:gd name="T13" fmla="*/ 0 h 134"/>
                <a:gd name="T14" fmla="*/ 0 w 180"/>
                <a:gd name="T15" fmla="*/ 0 h 134"/>
                <a:gd name="T16" fmla="*/ 0 w 180"/>
                <a:gd name="T17" fmla="*/ 0 h 134"/>
                <a:gd name="T18" fmla="*/ 0 w 180"/>
                <a:gd name="T19" fmla="*/ 0 h 134"/>
                <a:gd name="T20" fmla="*/ 0 w 180"/>
                <a:gd name="T21" fmla="*/ 0 h 134"/>
                <a:gd name="T22" fmla="*/ 0 w 180"/>
                <a:gd name="T23" fmla="*/ 0 h 134"/>
                <a:gd name="T24" fmla="*/ 0 w 180"/>
                <a:gd name="T25" fmla="*/ 0 h 134"/>
                <a:gd name="T26" fmla="*/ 0 w 180"/>
                <a:gd name="T27" fmla="*/ 0 h 134"/>
                <a:gd name="T28" fmla="*/ 0 w 180"/>
                <a:gd name="T29" fmla="*/ 0 h 134"/>
                <a:gd name="T30" fmla="*/ 0 w 180"/>
                <a:gd name="T31" fmla="*/ 0 h 134"/>
                <a:gd name="T32" fmla="*/ 0 w 180"/>
                <a:gd name="T33" fmla="*/ 0 h 134"/>
                <a:gd name="T34" fmla="*/ 0 w 180"/>
                <a:gd name="T35" fmla="*/ 0 h 134"/>
                <a:gd name="T36" fmla="*/ 0 w 180"/>
                <a:gd name="T37" fmla="*/ 0 h 134"/>
                <a:gd name="T38" fmla="*/ 0 w 180"/>
                <a:gd name="T39" fmla="*/ 0 h 134"/>
                <a:gd name="T40" fmla="*/ 0 w 180"/>
                <a:gd name="T41" fmla="*/ 0 h 134"/>
                <a:gd name="T42" fmla="*/ 0 w 180"/>
                <a:gd name="T43" fmla="*/ 0 h 134"/>
                <a:gd name="T44" fmla="*/ 0 w 180"/>
                <a:gd name="T45" fmla="*/ 0 h 134"/>
                <a:gd name="T46" fmla="*/ 0 w 180"/>
                <a:gd name="T47" fmla="*/ 0 h 134"/>
                <a:gd name="T48" fmla="*/ 0 w 180"/>
                <a:gd name="T49" fmla="*/ 0 h 134"/>
                <a:gd name="T50" fmla="*/ 0 w 180"/>
                <a:gd name="T51" fmla="*/ 0 h 134"/>
                <a:gd name="T52" fmla="*/ 0 w 180"/>
                <a:gd name="T53" fmla="*/ 0 h 134"/>
                <a:gd name="T54" fmla="*/ 0 w 180"/>
                <a:gd name="T55" fmla="*/ 0 h 134"/>
                <a:gd name="T56" fmla="*/ 0 w 180"/>
                <a:gd name="T57" fmla="*/ 0 h 134"/>
                <a:gd name="T58" fmla="*/ 0 w 180"/>
                <a:gd name="T59" fmla="*/ 0 h 134"/>
                <a:gd name="T60" fmla="*/ 0 w 180"/>
                <a:gd name="T61" fmla="*/ 0 h 134"/>
                <a:gd name="T62" fmla="*/ 0 w 180"/>
                <a:gd name="T63" fmla="*/ 0 h 134"/>
                <a:gd name="T64" fmla="*/ 0 w 180"/>
                <a:gd name="T65" fmla="*/ 0 h 134"/>
                <a:gd name="T66" fmla="*/ 0 w 180"/>
                <a:gd name="T67" fmla="*/ 0 h 134"/>
                <a:gd name="T68" fmla="*/ 0 w 180"/>
                <a:gd name="T69" fmla="*/ 0 h 134"/>
                <a:gd name="T70" fmla="*/ 0 w 180"/>
                <a:gd name="T71" fmla="*/ 0 h 134"/>
                <a:gd name="T72" fmla="*/ 0 w 180"/>
                <a:gd name="T73" fmla="*/ 0 h 134"/>
                <a:gd name="T74" fmla="*/ 0 w 180"/>
                <a:gd name="T75" fmla="*/ 0 h 134"/>
                <a:gd name="T76" fmla="*/ 0 w 180"/>
                <a:gd name="T77" fmla="*/ 0 h 134"/>
                <a:gd name="T78" fmla="*/ 0 w 180"/>
                <a:gd name="T79" fmla="*/ 0 h 134"/>
                <a:gd name="T80" fmla="*/ 0 w 180"/>
                <a:gd name="T81" fmla="*/ 0 h 134"/>
                <a:gd name="T82" fmla="*/ 0 w 180"/>
                <a:gd name="T83" fmla="*/ 0 h 13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0"/>
                <a:gd name="T127" fmla="*/ 0 h 134"/>
                <a:gd name="T128" fmla="*/ 180 w 180"/>
                <a:gd name="T129" fmla="*/ 134 h 13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3" name="Freeform 134">
              <a:extLst>
                <a:ext uri="{FF2B5EF4-FFF2-40B4-BE49-F238E27FC236}">
                  <a16:creationId xmlns:a16="http://schemas.microsoft.com/office/drawing/2014/main" id="{15A2B9B2-B334-B947-1D17-F02105E1693F}"/>
                </a:ext>
              </a:extLst>
            </p:cNvPr>
            <p:cNvSpPr>
              <a:spLocks noChangeAspect="1"/>
            </p:cNvSpPr>
            <p:nvPr userDrawn="1"/>
          </p:nvSpPr>
          <p:spPr bwMode="gray">
            <a:xfrm>
              <a:off x="6996893" y="3940127"/>
              <a:ext cx="41786" cy="59445"/>
            </a:xfrm>
            <a:custGeom>
              <a:avLst/>
              <a:gdLst>
                <a:gd name="T0" fmla="*/ 0 w 83"/>
                <a:gd name="T1" fmla="*/ 0 h 106"/>
                <a:gd name="T2" fmla="*/ 0 w 83"/>
                <a:gd name="T3" fmla="*/ 0 h 106"/>
                <a:gd name="T4" fmla="*/ 0 w 83"/>
                <a:gd name="T5" fmla="*/ 0 h 106"/>
                <a:gd name="T6" fmla="*/ 0 w 83"/>
                <a:gd name="T7" fmla="*/ 0 h 106"/>
                <a:gd name="T8" fmla="*/ 0 w 83"/>
                <a:gd name="T9" fmla="*/ 0 h 106"/>
                <a:gd name="T10" fmla="*/ 0 w 83"/>
                <a:gd name="T11" fmla="*/ 0 h 106"/>
                <a:gd name="T12" fmla="*/ 0 w 83"/>
                <a:gd name="T13" fmla="*/ 0 h 106"/>
                <a:gd name="T14" fmla="*/ 0 w 83"/>
                <a:gd name="T15" fmla="*/ 0 h 106"/>
                <a:gd name="T16" fmla="*/ 0 w 83"/>
                <a:gd name="T17" fmla="*/ 2147483647 h 106"/>
                <a:gd name="T18" fmla="*/ 0 w 83"/>
                <a:gd name="T19" fmla="*/ 2147483647 h 106"/>
                <a:gd name="T20" fmla="*/ 0 w 83"/>
                <a:gd name="T21" fmla="*/ 2147483647 h 106"/>
                <a:gd name="T22" fmla="*/ 0 w 83"/>
                <a:gd name="T23" fmla="*/ 2147483647 h 106"/>
                <a:gd name="T24" fmla="*/ 0 w 83"/>
                <a:gd name="T25" fmla="*/ 2147483647 h 106"/>
                <a:gd name="T26" fmla="*/ 0 w 83"/>
                <a:gd name="T27" fmla="*/ 2147483647 h 106"/>
                <a:gd name="T28" fmla="*/ 0 w 83"/>
                <a:gd name="T29" fmla="*/ 2147483647 h 106"/>
                <a:gd name="T30" fmla="*/ 0 w 83"/>
                <a:gd name="T31" fmla="*/ 2147483647 h 106"/>
                <a:gd name="T32" fmla="*/ 0 w 83"/>
                <a:gd name="T33" fmla="*/ 2147483647 h 106"/>
                <a:gd name="T34" fmla="*/ 0 w 83"/>
                <a:gd name="T35" fmla="*/ 2147483647 h 106"/>
                <a:gd name="T36" fmla="*/ 0 w 83"/>
                <a:gd name="T37" fmla="*/ 2147483647 h 106"/>
                <a:gd name="T38" fmla="*/ 0 w 83"/>
                <a:gd name="T39" fmla="*/ 2147483647 h 106"/>
                <a:gd name="T40" fmla="*/ 0 w 83"/>
                <a:gd name="T41" fmla="*/ 2147483647 h 106"/>
                <a:gd name="T42" fmla="*/ 0 w 83"/>
                <a:gd name="T43" fmla="*/ 2147483647 h 106"/>
                <a:gd name="T44" fmla="*/ 2147483647 w 83"/>
                <a:gd name="T45" fmla="*/ 2147483647 h 106"/>
                <a:gd name="T46" fmla="*/ 2147483647 w 83"/>
                <a:gd name="T47" fmla="*/ 0 h 106"/>
                <a:gd name="T48" fmla="*/ 2147483647 w 83"/>
                <a:gd name="T49" fmla="*/ 0 h 106"/>
                <a:gd name="T50" fmla="*/ 2147483647 w 83"/>
                <a:gd name="T51" fmla="*/ 0 h 106"/>
                <a:gd name="T52" fmla="*/ 2147483647 w 83"/>
                <a:gd name="T53" fmla="*/ 0 h 106"/>
                <a:gd name="T54" fmla="*/ 2147483647 w 83"/>
                <a:gd name="T55" fmla="*/ 0 h 106"/>
                <a:gd name="T56" fmla="*/ 0 w 83"/>
                <a:gd name="T57" fmla="*/ 0 h 106"/>
                <a:gd name="T58" fmla="*/ 0 w 83"/>
                <a:gd name="T59" fmla="*/ 0 h 106"/>
                <a:gd name="T60" fmla="*/ 0 w 83"/>
                <a:gd name="T61" fmla="*/ 0 h 106"/>
                <a:gd name="T62" fmla="*/ 0 w 83"/>
                <a:gd name="T63" fmla="*/ 0 h 106"/>
                <a:gd name="T64" fmla="*/ 0 w 83"/>
                <a:gd name="T65" fmla="*/ 0 h 106"/>
                <a:gd name="T66" fmla="*/ 0 w 83"/>
                <a:gd name="T67" fmla="*/ 0 h 106"/>
                <a:gd name="T68" fmla="*/ 0 w 83"/>
                <a:gd name="T69" fmla="*/ 0 h 106"/>
                <a:gd name="T70" fmla="*/ 0 w 83"/>
                <a:gd name="T71" fmla="*/ 0 h 106"/>
                <a:gd name="T72" fmla="*/ 0 w 83"/>
                <a:gd name="T73" fmla="*/ 0 h 106"/>
                <a:gd name="T74" fmla="*/ 0 w 83"/>
                <a:gd name="T75" fmla="*/ 0 h 106"/>
                <a:gd name="T76" fmla="*/ 0 w 83"/>
                <a:gd name="T77" fmla="*/ 0 h 106"/>
                <a:gd name="T78" fmla="*/ 0 w 83"/>
                <a:gd name="T79" fmla="*/ 0 h 106"/>
                <a:gd name="T80" fmla="*/ 0 w 83"/>
                <a:gd name="T81" fmla="*/ 0 h 106"/>
                <a:gd name="T82" fmla="*/ 0 w 83"/>
                <a:gd name="T83" fmla="*/ 0 h 106"/>
                <a:gd name="T84" fmla="*/ 0 w 83"/>
                <a:gd name="T85" fmla="*/ 0 h 106"/>
                <a:gd name="T86" fmla="*/ 2147483647 w 83"/>
                <a:gd name="T87" fmla="*/ 0 h 106"/>
                <a:gd name="T88" fmla="*/ 2147483647 w 83"/>
                <a:gd name="T89" fmla="*/ 0 h 106"/>
                <a:gd name="T90" fmla="*/ 2147483647 w 83"/>
                <a:gd name="T91" fmla="*/ 0 h 106"/>
                <a:gd name="T92" fmla="*/ 2147483647 w 83"/>
                <a:gd name="T93" fmla="*/ 0 h 106"/>
                <a:gd name="T94" fmla="*/ 2147483647 w 83"/>
                <a:gd name="T95" fmla="*/ 0 h 106"/>
                <a:gd name="T96" fmla="*/ 2147483647 w 83"/>
                <a:gd name="T97" fmla="*/ 0 h 106"/>
                <a:gd name="T98" fmla="*/ 2147483647 w 83"/>
                <a:gd name="T99" fmla="*/ 0 h 106"/>
                <a:gd name="T100" fmla="*/ 0 w 83"/>
                <a:gd name="T101" fmla="*/ 0 h 106"/>
                <a:gd name="T102" fmla="*/ 0 w 83"/>
                <a:gd name="T103" fmla="*/ 0 h 10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
                <a:gd name="T157" fmla="*/ 0 h 106"/>
                <a:gd name="T158" fmla="*/ 83 w 83"/>
                <a:gd name="T159" fmla="*/ 106 h 10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4" name="Freeform 135">
              <a:extLst>
                <a:ext uri="{FF2B5EF4-FFF2-40B4-BE49-F238E27FC236}">
                  <a16:creationId xmlns:a16="http://schemas.microsoft.com/office/drawing/2014/main" id="{AE60C35E-E873-4236-65CD-978203DE20A8}"/>
                </a:ext>
              </a:extLst>
            </p:cNvPr>
            <p:cNvSpPr>
              <a:spLocks noChangeAspect="1"/>
            </p:cNvSpPr>
            <p:nvPr userDrawn="1"/>
          </p:nvSpPr>
          <p:spPr bwMode="gray">
            <a:xfrm>
              <a:off x="6793935" y="3188687"/>
              <a:ext cx="50740" cy="65541"/>
            </a:xfrm>
            <a:custGeom>
              <a:avLst/>
              <a:gdLst>
                <a:gd name="T0" fmla="*/ 0 w 95"/>
                <a:gd name="T1" fmla="*/ 2147483647 h 116"/>
                <a:gd name="T2" fmla="*/ 0 w 95"/>
                <a:gd name="T3" fmla="*/ 2147483647 h 116"/>
                <a:gd name="T4" fmla="*/ 2147483647 w 95"/>
                <a:gd name="T5" fmla="*/ 2147483647 h 116"/>
                <a:gd name="T6" fmla="*/ 2147483647 w 95"/>
                <a:gd name="T7" fmla="*/ 2147483647 h 116"/>
                <a:gd name="T8" fmla="*/ 2147483647 w 95"/>
                <a:gd name="T9" fmla="*/ 0 h 116"/>
                <a:gd name="T10" fmla="*/ 2147483647 w 95"/>
                <a:gd name="T11" fmla="*/ 0 h 116"/>
                <a:gd name="T12" fmla="*/ 2147483647 w 95"/>
                <a:gd name="T13" fmla="*/ 0 h 116"/>
                <a:gd name="T14" fmla="*/ 2147483647 w 95"/>
                <a:gd name="T15" fmla="*/ 0 h 116"/>
                <a:gd name="T16" fmla="*/ 2147483647 w 95"/>
                <a:gd name="T17" fmla="*/ 0 h 116"/>
                <a:gd name="T18" fmla="*/ 2147483647 w 95"/>
                <a:gd name="T19" fmla="*/ 0 h 116"/>
                <a:gd name="T20" fmla="*/ 2147483647 w 95"/>
                <a:gd name="T21" fmla="*/ 0 h 116"/>
                <a:gd name="T22" fmla="*/ 2147483647 w 95"/>
                <a:gd name="T23" fmla="*/ 0 h 116"/>
                <a:gd name="T24" fmla="*/ 2147483647 w 95"/>
                <a:gd name="T25" fmla="*/ 0 h 116"/>
                <a:gd name="T26" fmla="*/ 2147483647 w 95"/>
                <a:gd name="T27" fmla="*/ 0 h 116"/>
                <a:gd name="T28" fmla="*/ 2147483647 w 95"/>
                <a:gd name="T29" fmla="*/ 0 h 116"/>
                <a:gd name="T30" fmla="*/ 2147483647 w 95"/>
                <a:gd name="T31" fmla="*/ 0 h 116"/>
                <a:gd name="T32" fmla="*/ 2147483647 w 95"/>
                <a:gd name="T33" fmla="*/ 0 h 116"/>
                <a:gd name="T34" fmla="*/ 2147483647 w 95"/>
                <a:gd name="T35" fmla="*/ 0 h 116"/>
                <a:gd name="T36" fmla="*/ 2147483647 w 95"/>
                <a:gd name="T37" fmla="*/ 0 h 116"/>
                <a:gd name="T38" fmla="*/ 2147483647 w 95"/>
                <a:gd name="T39" fmla="*/ 0 h 116"/>
                <a:gd name="T40" fmla="*/ 2147483647 w 95"/>
                <a:gd name="T41" fmla="*/ 0 h 116"/>
                <a:gd name="T42" fmla="*/ 2147483647 w 95"/>
                <a:gd name="T43" fmla="*/ 0 h 116"/>
                <a:gd name="T44" fmla="*/ 2147483647 w 95"/>
                <a:gd name="T45" fmla="*/ 0 h 116"/>
                <a:gd name="T46" fmla="*/ 0 w 95"/>
                <a:gd name="T47" fmla="*/ 0 h 116"/>
                <a:gd name="T48" fmla="*/ 0 w 95"/>
                <a:gd name="T49" fmla="*/ 0 h 116"/>
                <a:gd name="T50" fmla="*/ 0 w 95"/>
                <a:gd name="T51" fmla="*/ 0 h 116"/>
                <a:gd name="T52" fmla="*/ 0 w 95"/>
                <a:gd name="T53" fmla="*/ 0 h 116"/>
                <a:gd name="T54" fmla="*/ 0 w 95"/>
                <a:gd name="T55" fmla="*/ 2147483647 h 116"/>
                <a:gd name="T56" fmla="*/ 0 w 95"/>
                <a:gd name="T57" fmla="*/ 2147483647 h 116"/>
                <a:gd name="T58" fmla="*/ 0 w 95"/>
                <a:gd name="T59" fmla="*/ 2147483647 h 116"/>
                <a:gd name="T60" fmla="*/ 0 w 95"/>
                <a:gd name="T61" fmla="*/ 2147483647 h 116"/>
                <a:gd name="T62" fmla="*/ 0 w 95"/>
                <a:gd name="T63" fmla="*/ 2147483647 h 116"/>
                <a:gd name="T64" fmla="*/ 0 w 95"/>
                <a:gd name="T65" fmla="*/ 2147483647 h 116"/>
                <a:gd name="T66" fmla="*/ 0 w 95"/>
                <a:gd name="T67" fmla="*/ 2147483647 h 1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5"/>
                <a:gd name="T103" fmla="*/ 0 h 116"/>
                <a:gd name="T104" fmla="*/ 95 w 95"/>
                <a:gd name="T105" fmla="*/ 116 h 1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5" h="116">
                  <a:moveTo>
                    <a:pt x="32" y="102"/>
                  </a:moveTo>
                  <a:lnTo>
                    <a:pt x="39" y="96"/>
                  </a:lnTo>
                  <a:lnTo>
                    <a:pt x="44" y="95"/>
                  </a:lnTo>
                  <a:lnTo>
                    <a:pt x="45" y="93"/>
                  </a:lnTo>
                  <a:lnTo>
                    <a:pt x="52" y="88"/>
                  </a:lnTo>
                  <a:lnTo>
                    <a:pt x="55" y="83"/>
                  </a:lnTo>
                  <a:lnTo>
                    <a:pt x="58" y="83"/>
                  </a:lnTo>
                  <a:lnTo>
                    <a:pt x="58" y="78"/>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5" name="Freeform 137">
              <a:extLst>
                <a:ext uri="{FF2B5EF4-FFF2-40B4-BE49-F238E27FC236}">
                  <a16:creationId xmlns:a16="http://schemas.microsoft.com/office/drawing/2014/main" id="{D6DE4D9A-7148-7ED5-826D-094320F5BD7A}"/>
                </a:ext>
              </a:extLst>
            </p:cNvPr>
            <p:cNvSpPr>
              <a:spLocks noChangeAspect="1"/>
            </p:cNvSpPr>
            <p:nvPr userDrawn="1"/>
          </p:nvSpPr>
          <p:spPr bwMode="gray">
            <a:xfrm>
              <a:off x="6787965" y="3274044"/>
              <a:ext cx="20893" cy="44202"/>
            </a:xfrm>
            <a:custGeom>
              <a:avLst/>
              <a:gdLst>
                <a:gd name="T0" fmla="*/ 0 w 37"/>
                <a:gd name="T1" fmla="*/ 0 h 80"/>
                <a:gd name="T2" fmla="*/ 0 w 37"/>
                <a:gd name="T3" fmla="*/ 0 h 80"/>
                <a:gd name="T4" fmla="*/ 0 w 37"/>
                <a:gd name="T5" fmla="*/ 0 h 80"/>
                <a:gd name="T6" fmla="*/ 0 w 37"/>
                <a:gd name="T7" fmla="*/ 0 h 80"/>
                <a:gd name="T8" fmla="*/ 0 w 37"/>
                <a:gd name="T9" fmla="*/ 0 h 80"/>
                <a:gd name="T10" fmla="*/ 0 w 37"/>
                <a:gd name="T11" fmla="*/ 0 h 80"/>
                <a:gd name="T12" fmla="*/ 0 w 37"/>
                <a:gd name="T13" fmla="*/ 0 h 80"/>
                <a:gd name="T14" fmla="*/ 0 w 37"/>
                <a:gd name="T15" fmla="*/ 0 h 80"/>
                <a:gd name="T16" fmla="*/ 0 w 37"/>
                <a:gd name="T17" fmla="*/ 0 h 80"/>
                <a:gd name="T18" fmla="*/ 0 w 37"/>
                <a:gd name="T19" fmla="*/ 0 h 80"/>
                <a:gd name="T20" fmla="*/ 0 w 37"/>
                <a:gd name="T21" fmla="*/ 0 h 80"/>
                <a:gd name="T22" fmla="*/ 0 w 37"/>
                <a:gd name="T23" fmla="*/ 0 h 80"/>
                <a:gd name="T24" fmla="*/ 0 w 37"/>
                <a:gd name="T25" fmla="*/ 0 h 80"/>
                <a:gd name="T26" fmla="*/ 0 w 37"/>
                <a:gd name="T27" fmla="*/ 0 h 80"/>
                <a:gd name="T28" fmla="*/ 0 w 37"/>
                <a:gd name="T29" fmla="*/ 0 h 80"/>
                <a:gd name="T30" fmla="*/ 0 w 37"/>
                <a:gd name="T31" fmla="*/ 0 h 80"/>
                <a:gd name="T32" fmla="*/ 0 w 37"/>
                <a:gd name="T33" fmla="*/ 0 h 80"/>
                <a:gd name="T34" fmla="*/ 0 w 37"/>
                <a:gd name="T35" fmla="*/ 0 h 80"/>
                <a:gd name="T36" fmla="*/ 0 w 37"/>
                <a:gd name="T37" fmla="*/ 0 h 80"/>
                <a:gd name="T38" fmla="*/ 0 w 37"/>
                <a:gd name="T39" fmla="*/ 0 h 80"/>
                <a:gd name="T40" fmla="*/ 0 w 37"/>
                <a:gd name="T41" fmla="*/ 0 h 80"/>
                <a:gd name="T42" fmla="*/ 0 w 37"/>
                <a:gd name="T43" fmla="*/ 0 h 80"/>
                <a:gd name="T44" fmla="*/ 0 w 37"/>
                <a:gd name="T45" fmla="*/ 0 h 80"/>
                <a:gd name="T46" fmla="*/ 0 w 37"/>
                <a:gd name="T47" fmla="*/ 0 h 80"/>
                <a:gd name="T48" fmla="*/ 0 w 37"/>
                <a:gd name="T49" fmla="*/ 0 h 80"/>
                <a:gd name="T50" fmla="*/ 0 w 37"/>
                <a:gd name="T51" fmla="*/ 0 h 80"/>
                <a:gd name="T52" fmla="*/ 0 w 37"/>
                <a:gd name="T53" fmla="*/ 0 h 80"/>
                <a:gd name="T54" fmla="*/ 0 w 37"/>
                <a:gd name="T55" fmla="*/ 0 h 80"/>
                <a:gd name="T56" fmla="*/ 0 w 37"/>
                <a:gd name="T57" fmla="*/ 0 h 80"/>
                <a:gd name="T58" fmla="*/ 0 w 37"/>
                <a:gd name="T59" fmla="*/ 0 h 80"/>
                <a:gd name="T60" fmla="*/ 0 w 37"/>
                <a:gd name="T61" fmla="*/ 0 h 80"/>
                <a:gd name="T62" fmla="*/ 0 w 37"/>
                <a:gd name="T63" fmla="*/ 0 h 80"/>
                <a:gd name="T64" fmla="*/ 0 w 37"/>
                <a:gd name="T65" fmla="*/ 0 h 80"/>
                <a:gd name="T66" fmla="*/ 0 w 37"/>
                <a:gd name="T67" fmla="*/ 0 h 80"/>
                <a:gd name="T68" fmla="*/ 0 w 37"/>
                <a:gd name="T69" fmla="*/ 0 h 80"/>
                <a:gd name="T70" fmla="*/ 0 w 37"/>
                <a:gd name="T71" fmla="*/ 0 h 80"/>
                <a:gd name="T72" fmla="*/ 0 w 37"/>
                <a:gd name="T73" fmla="*/ 0 h 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80"/>
                <a:gd name="T113" fmla="*/ 37 w 37"/>
                <a:gd name="T114" fmla="*/ 80 h 8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80">
                  <a:moveTo>
                    <a:pt x="30" y="66"/>
                  </a:moveTo>
                  <a:lnTo>
                    <a:pt x="32" y="64"/>
                  </a:lnTo>
                  <a:lnTo>
                    <a:pt x="33" y="55"/>
                  </a:lnTo>
                  <a:lnTo>
                    <a:pt x="36" y="49"/>
                  </a:lnTo>
                  <a:lnTo>
                    <a:pt x="33" y="40"/>
                  </a:lnTo>
                  <a:lnTo>
                    <a:pt x="35" y="29"/>
                  </a:lnTo>
                  <a:lnTo>
                    <a:pt x="36" y="21"/>
                  </a:lnTo>
                  <a:lnTo>
                    <a:pt x="37" y="12"/>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6" name="Freeform 138">
              <a:extLst>
                <a:ext uri="{FF2B5EF4-FFF2-40B4-BE49-F238E27FC236}">
                  <a16:creationId xmlns:a16="http://schemas.microsoft.com/office/drawing/2014/main" id="{0D542931-E779-A06D-61DE-8D58222A54F6}"/>
                </a:ext>
              </a:extLst>
            </p:cNvPr>
            <p:cNvSpPr>
              <a:spLocks noChangeAspect="1"/>
            </p:cNvSpPr>
            <p:nvPr userDrawn="1"/>
          </p:nvSpPr>
          <p:spPr bwMode="gray">
            <a:xfrm>
              <a:off x="6767073" y="3310625"/>
              <a:ext cx="10446" cy="13717"/>
            </a:xfrm>
            <a:custGeom>
              <a:avLst/>
              <a:gdLst>
                <a:gd name="T0" fmla="*/ 0 w 18"/>
                <a:gd name="T1" fmla="*/ 0 h 24"/>
                <a:gd name="T2" fmla="*/ 0 w 18"/>
                <a:gd name="T3" fmla="*/ 0 h 24"/>
                <a:gd name="T4" fmla="*/ 0 w 18"/>
                <a:gd name="T5" fmla="*/ 0 h 24"/>
                <a:gd name="T6" fmla="*/ 0 w 18"/>
                <a:gd name="T7" fmla="*/ 0 h 24"/>
                <a:gd name="T8" fmla="*/ 0 w 18"/>
                <a:gd name="T9" fmla="*/ 0 h 24"/>
                <a:gd name="T10" fmla="*/ 0 w 18"/>
                <a:gd name="T11" fmla="*/ 0 h 24"/>
                <a:gd name="T12" fmla="*/ 0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 y="24"/>
                  </a:moveTo>
                  <a:lnTo>
                    <a:pt x="8" y="21"/>
                  </a:lnTo>
                  <a:lnTo>
                    <a:pt x="7" y="16"/>
                  </a:lnTo>
                  <a:lnTo>
                    <a:pt x="18" y="5"/>
                  </a:lnTo>
                  <a:lnTo>
                    <a:pt x="14" y="0"/>
                  </a:lnTo>
                  <a:lnTo>
                    <a:pt x="0" y="14"/>
                  </a:lnTo>
                  <a:lnTo>
                    <a:pt x="1" y="2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7" name="Freeform 139">
              <a:extLst>
                <a:ext uri="{FF2B5EF4-FFF2-40B4-BE49-F238E27FC236}">
                  <a16:creationId xmlns:a16="http://schemas.microsoft.com/office/drawing/2014/main" id="{618105BA-CDB7-AED3-2B85-DA4DA2811E37}"/>
                </a:ext>
              </a:extLst>
            </p:cNvPr>
            <p:cNvSpPr>
              <a:spLocks noChangeAspect="1"/>
            </p:cNvSpPr>
            <p:nvPr userDrawn="1"/>
          </p:nvSpPr>
          <p:spPr bwMode="gray">
            <a:xfrm>
              <a:off x="6771549" y="3245083"/>
              <a:ext cx="41786" cy="144801"/>
            </a:xfrm>
            <a:custGeom>
              <a:avLst/>
              <a:gdLst>
                <a:gd name="T0" fmla="*/ 0 w 81"/>
                <a:gd name="T1" fmla="*/ 0 h 251"/>
                <a:gd name="T2" fmla="*/ 0 w 81"/>
                <a:gd name="T3" fmla="*/ 0 h 251"/>
                <a:gd name="T4" fmla="*/ 0 w 81"/>
                <a:gd name="T5" fmla="*/ 0 h 251"/>
                <a:gd name="T6" fmla="*/ 0 w 81"/>
                <a:gd name="T7" fmla="*/ 0 h 251"/>
                <a:gd name="T8" fmla="*/ 0 w 81"/>
                <a:gd name="T9" fmla="*/ 0 h 251"/>
                <a:gd name="T10" fmla="*/ 0 w 81"/>
                <a:gd name="T11" fmla="*/ 0 h 251"/>
                <a:gd name="T12" fmla="*/ 0 w 81"/>
                <a:gd name="T13" fmla="*/ 0 h 251"/>
                <a:gd name="T14" fmla="*/ 0 w 81"/>
                <a:gd name="T15" fmla="*/ 0 h 251"/>
                <a:gd name="T16" fmla="*/ 0 w 81"/>
                <a:gd name="T17" fmla="*/ 0 h 251"/>
                <a:gd name="T18" fmla="*/ 0 w 81"/>
                <a:gd name="T19" fmla="*/ 0 h 251"/>
                <a:gd name="T20" fmla="*/ 0 w 81"/>
                <a:gd name="T21" fmla="*/ 0 h 251"/>
                <a:gd name="T22" fmla="*/ 0 w 81"/>
                <a:gd name="T23" fmla="*/ 0 h 251"/>
                <a:gd name="T24" fmla="*/ 0 w 81"/>
                <a:gd name="T25" fmla="*/ 0 h 251"/>
                <a:gd name="T26" fmla="*/ 0 w 81"/>
                <a:gd name="T27" fmla="*/ 0 h 251"/>
                <a:gd name="T28" fmla="*/ 0 w 81"/>
                <a:gd name="T29" fmla="*/ 0 h 251"/>
                <a:gd name="T30" fmla="*/ 0 w 81"/>
                <a:gd name="T31" fmla="*/ 0 h 251"/>
                <a:gd name="T32" fmla="*/ 0 w 81"/>
                <a:gd name="T33" fmla="*/ 0 h 251"/>
                <a:gd name="T34" fmla="*/ 0 w 81"/>
                <a:gd name="T35" fmla="*/ 0 h 251"/>
                <a:gd name="T36" fmla="*/ 0 w 81"/>
                <a:gd name="T37" fmla="*/ 0 h 251"/>
                <a:gd name="T38" fmla="*/ 0 w 81"/>
                <a:gd name="T39" fmla="*/ 0 h 251"/>
                <a:gd name="T40" fmla="*/ 0 w 81"/>
                <a:gd name="T41" fmla="*/ 0 h 251"/>
                <a:gd name="T42" fmla="*/ 0 w 81"/>
                <a:gd name="T43" fmla="*/ 0 h 251"/>
                <a:gd name="T44" fmla="*/ 0 w 81"/>
                <a:gd name="T45" fmla="*/ 0 h 251"/>
                <a:gd name="T46" fmla="*/ 0 w 81"/>
                <a:gd name="T47" fmla="*/ 0 h 251"/>
                <a:gd name="T48" fmla="*/ 0 w 81"/>
                <a:gd name="T49" fmla="*/ 0 h 251"/>
                <a:gd name="T50" fmla="*/ 0 w 81"/>
                <a:gd name="T51" fmla="*/ 0 h 251"/>
                <a:gd name="T52" fmla="*/ 0 w 81"/>
                <a:gd name="T53" fmla="*/ 0 h 251"/>
                <a:gd name="T54" fmla="*/ 0 w 81"/>
                <a:gd name="T55" fmla="*/ 0 h 251"/>
                <a:gd name="T56" fmla="*/ 0 w 81"/>
                <a:gd name="T57" fmla="*/ 0 h 251"/>
                <a:gd name="T58" fmla="*/ 0 w 81"/>
                <a:gd name="T59" fmla="*/ 0 h 251"/>
                <a:gd name="T60" fmla="*/ 0 w 81"/>
                <a:gd name="T61" fmla="*/ 0 h 251"/>
                <a:gd name="T62" fmla="*/ 0 w 81"/>
                <a:gd name="T63" fmla="*/ 0 h 251"/>
                <a:gd name="T64" fmla="*/ 0 w 81"/>
                <a:gd name="T65" fmla="*/ 0 h 251"/>
                <a:gd name="T66" fmla="*/ 0 w 81"/>
                <a:gd name="T67" fmla="*/ 0 h 2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1"/>
                <a:gd name="T103" fmla="*/ 0 h 251"/>
                <a:gd name="T104" fmla="*/ 81 w 81"/>
                <a:gd name="T105" fmla="*/ 251 h 2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8" name="Freeform 140">
              <a:extLst>
                <a:ext uri="{FF2B5EF4-FFF2-40B4-BE49-F238E27FC236}">
                  <a16:creationId xmlns:a16="http://schemas.microsoft.com/office/drawing/2014/main" id="{7DC749F1-6830-D775-2538-B37490E325E3}"/>
                </a:ext>
              </a:extLst>
            </p:cNvPr>
            <p:cNvSpPr>
              <a:spLocks noChangeAspect="1"/>
            </p:cNvSpPr>
            <p:nvPr userDrawn="1"/>
          </p:nvSpPr>
          <p:spPr bwMode="gray">
            <a:xfrm>
              <a:off x="7137173" y="3363972"/>
              <a:ext cx="50740" cy="53348"/>
            </a:xfrm>
            <a:custGeom>
              <a:avLst/>
              <a:gdLst>
                <a:gd name="T0" fmla="*/ 2147483647 w 96"/>
                <a:gd name="T1" fmla="*/ 2147483647 h 95"/>
                <a:gd name="T2" fmla="*/ 2147483647 w 96"/>
                <a:gd name="T3" fmla="*/ 2147483647 h 95"/>
                <a:gd name="T4" fmla="*/ 2147483647 w 96"/>
                <a:gd name="T5" fmla="*/ 2147483647 h 95"/>
                <a:gd name="T6" fmla="*/ 2147483647 w 96"/>
                <a:gd name="T7" fmla="*/ 0 h 95"/>
                <a:gd name="T8" fmla="*/ 2147483647 w 96"/>
                <a:gd name="T9" fmla="*/ 0 h 95"/>
                <a:gd name="T10" fmla="*/ 2147483647 w 96"/>
                <a:gd name="T11" fmla="*/ 0 h 95"/>
                <a:gd name="T12" fmla="*/ 2147483647 w 96"/>
                <a:gd name="T13" fmla="*/ 0 h 95"/>
                <a:gd name="T14" fmla="*/ 2147483647 w 96"/>
                <a:gd name="T15" fmla="*/ 0 h 95"/>
                <a:gd name="T16" fmla="*/ 2147483647 w 96"/>
                <a:gd name="T17" fmla="*/ 0 h 95"/>
                <a:gd name="T18" fmla="*/ 2147483647 w 96"/>
                <a:gd name="T19" fmla="*/ 0 h 95"/>
                <a:gd name="T20" fmla="*/ 2147483647 w 96"/>
                <a:gd name="T21" fmla="*/ 0 h 95"/>
                <a:gd name="T22" fmla="*/ 2147483647 w 96"/>
                <a:gd name="T23" fmla="*/ 0 h 95"/>
                <a:gd name="T24" fmla="*/ 2147483647 w 96"/>
                <a:gd name="T25" fmla="*/ 0 h 95"/>
                <a:gd name="T26" fmla="*/ 2147483647 w 96"/>
                <a:gd name="T27" fmla="*/ 0 h 95"/>
                <a:gd name="T28" fmla="*/ 2147483647 w 96"/>
                <a:gd name="T29" fmla="*/ 0 h 95"/>
                <a:gd name="T30" fmla="*/ 2147483647 w 96"/>
                <a:gd name="T31" fmla="*/ 0 h 95"/>
                <a:gd name="T32" fmla="*/ 2147483647 w 96"/>
                <a:gd name="T33" fmla="*/ 0 h 95"/>
                <a:gd name="T34" fmla="*/ 2147483647 w 96"/>
                <a:gd name="T35" fmla="*/ 0 h 95"/>
                <a:gd name="T36" fmla="*/ 2147483647 w 96"/>
                <a:gd name="T37" fmla="*/ 0 h 95"/>
                <a:gd name="T38" fmla="*/ 0 w 96"/>
                <a:gd name="T39" fmla="*/ 0 h 95"/>
                <a:gd name="T40" fmla="*/ 0 w 96"/>
                <a:gd name="T41" fmla="*/ 0 h 95"/>
                <a:gd name="T42" fmla="*/ 0 w 96"/>
                <a:gd name="T43" fmla="*/ 0 h 95"/>
                <a:gd name="T44" fmla="*/ 0 w 96"/>
                <a:gd name="T45" fmla="*/ 0 h 95"/>
                <a:gd name="T46" fmla="*/ 0 w 96"/>
                <a:gd name="T47" fmla="*/ 0 h 95"/>
                <a:gd name="T48" fmla="*/ 0 w 96"/>
                <a:gd name="T49" fmla="*/ 0 h 95"/>
                <a:gd name="T50" fmla="*/ 0 w 96"/>
                <a:gd name="T51" fmla="*/ 0 h 95"/>
                <a:gd name="T52" fmla="*/ 2147483647 w 96"/>
                <a:gd name="T53" fmla="*/ 2147483647 h 95"/>
                <a:gd name="T54" fmla="*/ 2147483647 w 96"/>
                <a:gd name="T55" fmla="*/ 2147483647 h 95"/>
                <a:gd name="T56" fmla="*/ 2147483647 w 96"/>
                <a:gd name="T57" fmla="*/ 2147483647 h 9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6"/>
                <a:gd name="T88" fmla="*/ 0 h 95"/>
                <a:gd name="T89" fmla="*/ 96 w 96"/>
                <a:gd name="T90" fmla="*/ 95 h 9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39" name="Freeform 141">
              <a:extLst>
                <a:ext uri="{FF2B5EF4-FFF2-40B4-BE49-F238E27FC236}">
                  <a16:creationId xmlns:a16="http://schemas.microsoft.com/office/drawing/2014/main" id="{FE75069E-8A31-1CAE-F42A-BB00C948F881}"/>
                </a:ext>
              </a:extLst>
            </p:cNvPr>
            <p:cNvSpPr>
              <a:spLocks noChangeAspect="1"/>
            </p:cNvSpPr>
            <p:nvPr userDrawn="1"/>
          </p:nvSpPr>
          <p:spPr bwMode="gray">
            <a:xfrm>
              <a:off x="6786473" y="3287761"/>
              <a:ext cx="616338" cy="538050"/>
            </a:xfrm>
            <a:custGeom>
              <a:avLst/>
              <a:gdLst>
                <a:gd name="T0" fmla="*/ 0 w 15957"/>
                <a:gd name="T1" fmla="*/ 0 h 13229"/>
                <a:gd name="T2" fmla="*/ 0 w 15957"/>
                <a:gd name="T3" fmla="*/ 0 h 13229"/>
                <a:gd name="T4" fmla="*/ 0 w 15957"/>
                <a:gd name="T5" fmla="*/ 0 h 13229"/>
                <a:gd name="T6" fmla="*/ 0 w 15957"/>
                <a:gd name="T7" fmla="*/ 0 h 13229"/>
                <a:gd name="T8" fmla="*/ 0 w 15957"/>
                <a:gd name="T9" fmla="*/ 0 h 13229"/>
                <a:gd name="T10" fmla="*/ 0 w 15957"/>
                <a:gd name="T11" fmla="*/ 0 h 13229"/>
                <a:gd name="T12" fmla="*/ 0 w 15957"/>
                <a:gd name="T13" fmla="*/ 0 h 13229"/>
                <a:gd name="T14" fmla="*/ 0 w 15957"/>
                <a:gd name="T15" fmla="*/ 0 h 13229"/>
                <a:gd name="T16" fmla="*/ 0 w 15957"/>
                <a:gd name="T17" fmla="*/ 0 h 13229"/>
                <a:gd name="T18" fmla="*/ 0 w 15957"/>
                <a:gd name="T19" fmla="*/ 0 h 13229"/>
                <a:gd name="T20" fmla="*/ 0 w 15957"/>
                <a:gd name="T21" fmla="*/ 0 h 13229"/>
                <a:gd name="T22" fmla="*/ 0 w 15957"/>
                <a:gd name="T23" fmla="*/ 0 h 13229"/>
                <a:gd name="T24" fmla="*/ 0 w 15957"/>
                <a:gd name="T25" fmla="*/ 0 h 13229"/>
                <a:gd name="T26" fmla="*/ 0 w 15957"/>
                <a:gd name="T27" fmla="*/ 0 h 13229"/>
                <a:gd name="T28" fmla="*/ 0 w 15957"/>
                <a:gd name="T29" fmla="*/ 0 h 13229"/>
                <a:gd name="T30" fmla="*/ 0 w 15957"/>
                <a:gd name="T31" fmla="*/ 0 h 13229"/>
                <a:gd name="T32" fmla="*/ 0 w 15957"/>
                <a:gd name="T33" fmla="*/ 0 h 13229"/>
                <a:gd name="T34" fmla="*/ 0 w 15957"/>
                <a:gd name="T35" fmla="*/ 0 h 13229"/>
                <a:gd name="T36" fmla="*/ 0 w 15957"/>
                <a:gd name="T37" fmla="*/ 0 h 13229"/>
                <a:gd name="T38" fmla="*/ 0 w 15957"/>
                <a:gd name="T39" fmla="*/ 0 h 13229"/>
                <a:gd name="T40" fmla="*/ 0 w 15957"/>
                <a:gd name="T41" fmla="*/ 0 h 13229"/>
                <a:gd name="T42" fmla="*/ 0 w 15957"/>
                <a:gd name="T43" fmla="*/ 0 h 13229"/>
                <a:gd name="T44" fmla="*/ 0 w 15957"/>
                <a:gd name="T45" fmla="*/ 0 h 13229"/>
                <a:gd name="T46" fmla="*/ 0 w 15957"/>
                <a:gd name="T47" fmla="*/ 0 h 13229"/>
                <a:gd name="T48" fmla="*/ 0 w 15957"/>
                <a:gd name="T49" fmla="*/ 0 h 13229"/>
                <a:gd name="T50" fmla="*/ 0 w 15957"/>
                <a:gd name="T51" fmla="*/ 0 h 13229"/>
                <a:gd name="T52" fmla="*/ 0 w 15957"/>
                <a:gd name="T53" fmla="*/ 0 h 13229"/>
                <a:gd name="T54" fmla="*/ 0 w 15957"/>
                <a:gd name="T55" fmla="*/ 0 h 13229"/>
                <a:gd name="T56" fmla="*/ 0 w 15957"/>
                <a:gd name="T57" fmla="*/ 0 h 13229"/>
                <a:gd name="T58" fmla="*/ 0 w 15957"/>
                <a:gd name="T59" fmla="*/ 0 h 13229"/>
                <a:gd name="T60" fmla="*/ 0 w 15957"/>
                <a:gd name="T61" fmla="*/ 0 h 13229"/>
                <a:gd name="T62" fmla="*/ 0 w 15957"/>
                <a:gd name="T63" fmla="*/ 0 h 13229"/>
                <a:gd name="T64" fmla="*/ 0 w 15957"/>
                <a:gd name="T65" fmla="*/ 0 h 13229"/>
                <a:gd name="T66" fmla="*/ 0 w 15957"/>
                <a:gd name="T67" fmla="*/ 0 h 13229"/>
                <a:gd name="T68" fmla="*/ 0 w 15957"/>
                <a:gd name="T69" fmla="*/ 0 h 13229"/>
                <a:gd name="T70" fmla="*/ 0 w 15957"/>
                <a:gd name="T71" fmla="*/ 0 h 13229"/>
                <a:gd name="T72" fmla="*/ 0 w 15957"/>
                <a:gd name="T73" fmla="*/ 0 h 13229"/>
                <a:gd name="T74" fmla="*/ 0 w 15957"/>
                <a:gd name="T75" fmla="*/ 0 h 13229"/>
                <a:gd name="T76" fmla="*/ 0 w 15957"/>
                <a:gd name="T77" fmla="*/ 0 h 13229"/>
                <a:gd name="T78" fmla="*/ 0 w 15957"/>
                <a:gd name="T79" fmla="*/ 0 h 13229"/>
                <a:gd name="T80" fmla="*/ 0 w 15957"/>
                <a:gd name="T81" fmla="*/ 0 h 13229"/>
                <a:gd name="T82" fmla="*/ 0 w 15957"/>
                <a:gd name="T83" fmla="*/ 0 h 13229"/>
                <a:gd name="T84" fmla="*/ 0 w 15957"/>
                <a:gd name="T85" fmla="*/ 0 h 13229"/>
                <a:gd name="T86" fmla="*/ 0 w 15957"/>
                <a:gd name="T87" fmla="*/ 0 h 13229"/>
                <a:gd name="T88" fmla="*/ 0 w 15957"/>
                <a:gd name="T89" fmla="*/ 0 h 13229"/>
                <a:gd name="T90" fmla="*/ 0 w 15957"/>
                <a:gd name="T91" fmla="*/ 0 h 13229"/>
                <a:gd name="T92" fmla="*/ 0 w 15957"/>
                <a:gd name="T93" fmla="*/ 0 h 13229"/>
                <a:gd name="T94" fmla="*/ 0 w 15957"/>
                <a:gd name="T95" fmla="*/ 0 h 13229"/>
                <a:gd name="T96" fmla="*/ 0 w 15957"/>
                <a:gd name="T97" fmla="*/ 0 h 13229"/>
                <a:gd name="T98" fmla="*/ 0 w 15957"/>
                <a:gd name="T99" fmla="*/ 0 h 13229"/>
                <a:gd name="T100" fmla="*/ 0 w 15957"/>
                <a:gd name="T101" fmla="*/ 0 h 13229"/>
                <a:gd name="T102" fmla="*/ 0 w 15957"/>
                <a:gd name="T103" fmla="*/ 0 h 132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957"/>
                <a:gd name="T157" fmla="*/ 0 h 13229"/>
                <a:gd name="T158" fmla="*/ 15957 w 15957"/>
                <a:gd name="T159" fmla="*/ 13229 h 132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0" name="Freeform 142">
              <a:extLst>
                <a:ext uri="{FF2B5EF4-FFF2-40B4-BE49-F238E27FC236}">
                  <a16:creationId xmlns:a16="http://schemas.microsoft.com/office/drawing/2014/main" id="{124B1271-3473-13FF-B221-3FB07E74E9D7}"/>
                </a:ext>
              </a:extLst>
            </p:cNvPr>
            <p:cNvSpPr>
              <a:spLocks noChangeAspect="1"/>
            </p:cNvSpPr>
            <p:nvPr userDrawn="1"/>
          </p:nvSpPr>
          <p:spPr bwMode="gray">
            <a:xfrm>
              <a:off x="7020771" y="3741978"/>
              <a:ext cx="304438" cy="205770"/>
            </a:xfrm>
            <a:custGeom>
              <a:avLst/>
              <a:gdLst>
                <a:gd name="T0" fmla="*/ 0 w 15675"/>
                <a:gd name="T1" fmla="*/ 0 h 9942"/>
                <a:gd name="T2" fmla="*/ 0 w 15675"/>
                <a:gd name="T3" fmla="*/ 0 h 9942"/>
                <a:gd name="T4" fmla="*/ 0 w 15675"/>
                <a:gd name="T5" fmla="*/ 0 h 9942"/>
                <a:gd name="T6" fmla="*/ 0 w 15675"/>
                <a:gd name="T7" fmla="*/ 0 h 9942"/>
                <a:gd name="T8" fmla="*/ 0 w 15675"/>
                <a:gd name="T9" fmla="*/ 0 h 9942"/>
                <a:gd name="T10" fmla="*/ 0 w 15675"/>
                <a:gd name="T11" fmla="*/ 0 h 9942"/>
                <a:gd name="T12" fmla="*/ 0 w 15675"/>
                <a:gd name="T13" fmla="*/ 0 h 9942"/>
                <a:gd name="T14" fmla="*/ 0 w 15675"/>
                <a:gd name="T15" fmla="*/ 0 h 9942"/>
                <a:gd name="T16" fmla="*/ 0 w 15675"/>
                <a:gd name="T17" fmla="*/ 0 h 9942"/>
                <a:gd name="T18" fmla="*/ 0 w 15675"/>
                <a:gd name="T19" fmla="*/ 0 h 9942"/>
                <a:gd name="T20" fmla="*/ 0 w 15675"/>
                <a:gd name="T21" fmla="*/ 0 h 9942"/>
                <a:gd name="T22" fmla="*/ 0 w 15675"/>
                <a:gd name="T23" fmla="*/ 0 h 9942"/>
                <a:gd name="T24" fmla="*/ 0 w 15675"/>
                <a:gd name="T25" fmla="*/ 0 h 9942"/>
                <a:gd name="T26" fmla="*/ 0 w 15675"/>
                <a:gd name="T27" fmla="*/ 0 h 9942"/>
                <a:gd name="T28" fmla="*/ 0 w 15675"/>
                <a:gd name="T29" fmla="*/ 0 h 9942"/>
                <a:gd name="T30" fmla="*/ 0 w 15675"/>
                <a:gd name="T31" fmla="*/ 0 h 9942"/>
                <a:gd name="T32" fmla="*/ 0 w 15675"/>
                <a:gd name="T33" fmla="*/ 0 h 9942"/>
                <a:gd name="T34" fmla="*/ 0 w 15675"/>
                <a:gd name="T35" fmla="*/ 0 h 9942"/>
                <a:gd name="T36" fmla="*/ 0 w 15675"/>
                <a:gd name="T37" fmla="*/ 0 h 9942"/>
                <a:gd name="T38" fmla="*/ 0 w 15675"/>
                <a:gd name="T39" fmla="*/ 0 h 9942"/>
                <a:gd name="T40" fmla="*/ 0 w 15675"/>
                <a:gd name="T41" fmla="*/ 0 h 9942"/>
                <a:gd name="T42" fmla="*/ 0 w 15675"/>
                <a:gd name="T43" fmla="*/ 0 h 9942"/>
                <a:gd name="T44" fmla="*/ 0 w 15675"/>
                <a:gd name="T45" fmla="*/ 0 h 9942"/>
                <a:gd name="T46" fmla="*/ 0 w 15675"/>
                <a:gd name="T47" fmla="*/ 0 h 9942"/>
                <a:gd name="T48" fmla="*/ 0 w 15675"/>
                <a:gd name="T49" fmla="*/ 0 h 9942"/>
                <a:gd name="T50" fmla="*/ 0 w 15675"/>
                <a:gd name="T51" fmla="*/ 0 h 9942"/>
                <a:gd name="T52" fmla="*/ 0 w 15675"/>
                <a:gd name="T53" fmla="*/ 0 h 9942"/>
                <a:gd name="T54" fmla="*/ 0 w 15675"/>
                <a:gd name="T55" fmla="*/ 0 h 9942"/>
                <a:gd name="T56" fmla="*/ 0 w 15675"/>
                <a:gd name="T57" fmla="*/ 0 h 9942"/>
                <a:gd name="T58" fmla="*/ 0 w 15675"/>
                <a:gd name="T59" fmla="*/ 0 h 9942"/>
                <a:gd name="T60" fmla="*/ 0 w 15675"/>
                <a:gd name="T61" fmla="*/ 0 h 9942"/>
                <a:gd name="T62" fmla="*/ 0 w 15675"/>
                <a:gd name="T63" fmla="*/ 0 h 9942"/>
                <a:gd name="T64" fmla="*/ 0 w 15675"/>
                <a:gd name="T65" fmla="*/ 0 h 9942"/>
                <a:gd name="T66" fmla="*/ 0 w 15675"/>
                <a:gd name="T67" fmla="*/ 0 h 9942"/>
                <a:gd name="T68" fmla="*/ 0 w 15675"/>
                <a:gd name="T69" fmla="*/ 0 h 9942"/>
                <a:gd name="T70" fmla="*/ 0 w 15675"/>
                <a:gd name="T71" fmla="*/ 0 h 9942"/>
                <a:gd name="T72" fmla="*/ 0 w 15675"/>
                <a:gd name="T73" fmla="*/ 0 h 9942"/>
                <a:gd name="T74" fmla="*/ 0 w 15675"/>
                <a:gd name="T75" fmla="*/ 0 h 9942"/>
                <a:gd name="T76" fmla="*/ 0 w 15675"/>
                <a:gd name="T77" fmla="*/ 0 h 9942"/>
                <a:gd name="T78" fmla="*/ 0 w 15675"/>
                <a:gd name="T79" fmla="*/ 0 h 9942"/>
                <a:gd name="T80" fmla="*/ 0 w 15675"/>
                <a:gd name="T81" fmla="*/ 0 h 9942"/>
                <a:gd name="T82" fmla="*/ 0 w 15675"/>
                <a:gd name="T83" fmla="*/ 0 h 9942"/>
                <a:gd name="T84" fmla="*/ 0 w 15675"/>
                <a:gd name="T85" fmla="*/ 0 h 9942"/>
                <a:gd name="T86" fmla="*/ 0 w 15675"/>
                <a:gd name="T87" fmla="*/ 0 h 9942"/>
                <a:gd name="T88" fmla="*/ 0 w 15675"/>
                <a:gd name="T89" fmla="*/ 0 h 9942"/>
                <a:gd name="T90" fmla="*/ 0 w 15675"/>
                <a:gd name="T91" fmla="*/ 0 h 9942"/>
                <a:gd name="T92" fmla="*/ 0 w 15675"/>
                <a:gd name="T93" fmla="*/ 0 h 9942"/>
                <a:gd name="T94" fmla="*/ 0 w 15675"/>
                <a:gd name="T95" fmla="*/ 0 h 9942"/>
                <a:gd name="T96" fmla="*/ 0 w 15675"/>
                <a:gd name="T97" fmla="*/ 0 h 9942"/>
                <a:gd name="T98" fmla="*/ 0 w 15675"/>
                <a:gd name="T99" fmla="*/ 0 h 9942"/>
                <a:gd name="T100" fmla="*/ 0 w 15675"/>
                <a:gd name="T101" fmla="*/ 0 h 9942"/>
                <a:gd name="T102" fmla="*/ 0 w 15675"/>
                <a:gd name="T103" fmla="*/ 0 h 9942"/>
                <a:gd name="T104" fmla="*/ 0 w 15675"/>
                <a:gd name="T105" fmla="*/ 0 h 9942"/>
                <a:gd name="T106" fmla="*/ 0 w 15675"/>
                <a:gd name="T107" fmla="*/ 0 h 9942"/>
                <a:gd name="T108" fmla="*/ 0 w 15675"/>
                <a:gd name="T109" fmla="*/ 0 h 994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675"/>
                <a:gd name="T166" fmla="*/ 0 h 9942"/>
                <a:gd name="T167" fmla="*/ 15675 w 15675"/>
                <a:gd name="T168" fmla="*/ 9942 h 994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1" name="Freeform 143">
              <a:extLst>
                <a:ext uri="{FF2B5EF4-FFF2-40B4-BE49-F238E27FC236}">
                  <a16:creationId xmlns:a16="http://schemas.microsoft.com/office/drawing/2014/main" id="{B941064E-82BB-1F13-9013-30AB2F0FFECE}"/>
                </a:ext>
              </a:extLst>
            </p:cNvPr>
            <p:cNvSpPr>
              <a:spLocks noChangeAspect="1"/>
            </p:cNvSpPr>
            <p:nvPr userDrawn="1"/>
          </p:nvSpPr>
          <p:spPr bwMode="gray">
            <a:xfrm>
              <a:off x="7341624" y="3565169"/>
              <a:ext cx="7462" cy="4573"/>
            </a:xfrm>
            <a:custGeom>
              <a:avLst/>
              <a:gdLst>
                <a:gd name="T0" fmla="*/ 0 w 16"/>
                <a:gd name="T1" fmla="*/ 0 h 9"/>
                <a:gd name="T2" fmla="*/ 0 w 16"/>
                <a:gd name="T3" fmla="*/ 0 h 9"/>
                <a:gd name="T4" fmla="*/ 0 w 16"/>
                <a:gd name="T5" fmla="*/ 0 h 9"/>
                <a:gd name="T6" fmla="*/ 0 w 16"/>
                <a:gd name="T7" fmla="*/ 0 h 9"/>
                <a:gd name="T8" fmla="*/ 0 w 16"/>
                <a:gd name="T9" fmla="*/ 0 h 9"/>
                <a:gd name="T10" fmla="*/ 0 w 16"/>
                <a:gd name="T11" fmla="*/ 0 h 9"/>
                <a:gd name="T12" fmla="*/ 0 w 16"/>
                <a:gd name="T13" fmla="*/ 0 h 9"/>
                <a:gd name="T14" fmla="*/ 0 w 16"/>
                <a:gd name="T15" fmla="*/ 0 h 9"/>
                <a:gd name="T16" fmla="*/ 0 w 16"/>
                <a:gd name="T17" fmla="*/ 0 h 9"/>
                <a:gd name="T18" fmla="*/ 0 w 16"/>
                <a:gd name="T19" fmla="*/ 0 h 9"/>
                <a:gd name="T20" fmla="*/ 0 w 16"/>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9"/>
                <a:gd name="T35" fmla="*/ 16 w 16"/>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2" name="Freeform 145">
              <a:extLst>
                <a:ext uri="{FF2B5EF4-FFF2-40B4-BE49-F238E27FC236}">
                  <a16:creationId xmlns:a16="http://schemas.microsoft.com/office/drawing/2014/main" id="{DDA3AAC7-4902-5588-4F4E-B5313D3C9771}"/>
                </a:ext>
              </a:extLst>
            </p:cNvPr>
            <p:cNvSpPr>
              <a:spLocks noChangeAspect="1"/>
            </p:cNvSpPr>
            <p:nvPr userDrawn="1"/>
          </p:nvSpPr>
          <p:spPr bwMode="gray">
            <a:xfrm>
              <a:off x="7411764" y="3495055"/>
              <a:ext cx="10446" cy="22864"/>
            </a:xfrm>
            <a:custGeom>
              <a:avLst/>
              <a:gdLst>
                <a:gd name="T0" fmla="*/ 0 w 19"/>
                <a:gd name="T1" fmla="*/ 0 h 40"/>
                <a:gd name="T2" fmla="*/ 0 w 19"/>
                <a:gd name="T3" fmla="*/ 0 h 40"/>
                <a:gd name="T4" fmla="*/ 0 w 19"/>
                <a:gd name="T5" fmla="*/ 0 h 40"/>
                <a:gd name="T6" fmla="*/ 0 w 19"/>
                <a:gd name="T7" fmla="*/ 0 h 40"/>
                <a:gd name="T8" fmla="*/ 0 w 19"/>
                <a:gd name="T9" fmla="*/ 0 h 40"/>
                <a:gd name="T10" fmla="*/ 0 w 19"/>
                <a:gd name="T11" fmla="*/ 0 h 40"/>
                <a:gd name="T12" fmla="*/ 0 w 19"/>
                <a:gd name="T13" fmla="*/ 0 h 40"/>
                <a:gd name="T14" fmla="*/ 0 w 19"/>
                <a:gd name="T15" fmla="*/ 0 h 40"/>
                <a:gd name="T16" fmla="*/ 0 w 19"/>
                <a:gd name="T17" fmla="*/ 0 h 40"/>
                <a:gd name="T18" fmla="*/ 0 w 19"/>
                <a:gd name="T19" fmla="*/ 0 h 40"/>
                <a:gd name="T20" fmla="*/ 0 w 19"/>
                <a:gd name="T21" fmla="*/ 0 h 40"/>
                <a:gd name="T22" fmla="*/ 0 w 19"/>
                <a:gd name="T23" fmla="*/ 0 h 40"/>
                <a:gd name="T24" fmla="*/ 0 w 19"/>
                <a:gd name="T25" fmla="*/ 0 h 40"/>
                <a:gd name="T26" fmla="*/ 0 w 19"/>
                <a:gd name="T27" fmla="*/ 0 h 40"/>
                <a:gd name="T28" fmla="*/ 0 w 19"/>
                <a:gd name="T29" fmla="*/ 0 h 40"/>
                <a:gd name="T30" fmla="*/ 0 w 19"/>
                <a:gd name="T31" fmla="*/ 0 h 40"/>
                <a:gd name="T32" fmla="*/ 0 w 19"/>
                <a:gd name="T33" fmla="*/ 0 h 40"/>
                <a:gd name="T34" fmla="*/ 0 w 19"/>
                <a:gd name="T35" fmla="*/ 0 h 40"/>
                <a:gd name="T36" fmla="*/ 0 w 19"/>
                <a:gd name="T37" fmla="*/ 0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40"/>
                <a:gd name="T59" fmla="*/ 19 w 19"/>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3" name="Freeform 146">
              <a:extLst>
                <a:ext uri="{FF2B5EF4-FFF2-40B4-BE49-F238E27FC236}">
                  <a16:creationId xmlns:a16="http://schemas.microsoft.com/office/drawing/2014/main" id="{4FAB22F7-BAFC-FA24-BF5D-CA9F9714DC03}"/>
                </a:ext>
              </a:extLst>
            </p:cNvPr>
            <p:cNvSpPr>
              <a:spLocks noChangeAspect="1"/>
            </p:cNvSpPr>
            <p:nvPr userDrawn="1"/>
          </p:nvSpPr>
          <p:spPr bwMode="gray">
            <a:xfrm>
              <a:off x="7293869" y="3545355"/>
              <a:ext cx="225344" cy="272835"/>
            </a:xfrm>
            <a:custGeom>
              <a:avLst/>
              <a:gdLst>
                <a:gd name="T0" fmla="*/ 0 w 427"/>
                <a:gd name="T1" fmla="*/ 0 h 482"/>
                <a:gd name="T2" fmla="*/ 0 w 427"/>
                <a:gd name="T3" fmla="*/ 0 h 482"/>
                <a:gd name="T4" fmla="*/ 0 w 427"/>
                <a:gd name="T5" fmla="*/ 0 h 482"/>
                <a:gd name="T6" fmla="*/ 0 w 427"/>
                <a:gd name="T7" fmla="*/ 2147483647 h 482"/>
                <a:gd name="T8" fmla="*/ 0 w 427"/>
                <a:gd name="T9" fmla="*/ 2147483647 h 482"/>
                <a:gd name="T10" fmla="*/ 0 w 427"/>
                <a:gd name="T11" fmla="*/ 2147483647 h 482"/>
                <a:gd name="T12" fmla="*/ 0 w 427"/>
                <a:gd name="T13" fmla="*/ 2147483647 h 482"/>
                <a:gd name="T14" fmla="*/ 0 w 427"/>
                <a:gd name="T15" fmla="*/ 2147483647 h 482"/>
                <a:gd name="T16" fmla="*/ 0 w 427"/>
                <a:gd name="T17" fmla="*/ 2147483647 h 482"/>
                <a:gd name="T18" fmla="*/ 0 w 427"/>
                <a:gd name="T19" fmla="*/ 2147483647 h 482"/>
                <a:gd name="T20" fmla="*/ 0 w 427"/>
                <a:gd name="T21" fmla="*/ 2147483647 h 482"/>
                <a:gd name="T22" fmla="*/ 0 w 427"/>
                <a:gd name="T23" fmla="*/ 2147483647 h 482"/>
                <a:gd name="T24" fmla="*/ 0 w 427"/>
                <a:gd name="T25" fmla="*/ 2147483647 h 482"/>
                <a:gd name="T26" fmla="*/ 0 w 427"/>
                <a:gd name="T27" fmla="*/ 2147483647 h 482"/>
                <a:gd name="T28" fmla="*/ 0 w 427"/>
                <a:gd name="T29" fmla="*/ 2147483647 h 482"/>
                <a:gd name="T30" fmla="*/ 0 w 427"/>
                <a:gd name="T31" fmla="*/ 2147483647 h 482"/>
                <a:gd name="T32" fmla="*/ 0 w 427"/>
                <a:gd name="T33" fmla="*/ 2147483647 h 482"/>
                <a:gd name="T34" fmla="*/ 0 w 427"/>
                <a:gd name="T35" fmla="*/ 2147483647 h 482"/>
                <a:gd name="T36" fmla="*/ 0 w 427"/>
                <a:gd name="T37" fmla="*/ 2147483647 h 482"/>
                <a:gd name="T38" fmla="*/ 2147483647 w 427"/>
                <a:gd name="T39" fmla="*/ 2147483647 h 482"/>
                <a:gd name="T40" fmla="*/ 2147483647 w 427"/>
                <a:gd name="T41" fmla="*/ 2147483647 h 482"/>
                <a:gd name="T42" fmla="*/ 0 w 427"/>
                <a:gd name="T43" fmla="*/ 0 h 482"/>
                <a:gd name="T44" fmla="*/ 2147483647 w 427"/>
                <a:gd name="T45" fmla="*/ 0 h 482"/>
                <a:gd name="T46" fmla="*/ 2147483647 w 427"/>
                <a:gd name="T47" fmla="*/ 0 h 482"/>
                <a:gd name="T48" fmla="*/ 2147483647 w 427"/>
                <a:gd name="T49" fmla="*/ 0 h 482"/>
                <a:gd name="T50" fmla="*/ 2147483647 w 427"/>
                <a:gd name="T51" fmla="*/ 0 h 482"/>
                <a:gd name="T52" fmla="*/ 2147483647 w 427"/>
                <a:gd name="T53" fmla="*/ 0 h 482"/>
                <a:gd name="T54" fmla="*/ 2147483647 w 427"/>
                <a:gd name="T55" fmla="*/ 0 h 482"/>
                <a:gd name="T56" fmla="*/ 2147483647 w 427"/>
                <a:gd name="T57" fmla="*/ 0 h 482"/>
                <a:gd name="T58" fmla="*/ 2147483647 w 427"/>
                <a:gd name="T59" fmla="*/ 0 h 482"/>
                <a:gd name="T60" fmla="*/ 2147483647 w 427"/>
                <a:gd name="T61" fmla="*/ 0 h 482"/>
                <a:gd name="T62" fmla="*/ 2147483647 w 427"/>
                <a:gd name="T63" fmla="*/ 0 h 482"/>
                <a:gd name="T64" fmla="*/ 2147483647 w 427"/>
                <a:gd name="T65" fmla="*/ 0 h 482"/>
                <a:gd name="T66" fmla="*/ 2147483647 w 427"/>
                <a:gd name="T67" fmla="*/ 0 h 482"/>
                <a:gd name="T68" fmla="*/ 2147483647 w 427"/>
                <a:gd name="T69" fmla="*/ 0 h 482"/>
                <a:gd name="T70" fmla="*/ 2147483647 w 427"/>
                <a:gd name="T71" fmla="*/ 0 h 482"/>
                <a:gd name="T72" fmla="*/ 2147483647 w 427"/>
                <a:gd name="T73" fmla="*/ 0 h 482"/>
                <a:gd name="T74" fmla="*/ 2147483647 w 427"/>
                <a:gd name="T75" fmla="*/ 0 h 482"/>
                <a:gd name="T76" fmla="*/ 2147483647 w 427"/>
                <a:gd name="T77" fmla="*/ 0 h 482"/>
                <a:gd name="T78" fmla="*/ 2147483647 w 427"/>
                <a:gd name="T79" fmla="*/ 0 h 482"/>
                <a:gd name="T80" fmla="*/ 0 w 427"/>
                <a:gd name="T81" fmla="*/ 0 h 482"/>
                <a:gd name="T82" fmla="*/ 0 w 427"/>
                <a:gd name="T83" fmla="*/ 0 h 482"/>
                <a:gd name="T84" fmla="*/ 0 w 427"/>
                <a:gd name="T85" fmla="*/ 0 h 482"/>
                <a:gd name="T86" fmla="*/ 0 w 427"/>
                <a:gd name="T87" fmla="*/ 0 h 4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7"/>
                <a:gd name="T133" fmla="*/ 0 h 482"/>
                <a:gd name="T134" fmla="*/ 427 w 427"/>
                <a:gd name="T135" fmla="*/ 482 h 48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4" name="Freeform 147">
              <a:extLst>
                <a:ext uri="{FF2B5EF4-FFF2-40B4-BE49-F238E27FC236}">
                  <a16:creationId xmlns:a16="http://schemas.microsoft.com/office/drawing/2014/main" id="{B823EB82-1876-A316-089B-671D2A5E2C31}"/>
                </a:ext>
              </a:extLst>
            </p:cNvPr>
            <p:cNvSpPr>
              <a:spLocks noChangeAspect="1"/>
            </p:cNvSpPr>
            <p:nvPr userDrawn="1"/>
          </p:nvSpPr>
          <p:spPr bwMode="gray">
            <a:xfrm>
              <a:off x="7249099" y="3496580"/>
              <a:ext cx="1493" cy="7621"/>
            </a:xfrm>
            <a:custGeom>
              <a:avLst/>
              <a:gdLst>
                <a:gd name="T0" fmla="*/ 0 w 8"/>
                <a:gd name="T1" fmla="*/ 0 h 19"/>
                <a:gd name="T2" fmla="*/ 0 w 8"/>
                <a:gd name="T3" fmla="*/ 0 h 19"/>
                <a:gd name="T4" fmla="*/ 0 w 8"/>
                <a:gd name="T5" fmla="*/ 0 h 19"/>
                <a:gd name="T6" fmla="*/ 0 w 8"/>
                <a:gd name="T7" fmla="*/ 0 h 19"/>
                <a:gd name="T8" fmla="*/ 0 w 8"/>
                <a:gd name="T9" fmla="*/ 0 h 19"/>
                <a:gd name="T10" fmla="*/ 0 w 8"/>
                <a:gd name="T11" fmla="*/ 0 h 19"/>
                <a:gd name="T12" fmla="*/ 0 60000 65536"/>
                <a:gd name="T13" fmla="*/ 0 60000 65536"/>
                <a:gd name="T14" fmla="*/ 0 60000 65536"/>
                <a:gd name="T15" fmla="*/ 0 60000 65536"/>
                <a:gd name="T16" fmla="*/ 0 60000 65536"/>
                <a:gd name="T17" fmla="*/ 0 60000 65536"/>
                <a:gd name="T18" fmla="*/ 0 w 8"/>
                <a:gd name="T19" fmla="*/ 0 h 19"/>
                <a:gd name="T20" fmla="*/ 8 w 8"/>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8" h="19">
                  <a:moveTo>
                    <a:pt x="8" y="3"/>
                  </a:moveTo>
                  <a:lnTo>
                    <a:pt x="0" y="0"/>
                  </a:lnTo>
                  <a:lnTo>
                    <a:pt x="0" y="11"/>
                  </a:lnTo>
                  <a:lnTo>
                    <a:pt x="3" y="19"/>
                  </a:lnTo>
                  <a:lnTo>
                    <a:pt x="8" y="17"/>
                  </a:lnTo>
                  <a:lnTo>
                    <a:pt x="8"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5" name="Freeform 149">
              <a:extLst>
                <a:ext uri="{FF2B5EF4-FFF2-40B4-BE49-F238E27FC236}">
                  <a16:creationId xmlns:a16="http://schemas.microsoft.com/office/drawing/2014/main" id="{E52AC0AA-E109-851E-25F5-07000EB44FA7}"/>
                </a:ext>
              </a:extLst>
            </p:cNvPr>
            <p:cNvSpPr>
              <a:spLocks noChangeAspect="1"/>
            </p:cNvSpPr>
            <p:nvPr userDrawn="1"/>
          </p:nvSpPr>
          <p:spPr bwMode="gray">
            <a:xfrm>
              <a:off x="7387887" y="3475241"/>
              <a:ext cx="28354" cy="13717"/>
            </a:xfrm>
            <a:custGeom>
              <a:avLst/>
              <a:gdLst>
                <a:gd name="T0" fmla="*/ 0 w 50"/>
                <a:gd name="T1" fmla="*/ 0 h 26"/>
                <a:gd name="T2" fmla="*/ 0 w 50"/>
                <a:gd name="T3" fmla="*/ 0 h 26"/>
                <a:gd name="T4" fmla="*/ 0 w 50"/>
                <a:gd name="T5" fmla="*/ 0 h 26"/>
                <a:gd name="T6" fmla="*/ 0 w 50"/>
                <a:gd name="T7" fmla="*/ 0 h 26"/>
                <a:gd name="T8" fmla="*/ 0 w 50"/>
                <a:gd name="T9" fmla="*/ 0 h 26"/>
                <a:gd name="T10" fmla="*/ 0 w 50"/>
                <a:gd name="T11" fmla="*/ 0 h 26"/>
                <a:gd name="T12" fmla="*/ 0 w 50"/>
                <a:gd name="T13" fmla="*/ 0 h 26"/>
                <a:gd name="T14" fmla="*/ 0 w 50"/>
                <a:gd name="T15" fmla="*/ 0 h 26"/>
                <a:gd name="T16" fmla="*/ 0 w 50"/>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26"/>
                <a:gd name="T29" fmla="*/ 50 w 50"/>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26">
                  <a:moveTo>
                    <a:pt x="50" y="2"/>
                  </a:moveTo>
                  <a:lnTo>
                    <a:pt x="45" y="0"/>
                  </a:lnTo>
                  <a:lnTo>
                    <a:pt x="27" y="2"/>
                  </a:lnTo>
                  <a:lnTo>
                    <a:pt x="23" y="10"/>
                  </a:lnTo>
                  <a:lnTo>
                    <a:pt x="12" y="18"/>
                  </a:lnTo>
                  <a:lnTo>
                    <a:pt x="0" y="22"/>
                  </a:lnTo>
                  <a:lnTo>
                    <a:pt x="1" y="26"/>
                  </a:lnTo>
                  <a:lnTo>
                    <a:pt x="27" y="19"/>
                  </a:lnTo>
                  <a:lnTo>
                    <a:pt x="50"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6" name="Freeform 150">
              <a:extLst>
                <a:ext uri="{FF2B5EF4-FFF2-40B4-BE49-F238E27FC236}">
                  <a16:creationId xmlns:a16="http://schemas.microsoft.com/office/drawing/2014/main" id="{D9F06405-E1DA-32FF-FA29-524BE6A60111}"/>
                </a:ext>
              </a:extLst>
            </p:cNvPr>
            <p:cNvSpPr>
              <a:spLocks noChangeAspect="1"/>
            </p:cNvSpPr>
            <p:nvPr userDrawn="1"/>
          </p:nvSpPr>
          <p:spPr bwMode="gray">
            <a:xfrm>
              <a:off x="7062556" y="2989014"/>
              <a:ext cx="561121" cy="548718"/>
            </a:xfrm>
            <a:custGeom>
              <a:avLst/>
              <a:gdLst>
                <a:gd name="T0" fmla="*/ 2147483647 w 1049"/>
                <a:gd name="T1" fmla="*/ 2147483647 h 961"/>
                <a:gd name="T2" fmla="*/ 2147483647 w 1049"/>
                <a:gd name="T3" fmla="*/ 2147483647 h 961"/>
                <a:gd name="T4" fmla="*/ 2147483647 w 1049"/>
                <a:gd name="T5" fmla="*/ 2147483647 h 961"/>
                <a:gd name="T6" fmla="*/ 2147483647 w 1049"/>
                <a:gd name="T7" fmla="*/ 2147483647 h 961"/>
                <a:gd name="T8" fmla="*/ 2147483647 w 1049"/>
                <a:gd name="T9" fmla="*/ 2147483647 h 961"/>
                <a:gd name="T10" fmla="*/ 2147483647 w 1049"/>
                <a:gd name="T11" fmla="*/ 2147483647 h 961"/>
                <a:gd name="T12" fmla="*/ 2147483647 w 1049"/>
                <a:gd name="T13" fmla="*/ 2147483647 h 961"/>
                <a:gd name="T14" fmla="*/ 2147483647 w 1049"/>
                <a:gd name="T15" fmla="*/ 2147483647 h 961"/>
                <a:gd name="T16" fmla="*/ 2147483647 w 1049"/>
                <a:gd name="T17" fmla="*/ 2147483647 h 961"/>
                <a:gd name="T18" fmla="*/ 2147483647 w 1049"/>
                <a:gd name="T19" fmla="*/ 2147483647 h 961"/>
                <a:gd name="T20" fmla="*/ 2147483647 w 1049"/>
                <a:gd name="T21" fmla="*/ 2147483647 h 961"/>
                <a:gd name="T22" fmla="*/ 2147483647 w 1049"/>
                <a:gd name="T23" fmla="*/ 2147483647 h 961"/>
                <a:gd name="T24" fmla="*/ 0 w 1049"/>
                <a:gd name="T25" fmla="*/ 2147483647 h 961"/>
                <a:gd name="T26" fmla="*/ 0 w 1049"/>
                <a:gd name="T27" fmla="*/ 2147483647 h 961"/>
                <a:gd name="T28" fmla="*/ 0 w 1049"/>
                <a:gd name="T29" fmla="*/ 2147483647 h 961"/>
                <a:gd name="T30" fmla="*/ 0 w 1049"/>
                <a:gd name="T31" fmla="*/ 2147483647 h 961"/>
                <a:gd name="T32" fmla="*/ 0 w 1049"/>
                <a:gd name="T33" fmla="*/ 2147483647 h 961"/>
                <a:gd name="T34" fmla="*/ 0 w 1049"/>
                <a:gd name="T35" fmla="*/ 2147483647 h 961"/>
                <a:gd name="T36" fmla="*/ 0 w 1049"/>
                <a:gd name="T37" fmla="*/ 2147483647 h 961"/>
                <a:gd name="T38" fmla="*/ 0 w 1049"/>
                <a:gd name="T39" fmla="*/ 2147483647 h 961"/>
                <a:gd name="T40" fmla="*/ 0 w 1049"/>
                <a:gd name="T41" fmla="*/ 2147483647 h 961"/>
                <a:gd name="T42" fmla="*/ 0 w 1049"/>
                <a:gd name="T43" fmla="*/ 2147483647 h 961"/>
                <a:gd name="T44" fmla="*/ 0 w 1049"/>
                <a:gd name="T45" fmla="*/ 0 h 961"/>
                <a:gd name="T46" fmla="*/ 0 w 1049"/>
                <a:gd name="T47" fmla="*/ 0 h 961"/>
                <a:gd name="T48" fmla="*/ 0 w 1049"/>
                <a:gd name="T49" fmla="*/ 0 h 961"/>
                <a:gd name="T50" fmla="*/ 0 w 1049"/>
                <a:gd name="T51" fmla="*/ 0 h 961"/>
                <a:gd name="T52" fmla="*/ 0 w 1049"/>
                <a:gd name="T53" fmla="*/ 0 h 961"/>
                <a:gd name="T54" fmla="*/ 0 w 1049"/>
                <a:gd name="T55" fmla="*/ 0 h 961"/>
                <a:gd name="T56" fmla="*/ 0 w 1049"/>
                <a:gd name="T57" fmla="*/ 0 h 961"/>
                <a:gd name="T58" fmla="*/ 0 w 1049"/>
                <a:gd name="T59" fmla="*/ 0 h 961"/>
                <a:gd name="T60" fmla="*/ 0 w 1049"/>
                <a:gd name="T61" fmla="*/ 0 h 961"/>
                <a:gd name="T62" fmla="*/ 0 w 1049"/>
                <a:gd name="T63" fmla="*/ 0 h 961"/>
                <a:gd name="T64" fmla="*/ 0 w 1049"/>
                <a:gd name="T65" fmla="*/ 0 h 961"/>
                <a:gd name="T66" fmla="*/ 2147483647 w 1049"/>
                <a:gd name="T67" fmla="*/ 0 h 961"/>
                <a:gd name="T68" fmla="*/ 2147483647 w 1049"/>
                <a:gd name="T69" fmla="*/ 0 h 961"/>
                <a:gd name="T70" fmla="*/ 2147483647 w 1049"/>
                <a:gd name="T71" fmla="*/ 0 h 961"/>
                <a:gd name="T72" fmla="*/ 2147483647 w 1049"/>
                <a:gd name="T73" fmla="*/ 0 h 961"/>
                <a:gd name="T74" fmla="*/ 2147483647 w 1049"/>
                <a:gd name="T75" fmla="*/ 0 h 961"/>
                <a:gd name="T76" fmla="*/ 2147483647 w 1049"/>
                <a:gd name="T77" fmla="*/ 0 h 961"/>
                <a:gd name="T78" fmla="*/ 2147483647 w 1049"/>
                <a:gd name="T79" fmla="*/ 0 h 961"/>
                <a:gd name="T80" fmla="*/ 2147483647 w 1049"/>
                <a:gd name="T81" fmla="*/ 0 h 961"/>
                <a:gd name="T82" fmla="*/ 2147483647 w 1049"/>
                <a:gd name="T83" fmla="*/ 0 h 961"/>
                <a:gd name="T84" fmla="*/ 2147483647 w 1049"/>
                <a:gd name="T85" fmla="*/ 2147483647 h 961"/>
                <a:gd name="T86" fmla="*/ 2147483647 w 1049"/>
                <a:gd name="T87" fmla="*/ 2147483647 h 961"/>
                <a:gd name="T88" fmla="*/ 2147483647 w 1049"/>
                <a:gd name="T89" fmla="*/ 2147483647 h 961"/>
                <a:gd name="T90" fmla="*/ 2147483647 w 1049"/>
                <a:gd name="T91" fmla="*/ 2147483647 h 961"/>
                <a:gd name="T92" fmla="*/ 2147483647 w 1049"/>
                <a:gd name="T93" fmla="*/ 2147483647 h 961"/>
                <a:gd name="T94" fmla="*/ 2147483647 w 1049"/>
                <a:gd name="T95" fmla="*/ 2147483647 h 961"/>
                <a:gd name="T96" fmla="*/ 2147483647 w 1049"/>
                <a:gd name="T97" fmla="*/ 2147483647 h 961"/>
                <a:gd name="T98" fmla="*/ 2147483647 w 1049"/>
                <a:gd name="T99" fmla="*/ 2147483647 h 961"/>
                <a:gd name="T100" fmla="*/ 2147483647 w 1049"/>
                <a:gd name="T101" fmla="*/ 2147483647 h 961"/>
                <a:gd name="T102" fmla="*/ 2147483647 w 1049"/>
                <a:gd name="T103" fmla="*/ 2147483647 h 9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49"/>
                <a:gd name="T157" fmla="*/ 0 h 961"/>
                <a:gd name="T158" fmla="*/ 1049 w 1049"/>
                <a:gd name="T159" fmla="*/ 961 h 9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7" name="Freeform 151">
              <a:extLst>
                <a:ext uri="{FF2B5EF4-FFF2-40B4-BE49-F238E27FC236}">
                  <a16:creationId xmlns:a16="http://schemas.microsoft.com/office/drawing/2014/main" id="{B34274A5-8FBC-99B7-910E-7F1CD1063CA0}"/>
                </a:ext>
              </a:extLst>
            </p:cNvPr>
            <p:cNvSpPr>
              <a:spLocks noChangeAspect="1"/>
            </p:cNvSpPr>
            <p:nvPr userDrawn="1"/>
          </p:nvSpPr>
          <p:spPr bwMode="gray">
            <a:xfrm>
              <a:off x="6905860" y="3085041"/>
              <a:ext cx="286530" cy="309415"/>
            </a:xfrm>
            <a:custGeom>
              <a:avLst/>
              <a:gdLst>
                <a:gd name="T0" fmla="*/ 2147483647 w 534"/>
                <a:gd name="T1" fmla="*/ 2147483647 h 548"/>
                <a:gd name="T2" fmla="*/ 2147483647 w 534"/>
                <a:gd name="T3" fmla="*/ 2147483647 h 548"/>
                <a:gd name="T4" fmla="*/ 2147483647 w 534"/>
                <a:gd name="T5" fmla="*/ 2147483647 h 548"/>
                <a:gd name="T6" fmla="*/ 2147483647 w 534"/>
                <a:gd name="T7" fmla="*/ 2147483647 h 548"/>
                <a:gd name="T8" fmla="*/ 2147483647 w 534"/>
                <a:gd name="T9" fmla="*/ 2147483647 h 548"/>
                <a:gd name="T10" fmla="*/ 2147483647 w 534"/>
                <a:gd name="T11" fmla="*/ 2147483647 h 548"/>
                <a:gd name="T12" fmla="*/ 2147483647 w 534"/>
                <a:gd name="T13" fmla="*/ 2147483647 h 548"/>
                <a:gd name="T14" fmla="*/ 2147483647 w 534"/>
                <a:gd name="T15" fmla="*/ 2147483647 h 548"/>
                <a:gd name="T16" fmla="*/ 2147483647 w 534"/>
                <a:gd name="T17" fmla="*/ 2147483647 h 548"/>
                <a:gd name="T18" fmla="*/ 2147483647 w 534"/>
                <a:gd name="T19" fmla="*/ 2147483647 h 548"/>
                <a:gd name="T20" fmla="*/ 2147483647 w 534"/>
                <a:gd name="T21" fmla="*/ 2147483647 h 548"/>
                <a:gd name="T22" fmla="*/ 0 w 534"/>
                <a:gd name="T23" fmla="*/ 2147483647 h 548"/>
                <a:gd name="T24" fmla="*/ 2147483647 w 534"/>
                <a:gd name="T25" fmla="*/ 2147483647 h 548"/>
                <a:gd name="T26" fmla="*/ 2147483647 w 534"/>
                <a:gd name="T27" fmla="*/ 2147483647 h 548"/>
                <a:gd name="T28" fmla="*/ 2147483647 w 534"/>
                <a:gd name="T29" fmla="*/ 2147483647 h 548"/>
                <a:gd name="T30" fmla="*/ 2147483647 w 534"/>
                <a:gd name="T31" fmla="*/ 2147483647 h 548"/>
                <a:gd name="T32" fmla="*/ 2147483647 w 534"/>
                <a:gd name="T33" fmla="*/ 0 h 548"/>
                <a:gd name="T34" fmla="*/ 2147483647 w 534"/>
                <a:gd name="T35" fmla="*/ 0 h 548"/>
                <a:gd name="T36" fmla="*/ 2147483647 w 534"/>
                <a:gd name="T37" fmla="*/ 0 h 548"/>
                <a:gd name="T38" fmla="*/ 2147483647 w 534"/>
                <a:gd name="T39" fmla="*/ 0 h 548"/>
                <a:gd name="T40" fmla="*/ 2147483647 w 534"/>
                <a:gd name="T41" fmla="*/ 0 h 548"/>
                <a:gd name="T42" fmla="*/ 2147483647 w 534"/>
                <a:gd name="T43" fmla="*/ 0 h 548"/>
                <a:gd name="T44" fmla="*/ 2147483647 w 534"/>
                <a:gd name="T45" fmla="*/ 0 h 548"/>
                <a:gd name="T46" fmla="*/ 2147483647 w 534"/>
                <a:gd name="T47" fmla="*/ 2147483647 h 548"/>
                <a:gd name="T48" fmla="*/ 2147483647 w 534"/>
                <a:gd name="T49" fmla="*/ 2147483647 h 548"/>
                <a:gd name="T50" fmla="*/ 2147483647 w 534"/>
                <a:gd name="T51" fmla="*/ 2147483647 h 548"/>
                <a:gd name="T52" fmla="*/ 2147483647 w 534"/>
                <a:gd name="T53" fmla="*/ 2147483647 h 548"/>
                <a:gd name="T54" fmla="*/ 2147483647 w 534"/>
                <a:gd name="T55" fmla="*/ 2147483647 h 548"/>
                <a:gd name="T56" fmla="*/ 2147483647 w 534"/>
                <a:gd name="T57" fmla="*/ 2147483647 h 548"/>
                <a:gd name="T58" fmla="*/ 2147483647 w 534"/>
                <a:gd name="T59" fmla="*/ 2147483647 h 548"/>
                <a:gd name="T60" fmla="*/ 2147483647 w 534"/>
                <a:gd name="T61" fmla="*/ 2147483647 h 548"/>
                <a:gd name="T62" fmla="*/ 2147483647 w 534"/>
                <a:gd name="T63" fmla="*/ 2147483647 h 548"/>
                <a:gd name="T64" fmla="*/ 2147483647 w 534"/>
                <a:gd name="T65" fmla="*/ 2147483647 h 548"/>
                <a:gd name="T66" fmla="*/ 2147483647 w 534"/>
                <a:gd name="T67" fmla="*/ 2147483647 h 548"/>
                <a:gd name="T68" fmla="*/ 2147483647 w 534"/>
                <a:gd name="T69" fmla="*/ 2147483647 h 548"/>
                <a:gd name="T70" fmla="*/ 2147483647 w 534"/>
                <a:gd name="T71" fmla="*/ 2147483647 h 548"/>
                <a:gd name="T72" fmla="*/ 2147483647 w 534"/>
                <a:gd name="T73" fmla="*/ 2147483647 h 548"/>
                <a:gd name="T74" fmla="*/ 2147483647 w 534"/>
                <a:gd name="T75" fmla="*/ 2147483647 h 548"/>
                <a:gd name="T76" fmla="*/ 2147483647 w 534"/>
                <a:gd name="T77" fmla="*/ 2147483647 h 548"/>
                <a:gd name="T78" fmla="*/ 2147483647 w 534"/>
                <a:gd name="T79" fmla="*/ 2147483647 h 548"/>
                <a:gd name="T80" fmla="*/ 2147483647 w 534"/>
                <a:gd name="T81" fmla="*/ 2147483647 h 548"/>
                <a:gd name="T82" fmla="*/ 2147483647 w 534"/>
                <a:gd name="T83" fmla="*/ 2147483647 h 548"/>
                <a:gd name="T84" fmla="*/ 2147483647 w 534"/>
                <a:gd name="T85" fmla="*/ 2147483647 h 5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34"/>
                <a:gd name="T130" fmla="*/ 0 h 548"/>
                <a:gd name="T131" fmla="*/ 534 w 534"/>
                <a:gd name="T132" fmla="*/ 548 h 5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8" name="Freeform 152">
              <a:extLst>
                <a:ext uri="{FF2B5EF4-FFF2-40B4-BE49-F238E27FC236}">
                  <a16:creationId xmlns:a16="http://schemas.microsoft.com/office/drawing/2014/main" id="{9E31D3BE-A9CF-B3A6-BAAA-31D13C4AC849}"/>
                </a:ext>
              </a:extLst>
            </p:cNvPr>
            <p:cNvSpPr>
              <a:spLocks noChangeAspect="1"/>
            </p:cNvSpPr>
            <p:nvPr userDrawn="1"/>
          </p:nvSpPr>
          <p:spPr bwMode="gray">
            <a:xfrm>
              <a:off x="7255068" y="3501152"/>
              <a:ext cx="25370" cy="54872"/>
            </a:xfrm>
            <a:custGeom>
              <a:avLst/>
              <a:gdLst>
                <a:gd name="T0" fmla="*/ 0 w 45"/>
                <a:gd name="T1" fmla="*/ 2147483647 h 98"/>
                <a:gd name="T2" fmla="*/ 0 w 45"/>
                <a:gd name="T3" fmla="*/ 2147483647 h 98"/>
                <a:gd name="T4" fmla="*/ 0 w 45"/>
                <a:gd name="T5" fmla="*/ 2147483647 h 98"/>
                <a:gd name="T6" fmla="*/ 0 w 45"/>
                <a:gd name="T7" fmla="*/ 2147483647 h 98"/>
                <a:gd name="T8" fmla="*/ 0 w 45"/>
                <a:gd name="T9" fmla="*/ 0 h 98"/>
                <a:gd name="T10" fmla="*/ 0 w 45"/>
                <a:gd name="T11" fmla="*/ 0 h 98"/>
                <a:gd name="T12" fmla="*/ 0 w 45"/>
                <a:gd name="T13" fmla="*/ 0 h 98"/>
                <a:gd name="T14" fmla="*/ 0 w 45"/>
                <a:gd name="T15" fmla="*/ 0 h 98"/>
                <a:gd name="T16" fmla="*/ 0 w 45"/>
                <a:gd name="T17" fmla="*/ 0 h 98"/>
                <a:gd name="T18" fmla="*/ 0 w 45"/>
                <a:gd name="T19" fmla="*/ 0 h 98"/>
                <a:gd name="T20" fmla="*/ 0 w 45"/>
                <a:gd name="T21" fmla="*/ 0 h 98"/>
                <a:gd name="T22" fmla="*/ 0 w 45"/>
                <a:gd name="T23" fmla="*/ 0 h 98"/>
                <a:gd name="T24" fmla="*/ 0 w 45"/>
                <a:gd name="T25" fmla="*/ 0 h 98"/>
                <a:gd name="T26" fmla="*/ 0 w 45"/>
                <a:gd name="T27" fmla="*/ 0 h 98"/>
                <a:gd name="T28" fmla="*/ 0 w 45"/>
                <a:gd name="T29" fmla="*/ 0 h 98"/>
                <a:gd name="T30" fmla="*/ 0 w 45"/>
                <a:gd name="T31" fmla="*/ 0 h 98"/>
                <a:gd name="T32" fmla="*/ 0 w 45"/>
                <a:gd name="T33" fmla="*/ 0 h 98"/>
                <a:gd name="T34" fmla="*/ 0 w 45"/>
                <a:gd name="T35" fmla="*/ 0 h 98"/>
                <a:gd name="T36" fmla="*/ 0 w 45"/>
                <a:gd name="T37" fmla="*/ 0 h 98"/>
                <a:gd name="T38" fmla="*/ 0 w 45"/>
                <a:gd name="T39" fmla="*/ 0 h 98"/>
                <a:gd name="T40" fmla="*/ 0 w 45"/>
                <a:gd name="T41" fmla="*/ 0 h 98"/>
                <a:gd name="T42" fmla="*/ 0 w 45"/>
                <a:gd name="T43" fmla="*/ 0 h 98"/>
                <a:gd name="T44" fmla="*/ 0 w 45"/>
                <a:gd name="T45" fmla="*/ 0 h 98"/>
                <a:gd name="T46" fmla="*/ 0 w 45"/>
                <a:gd name="T47" fmla="*/ 0 h 98"/>
                <a:gd name="T48" fmla="*/ 0 w 45"/>
                <a:gd name="T49" fmla="*/ 0 h 98"/>
                <a:gd name="T50" fmla="*/ 0 w 45"/>
                <a:gd name="T51" fmla="*/ 0 h 98"/>
                <a:gd name="T52" fmla="*/ 0 w 45"/>
                <a:gd name="T53" fmla="*/ 0 h 98"/>
                <a:gd name="T54" fmla="*/ 0 w 45"/>
                <a:gd name="T55" fmla="*/ 0 h 98"/>
                <a:gd name="T56" fmla="*/ 0 w 45"/>
                <a:gd name="T57" fmla="*/ 0 h 98"/>
                <a:gd name="T58" fmla="*/ 0 w 45"/>
                <a:gd name="T59" fmla="*/ 0 h 98"/>
                <a:gd name="T60" fmla="*/ 0 w 45"/>
                <a:gd name="T61" fmla="*/ 0 h 98"/>
                <a:gd name="T62" fmla="*/ 0 w 45"/>
                <a:gd name="T63" fmla="*/ 0 h 98"/>
                <a:gd name="T64" fmla="*/ 0 w 45"/>
                <a:gd name="T65" fmla="*/ 0 h 98"/>
                <a:gd name="T66" fmla="*/ 0 w 45"/>
                <a:gd name="T67" fmla="*/ 2147483647 h 98"/>
                <a:gd name="T68" fmla="*/ 0 w 45"/>
                <a:gd name="T69" fmla="*/ 2147483647 h 98"/>
                <a:gd name="T70" fmla="*/ 0 w 45"/>
                <a:gd name="T71" fmla="*/ 2147483647 h 98"/>
                <a:gd name="T72" fmla="*/ 0 w 45"/>
                <a:gd name="T73" fmla="*/ 2147483647 h 98"/>
                <a:gd name="T74" fmla="*/ 0 w 45"/>
                <a:gd name="T75" fmla="*/ 2147483647 h 9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
                <a:gd name="T115" fmla="*/ 0 h 98"/>
                <a:gd name="T116" fmla="*/ 45 w 45"/>
                <a:gd name="T117" fmla="*/ 98 h 9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49" name="Freeform 153">
              <a:extLst>
                <a:ext uri="{FF2B5EF4-FFF2-40B4-BE49-F238E27FC236}">
                  <a16:creationId xmlns:a16="http://schemas.microsoft.com/office/drawing/2014/main" id="{DAED77FC-619A-3219-670F-73398CD51AD9}"/>
                </a:ext>
              </a:extLst>
            </p:cNvPr>
            <p:cNvSpPr>
              <a:spLocks noChangeAspect="1"/>
            </p:cNvSpPr>
            <p:nvPr userDrawn="1"/>
          </p:nvSpPr>
          <p:spPr bwMode="gray">
            <a:xfrm>
              <a:off x="7264022" y="3502676"/>
              <a:ext cx="153712" cy="121938"/>
            </a:xfrm>
            <a:custGeom>
              <a:avLst/>
              <a:gdLst>
                <a:gd name="T0" fmla="*/ 2147483647 w 288"/>
                <a:gd name="T1" fmla="*/ 2147483647 h 215"/>
                <a:gd name="T2" fmla="*/ 0 w 288"/>
                <a:gd name="T3" fmla="*/ 2147483647 h 215"/>
                <a:gd name="T4" fmla="*/ 0 w 288"/>
                <a:gd name="T5" fmla="*/ 2147483647 h 215"/>
                <a:gd name="T6" fmla="*/ 0 w 288"/>
                <a:gd name="T7" fmla="*/ 2147483647 h 215"/>
                <a:gd name="T8" fmla="*/ 0 w 288"/>
                <a:gd name="T9" fmla="*/ 2147483647 h 215"/>
                <a:gd name="T10" fmla="*/ 0 w 288"/>
                <a:gd name="T11" fmla="*/ 2147483647 h 215"/>
                <a:gd name="T12" fmla="*/ 0 w 288"/>
                <a:gd name="T13" fmla="*/ 2147483647 h 215"/>
                <a:gd name="T14" fmla="*/ 0 w 288"/>
                <a:gd name="T15" fmla="*/ 2147483647 h 215"/>
                <a:gd name="T16" fmla="*/ 0 w 288"/>
                <a:gd name="T17" fmla="*/ 2147483647 h 215"/>
                <a:gd name="T18" fmla="*/ 2147483647 w 288"/>
                <a:gd name="T19" fmla="*/ 2147483647 h 215"/>
                <a:gd name="T20" fmla="*/ 2147483647 w 288"/>
                <a:gd name="T21" fmla="*/ 2147483647 h 215"/>
                <a:gd name="T22" fmla="*/ 2147483647 w 288"/>
                <a:gd name="T23" fmla="*/ 2147483647 h 215"/>
                <a:gd name="T24" fmla="*/ 2147483647 w 288"/>
                <a:gd name="T25" fmla="*/ 2147483647 h 215"/>
                <a:gd name="T26" fmla="*/ 2147483647 w 288"/>
                <a:gd name="T27" fmla="*/ 2147483647 h 215"/>
                <a:gd name="T28" fmla="*/ 2147483647 w 288"/>
                <a:gd name="T29" fmla="*/ 2147483647 h 215"/>
                <a:gd name="T30" fmla="*/ 2147483647 w 288"/>
                <a:gd name="T31" fmla="*/ 2147483647 h 215"/>
                <a:gd name="T32" fmla="*/ 2147483647 w 288"/>
                <a:gd name="T33" fmla="*/ 2147483647 h 215"/>
                <a:gd name="T34" fmla="*/ 2147483647 w 288"/>
                <a:gd name="T35" fmla="*/ 2147483647 h 215"/>
                <a:gd name="T36" fmla="*/ 2147483647 w 288"/>
                <a:gd name="T37" fmla="*/ 2147483647 h 215"/>
                <a:gd name="T38" fmla="*/ 2147483647 w 288"/>
                <a:gd name="T39" fmla="*/ 2147483647 h 215"/>
                <a:gd name="T40" fmla="*/ 2147483647 w 288"/>
                <a:gd name="T41" fmla="*/ 2147483647 h 215"/>
                <a:gd name="T42" fmla="*/ 2147483647 w 288"/>
                <a:gd name="T43" fmla="*/ 0 h 215"/>
                <a:gd name="T44" fmla="*/ 2147483647 w 288"/>
                <a:gd name="T45" fmla="*/ 0 h 215"/>
                <a:gd name="T46" fmla="*/ 2147483647 w 288"/>
                <a:gd name="T47" fmla="*/ 0 h 215"/>
                <a:gd name="T48" fmla="*/ 2147483647 w 288"/>
                <a:gd name="T49" fmla="*/ 0 h 215"/>
                <a:gd name="T50" fmla="*/ 2147483647 w 288"/>
                <a:gd name="T51" fmla="*/ 0 h 215"/>
                <a:gd name="T52" fmla="*/ 2147483647 w 288"/>
                <a:gd name="T53" fmla="*/ 0 h 215"/>
                <a:gd name="T54" fmla="*/ 2147483647 w 288"/>
                <a:gd name="T55" fmla="*/ 0 h 215"/>
                <a:gd name="T56" fmla="*/ 2147483647 w 288"/>
                <a:gd name="T57" fmla="*/ 0 h 215"/>
                <a:gd name="T58" fmla="*/ 2147483647 w 288"/>
                <a:gd name="T59" fmla="*/ 0 h 215"/>
                <a:gd name="T60" fmla="*/ 2147483647 w 288"/>
                <a:gd name="T61" fmla="*/ 0 h 215"/>
                <a:gd name="T62" fmla="*/ 2147483647 w 288"/>
                <a:gd name="T63" fmla="*/ 0 h 215"/>
                <a:gd name="T64" fmla="*/ 2147483647 w 288"/>
                <a:gd name="T65" fmla="*/ 0 h 215"/>
                <a:gd name="T66" fmla="*/ 2147483647 w 288"/>
                <a:gd name="T67" fmla="*/ 0 h 215"/>
                <a:gd name="T68" fmla="*/ 2147483647 w 288"/>
                <a:gd name="T69" fmla="*/ 0 h 215"/>
                <a:gd name="T70" fmla="*/ 2147483647 w 288"/>
                <a:gd name="T71" fmla="*/ 0 h 215"/>
                <a:gd name="T72" fmla="*/ 2147483647 w 288"/>
                <a:gd name="T73" fmla="*/ 2147483647 h 21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215"/>
                <a:gd name="T113" fmla="*/ 288 w 288"/>
                <a:gd name="T114" fmla="*/ 215 h 21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0" name="Freeform 155">
              <a:extLst>
                <a:ext uri="{FF2B5EF4-FFF2-40B4-BE49-F238E27FC236}">
                  <a16:creationId xmlns:a16="http://schemas.microsoft.com/office/drawing/2014/main" id="{268425F5-FB03-384F-F410-F632695F6BD6}"/>
                </a:ext>
              </a:extLst>
            </p:cNvPr>
            <p:cNvSpPr>
              <a:spLocks noChangeAspect="1"/>
            </p:cNvSpPr>
            <p:nvPr userDrawn="1"/>
          </p:nvSpPr>
          <p:spPr bwMode="gray">
            <a:xfrm>
              <a:off x="6538744" y="2897562"/>
              <a:ext cx="543212" cy="248448"/>
            </a:xfrm>
            <a:custGeom>
              <a:avLst/>
              <a:gdLst>
                <a:gd name="T0" fmla="*/ 2147483647 w 1022"/>
                <a:gd name="T1" fmla="*/ 2147483647 h 439"/>
                <a:gd name="T2" fmla="*/ 2147483647 w 1022"/>
                <a:gd name="T3" fmla="*/ 2147483647 h 439"/>
                <a:gd name="T4" fmla="*/ 2147483647 w 1022"/>
                <a:gd name="T5" fmla="*/ 2147483647 h 439"/>
                <a:gd name="T6" fmla="*/ 2147483647 w 1022"/>
                <a:gd name="T7" fmla="*/ 2147483647 h 439"/>
                <a:gd name="T8" fmla="*/ 2147483647 w 1022"/>
                <a:gd name="T9" fmla="*/ 2147483647 h 439"/>
                <a:gd name="T10" fmla="*/ 0 w 1022"/>
                <a:gd name="T11" fmla="*/ 2147483647 h 439"/>
                <a:gd name="T12" fmla="*/ 0 w 1022"/>
                <a:gd name="T13" fmla="*/ 2147483647 h 439"/>
                <a:gd name="T14" fmla="*/ 0 w 1022"/>
                <a:gd name="T15" fmla="*/ 2147483647 h 439"/>
                <a:gd name="T16" fmla="*/ 0 w 1022"/>
                <a:gd name="T17" fmla="*/ 2147483647 h 439"/>
                <a:gd name="T18" fmla="*/ 0 w 1022"/>
                <a:gd name="T19" fmla="*/ 2147483647 h 439"/>
                <a:gd name="T20" fmla="*/ 0 w 1022"/>
                <a:gd name="T21" fmla="*/ 2147483647 h 439"/>
                <a:gd name="T22" fmla="*/ 0 w 1022"/>
                <a:gd name="T23" fmla="*/ 2147483647 h 439"/>
                <a:gd name="T24" fmla="*/ 0 w 1022"/>
                <a:gd name="T25" fmla="*/ 2147483647 h 439"/>
                <a:gd name="T26" fmla="*/ 0 w 1022"/>
                <a:gd name="T27" fmla="*/ 2147483647 h 439"/>
                <a:gd name="T28" fmla="*/ 0 w 1022"/>
                <a:gd name="T29" fmla="*/ 2147483647 h 439"/>
                <a:gd name="T30" fmla="*/ 0 w 1022"/>
                <a:gd name="T31" fmla="*/ 2147483647 h 439"/>
                <a:gd name="T32" fmla="*/ 0 w 1022"/>
                <a:gd name="T33" fmla="*/ 0 h 439"/>
                <a:gd name="T34" fmla="*/ 0 w 1022"/>
                <a:gd name="T35" fmla="*/ 0 h 439"/>
                <a:gd name="T36" fmla="*/ 0 w 1022"/>
                <a:gd name="T37" fmla="*/ 0 h 439"/>
                <a:gd name="T38" fmla="*/ 0 w 1022"/>
                <a:gd name="T39" fmla="*/ 0 h 439"/>
                <a:gd name="T40" fmla="*/ 0 w 1022"/>
                <a:gd name="T41" fmla="*/ 0 h 439"/>
                <a:gd name="T42" fmla="*/ 0 w 1022"/>
                <a:gd name="T43" fmla="*/ 0 h 439"/>
                <a:gd name="T44" fmla="*/ 0 w 1022"/>
                <a:gd name="T45" fmla="*/ 0 h 439"/>
                <a:gd name="T46" fmla="*/ 0 w 1022"/>
                <a:gd name="T47" fmla="*/ 0 h 439"/>
                <a:gd name="T48" fmla="*/ 0 w 1022"/>
                <a:gd name="T49" fmla="*/ 0 h 439"/>
                <a:gd name="T50" fmla="*/ 0 w 1022"/>
                <a:gd name="T51" fmla="*/ 0 h 439"/>
                <a:gd name="T52" fmla="*/ 0 w 1022"/>
                <a:gd name="T53" fmla="*/ 0 h 439"/>
                <a:gd name="T54" fmla="*/ 0 w 1022"/>
                <a:gd name="T55" fmla="*/ 0 h 439"/>
                <a:gd name="T56" fmla="*/ 0 w 1022"/>
                <a:gd name="T57" fmla="*/ 0 h 439"/>
                <a:gd name="T58" fmla="*/ 0 w 1022"/>
                <a:gd name="T59" fmla="*/ 0 h 439"/>
                <a:gd name="T60" fmla="*/ 0 w 1022"/>
                <a:gd name="T61" fmla="*/ 0 h 439"/>
                <a:gd name="T62" fmla="*/ 2147483647 w 1022"/>
                <a:gd name="T63" fmla="*/ 0 h 439"/>
                <a:gd name="T64" fmla="*/ 2147483647 w 1022"/>
                <a:gd name="T65" fmla="*/ 0 h 439"/>
                <a:gd name="T66" fmla="*/ 2147483647 w 1022"/>
                <a:gd name="T67" fmla="*/ 0 h 439"/>
                <a:gd name="T68" fmla="*/ 2147483647 w 1022"/>
                <a:gd name="T69" fmla="*/ 0 h 439"/>
                <a:gd name="T70" fmla="*/ 2147483647 w 1022"/>
                <a:gd name="T71" fmla="*/ 0 h 439"/>
                <a:gd name="T72" fmla="*/ 2147483647 w 1022"/>
                <a:gd name="T73" fmla="*/ 0 h 439"/>
                <a:gd name="T74" fmla="*/ 2147483647 w 1022"/>
                <a:gd name="T75" fmla="*/ 0 h 439"/>
                <a:gd name="T76" fmla="*/ 2147483647 w 1022"/>
                <a:gd name="T77" fmla="*/ 0 h 439"/>
                <a:gd name="T78" fmla="*/ 2147483647 w 1022"/>
                <a:gd name="T79" fmla="*/ 0 h 439"/>
                <a:gd name="T80" fmla="*/ 2147483647 w 1022"/>
                <a:gd name="T81" fmla="*/ 0 h 439"/>
                <a:gd name="T82" fmla="*/ 2147483647 w 1022"/>
                <a:gd name="T83" fmla="*/ 0 h 439"/>
                <a:gd name="T84" fmla="*/ 2147483647 w 1022"/>
                <a:gd name="T85" fmla="*/ 0 h 439"/>
                <a:gd name="T86" fmla="*/ 2147483647 w 1022"/>
                <a:gd name="T87" fmla="*/ 0 h 439"/>
                <a:gd name="T88" fmla="*/ 2147483647 w 1022"/>
                <a:gd name="T89" fmla="*/ 2147483647 h 439"/>
                <a:gd name="T90" fmla="*/ 2147483647 w 1022"/>
                <a:gd name="T91" fmla="*/ 2147483647 h 439"/>
                <a:gd name="T92" fmla="*/ 2147483647 w 1022"/>
                <a:gd name="T93" fmla="*/ 2147483647 h 439"/>
                <a:gd name="T94" fmla="*/ 2147483647 w 1022"/>
                <a:gd name="T95" fmla="*/ 2147483647 h 439"/>
                <a:gd name="T96" fmla="*/ 2147483647 w 1022"/>
                <a:gd name="T97" fmla="*/ 2147483647 h 439"/>
                <a:gd name="T98" fmla="*/ 2147483647 w 1022"/>
                <a:gd name="T99" fmla="*/ 2147483647 h 439"/>
                <a:gd name="T100" fmla="*/ 2147483647 w 1022"/>
                <a:gd name="T101" fmla="*/ 2147483647 h 439"/>
                <a:gd name="T102" fmla="*/ 2147483647 w 1022"/>
                <a:gd name="T103" fmla="*/ 2147483647 h 439"/>
                <a:gd name="T104" fmla="*/ 2147483647 w 1022"/>
                <a:gd name="T105" fmla="*/ 2147483647 h 439"/>
                <a:gd name="T106" fmla="*/ 2147483647 w 1022"/>
                <a:gd name="T107" fmla="*/ 2147483647 h 439"/>
                <a:gd name="T108" fmla="*/ 2147483647 w 1022"/>
                <a:gd name="T109" fmla="*/ 2147483647 h 439"/>
                <a:gd name="T110" fmla="*/ 2147483647 w 1022"/>
                <a:gd name="T111" fmla="*/ 2147483647 h 4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22"/>
                <a:gd name="T169" fmla="*/ 0 h 439"/>
                <a:gd name="T170" fmla="*/ 1022 w 1022"/>
                <a:gd name="T171" fmla="*/ 439 h 4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1" name="Freeform 156">
              <a:extLst>
                <a:ext uri="{FF2B5EF4-FFF2-40B4-BE49-F238E27FC236}">
                  <a16:creationId xmlns:a16="http://schemas.microsoft.com/office/drawing/2014/main" id="{A65A3930-D5E1-A768-2AF5-BF7349577AD8}"/>
                </a:ext>
              </a:extLst>
            </p:cNvPr>
            <p:cNvSpPr>
              <a:spLocks noChangeAspect="1"/>
            </p:cNvSpPr>
            <p:nvPr userDrawn="1"/>
          </p:nvSpPr>
          <p:spPr bwMode="gray">
            <a:xfrm>
              <a:off x="6534267" y="2899086"/>
              <a:ext cx="88048" cy="80783"/>
            </a:xfrm>
            <a:custGeom>
              <a:avLst/>
              <a:gdLst>
                <a:gd name="T0" fmla="*/ 0 w 166"/>
                <a:gd name="T1" fmla="*/ 0 h 140"/>
                <a:gd name="T2" fmla="*/ 0 w 166"/>
                <a:gd name="T3" fmla="*/ 0 h 140"/>
                <a:gd name="T4" fmla="*/ 0 w 166"/>
                <a:gd name="T5" fmla="*/ 0 h 140"/>
                <a:gd name="T6" fmla="*/ 0 w 166"/>
                <a:gd name="T7" fmla="*/ 0 h 140"/>
                <a:gd name="T8" fmla="*/ 0 w 166"/>
                <a:gd name="T9" fmla="*/ 0 h 140"/>
                <a:gd name="T10" fmla="*/ 0 w 166"/>
                <a:gd name="T11" fmla="*/ 0 h 140"/>
                <a:gd name="T12" fmla="*/ 0 w 166"/>
                <a:gd name="T13" fmla="*/ 0 h 140"/>
                <a:gd name="T14" fmla="*/ 0 w 166"/>
                <a:gd name="T15" fmla="*/ 0 h 140"/>
                <a:gd name="T16" fmla="*/ 0 w 166"/>
                <a:gd name="T17" fmla="*/ 0 h 140"/>
                <a:gd name="T18" fmla="*/ 0 w 166"/>
                <a:gd name="T19" fmla="*/ 0 h 140"/>
                <a:gd name="T20" fmla="*/ 0 w 166"/>
                <a:gd name="T21" fmla="*/ 0 h 140"/>
                <a:gd name="T22" fmla="*/ 0 w 166"/>
                <a:gd name="T23" fmla="*/ 0 h 140"/>
                <a:gd name="T24" fmla="*/ 0 w 166"/>
                <a:gd name="T25" fmla="*/ 0 h 140"/>
                <a:gd name="T26" fmla="*/ 0 w 166"/>
                <a:gd name="T27" fmla="*/ 0 h 140"/>
                <a:gd name="T28" fmla="*/ 0 w 166"/>
                <a:gd name="T29" fmla="*/ 0 h 140"/>
                <a:gd name="T30" fmla="*/ 0 w 166"/>
                <a:gd name="T31" fmla="*/ 0 h 140"/>
                <a:gd name="T32" fmla="*/ 0 w 166"/>
                <a:gd name="T33" fmla="*/ 0 h 140"/>
                <a:gd name="T34" fmla="*/ 0 w 166"/>
                <a:gd name="T35" fmla="*/ 0 h 140"/>
                <a:gd name="T36" fmla="*/ 0 w 166"/>
                <a:gd name="T37" fmla="*/ 0 h 140"/>
                <a:gd name="T38" fmla="*/ 0 w 166"/>
                <a:gd name="T39" fmla="*/ 0 h 140"/>
                <a:gd name="T40" fmla="*/ 0 w 166"/>
                <a:gd name="T41" fmla="*/ 0 h 140"/>
                <a:gd name="T42" fmla="*/ 0 w 166"/>
                <a:gd name="T43" fmla="*/ 0 h 140"/>
                <a:gd name="T44" fmla="*/ 0 w 166"/>
                <a:gd name="T45" fmla="*/ 0 h 140"/>
                <a:gd name="T46" fmla="*/ 0 w 166"/>
                <a:gd name="T47" fmla="*/ 0 h 140"/>
                <a:gd name="T48" fmla="*/ 0 w 166"/>
                <a:gd name="T49" fmla="*/ 0 h 140"/>
                <a:gd name="T50" fmla="*/ 0 w 166"/>
                <a:gd name="T51" fmla="*/ 0 h 140"/>
                <a:gd name="T52" fmla="*/ 0 w 166"/>
                <a:gd name="T53" fmla="*/ 0 h 140"/>
                <a:gd name="T54" fmla="*/ 0 w 166"/>
                <a:gd name="T55" fmla="*/ 0 h 140"/>
                <a:gd name="T56" fmla="*/ 0 w 166"/>
                <a:gd name="T57" fmla="*/ 0 h 140"/>
                <a:gd name="T58" fmla="*/ 0 w 166"/>
                <a:gd name="T59" fmla="*/ 0 h 140"/>
                <a:gd name="T60" fmla="*/ 0 w 166"/>
                <a:gd name="T61" fmla="*/ 0 h 140"/>
                <a:gd name="T62" fmla="*/ 0 w 166"/>
                <a:gd name="T63" fmla="*/ 0 h 140"/>
                <a:gd name="T64" fmla="*/ 0 w 166"/>
                <a:gd name="T65" fmla="*/ 0 h 140"/>
                <a:gd name="T66" fmla="*/ 0 w 166"/>
                <a:gd name="T67" fmla="*/ 0 h 140"/>
                <a:gd name="T68" fmla="*/ 0 w 166"/>
                <a:gd name="T69" fmla="*/ 0 h 140"/>
                <a:gd name="T70" fmla="*/ 0 w 166"/>
                <a:gd name="T71" fmla="*/ 0 h 140"/>
                <a:gd name="T72" fmla="*/ 0 w 166"/>
                <a:gd name="T73" fmla="*/ 0 h 140"/>
                <a:gd name="T74" fmla="*/ 0 w 166"/>
                <a:gd name="T75" fmla="*/ 0 h 140"/>
                <a:gd name="T76" fmla="*/ 0 w 166"/>
                <a:gd name="T77" fmla="*/ 0 h 140"/>
                <a:gd name="T78" fmla="*/ 0 w 166"/>
                <a:gd name="T79" fmla="*/ 0 h 140"/>
                <a:gd name="T80" fmla="*/ 0 w 166"/>
                <a:gd name="T81" fmla="*/ 0 h 140"/>
                <a:gd name="T82" fmla="*/ 0 w 166"/>
                <a:gd name="T83" fmla="*/ 0 h 140"/>
                <a:gd name="T84" fmla="*/ 0 w 166"/>
                <a:gd name="T85" fmla="*/ 0 h 1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6"/>
                <a:gd name="T130" fmla="*/ 0 h 140"/>
                <a:gd name="T131" fmla="*/ 166 w 166"/>
                <a:gd name="T132" fmla="*/ 140 h 1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2" name="Freeform 157">
              <a:extLst>
                <a:ext uri="{FF2B5EF4-FFF2-40B4-BE49-F238E27FC236}">
                  <a16:creationId xmlns:a16="http://schemas.microsoft.com/office/drawing/2014/main" id="{ABD19BE2-2844-9B0A-722E-BF21E00A8F18}"/>
                </a:ext>
              </a:extLst>
            </p:cNvPr>
            <p:cNvSpPr>
              <a:spLocks noChangeAspect="1"/>
            </p:cNvSpPr>
            <p:nvPr userDrawn="1"/>
          </p:nvSpPr>
          <p:spPr bwMode="gray">
            <a:xfrm>
              <a:off x="6792442" y="3242035"/>
              <a:ext cx="123865" cy="152422"/>
            </a:xfrm>
            <a:custGeom>
              <a:avLst/>
              <a:gdLst>
                <a:gd name="T0" fmla="*/ 2147483647 w 231"/>
                <a:gd name="T1" fmla="*/ 2147483647 h 269"/>
                <a:gd name="T2" fmla="*/ 2147483647 w 231"/>
                <a:gd name="T3" fmla="*/ 0 h 269"/>
                <a:gd name="T4" fmla="*/ 2147483647 w 231"/>
                <a:gd name="T5" fmla="*/ 0 h 269"/>
                <a:gd name="T6" fmla="*/ 2147483647 w 231"/>
                <a:gd name="T7" fmla="*/ 0 h 269"/>
                <a:gd name="T8" fmla="*/ 2147483647 w 231"/>
                <a:gd name="T9" fmla="*/ 0 h 269"/>
                <a:gd name="T10" fmla="*/ 2147483647 w 231"/>
                <a:gd name="T11" fmla="*/ 0 h 269"/>
                <a:gd name="T12" fmla="*/ 2147483647 w 231"/>
                <a:gd name="T13" fmla="*/ 0 h 269"/>
                <a:gd name="T14" fmla="*/ 2147483647 w 231"/>
                <a:gd name="T15" fmla="*/ 0 h 269"/>
                <a:gd name="T16" fmla="*/ 2147483647 w 231"/>
                <a:gd name="T17" fmla="*/ 0 h 269"/>
                <a:gd name="T18" fmla="*/ 2147483647 w 231"/>
                <a:gd name="T19" fmla="*/ 0 h 269"/>
                <a:gd name="T20" fmla="*/ 2147483647 w 231"/>
                <a:gd name="T21" fmla="*/ 0 h 269"/>
                <a:gd name="T22" fmla="*/ 2147483647 w 231"/>
                <a:gd name="T23" fmla="*/ 0 h 269"/>
                <a:gd name="T24" fmla="*/ 0 w 231"/>
                <a:gd name="T25" fmla="*/ 0 h 269"/>
                <a:gd name="T26" fmla="*/ 0 w 231"/>
                <a:gd name="T27" fmla="*/ 0 h 269"/>
                <a:gd name="T28" fmla="*/ 0 w 231"/>
                <a:gd name="T29" fmla="*/ 0 h 269"/>
                <a:gd name="T30" fmla="*/ 0 w 231"/>
                <a:gd name="T31" fmla="*/ 0 h 269"/>
                <a:gd name="T32" fmla="*/ 0 w 231"/>
                <a:gd name="T33" fmla="*/ 0 h 269"/>
                <a:gd name="T34" fmla="*/ 0 w 231"/>
                <a:gd name="T35" fmla="*/ 2147483647 h 269"/>
                <a:gd name="T36" fmla="*/ 0 w 231"/>
                <a:gd name="T37" fmla="*/ 2147483647 h 269"/>
                <a:gd name="T38" fmla="*/ 0 w 231"/>
                <a:gd name="T39" fmla="*/ 2147483647 h 269"/>
                <a:gd name="T40" fmla="*/ 0 w 231"/>
                <a:gd name="T41" fmla="*/ 2147483647 h 269"/>
                <a:gd name="T42" fmla="*/ 0 w 231"/>
                <a:gd name="T43" fmla="*/ 2147483647 h 269"/>
                <a:gd name="T44" fmla="*/ 0 w 231"/>
                <a:gd name="T45" fmla="*/ 2147483647 h 269"/>
                <a:gd name="T46" fmla="*/ 0 w 231"/>
                <a:gd name="T47" fmla="*/ 2147483647 h 269"/>
                <a:gd name="T48" fmla="*/ 0 w 231"/>
                <a:gd name="T49" fmla="*/ 2147483647 h 269"/>
                <a:gd name="T50" fmla="*/ 0 w 231"/>
                <a:gd name="T51" fmla="*/ 2147483647 h 269"/>
                <a:gd name="T52" fmla="*/ 0 w 231"/>
                <a:gd name="T53" fmla="*/ 2147483647 h 269"/>
                <a:gd name="T54" fmla="*/ 0 w 231"/>
                <a:gd name="T55" fmla="*/ 2147483647 h 269"/>
                <a:gd name="T56" fmla="*/ 0 w 231"/>
                <a:gd name="T57" fmla="*/ 2147483647 h 269"/>
                <a:gd name="T58" fmla="*/ 0 w 231"/>
                <a:gd name="T59" fmla="*/ 2147483647 h 269"/>
                <a:gd name="T60" fmla="*/ 0 w 231"/>
                <a:gd name="T61" fmla="*/ 2147483647 h 269"/>
                <a:gd name="T62" fmla="*/ 0 w 231"/>
                <a:gd name="T63" fmla="*/ 2147483647 h 269"/>
                <a:gd name="T64" fmla="*/ 0 w 231"/>
                <a:gd name="T65" fmla="*/ 2147483647 h 269"/>
                <a:gd name="T66" fmla="*/ 2147483647 w 231"/>
                <a:gd name="T67" fmla="*/ 2147483647 h 269"/>
                <a:gd name="T68" fmla="*/ 2147483647 w 231"/>
                <a:gd name="T69" fmla="*/ 2147483647 h 269"/>
                <a:gd name="T70" fmla="*/ 2147483647 w 231"/>
                <a:gd name="T71" fmla="*/ 2147483647 h 269"/>
                <a:gd name="T72" fmla="*/ 2147483647 w 231"/>
                <a:gd name="T73" fmla="*/ 2147483647 h 269"/>
                <a:gd name="T74" fmla="*/ 2147483647 w 231"/>
                <a:gd name="T75" fmla="*/ 2147483647 h 269"/>
                <a:gd name="T76" fmla="*/ 2147483647 w 231"/>
                <a:gd name="T77" fmla="*/ 2147483647 h 269"/>
                <a:gd name="T78" fmla="*/ 2147483647 w 231"/>
                <a:gd name="T79" fmla="*/ 2147483647 h 269"/>
                <a:gd name="T80" fmla="*/ 2147483647 w 231"/>
                <a:gd name="T81" fmla="*/ 2147483647 h 269"/>
                <a:gd name="T82" fmla="*/ 2147483647 w 231"/>
                <a:gd name="T83" fmla="*/ 2147483647 h 269"/>
                <a:gd name="T84" fmla="*/ 2147483647 w 231"/>
                <a:gd name="T85" fmla="*/ 2147483647 h 269"/>
                <a:gd name="T86" fmla="*/ 2147483647 w 231"/>
                <a:gd name="T87" fmla="*/ 2147483647 h 269"/>
                <a:gd name="T88" fmla="*/ 2147483647 w 231"/>
                <a:gd name="T89" fmla="*/ 2147483647 h 269"/>
                <a:gd name="T90" fmla="*/ 2147483647 w 231"/>
                <a:gd name="T91" fmla="*/ 2147483647 h 2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1"/>
                <a:gd name="T139" fmla="*/ 0 h 269"/>
                <a:gd name="T140" fmla="*/ 231 w 231"/>
                <a:gd name="T141" fmla="*/ 269 h 2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3" name="Freeform 158">
              <a:extLst>
                <a:ext uri="{FF2B5EF4-FFF2-40B4-BE49-F238E27FC236}">
                  <a16:creationId xmlns:a16="http://schemas.microsoft.com/office/drawing/2014/main" id="{7420B709-AE2A-19E7-E46A-F7783608E90E}"/>
                </a:ext>
              </a:extLst>
            </p:cNvPr>
            <p:cNvSpPr>
              <a:spLocks noChangeAspect="1"/>
            </p:cNvSpPr>
            <p:nvPr userDrawn="1"/>
          </p:nvSpPr>
          <p:spPr bwMode="gray">
            <a:xfrm>
              <a:off x="6808858" y="3089613"/>
              <a:ext cx="207435" cy="190528"/>
            </a:xfrm>
            <a:custGeom>
              <a:avLst/>
              <a:gdLst>
                <a:gd name="T0" fmla="*/ 2147483647 w 387"/>
                <a:gd name="T1" fmla="*/ 2147483647 h 337"/>
                <a:gd name="T2" fmla="*/ 2147483647 w 387"/>
                <a:gd name="T3" fmla="*/ 2147483647 h 337"/>
                <a:gd name="T4" fmla="*/ 2147483647 w 387"/>
                <a:gd name="T5" fmla="*/ 2147483647 h 337"/>
                <a:gd name="T6" fmla="*/ 2147483647 w 387"/>
                <a:gd name="T7" fmla="*/ 0 h 337"/>
                <a:gd name="T8" fmla="*/ 2147483647 w 387"/>
                <a:gd name="T9" fmla="*/ 0 h 337"/>
                <a:gd name="T10" fmla="*/ 2147483647 w 387"/>
                <a:gd name="T11" fmla="*/ 0 h 337"/>
                <a:gd name="T12" fmla="*/ 2147483647 w 387"/>
                <a:gd name="T13" fmla="*/ 0 h 337"/>
                <a:gd name="T14" fmla="*/ 2147483647 w 387"/>
                <a:gd name="T15" fmla="*/ 0 h 337"/>
                <a:gd name="T16" fmla="*/ 2147483647 w 387"/>
                <a:gd name="T17" fmla="*/ 0 h 337"/>
                <a:gd name="T18" fmla="*/ 2147483647 w 387"/>
                <a:gd name="T19" fmla="*/ 0 h 337"/>
                <a:gd name="T20" fmla="*/ 2147483647 w 387"/>
                <a:gd name="T21" fmla="*/ 0 h 337"/>
                <a:gd name="T22" fmla="*/ 2147483647 w 387"/>
                <a:gd name="T23" fmla="*/ 0 h 337"/>
                <a:gd name="T24" fmla="*/ 2147483647 w 387"/>
                <a:gd name="T25" fmla="*/ 0 h 337"/>
                <a:gd name="T26" fmla="*/ 2147483647 w 387"/>
                <a:gd name="T27" fmla="*/ 0 h 337"/>
                <a:gd name="T28" fmla="*/ 2147483647 w 387"/>
                <a:gd name="T29" fmla="*/ 0 h 337"/>
                <a:gd name="T30" fmla="*/ 2147483647 w 387"/>
                <a:gd name="T31" fmla="*/ 0 h 337"/>
                <a:gd name="T32" fmla="*/ 2147483647 w 387"/>
                <a:gd name="T33" fmla="*/ 0 h 337"/>
                <a:gd name="T34" fmla="*/ 2147483647 w 387"/>
                <a:gd name="T35" fmla="*/ 0 h 337"/>
                <a:gd name="T36" fmla="*/ 2147483647 w 387"/>
                <a:gd name="T37" fmla="*/ 2147483647 h 337"/>
                <a:gd name="T38" fmla="*/ 0 w 387"/>
                <a:gd name="T39" fmla="*/ 2147483647 h 337"/>
                <a:gd name="T40" fmla="*/ 0 w 387"/>
                <a:gd name="T41" fmla="*/ 2147483647 h 337"/>
                <a:gd name="T42" fmla="*/ 0 w 387"/>
                <a:gd name="T43" fmla="*/ 2147483647 h 337"/>
                <a:gd name="T44" fmla="*/ 0 w 387"/>
                <a:gd name="T45" fmla="*/ 2147483647 h 337"/>
                <a:gd name="T46" fmla="*/ 2147483647 w 387"/>
                <a:gd name="T47" fmla="*/ 2147483647 h 337"/>
                <a:gd name="T48" fmla="*/ 2147483647 w 387"/>
                <a:gd name="T49" fmla="*/ 2147483647 h 337"/>
                <a:gd name="T50" fmla="*/ 2147483647 w 387"/>
                <a:gd name="T51" fmla="*/ 2147483647 h 337"/>
                <a:gd name="T52" fmla="*/ 2147483647 w 387"/>
                <a:gd name="T53" fmla="*/ 2147483647 h 337"/>
                <a:gd name="T54" fmla="*/ 2147483647 w 387"/>
                <a:gd name="T55" fmla="*/ 2147483647 h 337"/>
                <a:gd name="T56" fmla="*/ 2147483647 w 387"/>
                <a:gd name="T57" fmla="*/ 2147483647 h 337"/>
                <a:gd name="T58" fmla="*/ 2147483647 w 387"/>
                <a:gd name="T59" fmla="*/ 2147483647 h 337"/>
                <a:gd name="T60" fmla="*/ 2147483647 w 387"/>
                <a:gd name="T61" fmla="*/ 2147483647 h 337"/>
                <a:gd name="T62" fmla="*/ 0 w 387"/>
                <a:gd name="T63" fmla="*/ 2147483647 h 337"/>
                <a:gd name="T64" fmla="*/ 2147483647 w 387"/>
                <a:gd name="T65" fmla="*/ 2147483647 h 337"/>
                <a:gd name="T66" fmla="*/ 0 w 387"/>
                <a:gd name="T67" fmla="*/ 2147483647 h 337"/>
                <a:gd name="T68" fmla="*/ 0 w 387"/>
                <a:gd name="T69" fmla="*/ 2147483647 h 337"/>
                <a:gd name="T70" fmla="*/ 0 w 387"/>
                <a:gd name="T71" fmla="*/ 2147483647 h 337"/>
                <a:gd name="T72" fmla="*/ 0 w 387"/>
                <a:gd name="T73" fmla="*/ 2147483647 h 337"/>
                <a:gd name="T74" fmla="*/ 0 w 387"/>
                <a:gd name="T75" fmla="*/ 2147483647 h 337"/>
                <a:gd name="T76" fmla="*/ 0 w 387"/>
                <a:gd name="T77" fmla="*/ 2147483647 h 337"/>
                <a:gd name="T78" fmla="*/ 0 w 387"/>
                <a:gd name="T79" fmla="*/ 2147483647 h 337"/>
                <a:gd name="T80" fmla="*/ 0 w 387"/>
                <a:gd name="T81" fmla="*/ 2147483647 h 337"/>
                <a:gd name="T82" fmla="*/ 0 w 387"/>
                <a:gd name="T83" fmla="*/ 2147483647 h 337"/>
                <a:gd name="T84" fmla="*/ 2147483647 w 387"/>
                <a:gd name="T85" fmla="*/ 2147483647 h 3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7"/>
                <a:gd name="T130" fmla="*/ 0 h 337"/>
                <a:gd name="T131" fmla="*/ 387 w 387"/>
                <a:gd name="T132" fmla="*/ 337 h 3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0" y="237"/>
                  </a:lnTo>
                  <a:lnTo>
                    <a:pt x="45" y="236"/>
                  </a:lnTo>
                  <a:lnTo>
                    <a:pt x="32" y="237"/>
                  </a:lnTo>
                  <a:lnTo>
                    <a:pt x="31" y="242"/>
                  </a:lnTo>
                  <a:lnTo>
                    <a:pt x="28" y="243"/>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4" name="Freeform 159">
              <a:extLst>
                <a:ext uri="{FF2B5EF4-FFF2-40B4-BE49-F238E27FC236}">
                  <a16:creationId xmlns:a16="http://schemas.microsoft.com/office/drawing/2014/main" id="{5F86A189-0D2D-A93D-ABAD-6DB106C26F5C}"/>
                </a:ext>
              </a:extLst>
            </p:cNvPr>
            <p:cNvSpPr>
              <a:spLocks noChangeAspect="1"/>
            </p:cNvSpPr>
            <p:nvPr userDrawn="1"/>
          </p:nvSpPr>
          <p:spPr bwMode="gray">
            <a:xfrm>
              <a:off x="6717825" y="3152107"/>
              <a:ext cx="68648" cy="42678"/>
            </a:xfrm>
            <a:custGeom>
              <a:avLst/>
              <a:gdLst>
                <a:gd name="T0" fmla="*/ 2147483647 w 126"/>
                <a:gd name="T1" fmla="*/ 0 h 75"/>
                <a:gd name="T2" fmla="*/ 2147483647 w 126"/>
                <a:gd name="T3" fmla="*/ 0 h 75"/>
                <a:gd name="T4" fmla="*/ 2147483647 w 126"/>
                <a:gd name="T5" fmla="*/ 0 h 75"/>
                <a:gd name="T6" fmla="*/ 2147483647 w 126"/>
                <a:gd name="T7" fmla="*/ 0 h 75"/>
                <a:gd name="T8" fmla="*/ 2147483647 w 126"/>
                <a:gd name="T9" fmla="*/ 0 h 75"/>
                <a:gd name="T10" fmla="*/ 2147483647 w 126"/>
                <a:gd name="T11" fmla="*/ 0 h 75"/>
                <a:gd name="T12" fmla="*/ 2147483647 w 126"/>
                <a:gd name="T13" fmla="*/ 0 h 75"/>
                <a:gd name="T14" fmla="*/ 2147483647 w 126"/>
                <a:gd name="T15" fmla="*/ 0 h 75"/>
                <a:gd name="T16" fmla="*/ 2147483647 w 126"/>
                <a:gd name="T17" fmla="*/ 0 h 75"/>
                <a:gd name="T18" fmla="*/ 2147483647 w 126"/>
                <a:gd name="T19" fmla="*/ 0 h 75"/>
                <a:gd name="T20" fmla="*/ 2147483647 w 126"/>
                <a:gd name="T21" fmla="*/ 0 h 75"/>
                <a:gd name="T22" fmla="*/ 2147483647 w 126"/>
                <a:gd name="T23" fmla="*/ 0 h 75"/>
                <a:gd name="T24" fmla="*/ 2147483647 w 126"/>
                <a:gd name="T25" fmla="*/ 0 h 75"/>
                <a:gd name="T26" fmla="*/ 2147483647 w 126"/>
                <a:gd name="T27" fmla="*/ 0 h 75"/>
                <a:gd name="T28" fmla="*/ 0 w 126"/>
                <a:gd name="T29" fmla="*/ 0 h 75"/>
                <a:gd name="T30" fmla="*/ 0 w 126"/>
                <a:gd name="T31" fmla="*/ 0 h 75"/>
                <a:gd name="T32" fmla="*/ 0 w 126"/>
                <a:gd name="T33" fmla="*/ 0 h 75"/>
                <a:gd name="T34" fmla="*/ 0 w 126"/>
                <a:gd name="T35" fmla="*/ 0 h 75"/>
                <a:gd name="T36" fmla="*/ 0 w 126"/>
                <a:gd name="T37" fmla="*/ 0 h 75"/>
                <a:gd name="T38" fmla="*/ 0 w 126"/>
                <a:gd name="T39" fmla="*/ 0 h 75"/>
                <a:gd name="T40" fmla="*/ 0 w 126"/>
                <a:gd name="T41" fmla="*/ 0 h 75"/>
                <a:gd name="T42" fmla="*/ 0 w 126"/>
                <a:gd name="T43" fmla="*/ 0 h 75"/>
                <a:gd name="T44" fmla="*/ 0 w 126"/>
                <a:gd name="T45" fmla="*/ 0 h 75"/>
                <a:gd name="T46" fmla="*/ 0 w 126"/>
                <a:gd name="T47" fmla="*/ 0 h 75"/>
                <a:gd name="T48" fmla="*/ 0 w 126"/>
                <a:gd name="T49" fmla="*/ 0 h 75"/>
                <a:gd name="T50" fmla="*/ 2147483647 w 126"/>
                <a:gd name="T51" fmla="*/ 0 h 75"/>
                <a:gd name="T52" fmla="*/ 2147483647 w 126"/>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6"/>
                <a:gd name="T82" fmla="*/ 0 h 75"/>
                <a:gd name="T83" fmla="*/ 126 w 126"/>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5" name="Freeform 160">
              <a:extLst>
                <a:ext uri="{FF2B5EF4-FFF2-40B4-BE49-F238E27FC236}">
                  <a16:creationId xmlns:a16="http://schemas.microsoft.com/office/drawing/2014/main" id="{58E14C05-AB2B-530F-B6F3-34FFE63ABEDD}"/>
                </a:ext>
              </a:extLst>
            </p:cNvPr>
            <p:cNvSpPr>
              <a:spLocks noChangeAspect="1"/>
            </p:cNvSpPr>
            <p:nvPr userDrawn="1"/>
          </p:nvSpPr>
          <p:spPr bwMode="gray">
            <a:xfrm>
              <a:off x="7041663" y="2928046"/>
              <a:ext cx="91032" cy="100598"/>
            </a:xfrm>
            <a:custGeom>
              <a:avLst/>
              <a:gdLst>
                <a:gd name="T0" fmla="*/ 2147483647 w 170"/>
                <a:gd name="T1" fmla="*/ 2147483647 h 175"/>
                <a:gd name="T2" fmla="*/ 2147483647 w 170"/>
                <a:gd name="T3" fmla="*/ 2147483647 h 175"/>
                <a:gd name="T4" fmla="*/ 2147483647 w 170"/>
                <a:gd name="T5" fmla="*/ 2147483647 h 175"/>
                <a:gd name="T6" fmla="*/ 2147483647 w 170"/>
                <a:gd name="T7" fmla="*/ 2147483647 h 175"/>
                <a:gd name="T8" fmla="*/ 0 w 170"/>
                <a:gd name="T9" fmla="*/ 2147483647 h 175"/>
                <a:gd name="T10" fmla="*/ 0 w 170"/>
                <a:gd name="T11" fmla="*/ 2147483647 h 175"/>
                <a:gd name="T12" fmla="*/ 0 w 170"/>
                <a:gd name="T13" fmla="*/ 2147483647 h 175"/>
                <a:gd name="T14" fmla="*/ 0 w 170"/>
                <a:gd name="T15" fmla="*/ 0 h 175"/>
                <a:gd name="T16" fmla="*/ 0 w 170"/>
                <a:gd name="T17" fmla="*/ 0 h 175"/>
                <a:gd name="T18" fmla="*/ 0 w 170"/>
                <a:gd name="T19" fmla="*/ 0 h 175"/>
                <a:gd name="T20" fmla="*/ 0 w 170"/>
                <a:gd name="T21" fmla="*/ 0 h 175"/>
                <a:gd name="T22" fmla="*/ 0 w 170"/>
                <a:gd name="T23" fmla="*/ 0 h 175"/>
                <a:gd name="T24" fmla="*/ 0 w 170"/>
                <a:gd name="T25" fmla="*/ 0 h 175"/>
                <a:gd name="T26" fmla="*/ 0 w 170"/>
                <a:gd name="T27" fmla="*/ 0 h 175"/>
                <a:gd name="T28" fmla="*/ 0 w 170"/>
                <a:gd name="T29" fmla="*/ 0 h 175"/>
                <a:gd name="T30" fmla="*/ 2147483647 w 170"/>
                <a:gd name="T31" fmla="*/ 0 h 175"/>
                <a:gd name="T32" fmla="*/ 2147483647 w 170"/>
                <a:gd name="T33" fmla="*/ 0 h 175"/>
                <a:gd name="T34" fmla="*/ 2147483647 w 170"/>
                <a:gd name="T35" fmla="*/ 0 h 175"/>
                <a:gd name="T36" fmla="*/ 2147483647 w 170"/>
                <a:gd name="T37" fmla="*/ 0 h 175"/>
                <a:gd name="T38" fmla="*/ 2147483647 w 170"/>
                <a:gd name="T39" fmla="*/ 0 h 175"/>
                <a:gd name="T40" fmla="*/ 2147483647 w 170"/>
                <a:gd name="T41" fmla="*/ 0 h 175"/>
                <a:gd name="T42" fmla="*/ 2147483647 w 170"/>
                <a:gd name="T43" fmla="*/ 0 h 175"/>
                <a:gd name="T44" fmla="*/ 2147483647 w 170"/>
                <a:gd name="T45" fmla="*/ 0 h 175"/>
                <a:gd name="T46" fmla="*/ 2147483647 w 170"/>
                <a:gd name="T47" fmla="*/ 0 h 175"/>
                <a:gd name="T48" fmla="*/ 2147483647 w 170"/>
                <a:gd name="T49" fmla="*/ 0 h 175"/>
                <a:gd name="T50" fmla="*/ 2147483647 w 170"/>
                <a:gd name="T51" fmla="*/ 0 h 175"/>
                <a:gd name="T52" fmla="*/ 2147483647 w 170"/>
                <a:gd name="T53" fmla="*/ 0 h 175"/>
                <a:gd name="T54" fmla="*/ 2147483647 w 170"/>
                <a:gd name="T55" fmla="*/ 0 h 175"/>
                <a:gd name="T56" fmla="*/ 2147483647 w 170"/>
                <a:gd name="T57" fmla="*/ 0 h 175"/>
                <a:gd name="T58" fmla="*/ 2147483647 w 170"/>
                <a:gd name="T59" fmla="*/ 0 h 175"/>
                <a:gd name="T60" fmla="*/ 2147483647 w 170"/>
                <a:gd name="T61" fmla="*/ 2147483647 h 175"/>
                <a:gd name="T62" fmla="*/ 2147483647 w 170"/>
                <a:gd name="T63" fmla="*/ 2147483647 h 175"/>
                <a:gd name="T64" fmla="*/ 2147483647 w 170"/>
                <a:gd name="T65" fmla="*/ 2147483647 h 175"/>
                <a:gd name="T66" fmla="*/ 2147483647 w 170"/>
                <a:gd name="T67" fmla="*/ 2147483647 h 175"/>
                <a:gd name="T68" fmla="*/ 2147483647 w 170"/>
                <a:gd name="T69" fmla="*/ 2147483647 h 175"/>
                <a:gd name="T70" fmla="*/ 2147483647 w 170"/>
                <a:gd name="T71" fmla="*/ 2147483647 h 175"/>
                <a:gd name="T72" fmla="*/ 2147483647 w 170"/>
                <a:gd name="T73" fmla="*/ 2147483647 h 175"/>
                <a:gd name="T74" fmla="*/ 2147483647 w 170"/>
                <a:gd name="T75" fmla="*/ 2147483647 h 175"/>
                <a:gd name="T76" fmla="*/ 2147483647 w 170"/>
                <a:gd name="T77" fmla="*/ 2147483647 h 175"/>
                <a:gd name="T78" fmla="*/ 2147483647 w 170"/>
                <a:gd name="T79" fmla="*/ 2147483647 h 175"/>
                <a:gd name="T80" fmla="*/ 2147483647 w 170"/>
                <a:gd name="T81" fmla="*/ 2147483647 h 175"/>
                <a:gd name="T82" fmla="*/ 2147483647 w 170"/>
                <a:gd name="T83" fmla="*/ 2147483647 h 175"/>
                <a:gd name="T84" fmla="*/ 2147483647 w 170"/>
                <a:gd name="T85" fmla="*/ 2147483647 h 175"/>
                <a:gd name="T86" fmla="*/ 2147483647 w 170"/>
                <a:gd name="T87" fmla="*/ 2147483647 h 175"/>
                <a:gd name="T88" fmla="*/ 2147483647 w 170"/>
                <a:gd name="T89" fmla="*/ 2147483647 h 175"/>
                <a:gd name="T90" fmla="*/ 2147483647 w 170"/>
                <a:gd name="T91" fmla="*/ 2147483647 h 175"/>
                <a:gd name="T92" fmla="*/ 2147483647 w 170"/>
                <a:gd name="T93" fmla="*/ 2147483647 h 175"/>
                <a:gd name="T94" fmla="*/ 2147483647 w 170"/>
                <a:gd name="T95" fmla="*/ 2147483647 h 175"/>
                <a:gd name="T96" fmla="*/ 2147483647 w 170"/>
                <a:gd name="T97" fmla="*/ 2147483647 h 175"/>
                <a:gd name="T98" fmla="*/ 2147483647 w 170"/>
                <a:gd name="T99" fmla="*/ 2147483647 h 175"/>
                <a:gd name="T100" fmla="*/ 2147483647 w 170"/>
                <a:gd name="T101" fmla="*/ 2147483647 h 175"/>
                <a:gd name="T102" fmla="*/ 2147483647 w 170"/>
                <a:gd name="T103" fmla="*/ 2147483647 h 175"/>
                <a:gd name="T104" fmla="*/ 2147483647 w 170"/>
                <a:gd name="T105" fmla="*/ 2147483647 h 175"/>
                <a:gd name="T106" fmla="*/ 2147483647 w 170"/>
                <a:gd name="T107" fmla="*/ 2147483647 h 175"/>
                <a:gd name="T108" fmla="*/ 2147483647 w 170"/>
                <a:gd name="T109" fmla="*/ 2147483647 h 175"/>
                <a:gd name="T110" fmla="*/ 2147483647 w 170"/>
                <a:gd name="T111" fmla="*/ 2147483647 h 175"/>
                <a:gd name="T112" fmla="*/ 2147483647 w 170"/>
                <a:gd name="T113" fmla="*/ 2147483647 h 175"/>
                <a:gd name="T114" fmla="*/ 2147483647 w 170"/>
                <a:gd name="T115" fmla="*/ 2147483647 h 175"/>
                <a:gd name="T116" fmla="*/ 2147483647 w 170"/>
                <a:gd name="T117" fmla="*/ 2147483647 h 175"/>
                <a:gd name="T118" fmla="*/ 2147483647 w 170"/>
                <a:gd name="T119" fmla="*/ 2147483647 h 175"/>
                <a:gd name="T120" fmla="*/ 2147483647 w 170"/>
                <a:gd name="T121" fmla="*/ 2147483647 h 1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0"/>
                <a:gd name="T184" fmla="*/ 0 h 175"/>
                <a:gd name="T185" fmla="*/ 170 w 170"/>
                <a:gd name="T186" fmla="*/ 175 h 1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6" name="Freeform 161">
              <a:extLst>
                <a:ext uri="{FF2B5EF4-FFF2-40B4-BE49-F238E27FC236}">
                  <a16:creationId xmlns:a16="http://schemas.microsoft.com/office/drawing/2014/main" id="{422063BF-15EF-477A-EDFC-B4E36AACAB66}"/>
                </a:ext>
              </a:extLst>
            </p:cNvPr>
            <p:cNvSpPr>
              <a:spLocks noChangeAspect="1"/>
            </p:cNvSpPr>
            <p:nvPr userDrawn="1"/>
          </p:nvSpPr>
          <p:spPr bwMode="gray">
            <a:xfrm>
              <a:off x="7132696" y="2261963"/>
              <a:ext cx="1189397" cy="676753"/>
            </a:xfrm>
            <a:custGeom>
              <a:avLst/>
              <a:gdLst>
                <a:gd name="T0" fmla="*/ 2147483647 w 2230"/>
                <a:gd name="T1" fmla="*/ 2147483647 h 1190"/>
                <a:gd name="T2" fmla="*/ 2147483647 w 2230"/>
                <a:gd name="T3" fmla="*/ 2147483647 h 1190"/>
                <a:gd name="T4" fmla="*/ 2147483647 w 2230"/>
                <a:gd name="T5" fmla="*/ 2147483647 h 1190"/>
                <a:gd name="T6" fmla="*/ 2147483647 w 2230"/>
                <a:gd name="T7" fmla="*/ 2147483647 h 1190"/>
                <a:gd name="T8" fmla="*/ 2147483647 w 2230"/>
                <a:gd name="T9" fmla="*/ 2147483647 h 1190"/>
                <a:gd name="T10" fmla="*/ 2147483647 w 2230"/>
                <a:gd name="T11" fmla="*/ 2147483647 h 1190"/>
                <a:gd name="T12" fmla="*/ 2147483647 w 2230"/>
                <a:gd name="T13" fmla="*/ 2147483647 h 1190"/>
                <a:gd name="T14" fmla="*/ 2147483647 w 2230"/>
                <a:gd name="T15" fmla="*/ 2147483647 h 1190"/>
                <a:gd name="T16" fmla="*/ 2147483647 w 2230"/>
                <a:gd name="T17" fmla="*/ 2147483647 h 1190"/>
                <a:gd name="T18" fmla="*/ 2147483647 w 2230"/>
                <a:gd name="T19" fmla="*/ 2147483647 h 1190"/>
                <a:gd name="T20" fmla="*/ 2147483647 w 2230"/>
                <a:gd name="T21" fmla="*/ 2147483647 h 1190"/>
                <a:gd name="T22" fmla="*/ 0 w 2230"/>
                <a:gd name="T23" fmla="*/ 2147483647 h 1190"/>
                <a:gd name="T24" fmla="*/ 0 w 2230"/>
                <a:gd name="T25" fmla="*/ 2147483647 h 1190"/>
                <a:gd name="T26" fmla="*/ 2147483647 w 2230"/>
                <a:gd name="T27" fmla="*/ 2147483647 h 1190"/>
                <a:gd name="T28" fmla="*/ 2147483647 w 2230"/>
                <a:gd name="T29" fmla="*/ 2147483647 h 1190"/>
                <a:gd name="T30" fmla="*/ 2147483647 w 2230"/>
                <a:gd name="T31" fmla="*/ 2147483647 h 1190"/>
                <a:gd name="T32" fmla="*/ 2147483647 w 2230"/>
                <a:gd name="T33" fmla="*/ 2147483647 h 1190"/>
                <a:gd name="T34" fmla="*/ 2147483647 w 2230"/>
                <a:gd name="T35" fmla="*/ 2147483647 h 1190"/>
                <a:gd name="T36" fmla="*/ 2147483647 w 2230"/>
                <a:gd name="T37" fmla="*/ 2147483647 h 1190"/>
                <a:gd name="T38" fmla="*/ 2147483647 w 2230"/>
                <a:gd name="T39" fmla="*/ 2147483647 h 1190"/>
                <a:gd name="T40" fmla="*/ 2147483647 w 2230"/>
                <a:gd name="T41" fmla="*/ 2147483647 h 1190"/>
                <a:gd name="T42" fmla="*/ 2147483647 w 2230"/>
                <a:gd name="T43" fmla="*/ 2147483647 h 1190"/>
                <a:gd name="T44" fmla="*/ 2147483647 w 2230"/>
                <a:gd name="T45" fmla="*/ 2147483647 h 1190"/>
                <a:gd name="T46" fmla="*/ 2147483647 w 2230"/>
                <a:gd name="T47" fmla="*/ 2147483647 h 1190"/>
                <a:gd name="T48" fmla="*/ 2147483647 w 2230"/>
                <a:gd name="T49" fmla="*/ 2147483647 h 1190"/>
                <a:gd name="T50" fmla="*/ 2147483647 w 2230"/>
                <a:gd name="T51" fmla="*/ 2147483647 h 1190"/>
                <a:gd name="T52" fmla="*/ 2147483647 w 2230"/>
                <a:gd name="T53" fmla="*/ 2147483647 h 1190"/>
                <a:gd name="T54" fmla="*/ 2147483647 w 2230"/>
                <a:gd name="T55" fmla="*/ 2147483647 h 1190"/>
                <a:gd name="T56" fmla="*/ 2147483647 w 2230"/>
                <a:gd name="T57" fmla="*/ 2147483647 h 1190"/>
                <a:gd name="T58" fmla="*/ 2147483647 w 2230"/>
                <a:gd name="T59" fmla="*/ 2147483647 h 1190"/>
                <a:gd name="T60" fmla="*/ 2147483647 w 2230"/>
                <a:gd name="T61" fmla="*/ 2147483647 h 1190"/>
                <a:gd name="T62" fmla="*/ 2147483647 w 2230"/>
                <a:gd name="T63" fmla="*/ 0 h 1190"/>
                <a:gd name="T64" fmla="*/ 2147483647 w 2230"/>
                <a:gd name="T65" fmla="*/ 0 h 1190"/>
                <a:gd name="T66" fmla="*/ 2147483647 w 2230"/>
                <a:gd name="T67" fmla="*/ 0 h 1190"/>
                <a:gd name="T68" fmla="*/ 2147483647 w 2230"/>
                <a:gd name="T69" fmla="*/ 0 h 1190"/>
                <a:gd name="T70" fmla="*/ 2147483647 w 2230"/>
                <a:gd name="T71" fmla="*/ 2147483647 h 1190"/>
                <a:gd name="T72" fmla="*/ 2147483647 w 2230"/>
                <a:gd name="T73" fmla="*/ 2147483647 h 1190"/>
                <a:gd name="T74" fmla="*/ 2147483647 w 2230"/>
                <a:gd name="T75" fmla="*/ 2147483647 h 1190"/>
                <a:gd name="T76" fmla="*/ 2147483647 w 2230"/>
                <a:gd name="T77" fmla="*/ 2147483647 h 1190"/>
                <a:gd name="T78" fmla="*/ 2147483647 w 2230"/>
                <a:gd name="T79" fmla="*/ 2147483647 h 1190"/>
                <a:gd name="T80" fmla="*/ 2147483647 w 2230"/>
                <a:gd name="T81" fmla="*/ 2147483647 h 1190"/>
                <a:gd name="T82" fmla="*/ 2147483647 w 2230"/>
                <a:gd name="T83" fmla="*/ 2147483647 h 1190"/>
                <a:gd name="T84" fmla="*/ 2147483647 w 2230"/>
                <a:gd name="T85" fmla="*/ 2147483647 h 1190"/>
                <a:gd name="T86" fmla="*/ 2147483647 w 2230"/>
                <a:gd name="T87" fmla="*/ 2147483647 h 1190"/>
                <a:gd name="T88" fmla="*/ 2147483647 w 2230"/>
                <a:gd name="T89" fmla="*/ 2147483647 h 1190"/>
                <a:gd name="T90" fmla="*/ 2147483647 w 2230"/>
                <a:gd name="T91" fmla="*/ 2147483647 h 1190"/>
                <a:gd name="T92" fmla="*/ 2147483647 w 2230"/>
                <a:gd name="T93" fmla="*/ 2147483647 h 1190"/>
                <a:gd name="T94" fmla="*/ 2147483647 w 2230"/>
                <a:gd name="T95" fmla="*/ 2147483647 h 1190"/>
                <a:gd name="T96" fmla="*/ 2147483647 w 2230"/>
                <a:gd name="T97" fmla="*/ 2147483647 h 1190"/>
                <a:gd name="T98" fmla="*/ 2147483647 w 2230"/>
                <a:gd name="T99" fmla="*/ 2147483647 h 1190"/>
                <a:gd name="T100" fmla="*/ 2147483647 w 2230"/>
                <a:gd name="T101" fmla="*/ 2147483647 h 1190"/>
                <a:gd name="T102" fmla="*/ 2147483647 w 2230"/>
                <a:gd name="T103" fmla="*/ 2147483647 h 1190"/>
                <a:gd name="T104" fmla="*/ 2147483647 w 2230"/>
                <a:gd name="T105" fmla="*/ 2147483647 h 1190"/>
                <a:gd name="T106" fmla="*/ 2147483647 w 2230"/>
                <a:gd name="T107" fmla="*/ 2147483647 h 1190"/>
                <a:gd name="T108" fmla="*/ 2147483647 w 2230"/>
                <a:gd name="T109" fmla="*/ 2147483647 h 1190"/>
                <a:gd name="T110" fmla="*/ 2147483647 w 2230"/>
                <a:gd name="T111" fmla="*/ 2147483647 h 1190"/>
                <a:gd name="T112" fmla="*/ 2147483647 w 2230"/>
                <a:gd name="T113" fmla="*/ 2147483647 h 1190"/>
                <a:gd name="T114" fmla="*/ 2147483647 w 2230"/>
                <a:gd name="T115" fmla="*/ 2147483647 h 1190"/>
                <a:gd name="T116" fmla="*/ 2147483647 w 2230"/>
                <a:gd name="T117" fmla="*/ 2147483647 h 1190"/>
                <a:gd name="T118" fmla="*/ 2147483647 w 2230"/>
                <a:gd name="T119" fmla="*/ 2147483647 h 1190"/>
                <a:gd name="T120" fmla="*/ 2147483647 w 2230"/>
                <a:gd name="T121" fmla="*/ 2147483647 h 11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0"/>
                <a:gd name="T184" fmla="*/ 0 h 1190"/>
                <a:gd name="T185" fmla="*/ 2230 w 2230"/>
                <a:gd name="T186" fmla="*/ 1190 h 119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7" name="Freeform 162">
              <a:extLst>
                <a:ext uri="{FF2B5EF4-FFF2-40B4-BE49-F238E27FC236}">
                  <a16:creationId xmlns:a16="http://schemas.microsoft.com/office/drawing/2014/main" id="{A0D682FA-8B8E-A545-405C-2C69E6568FE9}"/>
                </a:ext>
              </a:extLst>
            </p:cNvPr>
            <p:cNvSpPr>
              <a:spLocks noChangeAspect="1"/>
            </p:cNvSpPr>
            <p:nvPr userDrawn="1"/>
          </p:nvSpPr>
          <p:spPr bwMode="gray">
            <a:xfrm>
              <a:off x="6937200" y="2835069"/>
              <a:ext cx="196989" cy="102122"/>
            </a:xfrm>
            <a:custGeom>
              <a:avLst/>
              <a:gdLst>
                <a:gd name="T0" fmla="*/ 2147483647 w 368"/>
                <a:gd name="T1" fmla="*/ 2147483647 h 182"/>
                <a:gd name="T2" fmla="*/ 2147483647 w 368"/>
                <a:gd name="T3" fmla="*/ 2147483647 h 182"/>
                <a:gd name="T4" fmla="*/ 2147483647 w 368"/>
                <a:gd name="T5" fmla="*/ 2147483647 h 182"/>
                <a:gd name="T6" fmla="*/ 2147483647 w 368"/>
                <a:gd name="T7" fmla="*/ 2147483647 h 182"/>
                <a:gd name="T8" fmla="*/ 2147483647 w 368"/>
                <a:gd name="T9" fmla="*/ 2147483647 h 182"/>
                <a:gd name="T10" fmla="*/ 2147483647 w 368"/>
                <a:gd name="T11" fmla="*/ 2147483647 h 182"/>
                <a:gd name="T12" fmla="*/ 2147483647 w 368"/>
                <a:gd name="T13" fmla="*/ 2147483647 h 182"/>
                <a:gd name="T14" fmla="*/ 2147483647 w 368"/>
                <a:gd name="T15" fmla="*/ 2147483647 h 182"/>
                <a:gd name="T16" fmla="*/ 2147483647 w 368"/>
                <a:gd name="T17" fmla="*/ 2147483647 h 182"/>
                <a:gd name="T18" fmla="*/ 2147483647 w 368"/>
                <a:gd name="T19" fmla="*/ 2147483647 h 182"/>
                <a:gd name="T20" fmla="*/ 2147483647 w 368"/>
                <a:gd name="T21" fmla="*/ 2147483647 h 182"/>
                <a:gd name="T22" fmla="*/ 2147483647 w 368"/>
                <a:gd name="T23" fmla="*/ 2147483647 h 182"/>
                <a:gd name="T24" fmla="*/ 2147483647 w 368"/>
                <a:gd name="T25" fmla="*/ 2147483647 h 182"/>
                <a:gd name="T26" fmla="*/ 2147483647 w 368"/>
                <a:gd name="T27" fmla="*/ 2147483647 h 182"/>
                <a:gd name="T28" fmla="*/ 2147483647 w 368"/>
                <a:gd name="T29" fmla="*/ 2147483647 h 182"/>
                <a:gd name="T30" fmla="*/ 2147483647 w 368"/>
                <a:gd name="T31" fmla="*/ 2147483647 h 182"/>
                <a:gd name="T32" fmla="*/ 2147483647 w 368"/>
                <a:gd name="T33" fmla="*/ 2147483647 h 182"/>
                <a:gd name="T34" fmla="*/ 2147483647 w 368"/>
                <a:gd name="T35" fmla="*/ 2147483647 h 182"/>
                <a:gd name="T36" fmla="*/ 2147483647 w 368"/>
                <a:gd name="T37" fmla="*/ 2147483647 h 182"/>
                <a:gd name="T38" fmla="*/ 2147483647 w 368"/>
                <a:gd name="T39" fmla="*/ 2147483647 h 182"/>
                <a:gd name="T40" fmla="*/ 2147483647 w 368"/>
                <a:gd name="T41" fmla="*/ 2147483647 h 182"/>
                <a:gd name="T42" fmla="*/ 2147483647 w 368"/>
                <a:gd name="T43" fmla="*/ 0 h 182"/>
                <a:gd name="T44" fmla="*/ 2147483647 w 368"/>
                <a:gd name="T45" fmla="*/ 0 h 182"/>
                <a:gd name="T46" fmla="*/ 2147483647 w 368"/>
                <a:gd name="T47" fmla="*/ 0 h 182"/>
                <a:gd name="T48" fmla="*/ 2147483647 w 368"/>
                <a:gd name="T49" fmla="*/ 0 h 182"/>
                <a:gd name="T50" fmla="*/ 2147483647 w 368"/>
                <a:gd name="T51" fmla="*/ 0 h 182"/>
                <a:gd name="T52" fmla="*/ 2147483647 w 368"/>
                <a:gd name="T53" fmla="*/ 0 h 182"/>
                <a:gd name="T54" fmla="*/ 2147483647 w 368"/>
                <a:gd name="T55" fmla="*/ 0 h 182"/>
                <a:gd name="T56" fmla="*/ 2147483647 w 368"/>
                <a:gd name="T57" fmla="*/ 0 h 182"/>
                <a:gd name="T58" fmla="*/ 2147483647 w 368"/>
                <a:gd name="T59" fmla="*/ 0 h 182"/>
                <a:gd name="T60" fmla="*/ 2147483647 w 368"/>
                <a:gd name="T61" fmla="*/ 0 h 182"/>
                <a:gd name="T62" fmla="*/ 2147483647 w 368"/>
                <a:gd name="T63" fmla="*/ 0 h 182"/>
                <a:gd name="T64" fmla="*/ 2147483647 w 368"/>
                <a:gd name="T65" fmla="*/ 0 h 182"/>
                <a:gd name="T66" fmla="*/ 0 w 368"/>
                <a:gd name="T67" fmla="*/ 0 h 182"/>
                <a:gd name="T68" fmla="*/ 0 w 368"/>
                <a:gd name="T69" fmla="*/ 0 h 182"/>
                <a:gd name="T70" fmla="*/ 0 w 368"/>
                <a:gd name="T71" fmla="*/ 0 h 182"/>
                <a:gd name="T72" fmla="*/ 0 w 368"/>
                <a:gd name="T73" fmla="*/ 0 h 182"/>
                <a:gd name="T74" fmla="*/ 2147483647 w 368"/>
                <a:gd name="T75" fmla="*/ 0 h 182"/>
                <a:gd name="T76" fmla="*/ 2147483647 w 368"/>
                <a:gd name="T77" fmla="*/ 0 h 182"/>
                <a:gd name="T78" fmla="*/ 2147483647 w 368"/>
                <a:gd name="T79" fmla="*/ 2147483647 h 182"/>
                <a:gd name="T80" fmla="*/ 2147483647 w 368"/>
                <a:gd name="T81" fmla="*/ 2147483647 h 182"/>
                <a:gd name="T82" fmla="*/ 2147483647 w 368"/>
                <a:gd name="T83" fmla="*/ 2147483647 h 182"/>
                <a:gd name="T84" fmla="*/ 2147483647 w 368"/>
                <a:gd name="T85" fmla="*/ 2147483647 h 1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8"/>
                <a:gd name="T130" fmla="*/ 0 h 182"/>
                <a:gd name="T131" fmla="*/ 368 w 368"/>
                <a:gd name="T132" fmla="*/ 182 h 1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8" name="Freeform 163">
              <a:extLst>
                <a:ext uri="{FF2B5EF4-FFF2-40B4-BE49-F238E27FC236}">
                  <a16:creationId xmlns:a16="http://schemas.microsoft.com/office/drawing/2014/main" id="{195DC7B2-38D7-F6DB-A767-5A0E96D500E1}"/>
                </a:ext>
              </a:extLst>
            </p:cNvPr>
            <p:cNvSpPr>
              <a:spLocks noChangeAspect="1"/>
            </p:cNvSpPr>
            <p:nvPr userDrawn="1"/>
          </p:nvSpPr>
          <p:spPr bwMode="gray">
            <a:xfrm>
              <a:off x="7408780" y="2748188"/>
              <a:ext cx="502919" cy="344473"/>
            </a:xfrm>
            <a:custGeom>
              <a:avLst/>
              <a:gdLst>
                <a:gd name="T0" fmla="*/ 0 w 940"/>
                <a:gd name="T1" fmla="*/ 2147483647 h 612"/>
                <a:gd name="T2" fmla="*/ 2147483647 w 940"/>
                <a:gd name="T3" fmla="*/ 2147483647 h 612"/>
                <a:gd name="T4" fmla="*/ 2147483647 w 940"/>
                <a:gd name="T5" fmla="*/ 2147483647 h 612"/>
                <a:gd name="T6" fmla="*/ 2147483647 w 940"/>
                <a:gd name="T7" fmla="*/ 2147483647 h 612"/>
                <a:gd name="T8" fmla="*/ 2147483647 w 940"/>
                <a:gd name="T9" fmla="*/ 2147483647 h 612"/>
                <a:gd name="T10" fmla="*/ 2147483647 w 940"/>
                <a:gd name="T11" fmla="*/ 2147483647 h 612"/>
                <a:gd name="T12" fmla="*/ 2147483647 w 940"/>
                <a:gd name="T13" fmla="*/ 2147483647 h 612"/>
                <a:gd name="T14" fmla="*/ 2147483647 w 940"/>
                <a:gd name="T15" fmla="*/ 2147483647 h 612"/>
                <a:gd name="T16" fmla="*/ 2147483647 w 940"/>
                <a:gd name="T17" fmla="*/ 2147483647 h 612"/>
                <a:gd name="T18" fmla="*/ 2147483647 w 940"/>
                <a:gd name="T19" fmla="*/ 2147483647 h 612"/>
                <a:gd name="T20" fmla="*/ 2147483647 w 940"/>
                <a:gd name="T21" fmla="*/ 2147483647 h 612"/>
                <a:gd name="T22" fmla="*/ 2147483647 w 940"/>
                <a:gd name="T23" fmla="*/ 2147483647 h 612"/>
                <a:gd name="T24" fmla="*/ 2147483647 w 940"/>
                <a:gd name="T25" fmla="*/ 2147483647 h 612"/>
                <a:gd name="T26" fmla="*/ 2147483647 w 940"/>
                <a:gd name="T27" fmla="*/ 2147483647 h 612"/>
                <a:gd name="T28" fmla="*/ 2147483647 w 940"/>
                <a:gd name="T29" fmla="*/ 2147483647 h 612"/>
                <a:gd name="T30" fmla="*/ 2147483647 w 940"/>
                <a:gd name="T31" fmla="*/ 2147483647 h 612"/>
                <a:gd name="T32" fmla="*/ 2147483647 w 940"/>
                <a:gd name="T33" fmla="*/ 2147483647 h 612"/>
                <a:gd name="T34" fmla="*/ 2147483647 w 940"/>
                <a:gd name="T35" fmla="*/ 2147483647 h 612"/>
                <a:gd name="T36" fmla="*/ 2147483647 w 940"/>
                <a:gd name="T37" fmla="*/ 2147483647 h 612"/>
                <a:gd name="T38" fmla="*/ 2147483647 w 940"/>
                <a:gd name="T39" fmla="*/ 2147483647 h 612"/>
                <a:gd name="T40" fmla="*/ 2147483647 w 940"/>
                <a:gd name="T41" fmla="*/ 2147483647 h 612"/>
                <a:gd name="T42" fmla="*/ 2147483647 w 940"/>
                <a:gd name="T43" fmla="*/ 2147483647 h 612"/>
                <a:gd name="T44" fmla="*/ 2147483647 w 940"/>
                <a:gd name="T45" fmla="*/ 2147483647 h 612"/>
                <a:gd name="T46" fmla="*/ 2147483647 w 940"/>
                <a:gd name="T47" fmla="*/ 2147483647 h 612"/>
                <a:gd name="T48" fmla="*/ 2147483647 w 940"/>
                <a:gd name="T49" fmla="*/ 2147483647 h 612"/>
                <a:gd name="T50" fmla="*/ 2147483647 w 940"/>
                <a:gd name="T51" fmla="*/ 2147483647 h 612"/>
                <a:gd name="T52" fmla="*/ 2147483647 w 940"/>
                <a:gd name="T53" fmla="*/ 2147483647 h 612"/>
                <a:gd name="T54" fmla="*/ 2147483647 w 940"/>
                <a:gd name="T55" fmla="*/ 2147483647 h 612"/>
                <a:gd name="T56" fmla="*/ 2147483647 w 940"/>
                <a:gd name="T57" fmla="*/ 2147483647 h 612"/>
                <a:gd name="T58" fmla="*/ 2147483647 w 940"/>
                <a:gd name="T59" fmla="*/ 2147483647 h 612"/>
                <a:gd name="T60" fmla="*/ 2147483647 w 940"/>
                <a:gd name="T61" fmla="*/ 2147483647 h 612"/>
                <a:gd name="T62" fmla="*/ 2147483647 w 940"/>
                <a:gd name="T63" fmla="*/ 2147483647 h 612"/>
                <a:gd name="T64" fmla="*/ 2147483647 w 940"/>
                <a:gd name="T65" fmla="*/ 2147483647 h 612"/>
                <a:gd name="T66" fmla="*/ 2147483647 w 940"/>
                <a:gd name="T67" fmla="*/ 2147483647 h 612"/>
                <a:gd name="T68" fmla="*/ 2147483647 w 940"/>
                <a:gd name="T69" fmla="*/ 2147483647 h 612"/>
                <a:gd name="T70" fmla="*/ 2147483647 w 940"/>
                <a:gd name="T71" fmla="*/ 2147483647 h 612"/>
                <a:gd name="T72" fmla="*/ 2147483647 w 940"/>
                <a:gd name="T73" fmla="*/ 2147483647 h 612"/>
                <a:gd name="T74" fmla="*/ 2147483647 w 940"/>
                <a:gd name="T75" fmla="*/ 2147483647 h 612"/>
                <a:gd name="T76" fmla="*/ 2147483647 w 940"/>
                <a:gd name="T77" fmla="*/ 2147483647 h 612"/>
                <a:gd name="T78" fmla="*/ 2147483647 w 940"/>
                <a:gd name="T79" fmla="*/ 2147483647 h 612"/>
                <a:gd name="T80" fmla="*/ 2147483647 w 940"/>
                <a:gd name="T81" fmla="*/ 2147483647 h 612"/>
                <a:gd name="T82" fmla="*/ 2147483647 w 940"/>
                <a:gd name="T83" fmla="*/ 2147483647 h 612"/>
                <a:gd name="T84" fmla="*/ 2147483647 w 940"/>
                <a:gd name="T85" fmla="*/ 2147483647 h 612"/>
                <a:gd name="T86" fmla="*/ 2147483647 w 940"/>
                <a:gd name="T87" fmla="*/ 2147483647 h 612"/>
                <a:gd name="T88" fmla="*/ 2147483647 w 940"/>
                <a:gd name="T89" fmla="*/ 2147483647 h 612"/>
                <a:gd name="T90" fmla="*/ 2147483647 w 940"/>
                <a:gd name="T91" fmla="*/ 2147483647 h 612"/>
                <a:gd name="T92" fmla="*/ 2147483647 w 940"/>
                <a:gd name="T93" fmla="*/ 2147483647 h 612"/>
                <a:gd name="T94" fmla="*/ 2147483647 w 940"/>
                <a:gd name="T95" fmla="*/ 2147483647 h 612"/>
                <a:gd name="T96" fmla="*/ 2147483647 w 940"/>
                <a:gd name="T97" fmla="*/ 2147483647 h 612"/>
                <a:gd name="T98" fmla="*/ 2147483647 w 940"/>
                <a:gd name="T99" fmla="*/ 2147483647 h 612"/>
                <a:gd name="T100" fmla="*/ 2147483647 w 940"/>
                <a:gd name="T101" fmla="*/ 2147483647 h 612"/>
                <a:gd name="T102" fmla="*/ 2147483647 w 940"/>
                <a:gd name="T103" fmla="*/ 2147483647 h 612"/>
                <a:gd name="T104" fmla="*/ 2147483647 w 940"/>
                <a:gd name="T105" fmla="*/ 2147483647 h 612"/>
                <a:gd name="T106" fmla="*/ 2147483647 w 940"/>
                <a:gd name="T107" fmla="*/ 2147483647 h 612"/>
                <a:gd name="T108" fmla="*/ 2147483647 w 940"/>
                <a:gd name="T109" fmla="*/ 2147483647 h 612"/>
                <a:gd name="T110" fmla="*/ 2147483647 w 940"/>
                <a:gd name="T111" fmla="*/ 2147483647 h 612"/>
                <a:gd name="T112" fmla="*/ 2147483647 w 940"/>
                <a:gd name="T113" fmla="*/ 0 h 612"/>
                <a:gd name="T114" fmla="*/ 0 w 940"/>
                <a:gd name="T115" fmla="*/ 0 h 61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0"/>
                <a:gd name="T175" fmla="*/ 0 h 612"/>
                <a:gd name="T176" fmla="*/ 940 w 940"/>
                <a:gd name="T177" fmla="*/ 612 h 61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59" name="Freeform 164">
              <a:extLst>
                <a:ext uri="{FF2B5EF4-FFF2-40B4-BE49-F238E27FC236}">
                  <a16:creationId xmlns:a16="http://schemas.microsoft.com/office/drawing/2014/main" id="{A0EB90ED-5395-E03B-E366-444570BB693C}"/>
                </a:ext>
              </a:extLst>
            </p:cNvPr>
            <p:cNvSpPr>
              <a:spLocks noChangeAspect="1"/>
            </p:cNvSpPr>
            <p:nvPr userDrawn="1"/>
          </p:nvSpPr>
          <p:spPr bwMode="gray">
            <a:xfrm>
              <a:off x="7305808" y="2865554"/>
              <a:ext cx="416364" cy="307892"/>
            </a:xfrm>
            <a:custGeom>
              <a:avLst/>
              <a:gdLst>
                <a:gd name="T0" fmla="*/ 2147483647 w 778"/>
                <a:gd name="T1" fmla="*/ 2147483647 h 536"/>
                <a:gd name="T2" fmla="*/ 2147483647 w 778"/>
                <a:gd name="T3" fmla="*/ 0 h 536"/>
                <a:gd name="T4" fmla="*/ 2147483647 w 778"/>
                <a:gd name="T5" fmla="*/ 0 h 536"/>
                <a:gd name="T6" fmla="*/ 2147483647 w 778"/>
                <a:gd name="T7" fmla="*/ 0 h 536"/>
                <a:gd name="T8" fmla="*/ 2147483647 w 778"/>
                <a:gd name="T9" fmla="*/ 0 h 536"/>
                <a:gd name="T10" fmla="*/ 2147483647 w 778"/>
                <a:gd name="T11" fmla="*/ 0 h 536"/>
                <a:gd name="T12" fmla="*/ 2147483647 w 778"/>
                <a:gd name="T13" fmla="*/ 0 h 536"/>
                <a:gd name="T14" fmla="*/ 2147483647 w 778"/>
                <a:gd name="T15" fmla="*/ 0 h 536"/>
                <a:gd name="T16" fmla="*/ 2147483647 w 778"/>
                <a:gd name="T17" fmla="*/ 0 h 536"/>
                <a:gd name="T18" fmla="*/ 2147483647 w 778"/>
                <a:gd name="T19" fmla="*/ 2147483647 h 536"/>
                <a:gd name="T20" fmla="*/ 2147483647 w 778"/>
                <a:gd name="T21" fmla="*/ 2147483647 h 536"/>
                <a:gd name="T22" fmla="*/ 2147483647 w 778"/>
                <a:gd name="T23" fmla="*/ 2147483647 h 536"/>
                <a:gd name="T24" fmla="*/ 2147483647 w 778"/>
                <a:gd name="T25" fmla="*/ 2147483647 h 536"/>
                <a:gd name="T26" fmla="*/ 2147483647 w 778"/>
                <a:gd name="T27" fmla="*/ 2147483647 h 536"/>
                <a:gd name="T28" fmla="*/ 2147483647 w 778"/>
                <a:gd name="T29" fmla="*/ 2147483647 h 536"/>
                <a:gd name="T30" fmla="*/ 2147483647 w 778"/>
                <a:gd name="T31" fmla="*/ 2147483647 h 536"/>
                <a:gd name="T32" fmla="*/ 2147483647 w 778"/>
                <a:gd name="T33" fmla="*/ 2147483647 h 536"/>
                <a:gd name="T34" fmla="*/ 2147483647 w 778"/>
                <a:gd name="T35" fmla="*/ 2147483647 h 536"/>
                <a:gd name="T36" fmla="*/ 2147483647 w 778"/>
                <a:gd name="T37" fmla="*/ 2147483647 h 536"/>
                <a:gd name="T38" fmla="*/ 2147483647 w 778"/>
                <a:gd name="T39" fmla="*/ 2147483647 h 536"/>
                <a:gd name="T40" fmla="*/ 2147483647 w 778"/>
                <a:gd name="T41" fmla="*/ 2147483647 h 536"/>
                <a:gd name="T42" fmla="*/ 2147483647 w 778"/>
                <a:gd name="T43" fmla="*/ 2147483647 h 536"/>
                <a:gd name="T44" fmla="*/ 2147483647 w 778"/>
                <a:gd name="T45" fmla="*/ 2147483647 h 536"/>
                <a:gd name="T46" fmla="*/ 2147483647 w 778"/>
                <a:gd name="T47" fmla="*/ 2147483647 h 536"/>
                <a:gd name="T48" fmla="*/ 2147483647 w 778"/>
                <a:gd name="T49" fmla="*/ 2147483647 h 536"/>
                <a:gd name="T50" fmla="*/ 2147483647 w 778"/>
                <a:gd name="T51" fmla="*/ 2147483647 h 536"/>
                <a:gd name="T52" fmla="*/ 2147483647 w 778"/>
                <a:gd name="T53" fmla="*/ 2147483647 h 536"/>
                <a:gd name="T54" fmla="*/ 2147483647 w 778"/>
                <a:gd name="T55" fmla="*/ 2147483647 h 536"/>
                <a:gd name="T56" fmla="*/ 2147483647 w 778"/>
                <a:gd name="T57" fmla="*/ 2147483647 h 536"/>
                <a:gd name="T58" fmla="*/ 2147483647 w 778"/>
                <a:gd name="T59" fmla="*/ 2147483647 h 536"/>
                <a:gd name="T60" fmla="*/ 2147483647 w 778"/>
                <a:gd name="T61" fmla="*/ 2147483647 h 536"/>
                <a:gd name="T62" fmla="*/ 2147483647 w 778"/>
                <a:gd name="T63" fmla="*/ 2147483647 h 536"/>
                <a:gd name="T64" fmla="*/ 2147483647 w 778"/>
                <a:gd name="T65" fmla="*/ 2147483647 h 536"/>
                <a:gd name="T66" fmla="*/ 2147483647 w 778"/>
                <a:gd name="T67" fmla="*/ 2147483647 h 536"/>
                <a:gd name="T68" fmla="*/ 2147483647 w 778"/>
                <a:gd name="T69" fmla="*/ 2147483647 h 536"/>
                <a:gd name="T70" fmla="*/ 2147483647 w 778"/>
                <a:gd name="T71" fmla="*/ 2147483647 h 536"/>
                <a:gd name="T72" fmla="*/ 2147483647 w 778"/>
                <a:gd name="T73" fmla="*/ 2147483647 h 536"/>
                <a:gd name="T74" fmla="*/ 2147483647 w 778"/>
                <a:gd name="T75" fmla="*/ 2147483647 h 536"/>
                <a:gd name="T76" fmla="*/ 2147483647 w 778"/>
                <a:gd name="T77" fmla="*/ 2147483647 h 536"/>
                <a:gd name="T78" fmla="*/ 2147483647 w 778"/>
                <a:gd name="T79" fmla="*/ 2147483647 h 536"/>
                <a:gd name="T80" fmla="*/ 2147483647 w 778"/>
                <a:gd name="T81" fmla="*/ 2147483647 h 536"/>
                <a:gd name="T82" fmla="*/ 2147483647 w 778"/>
                <a:gd name="T83" fmla="*/ 2147483647 h 536"/>
                <a:gd name="T84" fmla="*/ 2147483647 w 778"/>
                <a:gd name="T85" fmla="*/ 2147483647 h 536"/>
                <a:gd name="T86" fmla="*/ 2147483647 w 778"/>
                <a:gd name="T87" fmla="*/ 2147483647 h 536"/>
                <a:gd name="T88" fmla="*/ 0 w 778"/>
                <a:gd name="T89" fmla="*/ 2147483647 h 536"/>
                <a:gd name="T90" fmla="*/ 0 w 778"/>
                <a:gd name="T91" fmla="*/ 2147483647 h 536"/>
                <a:gd name="T92" fmla="*/ 0 w 778"/>
                <a:gd name="T93" fmla="*/ 2147483647 h 536"/>
                <a:gd name="T94" fmla="*/ 2147483647 w 778"/>
                <a:gd name="T95" fmla="*/ 2147483647 h 536"/>
                <a:gd name="T96" fmla="*/ 2147483647 w 778"/>
                <a:gd name="T97" fmla="*/ 2147483647 h 536"/>
                <a:gd name="T98" fmla="*/ 2147483647 w 778"/>
                <a:gd name="T99" fmla="*/ 2147483647 h 536"/>
                <a:gd name="T100" fmla="*/ 2147483647 w 778"/>
                <a:gd name="T101" fmla="*/ 0 h 536"/>
                <a:gd name="T102" fmla="*/ 0 w 778"/>
                <a:gd name="T103" fmla="*/ 2147483647 h 536"/>
                <a:gd name="T104" fmla="*/ 0 w 778"/>
                <a:gd name="T105" fmla="*/ 2147483647 h 536"/>
                <a:gd name="T106" fmla="*/ 2147483647 w 778"/>
                <a:gd name="T107" fmla="*/ 0 h 536"/>
                <a:gd name="T108" fmla="*/ 2147483647 w 778"/>
                <a:gd name="T109" fmla="*/ 0 h 536"/>
                <a:gd name="T110" fmla="*/ 2147483647 w 778"/>
                <a:gd name="T111" fmla="*/ 0 h 536"/>
                <a:gd name="T112" fmla="*/ 2147483647 w 778"/>
                <a:gd name="T113" fmla="*/ 2147483647 h 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8"/>
                <a:gd name="T172" fmla="*/ 0 h 536"/>
                <a:gd name="T173" fmla="*/ 778 w 778"/>
                <a:gd name="T174" fmla="*/ 536 h 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0" name="Freeform 166">
              <a:extLst>
                <a:ext uri="{FF2B5EF4-FFF2-40B4-BE49-F238E27FC236}">
                  <a16:creationId xmlns:a16="http://schemas.microsoft.com/office/drawing/2014/main" id="{338D8819-6CF3-5185-15A1-65DE57C8C0E2}"/>
                </a:ext>
              </a:extLst>
            </p:cNvPr>
            <p:cNvSpPr>
              <a:spLocks noChangeAspect="1"/>
            </p:cNvSpPr>
            <p:nvPr userDrawn="1"/>
          </p:nvSpPr>
          <p:spPr bwMode="gray">
            <a:xfrm>
              <a:off x="7081956" y="2993588"/>
              <a:ext cx="35816" cy="35057"/>
            </a:xfrm>
            <a:custGeom>
              <a:avLst/>
              <a:gdLst>
                <a:gd name="T0" fmla="*/ 0 w 65"/>
                <a:gd name="T1" fmla="*/ 0 h 59"/>
                <a:gd name="T2" fmla="*/ 0 w 65"/>
                <a:gd name="T3" fmla="*/ 0 h 59"/>
                <a:gd name="T4" fmla="*/ 0 w 65"/>
                <a:gd name="T5" fmla="*/ 0 h 59"/>
                <a:gd name="T6" fmla="*/ 0 w 65"/>
                <a:gd name="T7" fmla="*/ 0 h 59"/>
                <a:gd name="T8" fmla="*/ 0 w 65"/>
                <a:gd name="T9" fmla="*/ 0 h 59"/>
                <a:gd name="T10" fmla="*/ 0 w 65"/>
                <a:gd name="T11" fmla="*/ 0 h 59"/>
                <a:gd name="T12" fmla="*/ 0 w 65"/>
                <a:gd name="T13" fmla="*/ 0 h 59"/>
                <a:gd name="T14" fmla="*/ 0 w 65"/>
                <a:gd name="T15" fmla="*/ 0 h 59"/>
                <a:gd name="T16" fmla="*/ 0 w 65"/>
                <a:gd name="T17" fmla="*/ 0 h 59"/>
                <a:gd name="T18" fmla="*/ 0 w 65"/>
                <a:gd name="T19" fmla="*/ 0 h 59"/>
                <a:gd name="T20" fmla="*/ 0 w 65"/>
                <a:gd name="T21" fmla="*/ 0 h 59"/>
                <a:gd name="T22" fmla="*/ 0 w 65"/>
                <a:gd name="T23" fmla="*/ 0 h 59"/>
                <a:gd name="T24" fmla="*/ 0 w 65"/>
                <a:gd name="T25" fmla="*/ 0 h 59"/>
                <a:gd name="T26" fmla="*/ 0 w 65"/>
                <a:gd name="T27" fmla="*/ 0 h 59"/>
                <a:gd name="T28" fmla="*/ 0 w 65"/>
                <a:gd name="T29" fmla="*/ 0 h 59"/>
                <a:gd name="T30" fmla="*/ 0 w 65"/>
                <a:gd name="T31" fmla="*/ 0 h 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5"/>
                <a:gd name="T49" fmla="*/ 0 h 59"/>
                <a:gd name="T50" fmla="*/ 65 w 65"/>
                <a:gd name="T51" fmla="*/ 59 h 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1" name="Freeform 167">
              <a:extLst>
                <a:ext uri="{FF2B5EF4-FFF2-40B4-BE49-F238E27FC236}">
                  <a16:creationId xmlns:a16="http://schemas.microsoft.com/office/drawing/2014/main" id="{77BD16EC-DE23-16F9-4F96-1A648A91750C}"/>
                </a:ext>
              </a:extLst>
            </p:cNvPr>
            <p:cNvSpPr>
              <a:spLocks noChangeAspect="1"/>
            </p:cNvSpPr>
            <p:nvPr userDrawn="1"/>
          </p:nvSpPr>
          <p:spPr bwMode="gray">
            <a:xfrm>
              <a:off x="7087926" y="2905183"/>
              <a:ext cx="156696" cy="140228"/>
            </a:xfrm>
            <a:custGeom>
              <a:avLst/>
              <a:gdLst>
                <a:gd name="T0" fmla="*/ 0 w 294"/>
                <a:gd name="T1" fmla="*/ 0 h 245"/>
                <a:gd name="T2" fmla="*/ 0 w 294"/>
                <a:gd name="T3" fmla="*/ 0 h 245"/>
                <a:gd name="T4" fmla="*/ 0 w 294"/>
                <a:gd name="T5" fmla="*/ 0 h 245"/>
                <a:gd name="T6" fmla="*/ 0 w 294"/>
                <a:gd name="T7" fmla="*/ 0 h 245"/>
                <a:gd name="T8" fmla="*/ 0 w 294"/>
                <a:gd name="T9" fmla="*/ 0 h 245"/>
                <a:gd name="T10" fmla="*/ 0 w 294"/>
                <a:gd name="T11" fmla="*/ 0 h 245"/>
                <a:gd name="T12" fmla="*/ 0 w 294"/>
                <a:gd name="T13" fmla="*/ 0 h 245"/>
                <a:gd name="T14" fmla="*/ 0 w 294"/>
                <a:gd name="T15" fmla="*/ 0 h 245"/>
                <a:gd name="T16" fmla="*/ 0 w 294"/>
                <a:gd name="T17" fmla="*/ 0 h 245"/>
                <a:gd name="T18" fmla="*/ 0 w 294"/>
                <a:gd name="T19" fmla="*/ 0 h 245"/>
                <a:gd name="T20" fmla="*/ 0 w 294"/>
                <a:gd name="T21" fmla="*/ 0 h 245"/>
                <a:gd name="T22" fmla="*/ 0 w 294"/>
                <a:gd name="T23" fmla="*/ 0 h 245"/>
                <a:gd name="T24" fmla="*/ 0 w 294"/>
                <a:gd name="T25" fmla="*/ 0 h 245"/>
                <a:gd name="T26" fmla="*/ 0 w 294"/>
                <a:gd name="T27" fmla="*/ 0 h 245"/>
                <a:gd name="T28" fmla="*/ 0 w 294"/>
                <a:gd name="T29" fmla="*/ 0 h 245"/>
                <a:gd name="T30" fmla="*/ 0 w 294"/>
                <a:gd name="T31" fmla="*/ 0 h 245"/>
                <a:gd name="T32" fmla="*/ 0 w 294"/>
                <a:gd name="T33" fmla="*/ 0 h 245"/>
                <a:gd name="T34" fmla="*/ 0 w 294"/>
                <a:gd name="T35" fmla="*/ 0 h 245"/>
                <a:gd name="T36" fmla="*/ 0 w 294"/>
                <a:gd name="T37" fmla="*/ 0 h 245"/>
                <a:gd name="T38" fmla="*/ 0 w 294"/>
                <a:gd name="T39" fmla="*/ 0 h 245"/>
                <a:gd name="T40" fmla="*/ 0 w 294"/>
                <a:gd name="T41" fmla="*/ 0 h 245"/>
                <a:gd name="T42" fmla="*/ 0 w 294"/>
                <a:gd name="T43" fmla="*/ 0 h 245"/>
                <a:gd name="T44" fmla="*/ 0 w 294"/>
                <a:gd name="T45" fmla="*/ 0 h 245"/>
                <a:gd name="T46" fmla="*/ 0 w 294"/>
                <a:gd name="T47" fmla="*/ 0 h 245"/>
                <a:gd name="T48" fmla="*/ 0 w 294"/>
                <a:gd name="T49" fmla="*/ 0 h 245"/>
                <a:gd name="T50" fmla="*/ 0 w 294"/>
                <a:gd name="T51" fmla="*/ 0 h 245"/>
                <a:gd name="T52" fmla="*/ 0 w 294"/>
                <a:gd name="T53" fmla="*/ 0 h 245"/>
                <a:gd name="T54" fmla="*/ 0 w 294"/>
                <a:gd name="T55" fmla="*/ 0 h 245"/>
                <a:gd name="T56" fmla="*/ 0 w 294"/>
                <a:gd name="T57" fmla="*/ 0 h 245"/>
                <a:gd name="T58" fmla="*/ 0 w 294"/>
                <a:gd name="T59" fmla="*/ 0 h 245"/>
                <a:gd name="T60" fmla="*/ 0 w 294"/>
                <a:gd name="T61" fmla="*/ 0 h 245"/>
                <a:gd name="T62" fmla="*/ 0 w 294"/>
                <a:gd name="T63" fmla="*/ 0 h 245"/>
                <a:gd name="T64" fmla="*/ 0 w 294"/>
                <a:gd name="T65" fmla="*/ 0 h 245"/>
                <a:gd name="T66" fmla="*/ 0 w 294"/>
                <a:gd name="T67" fmla="*/ 0 h 245"/>
                <a:gd name="T68" fmla="*/ 0 w 294"/>
                <a:gd name="T69" fmla="*/ 0 h 245"/>
                <a:gd name="T70" fmla="*/ 0 w 294"/>
                <a:gd name="T71" fmla="*/ 0 h 245"/>
                <a:gd name="T72" fmla="*/ 0 w 294"/>
                <a:gd name="T73" fmla="*/ 0 h 245"/>
                <a:gd name="T74" fmla="*/ 0 w 294"/>
                <a:gd name="T75" fmla="*/ 0 h 245"/>
                <a:gd name="T76" fmla="*/ 0 w 294"/>
                <a:gd name="T77" fmla="*/ 0 h 245"/>
                <a:gd name="T78" fmla="*/ 0 w 294"/>
                <a:gd name="T79" fmla="*/ 0 h 245"/>
                <a:gd name="T80" fmla="*/ 0 w 294"/>
                <a:gd name="T81" fmla="*/ 0 h 245"/>
                <a:gd name="T82" fmla="*/ 0 w 294"/>
                <a:gd name="T83" fmla="*/ 0 h 245"/>
                <a:gd name="T84" fmla="*/ 0 w 294"/>
                <a:gd name="T85" fmla="*/ 0 h 245"/>
                <a:gd name="T86" fmla="*/ 0 w 294"/>
                <a:gd name="T87" fmla="*/ 0 h 245"/>
                <a:gd name="T88" fmla="*/ 0 w 294"/>
                <a:gd name="T89" fmla="*/ 0 h 245"/>
                <a:gd name="T90" fmla="*/ 0 w 294"/>
                <a:gd name="T91" fmla="*/ 0 h 245"/>
                <a:gd name="T92" fmla="*/ 0 w 294"/>
                <a:gd name="T93" fmla="*/ 0 h 245"/>
                <a:gd name="T94" fmla="*/ 0 w 294"/>
                <a:gd name="T95" fmla="*/ 0 h 245"/>
                <a:gd name="T96" fmla="*/ 0 w 294"/>
                <a:gd name="T97" fmla="*/ 0 h 245"/>
                <a:gd name="T98" fmla="*/ 0 w 294"/>
                <a:gd name="T99" fmla="*/ 0 h 245"/>
                <a:gd name="T100" fmla="*/ 0 w 294"/>
                <a:gd name="T101" fmla="*/ 0 h 24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4"/>
                <a:gd name="T154" fmla="*/ 0 h 245"/>
                <a:gd name="T155" fmla="*/ 294 w 294"/>
                <a:gd name="T156" fmla="*/ 245 h 24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2" name="Freeform 170">
              <a:extLst>
                <a:ext uri="{FF2B5EF4-FFF2-40B4-BE49-F238E27FC236}">
                  <a16:creationId xmlns:a16="http://schemas.microsoft.com/office/drawing/2014/main" id="{80624E2F-5934-5140-844B-D0456569CC04}"/>
                </a:ext>
              </a:extLst>
            </p:cNvPr>
            <p:cNvSpPr>
              <a:spLocks noChangeAspect="1"/>
            </p:cNvSpPr>
            <p:nvPr userDrawn="1"/>
          </p:nvSpPr>
          <p:spPr bwMode="gray">
            <a:xfrm>
              <a:off x="6044779" y="2594243"/>
              <a:ext cx="225343" cy="117364"/>
            </a:xfrm>
            <a:custGeom>
              <a:avLst/>
              <a:gdLst>
                <a:gd name="T0" fmla="*/ 0 w 420"/>
                <a:gd name="T1" fmla="*/ 0 h 205"/>
                <a:gd name="T2" fmla="*/ 0 w 420"/>
                <a:gd name="T3" fmla="*/ 0 h 205"/>
                <a:gd name="T4" fmla="*/ 0 w 420"/>
                <a:gd name="T5" fmla="*/ 0 h 205"/>
                <a:gd name="T6" fmla="*/ 0 w 420"/>
                <a:gd name="T7" fmla="*/ 0 h 205"/>
                <a:gd name="T8" fmla="*/ 0 w 420"/>
                <a:gd name="T9" fmla="*/ 0 h 205"/>
                <a:gd name="T10" fmla="*/ 0 w 420"/>
                <a:gd name="T11" fmla="*/ 0 h 205"/>
                <a:gd name="T12" fmla="*/ 0 w 420"/>
                <a:gd name="T13" fmla="*/ 0 h 205"/>
                <a:gd name="T14" fmla="*/ 0 w 420"/>
                <a:gd name="T15" fmla="*/ 0 h 205"/>
                <a:gd name="T16" fmla="*/ 0 w 420"/>
                <a:gd name="T17" fmla="*/ 0 h 205"/>
                <a:gd name="T18" fmla="*/ 0 w 420"/>
                <a:gd name="T19" fmla="*/ 0 h 205"/>
                <a:gd name="T20" fmla="*/ 0 w 420"/>
                <a:gd name="T21" fmla="*/ 0 h 205"/>
                <a:gd name="T22" fmla="*/ 0 w 420"/>
                <a:gd name="T23" fmla="*/ 0 h 205"/>
                <a:gd name="T24" fmla="*/ 0 w 420"/>
                <a:gd name="T25" fmla="*/ 0 h 205"/>
                <a:gd name="T26" fmla="*/ 0 w 420"/>
                <a:gd name="T27" fmla="*/ 0 h 205"/>
                <a:gd name="T28" fmla="*/ 0 w 420"/>
                <a:gd name="T29" fmla="*/ 0 h 205"/>
                <a:gd name="T30" fmla="*/ 0 w 420"/>
                <a:gd name="T31" fmla="*/ 0 h 205"/>
                <a:gd name="T32" fmla="*/ 0 w 420"/>
                <a:gd name="T33" fmla="*/ 0 h 205"/>
                <a:gd name="T34" fmla="*/ 0 w 420"/>
                <a:gd name="T35" fmla="*/ 0 h 205"/>
                <a:gd name="T36" fmla="*/ 0 w 420"/>
                <a:gd name="T37" fmla="*/ 0 h 205"/>
                <a:gd name="T38" fmla="*/ 0 w 420"/>
                <a:gd name="T39" fmla="*/ 0 h 205"/>
                <a:gd name="T40" fmla="*/ 0 w 420"/>
                <a:gd name="T41" fmla="*/ 0 h 205"/>
                <a:gd name="T42" fmla="*/ 0 w 420"/>
                <a:gd name="T43" fmla="*/ 0 h 205"/>
                <a:gd name="T44" fmla="*/ 0 w 420"/>
                <a:gd name="T45" fmla="*/ 0 h 205"/>
                <a:gd name="T46" fmla="*/ 0 w 420"/>
                <a:gd name="T47" fmla="*/ 0 h 205"/>
                <a:gd name="T48" fmla="*/ 0 w 420"/>
                <a:gd name="T49" fmla="*/ 0 h 205"/>
                <a:gd name="T50" fmla="*/ 0 w 420"/>
                <a:gd name="T51" fmla="*/ 0 h 205"/>
                <a:gd name="T52" fmla="*/ 0 w 420"/>
                <a:gd name="T53" fmla="*/ 0 h 205"/>
                <a:gd name="T54" fmla="*/ 0 w 420"/>
                <a:gd name="T55" fmla="*/ 0 h 205"/>
                <a:gd name="T56" fmla="*/ 0 w 420"/>
                <a:gd name="T57" fmla="*/ 0 h 205"/>
                <a:gd name="T58" fmla="*/ 0 w 420"/>
                <a:gd name="T59" fmla="*/ 0 h 205"/>
                <a:gd name="T60" fmla="*/ 2147483647 w 420"/>
                <a:gd name="T61" fmla="*/ 0 h 205"/>
                <a:gd name="T62" fmla="*/ 2147483647 w 420"/>
                <a:gd name="T63" fmla="*/ 0 h 205"/>
                <a:gd name="T64" fmla="*/ 2147483647 w 420"/>
                <a:gd name="T65" fmla="*/ 0 h 205"/>
                <a:gd name="T66" fmla="*/ 2147483647 w 420"/>
                <a:gd name="T67" fmla="*/ 0 h 205"/>
                <a:gd name="T68" fmla="*/ 2147483647 w 420"/>
                <a:gd name="T69" fmla="*/ 0 h 205"/>
                <a:gd name="T70" fmla="*/ 2147483647 w 420"/>
                <a:gd name="T71" fmla="*/ 0 h 205"/>
                <a:gd name="T72" fmla="*/ 2147483647 w 420"/>
                <a:gd name="T73" fmla="*/ 0 h 205"/>
                <a:gd name="T74" fmla="*/ 2147483647 w 420"/>
                <a:gd name="T75" fmla="*/ 0 h 205"/>
                <a:gd name="T76" fmla="*/ 2147483647 w 420"/>
                <a:gd name="T77" fmla="*/ 0 h 205"/>
                <a:gd name="T78" fmla="*/ 2147483647 w 420"/>
                <a:gd name="T79" fmla="*/ 0 h 205"/>
                <a:gd name="T80" fmla="*/ 2147483647 w 420"/>
                <a:gd name="T81" fmla="*/ 0 h 205"/>
                <a:gd name="T82" fmla="*/ 2147483647 w 420"/>
                <a:gd name="T83" fmla="*/ 0 h 205"/>
                <a:gd name="T84" fmla="*/ 0 w 420"/>
                <a:gd name="T85" fmla="*/ 0 h 205"/>
                <a:gd name="T86" fmla="*/ 0 w 420"/>
                <a:gd name="T87" fmla="*/ 0 h 205"/>
                <a:gd name="T88" fmla="*/ 0 w 420"/>
                <a:gd name="T89" fmla="*/ 0 h 205"/>
                <a:gd name="T90" fmla="*/ 0 w 420"/>
                <a:gd name="T91" fmla="*/ 0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0"/>
                <a:gd name="T139" fmla="*/ 0 h 205"/>
                <a:gd name="T140" fmla="*/ 420 w 420"/>
                <a:gd name="T141" fmla="*/ 205 h 2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3" name="Freeform 171">
              <a:extLst>
                <a:ext uri="{FF2B5EF4-FFF2-40B4-BE49-F238E27FC236}">
                  <a16:creationId xmlns:a16="http://schemas.microsoft.com/office/drawing/2014/main" id="{867B5E03-A182-AB35-F3B7-40ECD73E8D6A}"/>
                </a:ext>
              </a:extLst>
            </p:cNvPr>
            <p:cNvSpPr>
              <a:spLocks noChangeAspect="1"/>
            </p:cNvSpPr>
            <p:nvPr userDrawn="1"/>
          </p:nvSpPr>
          <p:spPr bwMode="gray">
            <a:xfrm>
              <a:off x="5810481" y="2879271"/>
              <a:ext cx="14923" cy="7622"/>
            </a:xfrm>
            <a:custGeom>
              <a:avLst/>
              <a:gdLst>
                <a:gd name="T0" fmla="*/ 0 w 21"/>
                <a:gd name="T1" fmla="*/ 0 h 13"/>
                <a:gd name="T2" fmla="*/ 0 w 21"/>
                <a:gd name="T3" fmla="*/ 0 h 13"/>
                <a:gd name="T4" fmla="*/ 0 w 21"/>
                <a:gd name="T5" fmla="*/ 0 h 13"/>
                <a:gd name="T6" fmla="*/ 0 w 21"/>
                <a:gd name="T7" fmla="*/ 0 h 13"/>
                <a:gd name="T8" fmla="*/ 0 w 21"/>
                <a:gd name="T9" fmla="*/ 0 h 13"/>
                <a:gd name="T10" fmla="*/ 0 w 21"/>
                <a:gd name="T11" fmla="*/ 0 h 13"/>
                <a:gd name="T12" fmla="*/ 0 w 21"/>
                <a:gd name="T13" fmla="*/ 0 h 13"/>
                <a:gd name="T14" fmla="*/ 0 w 21"/>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3"/>
                <a:gd name="T26" fmla="*/ 21 w 21"/>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4" name="Freeform 172">
              <a:extLst>
                <a:ext uri="{FF2B5EF4-FFF2-40B4-BE49-F238E27FC236}">
                  <a16:creationId xmlns:a16="http://schemas.microsoft.com/office/drawing/2014/main" id="{B2628098-B97A-B93D-69D4-C4009EE6FE4F}"/>
                </a:ext>
              </a:extLst>
            </p:cNvPr>
            <p:cNvSpPr>
              <a:spLocks noChangeAspect="1"/>
            </p:cNvSpPr>
            <p:nvPr userDrawn="1"/>
          </p:nvSpPr>
          <p:spPr bwMode="gray">
            <a:xfrm>
              <a:off x="6049256" y="2668929"/>
              <a:ext cx="7462" cy="16767"/>
            </a:xfrm>
            <a:custGeom>
              <a:avLst/>
              <a:gdLst>
                <a:gd name="T0" fmla="*/ 0 w 14"/>
                <a:gd name="T1" fmla="*/ 0 h 30"/>
                <a:gd name="T2" fmla="*/ 0 w 14"/>
                <a:gd name="T3" fmla="*/ 0 h 30"/>
                <a:gd name="T4" fmla="*/ 0 w 14"/>
                <a:gd name="T5" fmla="*/ 0 h 30"/>
                <a:gd name="T6" fmla="*/ 0 w 14"/>
                <a:gd name="T7" fmla="*/ 0 h 30"/>
                <a:gd name="T8" fmla="*/ 0 w 14"/>
                <a:gd name="T9" fmla="*/ 0 h 30"/>
                <a:gd name="T10" fmla="*/ 0 w 14"/>
                <a:gd name="T11" fmla="*/ 0 h 30"/>
                <a:gd name="T12" fmla="*/ 0 w 14"/>
                <a:gd name="T13" fmla="*/ 0 h 30"/>
                <a:gd name="T14" fmla="*/ 0 w 14"/>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30"/>
                <a:gd name="T26" fmla="*/ 14 w 14"/>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5" name="Freeform 174">
              <a:extLst>
                <a:ext uri="{FF2B5EF4-FFF2-40B4-BE49-F238E27FC236}">
                  <a16:creationId xmlns:a16="http://schemas.microsoft.com/office/drawing/2014/main" id="{AAFEDF99-BB85-F05B-2597-D4931F6870E5}"/>
                </a:ext>
              </a:extLst>
            </p:cNvPr>
            <p:cNvSpPr>
              <a:spLocks noChangeAspect="1"/>
            </p:cNvSpPr>
            <p:nvPr userDrawn="1"/>
          </p:nvSpPr>
          <p:spPr bwMode="gray">
            <a:xfrm>
              <a:off x="6136500" y="3054857"/>
              <a:ext cx="90346" cy="62606"/>
            </a:xfrm>
            <a:custGeom>
              <a:avLst/>
              <a:gdLst>
                <a:gd name="T0" fmla="*/ 0 w 172"/>
                <a:gd name="T1" fmla="*/ 0 h 110"/>
                <a:gd name="T2" fmla="*/ 0 w 172"/>
                <a:gd name="T3" fmla="*/ 0 h 110"/>
                <a:gd name="T4" fmla="*/ 0 w 172"/>
                <a:gd name="T5" fmla="*/ 0 h 110"/>
                <a:gd name="T6" fmla="*/ 0 w 172"/>
                <a:gd name="T7" fmla="*/ 0 h 110"/>
                <a:gd name="T8" fmla="*/ 0 w 172"/>
                <a:gd name="T9" fmla="*/ 0 h 110"/>
                <a:gd name="T10" fmla="*/ 0 w 172"/>
                <a:gd name="T11" fmla="*/ 0 h 110"/>
                <a:gd name="T12" fmla="*/ 0 w 172"/>
                <a:gd name="T13" fmla="*/ 0 h 110"/>
                <a:gd name="T14" fmla="*/ 0 w 172"/>
                <a:gd name="T15" fmla="*/ 0 h 110"/>
                <a:gd name="T16" fmla="*/ 0 w 172"/>
                <a:gd name="T17" fmla="*/ 0 h 110"/>
                <a:gd name="T18" fmla="*/ 0 w 172"/>
                <a:gd name="T19" fmla="*/ 0 h 110"/>
                <a:gd name="T20" fmla="*/ 0 w 172"/>
                <a:gd name="T21" fmla="*/ 0 h 110"/>
                <a:gd name="T22" fmla="*/ 0 w 172"/>
                <a:gd name="T23" fmla="*/ 0 h 110"/>
                <a:gd name="T24" fmla="*/ 0 w 172"/>
                <a:gd name="T25" fmla="*/ 0 h 110"/>
                <a:gd name="T26" fmla="*/ 0 w 172"/>
                <a:gd name="T27" fmla="*/ 0 h 110"/>
                <a:gd name="T28" fmla="*/ 0 w 172"/>
                <a:gd name="T29" fmla="*/ 0 h 110"/>
                <a:gd name="T30" fmla="*/ 0 w 172"/>
                <a:gd name="T31" fmla="*/ 0 h 110"/>
                <a:gd name="T32" fmla="*/ 0 w 172"/>
                <a:gd name="T33" fmla="*/ 0 h 110"/>
                <a:gd name="T34" fmla="*/ 0 w 172"/>
                <a:gd name="T35" fmla="*/ 0 h 110"/>
                <a:gd name="T36" fmla="*/ 0 w 172"/>
                <a:gd name="T37" fmla="*/ 0 h 110"/>
                <a:gd name="T38" fmla="*/ 0 w 172"/>
                <a:gd name="T39" fmla="*/ 0 h 110"/>
                <a:gd name="T40" fmla="*/ 0 w 172"/>
                <a:gd name="T41" fmla="*/ 0 h 110"/>
                <a:gd name="T42" fmla="*/ 0 w 172"/>
                <a:gd name="T43" fmla="*/ 0 h 110"/>
                <a:gd name="T44" fmla="*/ 0 w 172"/>
                <a:gd name="T45" fmla="*/ 0 h 110"/>
                <a:gd name="T46" fmla="*/ 0 w 172"/>
                <a:gd name="T47" fmla="*/ 0 h 110"/>
                <a:gd name="T48" fmla="*/ 0 w 172"/>
                <a:gd name="T49" fmla="*/ 0 h 110"/>
                <a:gd name="T50" fmla="*/ 0 w 172"/>
                <a:gd name="T51" fmla="*/ 0 h 110"/>
                <a:gd name="T52" fmla="*/ 0 w 172"/>
                <a:gd name="T53" fmla="*/ 0 h 110"/>
                <a:gd name="T54" fmla="*/ 0 w 172"/>
                <a:gd name="T55" fmla="*/ 0 h 110"/>
                <a:gd name="T56" fmla="*/ 0 w 172"/>
                <a:gd name="T57" fmla="*/ 0 h 110"/>
                <a:gd name="T58" fmla="*/ 0 w 172"/>
                <a:gd name="T59" fmla="*/ 0 h 110"/>
                <a:gd name="T60" fmla="*/ 0 w 172"/>
                <a:gd name="T61" fmla="*/ 0 h 110"/>
                <a:gd name="T62" fmla="*/ 0 w 172"/>
                <a:gd name="T63" fmla="*/ 0 h 110"/>
                <a:gd name="T64" fmla="*/ 0 w 172"/>
                <a:gd name="T65" fmla="*/ 0 h 110"/>
                <a:gd name="T66" fmla="*/ 0 w 172"/>
                <a:gd name="T67" fmla="*/ 0 h 110"/>
                <a:gd name="T68" fmla="*/ 0 w 172"/>
                <a:gd name="T69" fmla="*/ 0 h 110"/>
                <a:gd name="T70" fmla="*/ 0 w 172"/>
                <a:gd name="T71" fmla="*/ 0 h 110"/>
                <a:gd name="T72" fmla="*/ 0 w 172"/>
                <a:gd name="T73" fmla="*/ 0 h 110"/>
                <a:gd name="T74" fmla="*/ 0 w 172"/>
                <a:gd name="T75" fmla="*/ 0 h 110"/>
                <a:gd name="T76" fmla="*/ 0 w 172"/>
                <a:gd name="T77" fmla="*/ 0 h 110"/>
                <a:gd name="T78" fmla="*/ 0 w 172"/>
                <a:gd name="T79" fmla="*/ 0 h 110"/>
                <a:gd name="T80" fmla="*/ 0 w 172"/>
                <a:gd name="T81" fmla="*/ 0 h 110"/>
                <a:gd name="T82" fmla="*/ 0 w 172"/>
                <a:gd name="T83" fmla="*/ 0 h 110"/>
                <a:gd name="T84" fmla="*/ 0 w 172"/>
                <a:gd name="T85" fmla="*/ 0 h 110"/>
                <a:gd name="T86" fmla="*/ 0 w 172"/>
                <a:gd name="T87" fmla="*/ 0 h 1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2"/>
                <a:gd name="T133" fmla="*/ 0 h 110"/>
                <a:gd name="T134" fmla="*/ 172 w 172"/>
                <a:gd name="T135" fmla="*/ 110 h 1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6" name="Freeform 175">
              <a:extLst>
                <a:ext uri="{FF2B5EF4-FFF2-40B4-BE49-F238E27FC236}">
                  <a16:creationId xmlns:a16="http://schemas.microsoft.com/office/drawing/2014/main" id="{3B89A4EC-3016-E423-AC03-BEF2FABCDC3F}"/>
                </a:ext>
              </a:extLst>
            </p:cNvPr>
            <p:cNvSpPr>
              <a:spLocks noChangeAspect="1"/>
            </p:cNvSpPr>
            <p:nvPr userDrawn="1"/>
          </p:nvSpPr>
          <p:spPr bwMode="gray">
            <a:xfrm>
              <a:off x="6011609" y="2932490"/>
              <a:ext cx="42516" cy="99601"/>
            </a:xfrm>
            <a:custGeom>
              <a:avLst/>
              <a:gdLst>
                <a:gd name="T0" fmla="*/ 0 w 82"/>
                <a:gd name="T1" fmla="*/ 0 h 173"/>
                <a:gd name="T2" fmla="*/ 0 w 82"/>
                <a:gd name="T3" fmla="*/ 0 h 173"/>
                <a:gd name="T4" fmla="*/ 0 w 82"/>
                <a:gd name="T5" fmla="*/ 0 h 173"/>
                <a:gd name="T6" fmla="*/ 0 w 82"/>
                <a:gd name="T7" fmla="*/ 0 h 173"/>
                <a:gd name="T8" fmla="*/ 0 w 82"/>
                <a:gd name="T9" fmla="*/ 0 h 173"/>
                <a:gd name="T10" fmla="*/ 0 w 82"/>
                <a:gd name="T11" fmla="*/ 0 h 173"/>
                <a:gd name="T12" fmla="*/ 0 w 82"/>
                <a:gd name="T13" fmla="*/ 0 h 173"/>
                <a:gd name="T14" fmla="*/ 0 w 82"/>
                <a:gd name="T15" fmla="*/ 0 h 173"/>
                <a:gd name="T16" fmla="*/ 0 w 82"/>
                <a:gd name="T17" fmla="*/ 0 h 173"/>
                <a:gd name="T18" fmla="*/ 0 w 82"/>
                <a:gd name="T19" fmla="*/ 0 h 173"/>
                <a:gd name="T20" fmla="*/ 0 w 82"/>
                <a:gd name="T21" fmla="*/ 0 h 173"/>
                <a:gd name="T22" fmla="*/ 0 w 82"/>
                <a:gd name="T23" fmla="*/ 0 h 173"/>
                <a:gd name="T24" fmla="*/ 0 w 82"/>
                <a:gd name="T25" fmla="*/ 0 h 173"/>
                <a:gd name="T26" fmla="*/ 0 w 82"/>
                <a:gd name="T27" fmla="*/ 0 h 173"/>
                <a:gd name="T28" fmla="*/ 0 w 82"/>
                <a:gd name="T29" fmla="*/ 0 h 173"/>
                <a:gd name="T30" fmla="*/ 0 w 82"/>
                <a:gd name="T31" fmla="*/ 0 h 173"/>
                <a:gd name="T32" fmla="*/ 0 w 82"/>
                <a:gd name="T33" fmla="*/ 0 h 173"/>
                <a:gd name="T34" fmla="*/ 0 w 82"/>
                <a:gd name="T35" fmla="*/ 0 h 173"/>
                <a:gd name="T36" fmla="*/ 0 w 82"/>
                <a:gd name="T37" fmla="*/ 0 h 173"/>
                <a:gd name="T38" fmla="*/ 0 w 82"/>
                <a:gd name="T39" fmla="*/ 0 h 173"/>
                <a:gd name="T40" fmla="*/ 0 w 82"/>
                <a:gd name="T41" fmla="*/ 0 h 173"/>
                <a:gd name="T42" fmla="*/ 0 w 82"/>
                <a:gd name="T43" fmla="*/ 0 h 173"/>
                <a:gd name="T44" fmla="*/ 0 w 82"/>
                <a:gd name="T45" fmla="*/ 0 h 173"/>
                <a:gd name="T46" fmla="*/ 0 w 82"/>
                <a:gd name="T47" fmla="*/ 0 h 173"/>
                <a:gd name="T48" fmla="*/ 0 w 82"/>
                <a:gd name="T49" fmla="*/ 0 h 173"/>
                <a:gd name="T50" fmla="*/ 0 w 82"/>
                <a:gd name="T51" fmla="*/ 0 h 173"/>
                <a:gd name="T52" fmla="*/ 0 w 82"/>
                <a:gd name="T53" fmla="*/ 0 h 173"/>
                <a:gd name="T54" fmla="*/ 0 w 82"/>
                <a:gd name="T55" fmla="*/ 0 h 173"/>
                <a:gd name="T56" fmla="*/ 0 w 82"/>
                <a:gd name="T57" fmla="*/ 0 h 173"/>
                <a:gd name="T58" fmla="*/ 0 w 82"/>
                <a:gd name="T59" fmla="*/ 0 h 173"/>
                <a:gd name="T60" fmla="*/ 0 w 82"/>
                <a:gd name="T61" fmla="*/ 0 h 173"/>
                <a:gd name="T62" fmla="*/ 0 w 82"/>
                <a:gd name="T63" fmla="*/ 0 h 173"/>
                <a:gd name="T64" fmla="*/ 0 w 82"/>
                <a:gd name="T65" fmla="*/ 0 h 173"/>
                <a:gd name="T66" fmla="*/ 0 w 82"/>
                <a:gd name="T67" fmla="*/ 0 h 173"/>
                <a:gd name="T68" fmla="*/ 0 w 82"/>
                <a:gd name="T69" fmla="*/ 0 h 173"/>
                <a:gd name="T70" fmla="*/ 0 w 82"/>
                <a:gd name="T71" fmla="*/ 0 h 173"/>
                <a:gd name="T72" fmla="*/ 0 w 82"/>
                <a:gd name="T73" fmla="*/ 0 h 173"/>
                <a:gd name="T74" fmla="*/ 0 w 82"/>
                <a:gd name="T75" fmla="*/ 0 h 173"/>
                <a:gd name="T76" fmla="*/ 0 w 82"/>
                <a:gd name="T77" fmla="*/ 0 h 173"/>
                <a:gd name="T78" fmla="*/ 0 w 82"/>
                <a:gd name="T79" fmla="*/ 0 h 173"/>
                <a:gd name="T80" fmla="*/ 0 w 82"/>
                <a:gd name="T81" fmla="*/ 0 h 173"/>
                <a:gd name="T82" fmla="*/ 0 w 82"/>
                <a:gd name="T83" fmla="*/ 0 h 17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2"/>
                <a:gd name="T127" fmla="*/ 0 h 173"/>
                <a:gd name="T128" fmla="*/ 82 w 82"/>
                <a:gd name="T129" fmla="*/ 173 h 17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7" name="Freeform 176">
              <a:extLst>
                <a:ext uri="{FF2B5EF4-FFF2-40B4-BE49-F238E27FC236}">
                  <a16:creationId xmlns:a16="http://schemas.microsoft.com/office/drawing/2014/main" id="{562DDF7A-6394-8988-C775-499CAE4CBBAA}"/>
                </a:ext>
              </a:extLst>
            </p:cNvPr>
            <p:cNvSpPr>
              <a:spLocks noChangeAspect="1"/>
            </p:cNvSpPr>
            <p:nvPr userDrawn="1"/>
          </p:nvSpPr>
          <p:spPr bwMode="gray">
            <a:xfrm>
              <a:off x="5966436" y="2682064"/>
              <a:ext cx="342785" cy="387022"/>
            </a:xfrm>
            <a:custGeom>
              <a:avLst/>
              <a:gdLst>
                <a:gd name="T0" fmla="*/ 0 w 645"/>
                <a:gd name="T1" fmla="*/ 0 h 681"/>
                <a:gd name="T2" fmla="*/ 0 w 645"/>
                <a:gd name="T3" fmla="*/ 0 h 681"/>
                <a:gd name="T4" fmla="*/ 0 w 645"/>
                <a:gd name="T5" fmla="*/ 0 h 681"/>
                <a:gd name="T6" fmla="*/ 0 w 645"/>
                <a:gd name="T7" fmla="*/ 0 h 681"/>
                <a:gd name="T8" fmla="*/ 0 w 645"/>
                <a:gd name="T9" fmla="*/ 0 h 681"/>
                <a:gd name="T10" fmla="*/ 0 w 645"/>
                <a:gd name="T11" fmla="*/ 0 h 681"/>
                <a:gd name="T12" fmla="*/ 0 w 645"/>
                <a:gd name="T13" fmla="*/ 0 h 681"/>
                <a:gd name="T14" fmla="*/ 0 w 645"/>
                <a:gd name="T15" fmla="*/ 0 h 681"/>
                <a:gd name="T16" fmla="*/ 0 w 645"/>
                <a:gd name="T17" fmla="*/ 0 h 681"/>
                <a:gd name="T18" fmla="*/ 0 w 645"/>
                <a:gd name="T19" fmla="*/ 0 h 681"/>
                <a:gd name="T20" fmla="*/ 0 w 645"/>
                <a:gd name="T21" fmla="*/ 0 h 681"/>
                <a:gd name="T22" fmla="*/ 0 w 645"/>
                <a:gd name="T23" fmla="*/ 0 h 681"/>
                <a:gd name="T24" fmla="*/ 0 w 645"/>
                <a:gd name="T25" fmla="*/ 0 h 681"/>
                <a:gd name="T26" fmla="*/ 0 w 645"/>
                <a:gd name="T27" fmla="*/ 0 h 681"/>
                <a:gd name="T28" fmla="*/ 0 w 645"/>
                <a:gd name="T29" fmla="*/ 0 h 681"/>
                <a:gd name="T30" fmla="*/ 0 w 645"/>
                <a:gd name="T31" fmla="*/ 0 h 681"/>
                <a:gd name="T32" fmla="*/ 0 w 645"/>
                <a:gd name="T33" fmla="*/ 0 h 681"/>
                <a:gd name="T34" fmla="*/ 0 w 645"/>
                <a:gd name="T35" fmla="*/ 0 h 681"/>
                <a:gd name="T36" fmla="*/ 0 w 645"/>
                <a:gd name="T37" fmla="*/ 0 h 681"/>
                <a:gd name="T38" fmla="*/ 0 w 645"/>
                <a:gd name="T39" fmla="*/ 0 h 681"/>
                <a:gd name="T40" fmla="*/ 0 w 645"/>
                <a:gd name="T41" fmla="*/ 0 h 681"/>
                <a:gd name="T42" fmla="*/ 0 w 645"/>
                <a:gd name="T43" fmla="*/ 0 h 681"/>
                <a:gd name="T44" fmla="*/ 0 w 645"/>
                <a:gd name="T45" fmla="*/ 0 h 681"/>
                <a:gd name="T46" fmla="*/ 0 w 645"/>
                <a:gd name="T47" fmla="*/ 0 h 681"/>
                <a:gd name="T48" fmla="*/ 0 w 645"/>
                <a:gd name="T49" fmla="*/ 0 h 681"/>
                <a:gd name="T50" fmla="*/ 0 w 645"/>
                <a:gd name="T51" fmla="*/ 0 h 681"/>
                <a:gd name="T52" fmla="*/ 0 w 645"/>
                <a:gd name="T53" fmla="*/ 0 h 681"/>
                <a:gd name="T54" fmla="*/ 0 w 645"/>
                <a:gd name="T55" fmla="*/ 0 h 681"/>
                <a:gd name="T56" fmla="*/ 0 w 645"/>
                <a:gd name="T57" fmla="*/ 0 h 681"/>
                <a:gd name="T58" fmla="*/ 0 w 645"/>
                <a:gd name="T59" fmla="*/ 0 h 681"/>
                <a:gd name="T60" fmla="*/ 0 w 645"/>
                <a:gd name="T61" fmla="*/ 0 h 681"/>
                <a:gd name="T62" fmla="*/ 0 w 645"/>
                <a:gd name="T63" fmla="*/ 0 h 681"/>
                <a:gd name="T64" fmla="*/ 0 w 645"/>
                <a:gd name="T65" fmla="*/ 0 h 681"/>
                <a:gd name="T66" fmla="*/ 0 w 645"/>
                <a:gd name="T67" fmla="*/ 0 h 681"/>
                <a:gd name="T68" fmla="*/ 0 w 645"/>
                <a:gd name="T69" fmla="*/ 0 h 681"/>
                <a:gd name="T70" fmla="*/ 0 w 645"/>
                <a:gd name="T71" fmla="*/ 0 h 681"/>
                <a:gd name="T72" fmla="*/ 0 w 645"/>
                <a:gd name="T73" fmla="*/ 0 h 681"/>
                <a:gd name="T74" fmla="*/ 0 w 645"/>
                <a:gd name="T75" fmla="*/ 0 h 681"/>
                <a:gd name="T76" fmla="*/ 0 w 645"/>
                <a:gd name="T77" fmla="*/ 0 h 681"/>
                <a:gd name="T78" fmla="*/ 0 w 645"/>
                <a:gd name="T79" fmla="*/ 0 h 681"/>
                <a:gd name="T80" fmla="*/ 0 w 645"/>
                <a:gd name="T81" fmla="*/ 0 h 681"/>
                <a:gd name="T82" fmla="*/ 0 w 645"/>
                <a:gd name="T83" fmla="*/ 0 h 681"/>
                <a:gd name="T84" fmla="*/ 0 w 645"/>
                <a:gd name="T85" fmla="*/ 0 h 681"/>
                <a:gd name="T86" fmla="*/ 0 w 645"/>
                <a:gd name="T87" fmla="*/ 0 h 681"/>
                <a:gd name="T88" fmla="*/ 0 w 645"/>
                <a:gd name="T89" fmla="*/ 0 h 681"/>
                <a:gd name="T90" fmla="*/ 0 w 645"/>
                <a:gd name="T91" fmla="*/ 0 h 681"/>
                <a:gd name="T92" fmla="*/ 0 w 645"/>
                <a:gd name="T93" fmla="*/ 0 h 681"/>
                <a:gd name="T94" fmla="*/ 0 w 645"/>
                <a:gd name="T95" fmla="*/ 0 h 681"/>
                <a:gd name="T96" fmla="*/ 0 w 645"/>
                <a:gd name="T97" fmla="*/ 0 h 681"/>
                <a:gd name="T98" fmla="*/ 0 w 645"/>
                <a:gd name="T99" fmla="*/ 0 h 681"/>
                <a:gd name="T100" fmla="*/ 0 w 645"/>
                <a:gd name="T101" fmla="*/ 0 h 681"/>
                <a:gd name="T102" fmla="*/ 0 w 645"/>
                <a:gd name="T103" fmla="*/ 0 h 681"/>
                <a:gd name="T104" fmla="*/ 0 w 645"/>
                <a:gd name="T105" fmla="*/ 0 h 681"/>
                <a:gd name="T106" fmla="*/ 0 w 645"/>
                <a:gd name="T107" fmla="*/ 0 h 681"/>
                <a:gd name="T108" fmla="*/ 0 w 645"/>
                <a:gd name="T109" fmla="*/ 0 h 681"/>
                <a:gd name="T110" fmla="*/ 0 w 645"/>
                <a:gd name="T111" fmla="*/ 0 h 681"/>
                <a:gd name="T112" fmla="*/ 0 w 645"/>
                <a:gd name="T113" fmla="*/ 0 h 681"/>
                <a:gd name="T114" fmla="*/ 0 w 645"/>
                <a:gd name="T115" fmla="*/ 0 h 681"/>
                <a:gd name="T116" fmla="*/ 0 w 645"/>
                <a:gd name="T117" fmla="*/ 0 h 681"/>
                <a:gd name="T118" fmla="*/ 0 w 645"/>
                <a:gd name="T119" fmla="*/ 0 h 681"/>
                <a:gd name="T120" fmla="*/ 0 w 645"/>
                <a:gd name="T121" fmla="*/ 0 h 6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45"/>
                <a:gd name="T184" fmla="*/ 0 h 681"/>
                <a:gd name="T185" fmla="*/ 645 w 645"/>
                <a:gd name="T186" fmla="*/ 681 h 6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8" name="Freeform 177">
              <a:extLst>
                <a:ext uri="{FF2B5EF4-FFF2-40B4-BE49-F238E27FC236}">
                  <a16:creationId xmlns:a16="http://schemas.microsoft.com/office/drawing/2014/main" id="{F7A2B36C-DEAF-0A7A-F844-ACB6A1E9FD28}"/>
                </a:ext>
              </a:extLst>
            </p:cNvPr>
            <p:cNvSpPr>
              <a:spLocks noChangeAspect="1"/>
            </p:cNvSpPr>
            <p:nvPr userDrawn="1"/>
          </p:nvSpPr>
          <p:spPr bwMode="gray">
            <a:xfrm>
              <a:off x="5937330" y="2536323"/>
              <a:ext cx="17908" cy="32008"/>
            </a:xfrm>
            <a:custGeom>
              <a:avLst/>
              <a:gdLst>
                <a:gd name="T0" fmla="*/ 0 w 38"/>
                <a:gd name="T1" fmla="*/ 0 h 53"/>
                <a:gd name="T2" fmla="*/ 0 w 38"/>
                <a:gd name="T3" fmla="*/ 0 h 53"/>
                <a:gd name="T4" fmla="*/ 0 w 38"/>
                <a:gd name="T5" fmla="*/ 0 h 53"/>
                <a:gd name="T6" fmla="*/ 0 w 38"/>
                <a:gd name="T7" fmla="*/ 0 h 53"/>
                <a:gd name="T8" fmla="*/ 0 w 38"/>
                <a:gd name="T9" fmla="*/ 0 h 53"/>
                <a:gd name="T10" fmla="*/ 0 w 38"/>
                <a:gd name="T11" fmla="*/ 0 h 53"/>
                <a:gd name="T12" fmla="*/ 0 w 38"/>
                <a:gd name="T13" fmla="*/ 0 h 53"/>
                <a:gd name="T14" fmla="*/ 0 w 38"/>
                <a:gd name="T15" fmla="*/ 0 h 53"/>
                <a:gd name="T16" fmla="*/ 0 w 38"/>
                <a:gd name="T17" fmla="*/ 0 h 53"/>
                <a:gd name="T18" fmla="*/ 0 w 38"/>
                <a:gd name="T19" fmla="*/ 0 h 53"/>
                <a:gd name="T20" fmla="*/ 0 w 38"/>
                <a:gd name="T21" fmla="*/ 0 h 53"/>
                <a:gd name="T22" fmla="*/ 0 w 38"/>
                <a:gd name="T23" fmla="*/ 0 h 53"/>
                <a:gd name="T24" fmla="*/ 0 w 38"/>
                <a:gd name="T25" fmla="*/ 0 h 53"/>
                <a:gd name="T26" fmla="*/ 0 w 38"/>
                <a:gd name="T27" fmla="*/ 0 h 53"/>
                <a:gd name="T28" fmla="*/ 0 w 38"/>
                <a:gd name="T29" fmla="*/ 0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53"/>
                <a:gd name="T47" fmla="*/ 38 w 38"/>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69" name="Freeform 178">
              <a:extLst>
                <a:ext uri="{FF2B5EF4-FFF2-40B4-BE49-F238E27FC236}">
                  <a16:creationId xmlns:a16="http://schemas.microsoft.com/office/drawing/2014/main" id="{D42B10FE-514C-4476-CE36-CC1A2DABC656}"/>
                </a:ext>
              </a:extLst>
            </p:cNvPr>
            <p:cNvSpPr>
              <a:spLocks noChangeAspect="1"/>
            </p:cNvSpPr>
            <p:nvPr userDrawn="1"/>
          </p:nvSpPr>
          <p:spPr bwMode="gray">
            <a:xfrm>
              <a:off x="5943300" y="2656735"/>
              <a:ext cx="131326" cy="79259"/>
            </a:xfrm>
            <a:custGeom>
              <a:avLst/>
              <a:gdLst>
                <a:gd name="T0" fmla="*/ 0 w 241"/>
                <a:gd name="T1" fmla="*/ 0 h 142"/>
                <a:gd name="T2" fmla="*/ 0 w 241"/>
                <a:gd name="T3" fmla="*/ 0 h 142"/>
                <a:gd name="T4" fmla="*/ 0 w 241"/>
                <a:gd name="T5" fmla="*/ 0 h 142"/>
                <a:gd name="T6" fmla="*/ 0 w 241"/>
                <a:gd name="T7" fmla="*/ 0 h 142"/>
                <a:gd name="T8" fmla="*/ 0 w 241"/>
                <a:gd name="T9" fmla="*/ 0 h 142"/>
                <a:gd name="T10" fmla="*/ 0 w 241"/>
                <a:gd name="T11" fmla="*/ 0 h 142"/>
                <a:gd name="T12" fmla="*/ 0 w 241"/>
                <a:gd name="T13" fmla="*/ 0 h 142"/>
                <a:gd name="T14" fmla="*/ 0 w 241"/>
                <a:gd name="T15" fmla="*/ 0 h 142"/>
                <a:gd name="T16" fmla="*/ 0 w 241"/>
                <a:gd name="T17" fmla="*/ 0 h 142"/>
                <a:gd name="T18" fmla="*/ 0 w 241"/>
                <a:gd name="T19" fmla="*/ 0 h 142"/>
                <a:gd name="T20" fmla="*/ 0 w 241"/>
                <a:gd name="T21" fmla="*/ 0 h 142"/>
                <a:gd name="T22" fmla="*/ 0 w 241"/>
                <a:gd name="T23" fmla="*/ 0 h 142"/>
                <a:gd name="T24" fmla="*/ 0 w 241"/>
                <a:gd name="T25" fmla="*/ 0 h 142"/>
                <a:gd name="T26" fmla="*/ 0 w 241"/>
                <a:gd name="T27" fmla="*/ 0 h 142"/>
                <a:gd name="T28" fmla="*/ 0 w 241"/>
                <a:gd name="T29" fmla="*/ 0 h 142"/>
                <a:gd name="T30" fmla="*/ 0 w 241"/>
                <a:gd name="T31" fmla="*/ 0 h 142"/>
                <a:gd name="T32" fmla="*/ 0 w 241"/>
                <a:gd name="T33" fmla="*/ 0 h 142"/>
                <a:gd name="T34" fmla="*/ 0 w 241"/>
                <a:gd name="T35" fmla="*/ 0 h 142"/>
                <a:gd name="T36" fmla="*/ 0 w 241"/>
                <a:gd name="T37" fmla="*/ 0 h 142"/>
                <a:gd name="T38" fmla="*/ 0 w 241"/>
                <a:gd name="T39" fmla="*/ 0 h 142"/>
                <a:gd name="T40" fmla="*/ 0 w 241"/>
                <a:gd name="T41" fmla="*/ 0 h 142"/>
                <a:gd name="T42" fmla="*/ 0 w 241"/>
                <a:gd name="T43" fmla="*/ 0 h 142"/>
                <a:gd name="T44" fmla="*/ 0 w 241"/>
                <a:gd name="T45" fmla="*/ 0 h 142"/>
                <a:gd name="T46" fmla="*/ 0 w 241"/>
                <a:gd name="T47" fmla="*/ 0 h 142"/>
                <a:gd name="T48" fmla="*/ 0 w 241"/>
                <a:gd name="T49" fmla="*/ 0 h 142"/>
                <a:gd name="T50" fmla="*/ 0 w 241"/>
                <a:gd name="T51" fmla="*/ 0 h 142"/>
                <a:gd name="T52" fmla="*/ 0 w 241"/>
                <a:gd name="T53" fmla="*/ 0 h 142"/>
                <a:gd name="T54" fmla="*/ 0 w 241"/>
                <a:gd name="T55" fmla="*/ 0 h 142"/>
                <a:gd name="T56" fmla="*/ 0 w 241"/>
                <a:gd name="T57" fmla="*/ 0 h 142"/>
                <a:gd name="T58" fmla="*/ 0 w 241"/>
                <a:gd name="T59" fmla="*/ 0 h 142"/>
                <a:gd name="T60" fmla="*/ 0 w 241"/>
                <a:gd name="T61" fmla="*/ 0 h 142"/>
                <a:gd name="T62" fmla="*/ 0 w 241"/>
                <a:gd name="T63" fmla="*/ 0 h 142"/>
                <a:gd name="T64" fmla="*/ 0 w 241"/>
                <a:gd name="T65" fmla="*/ 0 h 1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1"/>
                <a:gd name="T100" fmla="*/ 0 h 142"/>
                <a:gd name="T101" fmla="*/ 241 w 241"/>
                <a:gd name="T102" fmla="*/ 142 h 1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0" name="Freeform 179">
              <a:extLst>
                <a:ext uri="{FF2B5EF4-FFF2-40B4-BE49-F238E27FC236}">
                  <a16:creationId xmlns:a16="http://schemas.microsoft.com/office/drawing/2014/main" id="{6F30312A-36F1-2A8C-1985-F99485249740}"/>
                </a:ext>
              </a:extLst>
            </p:cNvPr>
            <p:cNvSpPr>
              <a:spLocks noChangeAspect="1"/>
            </p:cNvSpPr>
            <p:nvPr userDrawn="1"/>
          </p:nvSpPr>
          <p:spPr bwMode="gray">
            <a:xfrm>
              <a:off x="5855251" y="2475353"/>
              <a:ext cx="97003" cy="89929"/>
            </a:xfrm>
            <a:custGeom>
              <a:avLst/>
              <a:gdLst>
                <a:gd name="T0" fmla="*/ 0 w 188"/>
                <a:gd name="T1" fmla="*/ 0 h 161"/>
                <a:gd name="T2" fmla="*/ 0 w 188"/>
                <a:gd name="T3" fmla="*/ 0 h 161"/>
                <a:gd name="T4" fmla="*/ 0 w 188"/>
                <a:gd name="T5" fmla="*/ 0 h 161"/>
                <a:gd name="T6" fmla="*/ 0 w 188"/>
                <a:gd name="T7" fmla="*/ 0 h 161"/>
                <a:gd name="T8" fmla="*/ 0 w 188"/>
                <a:gd name="T9" fmla="*/ 0 h 161"/>
                <a:gd name="T10" fmla="*/ 0 w 188"/>
                <a:gd name="T11" fmla="*/ 0 h 161"/>
                <a:gd name="T12" fmla="*/ 0 w 188"/>
                <a:gd name="T13" fmla="*/ 0 h 161"/>
                <a:gd name="T14" fmla="*/ 0 w 188"/>
                <a:gd name="T15" fmla="*/ 0 h 161"/>
                <a:gd name="T16" fmla="*/ 0 w 188"/>
                <a:gd name="T17" fmla="*/ 0 h 161"/>
                <a:gd name="T18" fmla="*/ 0 w 188"/>
                <a:gd name="T19" fmla="*/ 0 h 161"/>
                <a:gd name="T20" fmla="*/ 0 w 188"/>
                <a:gd name="T21" fmla="*/ 0 h 161"/>
                <a:gd name="T22" fmla="*/ 0 w 188"/>
                <a:gd name="T23" fmla="*/ 0 h 161"/>
                <a:gd name="T24" fmla="*/ 0 w 188"/>
                <a:gd name="T25" fmla="*/ 0 h 161"/>
                <a:gd name="T26" fmla="*/ 0 w 188"/>
                <a:gd name="T27" fmla="*/ 0 h 161"/>
                <a:gd name="T28" fmla="*/ 0 w 188"/>
                <a:gd name="T29" fmla="*/ 0 h 161"/>
                <a:gd name="T30" fmla="*/ 0 w 188"/>
                <a:gd name="T31" fmla="*/ 0 h 161"/>
                <a:gd name="T32" fmla="*/ 0 w 188"/>
                <a:gd name="T33" fmla="*/ 0 h 161"/>
                <a:gd name="T34" fmla="*/ 0 w 188"/>
                <a:gd name="T35" fmla="*/ 0 h 161"/>
                <a:gd name="T36" fmla="*/ 0 w 188"/>
                <a:gd name="T37" fmla="*/ 0 h 161"/>
                <a:gd name="T38" fmla="*/ 0 w 188"/>
                <a:gd name="T39" fmla="*/ 0 h 161"/>
                <a:gd name="T40" fmla="*/ 0 w 188"/>
                <a:gd name="T41" fmla="*/ 0 h 161"/>
                <a:gd name="T42" fmla="*/ 0 w 188"/>
                <a:gd name="T43" fmla="*/ 0 h 161"/>
                <a:gd name="T44" fmla="*/ 0 w 188"/>
                <a:gd name="T45" fmla="*/ 0 h 161"/>
                <a:gd name="T46" fmla="*/ 0 w 188"/>
                <a:gd name="T47" fmla="*/ 0 h 161"/>
                <a:gd name="T48" fmla="*/ 0 w 188"/>
                <a:gd name="T49" fmla="*/ 0 h 161"/>
                <a:gd name="T50" fmla="*/ 0 w 188"/>
                <a:gd name="T51" fmla="*/ 0 h 161"/>
                <a:gd name="T52" fmla="*/ 0 w 188"/>
                <a:gd name="T53" fmla="*/ 0 h 161"/>
                <a:gd name="T54" fmla="*/ 0 w 188"/>
                <a:gd name="T55" fmla="*/ 0 h 161"/>
                <a:gd name="T56" fmla="*/ 0 w 188"/>
                <a:gd name="T57" fmla="*/ 0 h 161"/>
                <a:gd name="T58" fmla="*/ 0 w 188"/>
                <a:gd name="T59" fmla="*/ 0 h 161"/>
                <a:gd name="T60" fmla="*/ 0 w 188"/>
                <a:gd name="T61" fmla="*/ 0 h 161"/>
                <a:gd name="T62" fmla="*/ 0 w 188"/>
                <a:gd name="T63" fmla="*/ 0 h 161"/>
                <a:gd name="T64" fmla="*/ 0 w 188"/>
                <a:gd name="T65" fmla="*/ 0 h 161"/>
                <a:gd name="T66" fmla="*/ 0 w 188"/>
                <a:gd name="T67" fmla="*/ 0 h 161"/>
                <a:gd name="T68" fmla="*/ 0 w 188"/>
                <a:gd name="T69" fmla="*/ 0 h 161"/>
                <a:gd name="T70" fmla="*/ 0 w 188"/>
                <a:gd name="T71" fmla="*/ 0 h 161"/>
                <a:gd name="T72" fmla="*/ 0 w 188"/>
                <a:gd name="T73" fmla="*/ 0 h 161"/>
                <a:gd name="T74" fmla="*/ 0 w 188"/>
                <a:gd name="T75" fmla="*/ 0 h 161"/>
                <a:gd name="T76" fmla="*/ 0 w 188"/>
                <a:gd name="T77" fmla="*/ 0 h 161"/>
                <a:gd name="T78" fmla="*/ 0 w 188"/>
                <a:gd name="T79" fmla="*/ 0 h 161"/>
                <a:gd name="T80" fmla="*/ 0 w 188"/>
                <a:gd name="T81" fmla="*/ 0 h 161"/>
                <a:gd name="T82" fmla="*/ 0 w 188"/>
                <a:gd name="T83" fmla="*/ 0 h 161"/>
                <a:gd name="T84" fmla="*/ 0 w 188"/>
                <a:gd name="T85" fmla="*/ 0 h 161"/>
                <a:gd name="T86" fmla="*/ 0 w 188"/>
                <a:gd name="T87" fmla="*/ 0 h 161"/>
                <a:gd name="T88" fmla="*/ 0 w 188"/>
                <a:gd name="T89" fmla="*/ 0 h 161"/>
                <a:gd name="T90" fmla="*/ 0 w 188"/>
                <a:gd name="T91" fmla="*/ 0 h 161"/>
                <a:gd name="T92" fmla="*/ 0 w 188"/>
                <a:gd name="T93" fmla="*/ 0 h 161"/>
                <a:gd name="T94" fmla="*/ 0 w 188"/>
                <a:gd name="T95" fmla="*/ 0 h 161"/>
                <a:gd name="T96" fmla="*/ 0 w 188"/>
                <a:gd name="T97" fmla="*/ 0 h 161"/>
                <a:gd name="T98" fmla="*/ 0 w 188"/>
                <a:gd name="T99" fmla="*/ 0 h 161"/>
                <a:gd name="T100" fmla="*/ 0 w 188"/>
                <a:gd name="T101" fmla="*/ 0 h 161"/>
                <a:gd name="T102" fmla="*/ 0 w 188"/>
                <a:gd name="T103" fmla="*/ 0 h 161"/>
                <a:gd name="T104" fmla="*/ 0 w 188"/>
                <a:gd name="T105" fmla="*/ 0 h 161"/>
                <a:gd name="T106" fmla="*/ 0 w 188"/>
                <a:gd name="T107" fmla="*/ 0 h 161"/>
                <a:gd name="T108" fmla="*/ 0 w 188"/>
                <a:gd name="T109" fmla="*/ 0 h 16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8"/>
                <a:gd name="T166" fmla="*/ 0 h 161"/>
                <a:gd name="T167" fmla="*/ 188 w 188"/>
                <a:gd name="T168" fmla="*/ 161 h 16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1" name="Freeform 180">
              <a:extLst>
                <a:ext uri="{FF2B5EF4-FFF2-40B4-BE49-F238E27FC236}">
                  <a16:creationId xmlns:a16="http://schemas.microsoft.com/office/drawing/2014/main" id="{C9FCE218-D807-5E29-E2D4-6A92454F3157}"/>
                </a:ext>
              </a:extLst>
            </p:cNvPr>
            <p:cNvSpPr>
              <a:spLocks noChangeAspect="1"/>
            </p:cNvSpPr>
            <p:nvPr userDrawn="1"/>
          </p:nvSpPr>
          <p:spPr bwMode="gray">
            <a:xfrm>
              <a:off x="5504551" y="2830496"/>
              <a:ext cx="365623" cy="310940"/>
            </a:xfrm>
            <a:custGeom>
              <a:avLst/>
              <a:gdLst>
                <a:gd name="T0" fmla="*/ 0 w 687"/>
                <a:gd name="T1" fmla="*/ 2147483647 h 545"/>
                <a:gd name="T2" fmla="*/ 0 w 687"/>
                <a:gd name="T3" fmla="*/ 2147483647 h 545"/>
                <a:gd name="T4" fmla="*/ 0 w 687"/>
                <a:gd name="T5" fmla="*/ 2147483647 h 545"/>
                <a:gd name="T6" fmla="*/ 0 w 687"/>
                <a:gd name="T7" fmla="*/ 2147483647 h 545"/>
                <a:gd name="T8" fmla="*/ 0 w 687"/>
                <a:gd name="T9" fmla="*/ 0 h 545"/>
                <a:gd name="T10" fmla="*/ 0 w 687"/>
                <a:gd name="T11" fmla="*/ 0 h 545"/>
                <a:gd name="T12" fmla="*/ 0 w 687"/>
                <a:gd name="T13" fmla="*/ 0 h 545"/>
                <a:gd name="T14" fmla="*/ 0 w 687"/>
                <a:gd name="T15" fmla="*/ 0 h 545"/>
                <a:gd name="T16" fmla="*/ 0 w 687"/>
                <a:gd name="T17" fmla="*/ 0 h 545"/>
                <a:gd name="T18" fmla="*/ 0 w 687"/>
                <a:gd name="T19" fmla="*/ 0 h 545"/>
                <a:gd name="T20" fmla="*/ 0 w 687"/>
                <a:gd name="T21" fmla="*/ 0 h 545"/>
                <a:gd name="T22" fmla="*/ 0 w 687"/>
                <a:gd name="T23" fmla="*/ 0 h 545"/>
                <a:gd name="T24" fmla="*/ 0 w 687"/>
                <a:gd name="T25" fmla="*/ 0 h 545"/>
                <a:gd name="T26" fmla="*/ 0 w 687"/>
                <a:gd name="T27" fmla="*/ 0 h 545"/>
                <a:gd name="T28" fmla="*/ 0 w 687"/>
                <a:gd name="T29" fmla="*/ 0 h 545"/>
                <a:gd name="T30" fmla="*/ 0 w 687"/>
                <a:gd name="T31" fmla="*/ 0 h 545"/>
                <a:gd name="T32" fmla="*/ 0 w 687"/>
                <a:gd name="T33" fmla="*/ 0 h 545"/>
                <a:gd name="T34" fmla="*/ 0 w 687"/>
                <a:gd name="T35" fmla="*/ 0 h 545"/>
                <a:gd name="T36" fmla="*/ 0 w 687"/>
                <a:gd name="T37" fmla="*/ 0 h 545"/>
                <a:gd name="T38" fmla="*/ 0 w 687"/>
                <a:gd name="T39" fmla="*/ 0 h 545"/>
                <a:gd name="T40" fmla="*/ 0 w 687"/>
                <a:gd name="T41" fmla="*/ 0 h 545"/>
                <a:gd name="T42" fmla="*/ 0 w 687"/>
                <a:gd name="T43" fmla="*/ 0 h 545"/>
                <a:gd name="T44" fmla="*/ 0 w 687"/>
                <a:gd name="T45" fmla="*/ 0 h 545"/>
                <a:gd name="T46" fmla="*/ 0 w 687"/>
                <a:gd name="T47" fmla="*/ 0 h 545"/>
                <a:gd name="T48" fmla="*/ 2147483647 w 687"/>
                <a:gd name="T49" fmla="*/ 0 h 545"/>
                <a:gd name="T50" fmla="*/ 2147483647 w 687"/>
                <a:gd name="T51" fmla="*/ 0 h 545"/>
                <a:gd name="T52" fmla="*/ 2147483647 w 687"/>
                <a:gd name="T53" fmla="*/ 0 h 545"/>
                <a:gd name="T54" fmla="*/ 2147483647 w 687"/>
                <a:gd name="T55" fmla="*/ 0 h 545"/>
                <a:gd name="T56" fmla="*/ 2147483647 w 687"/>
                <a:gd name="T57" fmla="*/ 0 h 545"/>
                <a:gd name="T58" fmla="*/ 2147483647 w 687"/>
                <a:gd name="T59" fmla="*/ 0 h 545"/>
                <a:gd name="T60" fmla="*/ 2147483647 w 687"/>
                <a:gd name="T61" fmla="*/ 0 h 545"/>
                <a:gd name="T62" fmla="*/ 2147483647 w 687"/>
                <a:gd name="T63" fmla="*/ 0 h 545"/>
                <a:gd name="T64" fmla="*/ 2147483647 w 687"/>
                <a:gd name="T65" fmla="*/ 0 h 545"/>
                <a:gd name="T66" fmla="*/ 2147483647 w 687"/>
                <a:gd name="T67" fmla="*/ 0 h 545"/>
                <a:gd name="T68" fmla="*/ 2147483647 w 687"/>
                <a:gd name="T69" fmla="*/ 0 h 545"/>
                <a:gd name="T70" fmla="*/ 2147483647 w 687"/>
                <a:gd name="T71" fmla="*/ 0 h 545"/>
                <a:gd name="T72" fmla="*/ 2147483647 w 687"/>
                <a:gd name="T73" fmla="*/ 0 h 545"/>
                <a:gd name="T74" fmla="*/ 2147483647 w 687"/>
                <a:gd name="T75" fmla="*/ 0 h 545"/>
                <a:gd name="T76" fmla="*/ 2147483647 w 687"/>
                <a:gd name="T77" fmla="*/ 0 h 545"/>
                <a:gd name="T78" fmla="*/ 2147483647 w 687"/>
                <a:gd name="T79" fmla="*/ 2147483647 h 545"/>
                <a:gd name="T80" fmla="*/ 2147483647 w 687"/>
                <a:gd name="T81" fmla="*/ 2147483647 h 545"/>
                <a:gd name="T82" fmla="*/ 2147483647 w 687"/>
                <a:gd name="T83" fmla="*/ 2147483647 h 545"/>
                <a:gd name="T84" fmla="*/ 2147483647 w 687"/>
                <a:gd name="T85" fmla="*/ 2147483647 h 545"/>
                <a:gd name="T86" fmla="*/ 2147483647 w 687"/>
                <a:gd name="T87" fmla="*/ 2147483647 h 545"/>
                <a:gd name="T88" fmla="*/ 2147483647 w 687"/>
                <a:gd name="T89" fmla="*/ 2147483647 h 545"/>
                <a:gd name="T90" fmla="*/ 2147483647 w 687"/>
                <a:gd name="T91" fmla="*/ 2147483647 h 545"/>
                <a:gd name="T92" fmla="*/ 2147483647 w 687"/>
                <a:gd name="T93" fmla="*/ 2147483647 h 545"/>
                <a:gd name="T94" fmla="*/ 2147483647 w 687"/>
                <a:gd name="T95" fmla="*/ 2147483647 h 545"/>
                <a:gd name="T96" fmla="*/ 2147483647 w 687"/>
                <a:gd name="T97" fmla="*/ 2147483647 h 545"/>
                <a:gd name="T98" fmla="*/ 0 w 687"/>
                <a:gd name="T99" fmla="*/ 2147483647 h 545"/>
                <a:gd name="T100" fmla="*/ 0 w 687"/>
                <a:gd name="T101" fmla="*/ 2147483647 h 545"/>
                <a:gd name="T102" fmla="*/ 0 w 687"/>
                <a:gd name="T103" fmla="*/ 2147483647 h 545"/>
                <a:gd name="T104" fmla="*/ 0 w 687"/>
                <a:gd name="T105" fmla="*/ 2147483647 h 545"/>
                <a:gd name="T106" fmla="*/ 0 w 687"/>
                <a:gd name="T107" fmla="*/ 2147483647 h 545"/>
                <a:gd name="T108" fmla="*/ 0 w 687"/>
                <a:gd name="T109" fmla="*/ 2147483647 h 545"/>
                <a:gd name="T110" fmla="*/ 0 w 687"/>
                <a:gd name="T111" fmla="*/ 2147483647 h 5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7"/>
                <a:gd name="T169" fmla="*/ 0 h 545"/>
                <a:gd name="T170" fmla="*/ 687 w 687"/>
                <a:gd name="T171" fmla="*/ 545 h 5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2" name="Freeform 181">
              <a:extLst>
                <a:ext uri="{FF2B5EF4-FFF2-40B4-BE49-F238E27FC236}">
                  <a16:creationId xmlns:a16="http://schemas.microsoft.com/office/drawing/2014/main" id="{E1ECA462-1B9C-0FC8-7889-B03A0C6FED76}"/>
                </a:ext>
              </a:extLst>
            </p:cNvPr>
            <p:cNvSpPr>
              <a:spLocks noChangeAspect="1"/>
            </p:cNvSpPr>
            <p:nvPr userDrawn="1"/>
          </p:nvSpPr>
          <p:spPr bwMode="gray">
            <a:xfrm>
              <a:off x="5871667" y="2371707"/>
              <a:ext cx="107449" cy="138704"/>
            </a:xfrm>
            <a:custGeom>
              <a:avLst/>
              <a:gdLst>
                <a:gd name="T0" fmla="*/ 0 w 196"/>
                <a:gd name="T1" fmla="*/ 0 h 239"/>
                <a:gd name="T2" fmla="*/ 0 w 196"/>
                <a:gd name="T3" fmla="*/ 0 h 239"/>
                <a:gd name="T4" fmla="*/ 0 w 196"/>
                <a:gd name="T5" fmla="*/ 0 h 239"/>
                <a:gd name="T6" fmla="*/ 0 w 196"/>
                <a:gd name="T7" fmla="*/ 0 h 239"/>
                <a:gd name="T8" fmla="*/ 0 w 196"/>
                <a:gd name="T9" fmla="*/ 0 h 239"/>
                <a:gd name="T10" fmla="*/ 0 w 196"/>
                <a:gd name="T11" fmla="*/ 0 h 239"/>
                <a:gd name="T12" fmla="*/ 0 w 196"/>
                <a:gd name="T13" fmla="*/ 0 h 239"/>
                <a:gd name="T14" fmla="*/ 0 w 196"/>
                <a:gd name="T15" fmla="*/ 0 h 239"/>
                <a:gd name="T16" fmla="*/ 0 w 196"/>
                <a:gd name="T17" fmla="*/ 0 h 239"/>
                <a:gd name="T18" fmla="*/ 0 w 196"/>
                <a:gd name="T19" fmla="*/ 0 h 239"/>
                <a:gd name="T20" fmla="*/ 0 w 196"/>
                <a:gd name="T21" fmla="*/ 0 h 239"/>
                <a:gd name="T22" fmla="*/ 0 w 196"/>
                <a:gd name="T23" fmla="*/ 0 h 239"/>
                <a:gd name="T24" fmla="*/ 0 w 196"/>
                <a:gd name="T25" fmla="*/ 0 h 239"/>
                <a:gd name="T26" fmla="*/ 0 w 196"/>
                <a:gd name="T27" fmla="*/ 0 h 239"/>
                <a:gd name="T28" fmla="*/ 0 w 196"/>
                <a:gd name="T29" fmla="*/ 0 h 239"/>
                <a:gd name="T30" fmla="*/ 0 w 196"/>
                <a:gd name="T31" fmla="*/ 0 h 239"/>
                <a:gd name="T32" fmla="*/ 0 w 196"/>
                <a:gd name="T33" fmla="*/ 0 h 239"/>
                <a:gd name="T34" fmla="*/ 0 w 196"/>
                <a:gd name="T35" fmla="*/ 0 h 239"/>
                <a:gd name="T36" fmla="*/ 0 w 196"/>
                <a:gd name="T37" fmla="*/ 0 h 239"/>
                <a:gd name="T38" fmla="*/ 0 w 196"/>
                <a:gd name="T39" fmla="*/ 0 h 239"/>
                <a:gd name="T40" fmla="*/ 0 w 196"/>
                <a:gd name="T41" fmla="*/ 0 h 239"/>
                <a:gd name="T42" fmla="*/ 0 w 196"/>
                <a:gd name="T43" fmla="*/ 0 h 239"/>
                <a:gd name="T44" fmla="*/ 0 w 196"/>
                <a:gd name="T45" fmla="*/ 0 h 239"/>
                <a:gd name="T46" fmla="*/ 0 w 196"/>
                <a:gd name="T47" fmla="*/ 0 h 239"/>
                <a:gd name="T48" fmla="*/ 0 w 196"/>
                <a:gd name="T49" fmla="*/ 0 h 239"/>
                <a:gd name="T50" fmla="*/ 0 w 196"/>
                <a:gd name="T51" fmla="*/ 0 h 239"/>
                <a:gd name="T52" fmla="*/ 0 w 196"/>
                <a:gd name="T53" fmla="*/ 0 h 239"/>
                <a:gd name="T54" fmla="*/ 0 w 196"/>
                <a:gd name="T55" fmla="*/ 0 h 239"/>
                <a:gd name="T56" fmla="*/ 0 w 196"/>
                <a:gd name="T57" fmla="*/ 0 h 239"/>
                <a:gd name="T58" fmla="*/ 0 w 196"/>
                <a:gd name="T59" fmla="*/ 0 h 239"/>
                <a:gd name="T60" fmla="*/ 0 w 196"/>
                <a:gd name="T61" fmla="*/ 0 h 239"/>
                <a:gd name="T62" fmla="*/ 0 w 196"/>
                <a:gd name="T63" fmla="*/ 0 h 239"/>
                <a:gd name="T64" fmla="*/ 0 w 196"/>
                <a:gd name="T65" fmla="*/ 0 h 239"/>
                <a:gd name="T66" fmla="*/ 0 w 196"/>
                <a:gd name="T67" fmla="*/ 0 h 239"/>
                <a:gd name="T68" fmla="*/ 0 w 196"/>
                <a:gd name="T69" fmla="*/ 0 h 239"/>
                <a:gd name="T70" fmla="*/ 0 w 196"/>
                <a:gd name="T71" fmla="*/ 0 h 239"/>
                <a:gd name="T72" fmla="*/ 0 w 196"/>
                <a:gd name="T73" fmla="*/ 0 h 239"/>
                <a:gd name="T74" fmla="*/ 0 w 196"/>
                <a:gd name="T75" fmla="*/ 0 h 239"/>
                <a:gd name="T76" fmla="*/ 0 w 196"/>
                <a:gd name="T77" fmla="*/ 0 h 239"/>
                <a:gd name="T78" fmla="*/ 0 w 196"/>
                <a:gd name="T79" fmla="*/ 0 h 239"/>
                <a:gd name="T80" fmla="*/ 0 w 196"/>
                <a:gd name="T81" fmla="*/ 0 h 239"/>
                <a:gd name="T82" fmla="*/ 0 w 196"/>
                <a:gd name="T83" fmla="*/ 0 h 239"/>
                <a:gd name="T84" fmla="*/ 0 w 196"/>
                <a:gd name="T85" fmla="*/ 0 h 239"/>
                <a:gd name="T86" fmla="*/ 0 w 196"/>
                <a:gd name="T87" fmla="*/ 0 h 239"/>
                <a:gd name="T88" fmla="*/ 0 w 196"/>
                <a:gd name="T89" fmla="*/ 0 h 239"/>
                <a:gd name="T90" fmla="*/ 0 w 196"/>
                <a:gd name="T91" fmla="*/ 0 h 239"/>
                <a:gd name="T92" fmla="*/ 0 w 196"/>
                <a:gd name="T93" fmla="*/ 0 h 239"/>
                <a:gd name="T94" fmla="*/ 0 w 196"/>
                <a:gd name="T95" fmla="*/ 0 h 239"/>
                <a:gd name="T96" fmla="*/ 0 w 196"/>
                <a:gd name="T97" fmla="*/ 0 h 23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6"/>
                <a:gd name="T148" fmla="*/ 0 h 239"/>
                <a:gd name="T149" fmla="*/ 196 w 196"/>
                <a:gd name="T150" fmla="*/ 239 h 23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3" name="Freeform 182">
              <a:extLst>
                <a:ext uri="{FF2B5EF4-FFF2-40B4-BE49-F238E27FC236}">
                  <a16:creationId xmlns:a16="http://schemas.microsoft.com/office/drawing/2014/main" id="{666F2035-90BF-0D92-2D38-0DDFD5F0A24C}"/>
                </a:ext>
              </a:extLst>
            </p:cNvPr>
            <p:cNvSpPr>
              <a:spLocks noChangeAspect="1"/>
            </p:cNvSpPr>
            <p:nvPr userDrawn="1"/>
          </p:nvSpPr>
          <p:spPr bwMode="gray">
            <a:xfrm>
              <a:off x="5500074" y="2900610"/>
              <a:ext cx="92525" cy="202722"/>
            </a:xfrm>
            <a:custGeom>
              <a:avLst/>
              <a:gdLst>
                <a:gd name="T0" fmla="*/ 0 w 177"/>
                <a:gd name="T1" fmla="*/ 2147483647 h 356"/>
                <a:gd name="T2" fmla="*/ 0 w 177"/>
                <a:gd name="T3" fmla="*/ 0 h 356"/>
                <a:gd name="T4" fmla="*/ 0 w 177"/>
                <a:gd name="T5" fmla="*/ 0 h 356"/>
                <a:gd name="T6" fmla="*/ 0 w 177"/>
                <a:gd name="T7" fmla="*/ 0 h 356"/>
                <a:gd name="T8" fmla="*/ 0 w 177"/>
                <a:gd name="T9" fmla="*/ 0 h 356"/>
                <a:gd name="T10" fmla="*/ 0 w 177"/>
                <a:gd name="T11" fmla="*/ 0 h 356"/>
                <a:gd name="T12" fmla="*/ 0 w 177"/>
                <a:gd name="T13" fmla="*/ 0 h 356"/>
                <a:gd name="T14" fmla="*/ 0 w 177"/>
                <a:gd name="T15" fmla="*/ 0 h 356"/>
                <a:gd name="T16" fmla="*/ 0 w 177"/>
                <a:gd name="T17" fmla="*/ 0 h 356"/>
                <a:gd name="T18" fmla="*/ 0 w 177"/>
                <a:gd name="T19" fmla="*/ 0 h 356"/>
                <a:gd name="T20" fmla="*/ 0 w 177"/>
                <a:gd name="T21" fmla="*/ 0 h 356"/>
                <a:gd name="T22" fmla="*/ 0 w 177"/>
                <a:gd name="T23" fmla="*/ 0 h 356"/>
                <a:gd name="T24" fmla="*/ 0 w 177"/>
                <a:gd name="T25" fmla="*/ 0 h 356"/>
                <a:gd name="T26" fmla="*/ 0 w 177"/>
                <a:gd name="T27" fmla="*/ 0 h 356"/>
                <a:gd name="T28" fmla="*/ 0 w 177"/>
                <a:gd name="T29" fmla="*/ 0 h 356"/>
                <a:gd name="T30" fmla="*/ 0 w 177"/>
                <a:gd name="T31" fmla="*/ 0 h 356"/>
                <a:gd name="T32" fmla="*/ 0 w 177"/>
                <a:gd name="T33" fmla="*/ 0 h 356"/>
                <a:gd name="T34" fmla="*/ 0 w 177"/>
                <a:gd name="T35" fmla="*/ 0 h 356"/>
                <a:gd name="T36" fmla="*/ 0 w 177"/>
                <a:gd name="T37" fmla="*/ 0 h 356"/>
                <a:gd name="T38" fmla="*/ 0 w 177"/>
                <a:gd name="T39" fmla="*/ 0 h 356"/>
                <a:gd name="T40" fmla="*/ 0 w 177"/>
                <a:gd name="T41" fmla="*/ 0 h 356"/>
                <a:gd name="T42" fmla="*/ 0 w 177"/>
                <a:gd name="T43" fmla="*/ 0 h 356"/>
                <a:gd name="T44" fmla="*/ 0 w 177"/>
                <a:gd name="T45" fmla="*/ 0 h 356"/>
                <a:gd name="T46" fmla="*/ 0 w 177"/>
                <a:gd name="T47" fmla="*/ 0 h 356"/>
                <a:gd name="T48" fmla="*/ 0 w 177"/>
                <a:gd name="T49" fmla="*/ 0 h 356"/>
                <a:gd name="T50" fmla="*/ 0 w 177"/>
                <a:gd name="T51" fmla="*/ 0 h 356"/>
                <a:gd name="T52" fmla="*/ 0 w 177"/>
                <a:gd name="T53" fmla="*/ 0 h 356"/>
                <a:gd name="T54" fmla="*/ 0 w 177"/>
                <a:gd name="T55" fmla="*/ 0 h 356"/>
                <a:gd name="T56" fmla="*/ 0 w 177"/>
                <a:gd name="T57" fmla="*/ 0 h 356"/>
                <a:gd name="T58" fmla="*/ 0 w 177"/>
                <a:gd name="T59" fmla="*/ 0 h 356"/>
                <a:gd name="T60" fmla="*/ 0 w 177"/>
                <a:gd name="T61" fmla="*/ 0 h 356"/>
                <a:gd name="T62" fmla="*/ 0 w 177"/>
                <a:gd name="T63" fmla="*/ 2147483647 h 356"/>
                <a:gd name="T64" fmla="*/ 0 w 177"/>
                <a:gd name="T65" fmla="*/ 2147483647 h 356"/>
                <a:gd name="T66" fmla="*/ 0 w 177"/>
                <a:gd name="T67" fmla="*/ 2147483647 h 356"/>
                <a:gd name="T68" fmla="*/ 0 w 177"/>
                <a:gd name="T69" fmla="*/ 2147483647 h 356"/>
                <a:gd name="T70" fmla="*/ 0 w 177"/>
                <a:gd name="T71" fmla="*/ 2147483647 h 356"/>
                <a:gd name="T72" fmla="*/ 0 w 177"/>
                <a:gd name="T73" fmla="*/ 2147483647 h 356"/>
                <a:gd name="T74" fmla="*/ 0 w 177"/>
                <a:gd name="T75" fmla="*/ 2147483647 h 3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7"/>
                <a:gd name="T115" fmla="*/ 0 h 356"/>
                <a:gd name="T116" fmla="*/ 177 w 177"/>
                <a:gd name="T117" fmla="*/ 356 h 3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4" name="Freeform 183">
              <a:extLst>
                <a:ext uri="{FF2B5EF4-FFF2-40B4-BE49-F238E27FC236}">
                  <a16:creationId xmlns:a16="http://schemas.microsoft.com/office/drawing/2014/main" id="{779A867D-3D0A-BAF8-26D7-39DC68C8AD16}"/>
                </a:ext>
              </a:extLst>
            </p:cNvPr>
            <p:cNvSpPr>
              <a:spLocks noChangeAspect="1"/>
            </p:cNvSpPr>
            <p:nvPr userDrawn="1"/>
          </p:nvSpPr>
          <p:spPr bwMode="gray">
            <a:xfrm>
              <a:off x="5943300" y="2295496"/>
              <a:ext cx="262652" cy="373432"/>
            </a:xfrm>
            <a:custGeom>
              <a:avLst/>
              <a:gdLst>
                <a:gd name="T0" fmla="*/ 0 w 490"/>
                <a:gd name="T1" fmla="*/ 0 h 659"/>
                <a:gd name="T2" fmla="*/ 0 w 490"/>
                <a:gd name="T3" fmla="*/ 0 h 659"/>
                <a:gd name="T4" fmla="*/ 0 w 490"/>
                <a:gd name="T5" fmla="*/ 0 h 659"/>
                <a:gd name="T6" fmla="*/ 0 w 490"/>
                <a:gd name="T7" fmla="*/ 0 h 659"/>
                <a:gd name="T8" fmla="*/ 0 w 490"/>
                <a:gd name="T9" fmla="*/ 0 h 659"/>
                <a:gd name="T10" fmla="*/ 0 w 490"/>
                <a:gd name="T11" fmla="*/ 0 h 659"/>
                <a:gd name="T12" fmla="*/ 0 w 490"/>
                <a:gd name="T13" fmla="*/ 0 h 659"/>
                <a:gd name="T14" fmla="*/ 0 w 490"/>
                <a:gd name="T15" fmla="*/ 0 h 659"/>
                <a:gd name="T16" fmla="*/ 0 w 490"/>
                <a:gd name="T17" fmla="*/ 0 h 659"/>
                <a:gd name="T18" fmla="*/ 0 w 490"/>
                <a:gd name="T19" fmla="*/ 0 h 659"/>
                <a:gd name="T20" fmla="*/ 0 w 490"/>
                <a:gd name="T21" fmla="*/ 0 h 659"/>
                <a:gd name="T22" fmla="*/ 0 w 490"/>
                <a:gd name="T23" fmla="*/ 0 h 659"/>
                <a:gd name="T24" fmla="*/ 0 w 490"/>
                <a:gd name="T25" fmla="*/ 0 h 659"/>
                <a:gd name="T26" fmla="*/ 0 w 490"/>
                <a:gd name="T27" fmla="*/ 0 h 659"/>
                <a:gd name="T28" fmla="*/ 0 w 490"/>
                <a:gd name="T29" fmla="*/ 0 h 659"/>
                <a:gd name="T30" fmla="*/ 0 w 490"/>
                <a:gd name="T31" fmla="*/ 0 h 659"/>
                <a:gd name="T32" fmla="*/ 0 w 490"/>
                <a:gd name="T33" fmla="*/ 0 h 659"/>
                <a:gd name="T34" fmla="*/ 0 w 490"/>
                <a:gd name="T35" fmla="*/ 0 h 659"/>
                <a:gd name="T36" fmla="*/ 0 w 490"/>
                <a:gd name="T37" fmla="*/ 0 h 659"/>
                <a:gd name="T38" fmla="*/ 0 w 490"/>
                <a:gd name="T39" fmla="*/ 0 h 659"/>
                <a:gd name="T40" fmla="*/ 0 w 490"/>
                <a:gd name="T41" fmla="*/ 2147483647 h 659"/>
                <a:gd name="T42" fmla="*/ 0 w 490"/>
                <a:gd name="T43" fmla="*/ 2147483647 h 659"/>
                <a:gd name="T44" fmla="*/ 0 w 490"/>
                <a:gd name="T45" fmla="*/ 2147483647 h 659"/>
                <a:gd name="T46" fmla="*/ 0 w 490"/>
                <a:gd name="T47" fmla="*/ 2147483647 h 659"/>
                <a:gd name="T48" fmla="*/ 0 w 490"/>
                <a:gd name="T49" fmla="*/ 2147483647 h 659"/>
                <a:gd name="T50" fmla="*/ 0 w 490"/>
                <a:gd name="T51" fmla="*/ 2147483647 h 659"/>
                <a:gd name="T52" fmla="*/ 0 w 490"/>
                <a:gd name="T53" fmla="*/ 2147483647 h 659"/>
                <a:gd name="T54" fmla="*/ 0 w 490"/>
                <a:gd name="T55" fmla="*/ 2147483647 h 659"/>
                <a:gd name="T56" fmla="*/ 0 w 490"/>
                <a:gd name="T57" fmla="*/ 2147483647 h 659"/>
                <a:gd name="T58" fmla="*/ 0 w 490"/>
                <a:gd name="T59" fmla="*/ 2147483647 h 659"/>
                <a:gd name="T60" fmla="*/ 0 w 490"/>
                <a:gd name="T61" fmla="*/ 2147483647 h 659"/>
                <a:gd name="T62" fmla="*/ 0 w 490"/>
                <a:gd name="T63" fmla="*/ 2147483647 h 659"/>
                <a:gd name="T64" fmla="*/ 2147483647 w 490"/>
                <a:gd name="T65" fmla="*/ 2147483647 h 659"/>
                <a:gd name="T66" fmla="*/ 2147483647 w 490"/>
                <a:gd name="T67" fmla="*/ 2147483647 h 659"/>
                <a:gd name="T68" fmla="*/ 2147483647 w 490"/>
                <a:gd name="T69" fmla="*/ 2147483647 h 659"/>
                <a:gd name="T70" fmla="*/ 2147483647 w 490"/>
                <a:gd name="T71" fmla="*/ 2147483647 h 659"/>
                <a:gd name="T72" fmla="*/ 2147483647 w 490"/>
                <a:gd name="T73" fmla="*/ 2147483647 h 659"/>
                <a:gd name="T74" fmla="*/ 2147483647 w 490"/>
                <a:gd name="T75" fmla="*/ 2147483647 h 659"/>
                <a:gd name="T76" fmla="*/ 2147483647 w 490"/>
                <a:gd name="T77" fmla="*/ 2147483647 h 659"/>
                <a:gd name="T78" fmla="*/ 2147483647 w 490"/>
                <a:gd name="T79" fmla="*/ 2147483647 h 659"/>
                <a:gd name="T80" fmla="*/ 2147483647 w 490"/>
                <a:gd name="T81" fmla="*/ 2147483647 h 659"/>
                <a:gd name="T82" fmla="*/ 2147483647 w 490"/>
                <a:gd name="T83" fmla="*/ 2147483647 h 659"/>
                <a:gd name="T84" fmla="*/ 2147483647 w 490"/>
                <a:gd name="T85" fmla="*/ 2147483647 h 659"/>
                <a:gd name="T86" fmla="*/ 2147483647 w 490"/>
                <a:gd name="T87" fmla="*/ 0 h 659"/>
                <a:gd name="T88" fmla="*/ 2147483647 w 490"/>
                <a:gd name="T89" fmla="*/ 0 h 659"/>
                <a:gd name="T90" fmla="*/ 2147483647 w 490"/>
                <a:gd name="T91" fmla="*/ 0 h 659"/>
                <a:gd name="T92" fmla="*/ 2147483647 w 490"/>
                <a:gd name="T93" fmla="*/ 0 h 659"/>
                <a:gd name="T94" fmla="*/ 2147483647 w 490"/>
                <a:gd name="T95" fmla="*/ 0 h 659"/>
                <a:gd name="T96" fmla="*/ 2147483647 w 490"/>
                <a:gd name="T97" fmla="*/ 0 h 659"/>
                <a:gd name="T98" fmla="*/ 2147483647 w 490"/>
                <a:gd name="T99" fmla="*/ 0 h 659"/>
                <a:gd name="T100" fmla="*/ 2147483647 w 490"/>
                <a:gd name="T101" fmla="*/ 0 h 659"/>
                <a:gd name="T102" fmla="*/ 2147483647 w 490"/>
                <a:gd name="T103" fmla="*/ 0 h 659"/>
                <a:gd name="T104" fmla="*/ 0 w 490"/>
                <a:gd name="T105" fmla="*/ 0 h 659"/>
                <a:gd name="T106" fmla="*/ 0 w 490"/>
                <a:gd name="T107" fmla="*/ 0 h 65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0"/>
                <a:gd name="T163" fmla="*/ 0 h 659"/>
                <a:gd name="T164" fmla="*/ 490 w 490"/>
                <a:gd name="T165" fmla="*/ 659 h 65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5" name="Freeform 185">
              <a:extLst>
                <a:ext uri="{FF2B5EF4-FFF2-40B4-BE49-F238E27FC236}">
                  <a16:creationId xmlns:a16="http://schemas.microsoft.com/office/drawing/2014/main" id="{A653204C-0380-4FCA-85E0-22E71F5C2596}"/>
                </a:ext>
              </a:extLst>
            </p:cNvPr>
            <p:cNvSpPr>
              <a:spLocks noChangeAspect="1"/>
            </p:cNvSpPr>
            <p:nvPr userDrawn="1"/>
          </p:nvSpPr>
          <p:spPr bwMode="gray">
            <a:xfrm>
              <a:off x="6022779" y="2861601"/>
              <a:ext cx="29350" cy="68156"/>
            </a:xfrm>
            <a:custGeom>
              <a:avLst/>
              <a:gdLst>
                <a:gd name="T0" fmla="*/ 0 w 52"/>
                <a:gd name="T1" fmla="*/ 0 h 121"/>
                <a:gd name="T2" fmla="*/ 0 w 52"/>
                <a:gd name="T3" fmla="*/ 0 h 121"/>
                <a:gd name="T4" fmla="*/ 0 w 52"/>
                <a:gd name="T5" fmla="*/ 0 h 121"/>
                <a:gd name="T6" fmla="*/ 0 w 52"/>
                <a:gd name="T7" fmla="*/ 0 h 121"/>
                <a:gd name="T8" fmla="*/ 0 w 52"/>
                <a:gd name="T9" fmla="*/ 0 h 121"/>
                <a:gd name="T10" fmla="*/ 0 w 52"/>
                <a:gd name="T11" fmla="*/ 0 h 121"/>
                <a:gd name="T12" fmla="*/ 0 w 52"/>
                <a:gd name="T13" fmla="*/ 0 h 121"/>
                <a:gd name="T14" fmla="*/ 0 w 52"/>
                <a:gd name="T15" fmla="*/ 0 h 121"/>
                <a:gd name="T16" fmla="*/ 0 w 52"/>
                <a:gd name="T17" fmla="*/ 0 h 121"/>
                <a:gd name="T18" fmla="*/ 0 w 52"/>
                <a:gd name="T19" fmla="*/ 0 h 121"/>
                <a:gd name="T20" fmla="*/ 0 w 52"/>
                <a:gd name="T21" fmla="*/ 0 h 121"/>
                <a:gd name="T22" fmla="*/ 0 w 52"/>
                <a:gd name="T23" fmla="*/ 0 h 121"/>
                <a:gd name="T24" fmla="*/ 0 w 52"/>
                <a:gd name="T25" fmla="*/ 0 h 121"/>
                <a:gd name="T26" fmla="*/ 0 w 52"/>
                <a:gd name="T27" fmla="*/ 0 h 121"/>
                <a:gd name="T28" fmla="*/ 0 w 52"/>
                <a:gd name="T29" fmla="*/ 0 h 121"/>
                <a:gd name="T30" fmla="*/ 0 w 52"/>
                <a:gd name="T31" fmla="*/ 0 h 121"/>
                <a:gd name="T32" fmla="*/ 0 w 52"/>
                <a:gd name="T33" fmla="*/ 0 h 121"/>
                <a:gd name="T34" fmla="*/ 0 w 52"/>
                <a:gd name="T35" fmla="*/ 0 h 121"/>
                <a:gd name="T36" fmla="*/ 0 w 52"/>
                <a:gd name="T37" fmla="*/ 0 h 121"/>
                <a:gd name="T38" fmla="*/ 0 w 52"/>
                <a:gd name="T39" fmla="*/ 0 h 121"/>
                <a:gd name="T40" fmla="*/ 0 w 52"/>
                <a:gd name="T41" fmla="*/ 0 h 121"/>
                <a:gd name="T42" fmla="*/ 0 w 52"/>
                <a:gd name="T43" fmla="*/ 0 h 121"/>
                <a:gd name="T44" fmla="*/ 0 w 52"/>
                <a:gd name="T45" fmla="*/ 0 h 121"/>
                <a:gd name="T46" fmla="*/ 0 w 52"/>
                <a:gd name="T47" fmla="*/ 0 h 121"/>
                <a:gd name="T48" fmla="*/ 0 w 52"/>
                <a:gd name="T49" fmla="*/ 0 h 121"/>
                <a:gd name="T50" fmla="*/ 0 w 52"/>
                <a:gd name="T51" fmla="*/ 0 h 121"/>
                <a:gd name="T52" fmla="*/ 0 w 52"/>
                <a:gd name="T53" fmla="*/ 0 h 1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2"/>
                <a:gd name="T82" fmla="*/ 0 h 121"/>
                <a:gd name="T83" fmla="*/ 52 w 52"/>
                <a:gd name="T84" fmla="*/ 121 h 1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6" name="Freeform 186">
              <a:extLst>
                <a:ext uri="{FF2B5EF4-FFF2-40B4-BE49-F238E27FC236}">
                  <a16:creationId xmlns:a16="http://schemas.microsoft.com/office/drawing/2014/main" id="{E893C561-4EE2-0E92-C237-A03DEBA20077}"/>
                </a:ext>
              </a:extLst>
            </p:cNvPr>
            <p:cNvSpPr>
              <a:spLocks noChangeAspect="1"/>
            </p:cNvSpPr>
            <p:nvPr userDrawn="1"/>
          </p:nvSpPr>
          <p:spPr bwMode="gray">
            <a:xfrm>
              <a:off x="5635891" y="2492422"/>
              <a:ext cx="370879" cy="397577"/>
            </a:xfrm>
            <a:custGeom>
              <a:avLst/>
              <a:gdLst>
                <a:gd name="T0" fmla="*/ 0 w 694"/>
                <a:gd name="T1" fmla="*/ 0 h 700"/>
                <a:gd name="T2" fmla="*/ 0 w 694"/>
                <a:gd name="T3" fmla="*/ 0 h 700"/>
                <a:gd name="T4" fmla="*/ 0 w 694"/>
                <a:gd name="T5" fmla="*/ 0 h 700"/>
                <a:gd name="T6" fmla="*/ 0 w 694"/>
                <a:gd name="T7" fmla="*/ 0 h 700"/>
                <a:gd name="T8" fmla="*/ 0 w 694"/>
                <a:gd name="T9" fmla="*/ 0 h 700"/>
                <a:gd name="T10" fmla="*/ 0 w 694"/>
                <a:gd name="T11" fmla="*/ 0 h 700"/>
                <a:gd name="T12" fmla="*/ 0 w 694"/>
                <a:gd name="T13" fmla="*/ 0 h 700"/>
                <a:gd name="T14" fmla="*/ 0 w 694"/>
                <a:gd name="T15" fmla="*/ 0 h 700"/>
                <a:gd name="T16" fmla="*/ 0 w 694"/>
                <a:gd name="T17" fmla="*/ 0 h 700"/>
                <a:gd name="T18" fmla="*/ 0 w 694"/>
                <a:gd name="T19" fmla="*/ 0 h 700"/>
                <a:gd name="T20" fmla="*/ 0 w 694"/>
                <a:gd name="T21" fmla="*/ 0 h 700"/>
                <a:gd name="T22" fmla="*/ 0 w 694"/>
                <a:gd name="T23" fmla="*/ 0 h 700"/>
                <a:gd name="T24" fmla="*/ 0 w 694"/>
                <a:gd name="T25" fmla="*/ 0 h 700"/>
                <a:gd name="T26" fmla="*/ 0 w 694"/>
                <a:gd name="T27" fmla="*/ 0 h 700"/>
                <a:gd name="T28" fmla="*/ 0 w 694"/>
                <a:gd name="T29" fmla="*/ 0 h 700"/>
                <a:gd name="T30" fmla="*/ 0 w 694"/>
                <a:gd name="T31" fmla="*/ 0 h 700"/>
                <a:gd name="T32" fmla="*/ 0 w 694"/>
                <a:gd name="T33" fmla="*/ 0 h 700"/>
                <a:gd name="T34" fmla="*/ 0 w 694"/>
                <a:gd name="T35" fmla="*/ 0 h 700"/>
                <a:gd name="T36" fmla="*/ 0 w 694"/>
                <a:gd name="T37" fmla="*/ 0 h 700"/>
                <a:gd name="T38" fmla="*/ 0 w 694"/>
                <a:gd name="T39" fmla="*/ 0 h 700"/>
                <a:gd name="T40" fmla="*/ 0 w 694"/>
                <a:gd name="T41" fmla="*/ 0 h 700"/>
                <a:gd name="T42" fmla="*/ 0 w 694"/>
                <a:gd name="T43" fmla="*/ 0 h 700"/>
                <a:gd name="T44" fmla="*/ 0 w 694"/>
                <a:gd name="T45" fmla="*/ 0 h 700"/>
                <a:gd name="T46" fmla="*/ 0 w 694"/>
                <a:gd name="T47" fmla="*/ 0 h 700"/>
                <a:gd name="T48" fmla="*/ 0 w 694"/>
                <a:gd name="T49" fmla="*/ 0 h 700"/>
                <a:gd name="T50" fmla="*/ 0 w 694"/>
                <a:gd name="T51" fmla="*/ 0 h 700"/>
                <a:gd name="T52" fmla="*/ 0 w 694"/>
                <a:gd name="T53" fmla="*/ 0 h 700"/>
                <a:gd name="T54" fmla="*/ 0 w 694"/>
                <a:gd name="T55" fmla="*/ 0 h 700"/>
                <a:gd name="T56" fmla="*/ 0 w 694"/>
                <a:gd name="T57" fmla="*/ 0 h 700"/>
                <a:gd name="T58" fmla="*/ 0 w 694"/>
                <a:gd name="T59" fmla="*/ 0 h 700"/>
                <a:gd name="T60" fmla="*/ 0 w 694"/>
                <a:gd name="T61" fmla="*/ 0 h 700"/>
                <a:gd name="T62" fmla="*/ 0 w 694"/>
                <a:gd name="T63" fmla="*/ 0 h 700"/>
                <a:gd name="T64" fmla="*/ 0 w 694"/>
                <a:gd name="T65" fmla="*/ 0 h 700"/>
                <a:gd name="T66" fmla="*/ 0 w 694"/>
                <a:gd name="T67" fmla="*/ 0 h 700"/>
                <a:gd name="T68" fmla="*/ 0 w 694"/>
                <a:gd name="T69" fmla="*/ 0 h 700"/>
                <a:gd name="T70" fmla="*/ 0 w 694"/>
                <a:gd name="T71" fmla="*/ 0 h 700"/>
                <a:gd name="T72" fmla="*/ 0 w 694"/>
                <a:gd name="T73" fmla="*/ 0 h 700"/>
                <a:gd name="T74" fmla="*/ 0 w 694"/>
                <a:gd name="T75" fmla="*/ 0 h 700"/>
                <a:gd name="T76" fmla="*/ 0 w 694"/>
                <a:gd name="T77" fmla="*/ 0 h 700"/>
                <a:gd name="T78" fmla="*/ 0 w 694"/>
                <a:gd name="T79" fmla="*/ 0 h 700"/>
                <a:gd name="T80" fmla="*/ 0 w 694"/>
                <a:gd name="T81" fmla="*/ 0 h 700"/>
                <a:gd name="T82" fmla="*/ 0 w 694"/>
                <a:gd name="T83" fmla="*/ 0 h 700"/>
                <a:gd name="T84" fmla="*/ 0 w 694"/>
                <a:gd name="T85" fmla="*/ 0 h 700"/>
                <a:gd name="T86" fmla="*/ 0 w 694"/>
                <a:gd name="T87" fmla="*/ 0 h 700"/>
                <a:gd name="T88" fmla="*/ 0 w 694"/>
                <a:gd name="T89" fmla="*/ 0 h 700"/>
                <a:gd name="T90" fmla="*/ 0 w 694"/>
                <a:gd name="T91" fmla="*/ 0 h 700"/>
                <a:gd name="T92" fmla="*/ 0 w 694"/>
                <a:gd name="T93" fmla="*/ 0 h 700"/>
                <a:gd name="T94" fmla="*/ 0 w 694"/>
                <a:gd name="T95" fmla="*/ 0 h 700"/>
                <a:gd name="T96" fmla="*/ 0 w 694"/>
                <a:gd name="T97" fmla="*/ 0 h 700"/>
                <a:gd name="T98" fmla="*/ 0 w 694"/>
                <a:gd name="T99" fmla="*/ 0 h 700"/>
                <a:gd name="T100" fmla="*/ 0 w 694"/>
                <a:gd name="T101" fmla="*/ 0 h 7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4"/>
                <a:gd name="T154" fmla="*/ 0 h 700"/>
                <a:gd name="T155" fmla="*/ 694 w 694"/>
                <a:gd name="T156" fmla="*/ 700 h 7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7" name="Freeform 188">
              <a:extLst>
                <a:ext uri="{FF2B5EF4-FFF2-40B4-BE49-F238E27FC236}">
                  <a16:creationId xmlns:a16="http://schemas.microsoft.com/office/drawing/2014/main" id="{5CF7BEC8-AFB2-CE9F-3040-35F96C722F5C}"/>
                </a:ext>
              </a:extLst>
            </p:cNvPr>
            <p:cNvSpPr>
              <a:spLocks noChangeAspect="1"/>
            </p:cNvSpPr>
            <p:nvPr userDrawn="1"/>
          </p:nvSpPr>
          <p:spPr bwMode="gray">
            <a:xfrm>
              <a:off x="5594988" y="2082182"/>
              <a:ext cx="229785" cy="464427"/>
            </a:xfrm>
            <a:custGeom>
              <a:avLst/>
              <a:gdLst>
                <a:gd name="T0" fmla="*/ 0 w 430"/>
                <a:gd name="T1" fmla="*/ 0 h 814"/>
                <a:gd name="T2" fmla="*/ 0 w 430"/>
                <a:gd name="T3" fmla="*/ 0 h 814"/>
                <a:gd name="T4" fmla="*/ 0 w 430"/>
                <a:gd name="T5" fmla="*/ 0 h 814"/>
                <a:gd name="T6" fmla="*/ 0 w 430"/>
                <a:gd name="T7" fmla="*/ 0 h 814"/>
                <a:gd name="T8" fmla="*/ 0 w 430"/>
                <a:gd name="T9" fmla="*/ 0 h 814"/>
                <a:gd name="T10" fmla="*/ 0 w 430"/>
                <a:gd name="T11" fmla="*/ 0 h 814"/>
                <a:gd name="T12" fmla="*/ 0 w 430"/>
                <a:gd name="T13" fmla="*/ 0 h 814"/>
                <a:gd name="T14" fmla="*/ 0 w 430"/>
                <a:gd name="T15" fmla="*/ 0 h 814"/>
                <a:gd name="T16" fmla="*/ 0 w 430"/>
                <a:gd name="T17" fmla="*/ 0 h 814"/>
                <a:gd name="T18" fmla="*/ 0 w 430"/>
                <a:gd name="T19" fmla="*/ 0 h 814"/>
                <a:gd name="T20" fmla="*/ 0 w 430"/>
                <a:gd name="T21" fmla="*/ 0 h 814"/>
                <a:gd name="T22" fmla="*/ 0 w 430"/>
                <a:gd name="T23" fmla="*/ 0 h 814"/>
                <a:gd name="T24" fmla="*/ 0 w 430"/>
                <a:gd name="T25" fmla="*/ 0 h 814"/>
                <a:gd name="T26" fmla="*/ 0 w 430"/>
                <a:gd name="T27" fmla="*/ 0 h 814"/>
                <a:gd name="T28" fmla="*/ 0 w 430"/>
                <a:gd name="T29" fmla="*/ 0 h 814"/>
                <a:gd name="T30" fmla="*/ 0 w 430"/>
                <a:gd name="T31" fmla="*/ 0 h 814"/>
                <a:gd name="T32" fmla="*/ 0 w 430"/>
                <a:gd name="T33" fmla="*/ 0 h 814"/>
                <a:gd name="T34" fmla="*/ 0 w 430"/>
                <a:gd name="T35" fmla="*/ 0 h 814"/>
                <a:gd name="T36" fmla="*/ 0 w 430"/>
                <a:gd name="T37" fmla="*/ 0 h 814"/>
                <a:gd name="T38" fmla="*/ 0 w 430"/>
                <a:gd name="T39" fmla="*/ 0 h 814"/>
                <a:gd name="T40" fmla="*/ 0 w 430"/>
                <a:gd name="T41" fmla="*/ 0 h 814"/>
                <a:gd name="T42" fmla="*/ 0 w 430"/>
                <a:gd name="T43" fmla="*/ 0 h 814"/>
                <a:gd name="T44" fmla="*/ 0 w 430"/>
                <a:gd name="T45" fmla="*/ 0 h 814"/>
                <a:gd name="T46" fmla="*/ 0 w 430"/>
                <a:gd name="T47" fmla="*/ 0 h 814"/>
                <a:gd name="T48" fmla="*/ 0 w 430"/>
                <a:gd name="T49" fmla="*/ 0 h 814"/>
                <a:gd name="T50" fmla="*/ 0 w 430"/>
                <a:gd name="T51" fmla="*/ 0 h 814"/>
                <a:gd name="T52" fmla="*/ 0 w 430"/>
                <a:gd name="T53" fmla="*/ 0 h 814"/>
                <a:gd name="T54" fmla="*/ 0 w 430"/>
                <a:gd name="T55" fmla="*/ 0 h 814"/>
                <a:gd name="T56" fmla="*/ 0 w 430"/>
                <a:gd name="T57" fmla="*/ 0 h 814"/>
                <a:gd name="T58" fmla="*/ 0 w 430"/>
                <a:gd name="T59" fmla="*/ 0 h 814"/>
                <a:gd name="T60" fmla="*/ 0 w 430"/>
                <a:gd name="T61" fmla="*/ 0 h 814"/>
                <a:gd name="T62" fmla="*/ 0 w 430"/>
                <a:gd name="T63" fmla="*/ 0 h 814"/>
                <a:gd name="T64" fmla="*/ 0 w 430"/>
                <a:gd name="T65" fmla="*/ 0 h 814"/>
                <a:gd name="T66" fmla="*/ 0 w 430"/>
                <a:gd name="T67" fmla="*/ 0 h 814"/>
                <a:gd name="T68" fmla="*/ 0 w 430"/>
                <a:gd name="T69" fmla="*/ 0 h 814"/>
                <a:gd name="T70" fmla="*/ 0 w 430"/>
                <a:gd name="T71" fmla="*/ 0 h 814"/>
                <a:gd name="T72" fmla="*/ 0 w 430"/>
                <a:gd name="T73" fmla="*/ 0 h 814"/>
                <a:gd name="T74" fmla="*/ 0 w 430"/>
                <a:gd name="T75" fmla="*/ 0 h 814"/>
                <a:gd name="T76" fmla="*/ 0 w 430"/>
                <a:gd name="T77" fmla="*/ 0 h 814"/>
                <a:gd name="T78" fmla="*/ 0 w 430"/>
                <a:gd name="T79" fmla="*/ 0 h 814"/>
                <a:gd name="T80" fmla="*/ 0 w 430"/>
                <a:gd name="T81" fmla="*/ 0 h 814"/>
                <a:gd name="T82" fmla="*/ 0 w 430"/>
                <a:gd name="T83" fmla="*/ 0 h 814"/>
                <a:gd name="T84" fmla="*/ 0 w 430"/>
                <a:gd name="T85" fmla="*/ 0 h 814"/>
                <a:gd name="T86" fmla="*/ 0 w 430"/>
                <a:gd name="T87" fmla="*/ 0 h 814"/>
                <a:gd name="T88" fmla="*/ 0 w 430"/>
                <a:gd name="T89" fmla="*/ 0 h 814"/>
                <a:gd name="T90" fmla="*/ 0 w 430"/>
                <a:gd name="T91" fmla="*/ 0 h 814"/>
                <a:gd name="T92" fmla="*/ 0 w 430"/>
                <a:gd name="T93" fmla="*/ 0 h 814"/>
                <a:gd name="T94" fmla="*/ 0 w 430"/>
                <a:gd name="T95" fmla="*/ 0 h 814"/>
                <a:gd name="T96" fmla="*/ 0 w 430"/>
                <a:gd name="T97" fmla="*/ 0 h 814"/>
                <a:gd name="T98" fmla="*/ 0 w 430"/>
                <a:gd name="T99" fmla="*/ 0 h 814"/>
                <a:gd name="T100" fmla="*/ 0 w 430"/>
                <a:gd name="T101" fmla="*/ 0 h 814"/>
                <a:gd name="T102" fmla="*/ 0 w 430"/>
                <a:gd name="T103" fmla="*/ 0 h 814"/>
                <a:gd name="T104" fmla="*/ 0 w 430"/>
                <a:gd name="T105" fmla="*/ 0 h 814"/>
                <a:gd name="T106" fmla="*/ 0 w 430"/>
                <a:gd name="T107" fmla="*/ 0 h 814"/>
                <a:gd name="T108" fmla="*/ 0 w 430"/>
                <a:gd name="T109" fmla="*/ 0 h 8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0"/>
                <a:gd name="T166" fmla="*/ 0 h 814"/>
                <a:gd name="T167" fmla="*/ 430 w 430"/>
                <a:gd name="T168" fmla="*/ 814 h 8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8" name="Freeform 189">
              <a:extLst>
                <a:ext uri="{FF2B5EF4-FFF2-40B4-BE49-F238E27FC236}">
                  <a16:creationId xmlns:a16="http://schemas.microsoft.com/office/drawing/2014/main" id="{0E9F9749-3647-6F57-53D1-509F1D59B193}"/>
                </a:ext>
              </a:extLst>
            </p:cNvPr>
            <p:cNvSpPr>
              <a:spLocks noChangeAspect="1"/>
            </p:cNvSpPr>
            <p:nvPr userDrawn="1"/>
          </p:nvSpPr>
          <p:spPr bwMode="gray">
            <a:xfrm>
              <a:off x="5536205" y="2273081"/>
              <a:ext cx="74814" cy="71231"/>
            </a:xfrm>
            <a:custGeom>
              <a:avLst/>
              <a:gdLst>
                <a:gd name="T0" fmla="*/ 0 w 140"/>
                <a:gd name="T1" fmla="*/ 0 h 126"/>
                <a:gd name="T2" fmla="*/ 0 w 140"/>
                <a:gd name="T3" fmla="*/ 0 h 126"/>
                <a:gd name="T4" fmla="*/ 0 w 140"/>
                <a:gd name="T5" fmla="*/ 0 h 126"/>
                <a:gd name="T6" fmla="*/ 0 w 140"/>
                <a:gd name="T7" fmla="*/ 0 h 126"/>
                <a:gd name="T8" fmla="*/ 0 w 140"/>
                <a:gd name="T9" fmla="*/ 0 h 126"/>
                <a:gd name="T10" fmla="*/ 0 w 140"/>
                <a:gd name="T11" fmla="*/ 0 h 126"/>
                <a:gd name="T12" fmla="*/ 0 w 140"/>
                <a:gd name="T13" fmla="*/ 0 h 126"/>
                <a:gd name="T14" fmla="*/ 0 w 140"/>
                <a:gd name="T15" fmla="*/ 0 h 126"/>
                <a:gd name="T16" fmla="*/ 0 w 140"/>
                <a:gd name="T17" fmla="*/ 0 h 126"/>
                <a:gd name="T18" fmla="*/ 0 w 140"/>
                <a:gd name="T19" fmla="*/ 0 h 126"/>
                <a:gd name="T20" fmla="*/ 0 w 140"/>
                <a:gd name="T21" fmla="*/ 0 h 126"/>
                <a:gd name="T22" fmla="*/ 0 w 140"/>
                <a:gd name="T23" fmla="*/ 0 h 126"/>
                <a:gd name="T24" fmla="*/ 0 w 140"/>
                <a:gd name="T25" fmla="*/ 0 h 126"/>
                <a:gd name="T26" fmla="*/ 0 w 140"/>
                <a:gd name="T27" fmla="*/ 0 h 126"/>
                <a:gd name="T28" fmla="*/ 0 w 140"/>
                <a:gd name="T29" fmla="*/ 0 h 126"/>
                <a:gd name="T30" fmla="*/ 0 w 140"/>
                <a:gd name="T31" fmla="*/ 0 h 126"/>
                <a:gd name="T32" fmla="*/ 0 w 140"/>
                <a:gd name="T33" fmla="*/ 0 h 126"/>
                <a:gd name="T34" fmla="*/ 0 w 140"/>
                <a:gd name="T35" fmla="*/ 0 h 126"/>
                <a:gd name="T36" fmla="*/ 0 w 140"/>
                <a:gd name="T37" fmla="*/ 0 h 126"/>
                <a:gd name="T38" fmla="*/ 0 w 140"/>
                <a:gd name="T39" fmla="*/ 0 h 126"/>
                <a:gd name="T40" fmla="*/ 0 w 140"/>
                <a:gd name="T41" fmla="*/ 0 h 126"/>
                <a:gd name="T42" fmla="*/ 0 w 140"/>
                <a:gd name="T43" fmla="*/ 0 h 126"/>
                <a:gd name="T44" fmla="*/ 0 w 140"/>
                <a:gd name="T45" fmla="*/ 0 h 126"/>
                <a:gd name="T46" fmla="*/ 0 w 140"/>
                <a:gd name="T47" fmla="*/ 0 h 126"/>
                <a:gd name="T48" fmla="*/ 0 w 140"/>
                <a:gd name="T49" fmla="*/ 0 h 126"/>
                <a:gd name="T50" fmla="*/ 0 w 140"/>
                <a:gd name="T51" fmla="*/ 0 h 126"/>
                <a:gd name="T52" fmla="*/ 0 w 140"/>
                <a:gd name="T53" fmla="*/ 0 h 126"/>
                <a:gd name="T54" fmla="*/ 0 w 140"/>
                <a:gd name="T55" fmla="*/ 0 h 126"/>
                <a:gd name="T56" fmla="*/ 0 w 140"/>
                <a:gd name="T57" fmla="*/ 0 h 126"/>
                <a:gd name="T58" fmla="*/ 0 w 140"/>
                <a:gd name="T59" fmla="*/ 0 h 126"/>
                <a:gd name="T60" fmla="*/ 0 w 140"/>
                <a:gd name="T61" fmla="*/ 0 h 126"/>
                <a:gd name="T62" fmla="*/ 0 w 140"/>
                <a:gd name="T63" fmla="*/ 0 h 126"/>
                <a:gd name="T64" fmla="*/ 0 w 140"/>
                <a:gd name="T65" fmla="*/ 0 h 126"/>
                <a:gd name="T66" fmla="*/ 0 w 140"/>
                <a:gd name="T67" fmla="*/ 0 h 126"/>
                <a:gd name="T68" fmla="*/ 0 w 140"/>
                <a:gd name="T69" fmla="*/ 0 h 126"/>
                <a:gd name="T70" fmla="*/ 0 w 140"/>
                <a:gd name="T71" fmla="*/ 0 h 126"/>
                <a:gd name="T72" fmla="*/ 0 w 140"/>
                <a:gd name="T73" fmla="*/ 0 h 126"/>
                <a:gd name="T74" fmla="*/ 0 w 140"/>
                <a:gd name="T75" fmla="*/ 0 h 126"/>
                <a:gd name="T76" fmla="*/ 0 w 140"/>
                <a:gd name="T77" fmla="*/ 0 h 126"/>
                <a:gd name="T78" fmla="*/ 0 w 140"/>
                <a:gd name="T79" fmla="*/ 0 h 126"/>
                <a:gd name="T80" fmla="*/ 0 w 140"/>
                <a:gd name="T81" fmla="*/ 0 h 126"/>
                <a:gd name="T82" fmla="*/ 0 w 140"/>
                <a:gd name="T83" fmla="*/ 0 h 126"/>
                <a:gd name="T84" fmla="*/ 0 w 140"/>
                <a:gd name="T85" fmla="*/ 0 h 126"/>
                <a:gd name="T86" fmla="*/ 0 w 140"/>
                <a:gd name="T87" fmla="*/ 0 h 126"/>
                <a:gd name="T88" fmla="*/ 0 w 140"/>
                <a:gd name="T89" fmla="*/ 0 h 126"/>
                <a:gd name="T90" fmla="*/ 0 w 140"/>
                <a:gd name="T91" fmla="*/ 0 h 126"/>
                <a:gd name="T92" fmla="*/ 0 w 140"/>
                <a:gd name="T93" fmla="*/ 0 h 126"/>
                <a:gd name="T94" fmla="*/ 0 w 140"/>
                <a:gd name="T95" fmla="*/ 0 h 1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0"/>
                <a:gd name="T145" fmla="*/ 0 h 126"/>
                <a:gd name="T146" fmla="*/ 140 w 140"/>
                <a:gd name="T147" fmla="*/ 126 h 12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79" name="Freeform 190">
              <a:extLst>
                <a:ext uri="{FF2B5EF4-FFF2-40B4-BE49-F238E27FC236}">
                  <a16:creationId xmlns:a16="http://schemas.microsoft.com/office/drawing/2014/main" id="{E4BE0305-A7B1-C146-8AF0-6CB5E1BA8A4D}"/>
                </a:ext>
              </a:extLst>
            </p:cNvPr>
            <p:cNvSpPr>
              <a:spLocks noChangeAspect="1"/>
            </p:cNvSpPr>
            <p:nvPr userDrawn="1"/>
          </p:nvSpPr>
          <p:spPr bwMode="gray">
            <a:xfrm>
              <a:off x="5470227" y="2277205"/>
              <a:ext cx="125357" cy="198148"/>
            </a:xfrm>
            <a:custGeom>
              <a:avLst/>
              <a:gdLst>
                <a:gd name="T0" fmla="*/ 0 w 233"/>
                <a:gd name="T1" fmla="*/ 0 h 345"/>
                <a:gd name="T2" fmla="*/ 0 w 233"/>
                <a:gd name="T3" fmla="*/ 0 h 345"/>
                <a:gd name="T4" fmla="*/ 0 w 233"/>
                <a:gd name="T5" fmla="*/ 0 h 345"/>
                <a:gd name="T6" fmla="*/ 0 w 233"/>
                <a:gd name="T7" fmla="*/ 0 h 345"/>
                <a:gd name="T8" fmla="*/ 0 w 233"/>
                <a:gd name="T9" fmla="*/ 0 h 345"/>
                <a:gd name="T10" fmla="*/ 0 w 233"/>
                <a:gd name="T11" fmla="*/ 0 h 345"/>
                <a:gd name="T12" fmla="*/ 0 w 233"/>
                <a:gd name="T13" fmla="*/ 0 h 345"/>
                <a:gd name="T14" fmla="*/ 0 w 233"/>
                <a:gd name="T15" fmla="*/ 0 h 345"/>
                <a:gd name="T16" fmla="*/ 0 w 233"/>
                <a:gd name="T17" fmla="*/ 0 h 345"/>
                <a:gd name="T18" fmla="*/ 0 w 233"/>
                <a:gd name="T19" fmla="*/ 0 h 345"/>
                <a:gd name="T20" fmla="*/ 0 w 233"/>
                <a:gd name="T21" fmla="*/ 0 h 345"/>
                <a:gd name="T22" fmla="*/ 0 w 233"/>
                <a:gd name="T23" fmla="*/ 0 h 345"/>
                <a:gd name="T24" fmla="*/ 0 w 233"/>
                <a:gd name="T25" fmla="*/ 0 h 345"/>
                <a:gd name="T26" fmla="*/ 0 w 233"/>
                <a:gd name="T27" fmla="*/ 0 h 345"/>
                <a:gd name="T28" fmla="*/ 0 w 233"/>
                <a:gd name="T29" fmla="*/ 0 h 345"/>
                <a:gd name="T30" fmla="*/ 0 w 233"/>
                <a:gd name="T31" fmla="*/ 0 h 345"/>
                <a:gd name="T32" fmla="*/ 0 w 233"/>
                <a:gd name="T33" fmla="*/ 0 h 345"/>
                <a:gd name="T34" fmla="*/ 0 w 233"/>
                <a:gd name="T35" fmla="*/ 0 h 345"/>
                <a:gd name="T36" fmla="*/ 0 w 233"/>
                <a:gd name="T37" fmla="*/ 0 h 345"/>
                <a:gd name="T38" fmla="*/ 0 w 233"/>
                <a:gd name="T39" fmla="*/ 0 h 345"/>
                <a:gd name="T40" fmla="*/ 0 w 233"/>
                <a:gd name="T41" fmla="*/ 0 h 345"/>
                <a:gd name="T42" fmla="*/ 0 w 233"/>
                <a:gd name="T43" fmla="*/ 0 h 345"/>
                <a:gd name="T44" fmla="*/ 0 w 233"/>
                <a:gd name="T45" fmla="*/ 0 h 345"/>
                <a:gd name="T46" fmla="*/ 0 w 233"/>
                <a:gd name="T47" fmla="*/ 0 h 345"/>
                <a:gd name="T48" fmla="*/ 0 w 233"/>
                <a:gd name="T49" fmla="*/ 0 h 345"/>
                <a:gd name="T50" fmla="*/ 0 w 233"/>
                <a:gd name="T51" fmla="*/ 0 h 345"/>
                <a:gd name="T52" fmla="*/ 0 w 233"/>
                <a:gd name="T53" fmla="*/ 0 h 345"/>
                <a:gd name="T54" fmla="*/ 0 w 233"/>
                <a:gd name="T55" fmla="*/ 0 h 345"/>
                <a:gd name="T56" fmla="*/ 0 w 233"/>
                <a:gd name="T57" fmla="*/ 0 h 345"/>
                <a:gd name="T58" fmla="*/ 0 w 233"/>
                <a:gd name="T59" fmla="*/ 2147483647 h 345"/>
                <a:gd name="T60" fmla="*/ 0 w 233"/>
                <a:gd name="T61" fmla="*/ 0 h 345"/>
                <a:gd name="T62" fmla="*/ 0 w 233"/>
                <a:gd name="T63" fmla="*/ 2147483647 h 345"/>
                <a:gd name="T64" fmla="*/ 0 w 233"/>
                <a:gd name="T65" fmla="*/ 2147483647 h 345"/>
                <a:gd name="T66" fmla="*/ 0 w 233"/>
                <a:gd name="T67" fmla="*/ 2147483647 h 345"/>
                <a:gd name="T68" fmla="*/ 0 w 233"/>
                <a:gd name="T69" fmla="*/ 2147483647 h 345"/>
                <a:gd name="T70" fmla="*/ 0 w 233"/>
                <a:gd name="T71" fmla="*/ 2147483647 h 345"/>
                <a:gd name="T72" fmla="*/ 0 w 233"/>
                <a:gd name="T73" fmla="*/ 2147483647 h 345"/>
                <a:gd name="T74" fmla="*/ 0 w 233"/>
                <a:gd name="T75" fmla="*/ 0 h 345"/>
                <a:gd name="T76" fmla="*/ 0 w 233"/>
                <a:gd name="T77" fmla="*/ 2147483647 h 345"/>
                <a:gd name="T78" fmla="*/ 0 w 233"/>
                <a:gd name="T79" fmla="*/ 0 h 345"/>
                <a:gd name="T80" fmla="*/ 0 w 233"/>
                <a:gd name="T81" fmla="*/ 0 h 345"/>
                <a:gd name="T82" fmla="*/ 0 w 233"/>
                <a:gd name="T83" fmla="*/ 0 h 345"/>
                <a:gd name="T84" fmla="*/ 0 w 233"/>
                <a:gd name="T85" fmla="*/ 0 h 345"/>
                <a:gd name="T86" fmla="*/ 0 w 233"/>
                <a:gd name="T87" fmla="*/ 0 h 345"/>
                <a:gd name="T88" fmla="*/ 0 w 233"/>
                <a:gd name="T89" fmla="*/ 0 h 345"/>
                <a:gd name="T90" fmla="*/ 0 w 233"/>
                <a:gd name="T91" fmla="*/ 0 h 345"/>
                <a:gd name="T92" fmla="*/ 0 w 233"/>
                <a:gd name="T93" fmla="*/ 0 h 34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3"/>
                <a:gd name="T142" fmla="*/ 0 h 345"/>
                <a:gd name="T143" fmla="*/ 233 w 233"/>
                <a:gd name="T144" fmla="*/ 345 h 34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0" name="Freeform 191">
              <a:extLst>
                <a:ext uri="{FF2B5EF4-FFF2-40B4-BE49-F238E27FC236}">
                  <a16:creationId xmlns:a16="http://schemas.microsoft.com/office/drawing/2014/main" id="{C155122E-03C9-B54B-C7FA-635D569E533C}"/>
                </a:ext>
              </a:extLst>
            </p:cNvPr>
            <p:cNvSpPr>
              <a:spLocks noChangeAspect="1"/>
            </p:cNvSpPr>
            <p:nvPr userDrawn="1"/>
          </p:nvSpPr>
          <p:spPr bwMode="gray">
            <a:xfrm>
              <a:off x="6416372" y="2426578"/>
              <a:ext cx="531274" cy="374957"/>
            </a:xfrm>
            <a:custGeom>
              <a:avLst/>
              <a:gdLst>
                <a:gd name="T0" fmla="*/ 0 w 995"/>
                <a:gd name="T1" fmla="*/ 2147483647 h 658"/>
                <a:gd name="T2" fmla="*/ 0 w 995"/>
                <a:gd name="T3" fmla="*/ 2147483647 h 658"/>
                <a:gd name="T4" fmla="*/ 0 w 995"/>
                <a:gd name="T5" fmla="*/ 0 h 658"/>
                <a:gd name="T6" fmla="*/ 0 w 995"/>
                <a:gd name="T7" fmla="*/ 0 h 658"/>
                <a:gd name="T8" fmla="*/ 0 w 995"/>
                <a:gd name="T9" fmla="*/ 0 h 658"/>
                <a:gd name="T10" fmla="*/ 0 w 995"/>
                <a:gd name="T11" fmla="*/ 0 h 658"/>
                <a:gd name="T12" fmla="*/ 0 w 995"/>
                <a:gd name="T13" fmla="*/ 0 h 658"/>
                <a:gd name="T14" fmla="*/ 0 w 995"/>
                <a:gd name="T15" fmla="*/ 0 h 658"/>
                <a:gd name="T16" fmla="*/ 2147483647 w 995"/>
                <a:gd name="T17" fmla="*/ 0 h 658"/>
                <a:gd name="T18" fmla="*/ 2147483647 w 995"/>
                <a:gd name="T19" fmla="*/ 0 h 658"/>
                <a:gd name="T20" fmla="*/ 2147483647 w 995"/>
                <a:gd name="T21" fmla="*/ 0 h 658"/>
                <a:gd name="T22" fmla="*/ 2147483647 w 995"/>
                <a:gd name="T23" fmla="*/ 0 h 658"/>
                <a:gd name="T24" fmla="*/ 2147483647 w 995"/>
                <a:gd name="T25" fmla="*/ 0 h 658"/>
                <a:gd name="T26" fmla="*/ 2147483647 w 995"/>
                <a:gd name="T27" fmla="*/ 0 h 658"/>
                <a:gd name="T28" fmla="*/ 2147483647 w 995"/>
                <a:gd name="T29" fmla="*/ 0 h 658"/>
                <a:gd name="T30" fmla="*/ 2147483647 w 995"/>
                <a:gd name="T31" fmla="*/ 0 h 658"/>
                <a:gd name="T32" fmla="*/ 2147483647 w 995"/>
                <a:gd name="T33" fmla="*/ 0 h 658"/>
                <a:gd name="T34" fmla="*/ 2147483647 w 995"/>
                <a:gd name="T35" fmla="*/ 0 h 658"/>
                <a:gd name="T36" fmla="*/ 2147483647 w 995"/>
                <a:gd name="T37" fmla="*/ 0 h 658"/>
                <a:gd name="T38" fmla="*/ 2147483647 w 995"/>
                <a:gd name="T39" fmla="*/ 0 h 658"/>
                <a:gd name="T40" fmla="*/ 2147483647 w 995"/>
                <a:gd name="T41" fmla="*/ 0 h 658"/>
                <a:gd name="T42" fmla="*/ 2147483647 w 995"/>
                <a:gd name="T43" fmla="*/ 0 h 658"/>
                <a:gd name="T44" fmla="*/ 2147483647 w 995"/>
                <a:gd name="T45" fmla="*/ 2147483647 h 658"/>
                <a:gd name="T46" fmla="*/ 2147483647 w 995"/>
                <a:gd name="T47" fmla="*/ 2147483647 h 658"/>
                <a:gd name="T48" fmla="*/ 2147483647 w 995"/>
                <a:gd name="T49" fmla="*/ 2147483647 h 658"/>
                <a:gd name="T50" fmla="*/ 2147483647 w 995"/>
                <a:gd name="T51" fmla="*/ 2147483647 h 658"/>
                <a:gd name="T52" fmla="*/ 2147483647 w 995"/>
                <a:gd name="T53" fmla="*/ 2147483647 h 658"/>
                <a:gd name="T54" fmla="*/ 2147483647 w 995"/>
                <a:gd name="T55" fmla="*/ 2147483647 h 658"/>
                <a:gd name="T56" fmla="*/ 2147483647 w 995"/>
                <a:gd name="T57" fmla="*/ 2147483647 h 658"/>
                <a:gd name="T58" fmla="*/ 2147483647 w 995"/>
                <a:gd name="T59" fmla="*/ 2147483647 h 658"/>
                <a:gd name="T60" fmla="*/ 2147483647 w 995"/>
                <a:gd name="T61" fmla="*/ 2147483647 h 658"/>
                <a:gd name="T62" fmla="*/ 2147483647 w 995"/>
                <a:gd name="T63" fmla="*/ 2147483647 h 658"/>
                <a:gd name="T64" fmla="*/ 2147483647 w 995"/>
                <a:gd name="T65" fmla="*/ 2147483647 h 658"/>
                <a:gd name="T66" fmla="*/ 2147483647 w 995"/>
                <a:gd name="T67" fmla="*/ 2147483647 h 658"/>
                <a:gd name="T68" fmla="*/ 2147483647 w 995"/>
                <a:gd name="T69" fmla="*/ 2147483647 h 658"/>
                <a:gd name="T70" fmla="*/ 2147483647 w 995"/>
                <a:gd name="T71" fmla="*/ 2147483647 h 658"/>
                <a:gd name="T72" fmla="*/ 2147483647 w 995"/>
                <a:gd name="T73" fmla="*/ 2147483647 h 658"/>
                <a:gd name="T74" fmla="*/ 2147483647 w 995"/>
                <a:gd name="T75" fmla="*/ 2147483647 h 658"/>
                <a:gd name="T76" fmla="*/ 2147483647 w 995"/>
                <a:gd name="T77" fmla="*/ 2147483647 h 658"/>
                <a:gd name="T78" fmla="*/ 2147483647 w 995"/>
                <a:gd name="T79" fmla="*/ 2147483647 h 658"/>
                <a:gd name="T80" fmla="*/ 2147483647 w 995"/>
                <a:gd name="T81" fmla="*/ 2147483647 h 658"/>
                <a:gd name="T82" fmla="*/ 2147483647 w 995"/>
                <a:gd name="T83" fmla="*/ 2147483647 h 658"/>
                <a:gd name="T84" fmla="*/ 2147483647 w 995"/>
                <a:gd name="T85" fmla="*/ 2147483647 h 658"/>
                <a:gd name="T86" fmla="*/ 2147483647 w 995"/>
                <a:gd name="T87" fmla="*/ 2147483647 h 658"/>
                <a:gd name="T88" fmla="*/ 2147483647 w 995"/>
                <a:gd name="T89" fmla="*/ 2147483647 h 658"/>
                <a:gd name="T90" fmla="*/ 2147483647 w 995"/>
                <a:gd name="T91" fmla="*/ 2147483647 h 658"/>
                <a:gd name="T92" fmla="*/ 2147483647 w 995"/>
                <a:gd name="T93" fmla="*/ 2147483647 h 658"/>
                <a:gd name="T94" fmla="*/ 2147483647 w 995"/>
                <a:gd name="T95" fmla="*/ 2147483647 h 658"/>
                <a:gd name="T96" fmla="*/ 2147483647 w 995"/>
                <a:gd name="T97" fmla="*/ 2147483647 h 658"/>
                <a:gd name="T98" fmla="*/ 2147483647 w 995"/>
                <a:gd name="T99" fmla="*/ 2147483647 h 658"/>
                <a:gd name="T100" fmla="*/ 2147483647 w 995"/>
                <a:gd name="T101" fmla="*/ 2147483647 h 658"/>
                <a:gd name="T102" fmla="*/ 2147483647 w 995"/>
                <a:gd name="T103" fmla="*/ 2147483647 h 658"/>
                <a:gd name="T104" fmla="*/ 2147483647 w 995"/>
                <a:gd name="T105" fmla="*/ 2147483647 h 658"/>
                <a:gd name="T106" fmla="*/ 2147483647 w 995"/>
                <a:gd name="T107" fmla="*/ 2147483647 h 658"/>
                <a:gd name="T108" fmla="*/ 2147483647 w 995"/>
                <a:gd name="T109" fmla="*/ 2147483647 h 658"/>
                <a:gd name="T110" fmla="*/ 0 w 995"/>
                <a:gd name="T111" fmla="*/ 2147483647 h 6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95"/>
                <a:gd name="T169" fmla="*/ 0 h 658"/>
                <a:gd name="T170" fmla="*/ 995 w 995"/>
                <a:gd name="T171" fmla="*/ 658 h 6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1" name="Freeform 192">
              <a:extLst>
                <a:ext uri="{FF2B5EF4-FFF2-40B4-BE49-F238E27FC236}">
                  <a16:creationId xmlns:a16="http://schemas.microsoft.com/office/drawing/2014/main" id="{1F222E62-A05E-C791-BB03-8ED9CC6A46F7}"/>
                </a:ext>
              </a:extLst>
            </p:cNvPr>
            <p:cNvSpPr>
              <a:spLocks noChangeAspect="1"/>
            </p:cNvSpPr>
            <p:nvPr userDrawn="1"/>
          </p:nvSpPr>
          <p:spPr bwMode="gray">
            <a:xfrm>
              <a:off x="6547698" y="2615582"/>
              <a:ext cx="101479" cy="138704"/>
            </a:xfrm>
            <a:custGeom>
              <a:avLst/>
              <a:gdLst>
                <a:gd name="T0" fmla="*/ 0 w 187"/>
                <a:gd name="T1" fmla="*/ 0 h 239"/>
                <a:gd name="T2" fmla="*/ 0 w 187"/>
                <a:gd name="T3" fmla="*/ 0 h 239"/>
                <a:gd name="T4" fmla="*/ 0 w 187"/>
                <a:gd name="T5" fmla="*/ 0 h 239"/>
                <a:gd name="T6" fmla="*/ 0 w 187"/>
                <a:gd name="T7" fmla="*/ 0 h 239"/>
                <a:gd name="T8" fmla="*/ 0 w 187"/>
                <a:gd name="T9" fmla="*/ 0 h 239"/>
                <a:gd name="T10" fmla="*/ 0 w 187"/>
                <a:gd name="T11" fmla="*/ 0 h 239"/>
                <a:gd name="T12" fmla="*/ 0 w 187"/>
                <a:gd name="T13" fmla="*/ 0 h 239"/>
                <a:gd name="T14" fmla="*/ 0 w 187"/>
                <a:gd name="T15" fmla="*/ 0 h 239"/>
                <a:gd name="T16" fmla="*/ 0 w 187"/>
                <a:gd name="T17" fmla="*/ 0 h 239"/>
                <a:gd name="T18" fmla="*/ 0 w 187"/>
                <a:gd name="T19" fmla="*/ 0 h 239"/>
                <a:gd name="T20" fmla="*/ 0 w 187"/>
                <a:gd name="T21" fmla="*/ 0 h 239"/>
                <a:gd name="T22" fmla="*/ 0 w 187"/>
                <a:gd name="T23" fmla="*/ 0 h 239"/>
                <a:gd name="T24" fmla="*/ 0 w 187"/>
                <a:gd name="T25" fmla="*/ 0 h 239"/>
                <a:gd name="T26" fmla="*/ 0 w 187"/>
                <a:gd name="T27" fmla="*/ 0 h 239"/>
                <a:gd name="T28" fmla="*/ 0 w 187"/>
                <a:gd name="T29" fmla="*/ 0 h 239"/>
                <a:gd name="T30" fmla="*/ 0 w 187"/>
                <a:gd name="T31" fmla="*/ 0 h 239"/>
                <a:gd name="T32" fmla="*/ 0 w 187"/>
                <a:gd name="T33" fmla="*/ 0 h 239"/>
                <a:gd name="T34" fmla="*/ 0 w 187"/>
                <a:gd name="T35" fmla="*/ 0 h 239"/>
                <a:gd name="T36" fmla="*/ 0 w 187"/>
                <a:gd name="T37" fmla="*/ 0 h 239"/>
                <a:gd name="T38" fmla="*/ 0 w 187"/>
                <a:gd name="T39" fmla="*/ 0 h 239"/>
                <a:gd name="T40" fmla="*/ 0 w 187"/>
                <a:gd name="T41" fmla="*/ 0 h 239"/>
                <a:gd name="T42" fmla="*/ 0 w 187"/>
                <a:gd name="T43" fmla="*/ 0 h 239"/>
                <a:gd name="T44" fmla="*/ 0 w 187"/>
                <a:gd name="T45" fmla="*/ 0 h 239"/>
                <a:gd name="T46" fmla="*/ 0 w 187"/>
                <a:gd name="T47" fmla="*/ 0 h 239"/>
                <a:gd name="T48" fmla="*/ 0 w 187"/>
                <a:gd name="T49" fmla="*/ 0 h 239"/>
                <a:gd name="T50" fmla="*/ 0 w 187"/>
                <a:gd name="T51" fmla="*/ 0 h 239"/>
                <a:gd name="T52" fmla="*/ 0 w 187"/>
                <a:gd name="T53" fmla="*/ 0 h 239"/>
                <a:gd name="T54" fmla="*/ 0 w 187"/>
                <a:gd name="T55" fmla="*/ 0 h 239"/>
                <a:gd name="T56" fmla="*/ 0 w 187"/>
                <a:gd name="T57" fmla="*/ 0 h 239"/>
                <a:gd name="T58" fmla="*/ 0 w 187"/>
                <a:gd name="T59" fmla="*/ 0 h 239"/>
                <a:gd name="T60" fmla="*/ 0 w 187"/>
                <a:gd name="T61" fmla="*/ 0 h 239"/>
                <a:gd name="T62" fmla="*/ 0 w 187"/>
                <a:gd name="T63" fmla="*/ 0 h 239"/>
                <a:gd name="T64" fmla="*/ 0 w 187"/>
                <a:gd name="T65" fmla="*/ 0 h 239"/>
                <a:gd name="T66" fmla="*/ 0 w 187"/>
                <a:gd name="T67" fmla="*/ 0 h 239"/>
                <a:gd name="T68" fmla="*/ 0 w 187"/>
                <a:gd name="T69" fmla="*/ 0 h 239"/>
                <a:gd name="T70" fmla="*/ 0 w 187"/>
                <a:gd name="T71" fmla="*/ 0 h 239"/>
                <a:gd name="T72" fmla="*/ 0 w 187"/>
                <a:gd name="T73" fmla="*/ 0 h 239"/>
                <a:gd name="T74" fmla="*/ 0 w 187"/>
                <a:gd name="T75" fmla="*/ 0 h 239"/>
                <a:gd name="T76" fmla="*/ 0 w 187"/>
                <a:gd name="T77" fmla="*/ 0 h 239"/>
                <a:gd name="T78" fmla="*/ 0 w 187"/>
                <a:gd name="T79" fmla="*/ 0 h 239"/>
                <a:gd name="T80" fmla="*/ 0 w 187"/>
                <a:gd name="T81" fmla="*/ 0 h 239"/>
                <a:gd name="T82" fmla="*/ 0 w 187"/>
                <a:gd name="T83" fmla="*/ 0 h 239"/>
                <a:gd name="T84" fmla="*/ 0 w 187"/>
                <a:gd name="T85" fmla="*/ 0 h 239"/>
                <a:gd name="T86" fmla="*/ 0 w 187"/>
                <a:gd name="T87" fmla="*/ 0 h 239"/>
                <a:gd name="T88" fmla="*/ 0 w 187"/>
                <a:gd name="T89" fmla="*/ 0 h 239"/>
                <a:gd name="T90" fmla="*/ 0 w 187"/>
                <a:gd name="T91" fmla="*/ 0 h 239"/>
                <a:gd name="T92" fmla="*/ 0 w 187"/>
                <a:gd name="T93" fmla="*/ 0 h 239"/>
                <a:gd name="T94" fmla="*/ 0 w 187"/>
                <a:gd name="T95" fmla="*/ 0 h 239"/>
                <a:gd name="T96" fmla="*/ 0 w 187"/>
                <a:gd name="T97" fmla="*/ 0 h 239"/>
                <a:gd name="T98" fmla="*/ 0 w 187"/>
                <a:gd name="T99" fmla="*/ 0 h 239"/>
                <a:gd name="T100" fmla="*/ 0 w 187"/>
                <a:gd name="T101" fmla="*/ 0 h 239"/>
                <a:gd name="T102" fmla="*/ 0 w 187"/>
                <a:gd name="T103" fmla="*/ 0 h 239"/>
                <a:gd name="T104" fmla="*/ 0 w 187"/>
                <a:gd name="T105" fmla="*/ 0 h 239"/>
                <a:gd name="T106" fmla="*/ 0 w 187"/>
                <a:gd name="T107" fmla="*/ 0 h 239"/>
                <a:gd name="T108" fmla="*/ 0 w 187"/>
                <a:gd name="T109" fmla="*/ 0 h 239"/>
                <a:gd name="T110" fmla="*/ 0 w 187"/>
                <a:gd name="T111" fmla="*/ 0 h 239"/>
                <a:gd name="T112" fmla="*/ 0 w 187"/>
                <a:gd name="T113" fmla="*/ 0 h 239"/>
                <a:gd name="T114" fmla="*/ 0 w 187"/>
                <a:gd name="T115" fmla="*/ 0 h 239"/>
                <a:gd name="T116" fmla="*/ 0 w 187"/>
                <a:gd name="T117" fmla="*/ 0 h 23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7"/>
                <a:gd name="T178" fmla="*/ 0 h 239"/>
                <a:gd name="T179" fmla="*/ 187 w 187"/>
                <a:gd name="T180" fmla="*/ 239 h 23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2" name="Freeform 193">
              <a:extLst>
                <a:ext uri="{FF2B5EF4-FFF2-40B4-BE49-F238E27FC236}">
                  <a16:creationId xmlns:a16="http://schemas.microsoft.com/office/drawing/2014/main" id="{CE78F8F7-7973-AF27-0897-CBD2FBCD15C7}"/>
                </a:ext>
              </a:extLst>
            </p:cNvPr>
            <p:cNvSpPr>
              <a:spLocks noChangeAspect="1"/>
            </p:cNvSpPr>
            <p:nvPr userDrawn="1"/>
          </p:nvSpPr>
          <p:spPr bwMode="gray">
            <a:xfrm>
              <a:off x="6446219" y="2223858"/>
              <a:ext cx="285038" cy="257593"/>
            </a:xfrm>
            <a:custGeom>
              <a:avLst/>
              <a:gdLst>
                <a:gd name="T0" fmla="*/ 0 w 532"/>
                <a:gd name="T1" fmla="*/ 2147483647 h 452"/>
                <a:gd name="T2" fmla="*/ 0 w 532"/>
                <a:gd name="T3" fmla="*/ 2147483647 h 452"/>
                <a:gd name="T4" fmla="*/ 0 w 532"/>
                <a:gd name="T5" fmla="*/ 0 h 452"/>
                <a:gd name="T6" fmla="*/ 0 w 532"/>
                <a:gd name="T7" fmla="*/ 0 h 452"/>
                <a:gd name="T8" fmla="*/ 0 w 532"/>
                <a:gd name="T9" fmla="*/ 0 h 452"/>
                <a:gd name="T10" fmla="*/ 0 w 532"/>
                <a:gd name="T11" fmla="*/ 0 h 452"/>
                <a:gd name="T12" fmla="*/ 0 w 532"/>
                <a:gd name="T13" fmla="*/ 0 h 452"/>
                <a:gd name="T14" fmla="*/ 0 w 532"/>
                <a:gd name="T15" fmla="*/ 0 h 452"/>
                <a:gd name="T16" fmla="*/ 0 w 532"/>
                <a:gd name="T17" fmla="*/ 0 h 452"/>
                <a:gd name="T18" fmla="*/ 0 w 532"/>
                <a:gd name="T19" fmla="*/ 0 h 452"/>
                <a:gd name="T20" fmla="*/ 0 w 532"/>
                <a:gd name="T21" fmla="*/ 0 h 452"/>
                <a:gd name="T22" fmla="*/ 0 w 532"/>
                <a:gd name="T23" fmla="*/ 0 h 452"/>
                <a:gd name="T24" fmla="*/ 0 w 532"/>
                <a:gd name="T25" fmla="*/ 0 h 452"/>
                <a:gd name="T26" fmla="*/ 0 w 532"/>
                <a:gd name="T27" fmla="*/ 0 h 452"/>
                <a:gd name="T28" fmla="*/ 0 w 532"/>
                <a:gd name="T29" fmla="*/ 0 h 452"/>
                <a:gd name="T30" fmla="*/ 0 w 532"/>
                <a:gd name="T31" fmla="*/ 0 h 452"/>
                <a:gd name="T32" fmla="*/ 0 w 532"/>
                <a:gd name="T33" fmla="*/ 0 h 452"/>
                <a:gd name="T34" fmla="*/ 0 w 532"/>
                <a:gd name="T35" fmla="*/ 0 h 452"/>
                <a:gd name="T36" fmla="*/ 0 w 532"/>
                <a:gd name="T37" fmla="*/ 0 h 452"/>
                <a:gd name="T38" fmla="*/ 0 w 532"/>
                <a:gd name="T39" fmla="*/ 0 h 452"/>
                <a:gd name="T40" fmla="*/ 0 w 532"/>
                <a:gd name="T41" fmla="*/ 0 h 452"/>
                <a:gd name="T42" fmla="*/ 2147483647 w 532"/>
                <a:gd name="T43" fmla="*/ 0 h 452"/>
                <a:gd name="T44" fmla="*/ 2147483647 w 532"/>
                <a:gd name="T45" fmla="*/ 0 h 452"/>
                <a:gd name="T46" fmla="*/ 2147483647 w 532"/>
                <a:gd name="T47" fmla="*/ 0 h 452"/>
                <a:gd name="T48" fmla="*/ 2147483647 w 532"/>
                <a:gd name="T49" fmla="*/ 0 h 452"/>
                <a:gd name="T50" fmla="*/ 2147483647 w 532"/>
                <a:gd name="T51" fmla="*/ 0 h 452"/>
                <a:gd name="T52" fmla="*/ 2147483647 w 532"/>
                <a:gd name="T53" fmla="*/ 0 h 452"/>
                <a:gd name="T54" fmla="*/ 2147483647 w 532"/>
                <a:gd name="T55" fmla="*/ 0 h 452"/>
                <a:gd name="T56" fmla="*/ 2147483647 w 532"/>
                <a:gd name="T57" fmla="*/ 0 h 452"/>
                <a:gd name="T58" fmla="*/ 2147483647 w 532"/>
                <a:gd name="T59" fmla="*/ 0 h 452"/>
                <a:gd name="T60" fmla="*/ 2147483647 w 532"/>
                <a:gd name="T61" fmla="*/ 0 h 452"/>
                <a:gd name="T62" fmla="*/ 2147483647 w 532"/>
                <a:gd name="T63" fmla="*/ 0 h 452"/>
                <a:gd name="T64" fmla="*/ 2147483647 w 532"/>
                <a:gd name="T65" fmla="*/ 0 h 452"/>
                <a:gd name="T66" fmla="*/ 2147483647 w 532"/>
                <a:gd name="T67" fmla="*/ 0 h 452"/>
                <a:gd name="T68" fmla="*/ 2147483647 w 532"/>
                <a:gd name="T69" fmla="*/ 0 h 452"/>
                <a:gd name="T70" fmla="*/ 2147483647 w 532"/>
                <a:gd name="T71" fmla="*/ 0 h 452"/>
                <a:gd name="T72" fmla="*/ 2147483647 w 532"/>
                <a:gd name="T73" fmla="*/ 0 h 452"/>
                <a:gd name="T74" fmla="*/ 2147483647 w 532"/>
                <a:gd name="T75" fmla="*/ 0 h 452"/>
                <a:gd name="T76" fmla="*/ 2147483647 w 532"/>
                <a:gd name="T77" fmla="*/ 0 h 452"/>
                <a:gd name="T78" fmla="*/ 2147483647 w 532"/>
                <a:gd name="T79" fmla="*/ 2147483647 h 452"/>
                <a:gd name="T80" fmla="*/ 2147483647 w 532"/>
                <a:gd name="T81" fmla="*/ 2147483647 h 452"/>
                <a:gd name="T82" fmla="*/ 2147483647 w 532"/>
                <a:gd name="T83" fmla="*/ 2147483647 h 452"/>
                <a:gd name="T84" fmla="*/ 2147483647 w 532"/>
                <a:gd name="T85" fmla="*/ 2147483647 h 452"/>
                <a:gd name="T86" fmla="*/ 2147483647 w 532"/>
                <a:gd name="T87" fmla="*/ 2147483647 h 452"/>
                <a:gd name="T88" fmla="*/ 2147483647 w 532"/>
                <a:gd name="T89" fmla="*/ 2147483647 h 452"/>
                <a:gd name="T90" fmla="*/ 2147483647 w 532"/>
                <a:gd name="T91" fmla="*/ 2147483647 h 452"/>
                <a:gd name="T92" fmla="*/ 2147483647 w 532"/>
                <a:gd name="T93" fmla="*/ 2147483647 h 452"/>
                <a:gd name="T94" fmla="*/ 2147483647 w 532"/>
                <a:gd name="T95" fmla="*/ 2147483647 h 452"/>
                <a:gd name="T96" fmla="*/ 0 w 532"/>
                <a:gd name="T97" fmla="*/ 2147483647 h 452"/>
                <a:gd name="T98" fmla="*/ 0 w 532"/>
                <a:gd name="T99" fmla="*/ 2147483647 h 452"/>
                <a:gd name="T100" fmla="*/ 0 w 532"/>
                <a:gd name="T101" fmla="*/ 2147483647 h 452"/>
                <a:gd name="T102" fmla="*/ 0 w 532"/>
                <a:gd name="T103" fmla="*/ 2147483647 h 452"/>
                <a:gd name="T104" fmla="*/ 0 w 532"/>
                <a:gd name="T105" fmla="*/ 2147483647 h 452"/>
                <a:gd name="T106" fmla="*/ 0 w 532"/>
                <a:gd name="T107" fmla="*/ 2147483647 h 452"/>
                <a:gd name="T108" fmla="*/ 0 w 532"/>
                <a:gd name="T109" fmla="*/ 2147483647 h 452"/>
                <a:gd name="T110" fmla="*/ 0 w 532"/>
                <a:gd name="T111" fmla="*/ 2147483647 h 452"/>
                <a:gd name="T112" fmla="*/ 0 w 532"/>
                <a:gd name="T113" fmla="*/ 2147483647 h 452"/>
                <a:gd name="T114" fmla="*/ 0 w 532"/>
                <a:gd name="T115" fmla="*/ 2147483647 h 452"/>
                <a:gd name="T116" fmla="*/ 0 w 532"/>
                <a:gd name="T117" fmla="*/ 2147483647 h 4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32"/>
                <a:gd name="T178" fmla="*/ 0 h 452"/>
                <a:gd name="T179" fmla="*/ 532 w 532"/>
                <a:gd name="T180" fmla="*/ 452 h 45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3" name="Freeform 195">
              <a:extLst>
                <a:ext uri="{FF2B5EF4-FFF2-40B4-BE49-F238E27FC236}">
                  <a16:creationId xmlns:a16="http://schemas.microsoft.com/office/drawing/2014/main" id="{03A02134-EB20-51DA-C0D4-215673CC393B}"/>
                </a:ext>
              </a:extLst>
            </p:cNvPr>
            <p:cNvSpPr>
              <a:spLocks noChangeAspect="1"/>
            </p:cNvSpPr>
            <p:nvPr userDrawn="1"/>
          </p:nvSpPr>
          <p:spPr bwMode="gray">
            <a:xfrm>
              <a:off x="6230517" y="2759471"/>
              <a:ext cx="113679" cy="121911"/>
            </a:xfrm>
            <a:custGeom>
              <a:avLst/>
              <a:gdLst>
                <a:gd name="T0" fmla="*/ 0 w 215"/>
                <a:gd name="T1" fmla="*/ 0 h 216"/>
                <a:gd name="T2" fmla="*/ 0 w 215"/>
                <a:gd name="T3" fmla="*/ 0 h 216"/>
                <a:gd name="T4" fmla="*/ 0 w 215"/>
                <a:gd name="T5" fmla="*/ 0 h 216"/>
                <a:gd name="T6" fmla="*/ 0 w 215"/>
                <a:gd name="T7" fmla="*/ 0 h 216"/>
                <a:gd name="T8" fmla="*/ 0 w 215"/>
                <a:gd name="T9" fmla="*/ 0 h 216"/>
                <a:gd name="T10" fmla="*/ 0 w 215"/>
                <a:gd name="T11" fmla="*/ 0 h 216"/>
                <a:gd name="T12" fmla="*/ 0 w 215"/>
                <a:gd name="T13" fmla="*/ 0 h 216"/>
                <a:gd name="T14" fmla="*/ 0 w 215"/>
                <a:gd name="T15" fmla="*/ 0 h 216"/>
                <a:gd name="T16" fmla="*/ 0 w 215"/>
                <a:gd name="T17" fmla="*/ 0 h 216"/>
                <a:gd name="T18" fmla="*/ 0 w 215"/>
                <a:gd name="T19" fmla="*/ 0 h 216"/>
                <a:gd name="T20" fmla="*/ 0 w 215"/>
                <a:gd name="T21" fmla="*/ 0 h 216"/>
                <a:gd name="T22" fmla="*/ 0 w 215"/>
                <a:gd name="T23" fmla="*/ 0 h 216"/>
                <a:gd name="T24" fmla="*/ 0 w 215"/>
                <a:gd name="T25" fmla="*/ 0 h 216"/>
                <a:gd name="T26" fmla="*/ 0 w 215"/>
                <a:gd name="T27" fmla="*/ 0 h 216"/>
                <a:gd name="T28" fmla="*/ 0 w 215"/>
                <a:gd name="T29" fmla="*/ 0 h 216"/>
                <a:gd name="T30" fmla="*/ 0 w 215"/>
                <a:gd name="T31" fmla="*/ 0 h 216"/>
                <a:gd name="T32" fmla="*/ 0 w 215"/>
                <a:gd name="T33" fmla="*/ 0 h 216"/>
                <a:gd name="T34" fmla="*/ 0 w 215"/>
                <a:gd name="T35" fmla="*/ 0 h 216"/>
                <a:gd name="T36" fmla="*/ 0 w 215"/>
                <a:gd name="T37" fmla="*/ 0 h 216"/>
                <a:gd name="T38" fmla="*/ 0 w 215"/>
                <a:gd name="T39" fmla="*/ 0 h 216"/>
                <a:gd name="T40" fmla="*/ 0 w 215"/>
                <a:gd name="T41" fmla="*/ 0 h 216"/>
                <a:gd name="T42" fmla="*/ 0 w 215"/>
                <a:gd name="T43" fmla="*/ 0 h 216"/>
                <a:gd name="T44" fmla="*/ 0 w 215"/>
                <a:gd name="T45" fmla="*/ 0 h 216"/>
                <a:gd name="T46" fmla="*/ 0 w 215"/>
                <a:gd name="T47" fmla="*/ 0 h 216"/>
                <a:gd name="T48" fmla="*/ 0 w 215"/>
                <a:gd name="T49" fmla="*/ 0 h 216"/>
                <a:gd name="T50" fmla="*/ 0 w 215"/>
                <a:gd name="T51" fmla="*/ 0 h 216"/>
                <a:gd name="T52" fmla="*/ 0 w 215"/>
                <a:gd name="T53" fmla="*/ 0 h 216"/>
                <a:gd name="T54" fmla="*/ 0 w 215"/>
                <a:gd name="T55" fmla="*/ 0 h 216"/>
                <a:gd name="T56" fmla="*/ 0 w 215"/>
                <a:gd name="T57" fmla="*/ 0 h 216"/>
                <a:gd name="T58" fmla="*/ 0 w 215"/>
                <a:gd name="T59" fmla="*/ 0 h 216"/>
                <a:gd name="T60" fmla="*/ 0 w 215"/>
                <a:gd name="T61" fmla="*/ 0 h 216"/>
                <a:gd name="T62" fmla="*/ 0 w 215"/>
                <a:gd name="T63" fmla="*/ 0 h 216"/>
                <a:gd name="T64" fmla="*/ 0 w 215"/>
                <a:gd name="T65" fmla="*/ 0 h 216"/>
                <a:gd name="T66" fmla="*/ 0 w 215"/>
                <a:gd name="T67" fmla="*/ 0 h 216"/>
                <a:gd name="T68" fmla="*/ 0 w 215"/>
                <a:gd name="T69" fmla="*/ 0 h 216"/>
                <a:gd name="T70" fmla="*/ 0 w 215"/>
                <a:gd name="T71" fmla="*/ 0 h 216"/>
                <a:gd name="T72" fmla="*/ 0 w 215"/>
                <a:gd name="T73" fmla="*/ 0 h 216"/>
                <a:gd name="T74" fmla="*/ 0 w 215"/>
                <a:gd name="T75" fmla="*/ 0 h 216"/>
                <a:gd name="T76" fmla="*/ 0 w 215"/>
                <a:gd name="T77" fmla="*/ 0 h 216"/>
                <a:gd name="T78" fmla="*/ 0 w 215"/>
                <a:gd name="T79" fmla="*/ 0 h 216"/>
                <a:gd name="T80" fmla="*/ 0 w 215"/>
                <a:gd name="T81" fmla="*/ 0 h 216"/>
                <a:gd name="T82" fmla="*/ 0 w 215"/>
                <a:gd name="T83" fmla="*/ 0 h 216"/>
                <a:gd name="T84" fmla="*/ 0 w 215"/>
                <a:gd name="T85" fmla="*/ 0 h 216"/>
                <a:gd name="T86" fmla="*/ 0 w 215"/>
                <a:gd name="T87" fmla="*/ 0 h 216"/>
                <a:gd name="T88" fmla="*/ 0 w 215"/>
                <a:gd name="T89" fmla="*/ 0 h 216"/>
                <a:gd name="T90" fmla="*/ 0 w 215"/>
                <a:gd name="T91" fmla="*/ 0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5"/>
                <a:gd name="T139" fmla="*/ 0 h 216"/>
                <a:gd name="T140" fmla="*/ 215 w 215"/>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4" name="Freeform 196">
              <a:extLst>
                <a:ext uri="{FF2B5EF4-FFF2-40B4-BE49-F238E27FC236}">
                  <a16:creationId xmlns:a16="http://schemas.microsoft.com/office/drawing/2014/main" id="{359C8204-6B16-24FA-9C5C-7995545BBDD9}"/>
                </a:ext>
              </a:extLst>
            </p:cNvPr>
            <p:cNvSpPr>
              <a:spLocks noChangeAspect="1"/>
            </p:cNvSpPr>
            <p:nvPr userDrawn="1"/>
          </p:nvSpPr>
          <p:spPr bwMode="gray">
            <a:xfrm>
              <a:off x="6270172" y="2858702"/>
              <a:ext cx="39655" cy="22681"/>
            </a:xfrm>
            <a:custGeom>
              <a:avLst/>
              <a:gdLst>
                <a:gd name="T0" fmla="*/ 0 w 75"/>
                <a:gd name="T1" fmla="*/ 0 h 42"/>
                <a:gd name="T2" fmla="*/ 0 w 75"/>
                <a:gd name="T3" fmla="*/ 0 h 42"/>
                <a:gd name="T4" fmla="*/ 0 w 75"/>
                <a:gd name="T5" fmla="*/ 0 h 42"/>
                <a:gd name="T6" fmla="*/ 0 w 75"/>
                <a:gd name="T7" fmla="*/ 0 h 42"/>
                <a:gd name="T8" fmla="*/ 0 w 75"/>
                <a:gd name="T9" fmla="*/ 0 h 42"/>
                <a:gd name="T10" fmla="*/ 0 w 75"/>
                <a:gd name="T11" fmla="*/ 0 h 42"/>
                <a:gd name="T12" fmla="*/ 0 w 75"/>
                <a:gd name="T13" fmla="*/ 0 h 42"/>
                <a:gd name="T14" fmla="*/ 0 w 75"/>
                <a:gd name="T15" fmla="*/ 0 h 42"/>
                <a:gd name="T16" fmla="*/ 0 w 75"/>
                <a:gd name="T17" fmla="*/ 0 h 42"/>
                <a:gd name="T18" fmla="*/ 0 w 75"/>
                <a:gd name="T19" fmla="*/ 0 h 42"/>
                <a:gd name="T20" fmla="*/ 0 w 75"/>
                <a:gd name="T21" fmla="*/ 0 h 42"/>
                <a:gd name="T22" fmla="*/ 0 w 75"/>
                <a:gd name="T23" fmla="*/ 0 h 42"/>
                <a:gd name="T24" fmla="*/ 0 w 75"/>
                <a:gd name="T25" fmla="*/ 0 h 42"/>
                <a:gd name="T26" fmla="*/ 0 w 75"/>
                <a:gd name="T27" fmla="*/ 0 h 42"/>
                <a:gd name="T28" fmla="*/ 0 w 75"/>
                <a:gd name="T29" fmla="*/ 0 h 42"/>
                <a:gd name="T30" fmla="*/ 0 w 75"/>
                <a:gd name="T31" fmla="*/ 0 h 42"/>
                <a:gd name="T32" fmla="*/ 0 w 75"/>
                <a:gd name="T33" fmla="*/ 0 h 42"/>
                <a:gd name="T34" fmla="*/ 0 w 75"/>
                <a:gd name="T35" fmla="*/ 0 h 42"/>
                <a:gd name="T36" fmla="*/ 0 w 75"/>
                <a:gd name="T37" fmla="*/ 0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5"/>
                <a:gd name="T58" fmla="*/ 0 h 42"/>
                <a:gd name="T59" fmla="*/ 75 w 75"/>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5" name="Freeform 197">
              <a:extLst>
                <a:ext uri="{FF2B5EF4-FFF2-40B4-BE49-F238E27FC236}">
                  <a16:creationId xmlns:a16="http://schemas.microsoft.com/office/drawing/2014/main" id="{FCEAB7B7-F508-E9B6-6176-FE0ED90E60BB}"/>
                </a:ext>
              </a:extLst>
            </p:cNvPr>
            <p:cNvSpPr>
              <a:spLocks noChangeAspect="1"/>
            </p:cNvSpPr>
            <p:nvPr userDrawn="1"/>
          </p:nvSpPr>
          <p:spPr bwMode="gray">
            <a:xfrm>
              <a:off x="6389510" y="3056080"/>
              <a:ext cx="67156" cy="73163"/>
            </a:xfrm>
            <a:custGeom>
              <a:avLst/>
              <a:gdLst>
                <a:gd name="T0" fmla="*/ 0 w 128"/>
                <a:gd name="T1" fmla="*/ 0 h 131"/>
                <a:gd name="T2" fmla="*/ 0 w 128"/>
                <a:gd name="T3" fmla="*/ 0 h 131"/>
                <a:gd name="T4" fmla="*/ 0 w 128"/>
                <a:gd name="T5" fmla="*/ 0 h 131"/>
                <a:gd name="T6" fmla="*/ 0 w 128"/>
                <a:gd name="T7" fmla="*/ 0 h 131"/>
                <a:gd name="T8" fmla="*/ 0 w 128"/>
                <a:gd name="T9" fmla="*/ 0 h 131"/>
                <a:gd name="T10" fmla="*/ 0 w 128"/>
                <a:gd name="T11" fmla="*/ 0 h 131"/>
                <a:gd name="T12" fmla="*/ 0 w 128"/>
                <a:gd name="T13" fmla="*/ 0 h 131"/>
                <a:gd name="T14" fmla="*/ 0 w 128"/>
                <a:gd name="T15" fmla="*/ 0 h 131"/>
                <a:gd name="T16" fmla="*/ 0 w 128"/>
                <a:gd name="T17" fmla="*/ 0 h 131"/>
                <a:gd name="T18" fmla="*/ 0 w 128"/>
                <a:gd name="T19" fmla="*/ 0 h 131"/>
                <a:gd name="T20" fmla="*/ 0 w 128"/>
                <a:gd name="T21" fmla="*/ 0 h 131"/>
                <a:gd name="T22" fmla="*/ 0 w 128"/>
                <a:gd name="T23" fmla="*/ 0 h 131"/>
                <a:gd name="T24" fmla="*/ 0 w 128"/>
                <a:gd name="T25" fmla="*/ 0 h 131"/>
                <a:gd name="T26" fmla="*/ 0 w 128"/>
                <a:gd name="T27" fmla="*/ 0 h 131"/>
                <a:gd name="T28" fmla="*/ 0 w 128"/>
                <a:gd name="T29" fmla="*/ 0 h 131"/>
                <a:gd name="T30" fmla="*/ 0 w 128"/>
                <a:gd name="T31" fmla="*/ 0 h 131"/>
                <a:gd name="T32" fmla="*/ 0 w 128"/>
                <a:gd name="T33" fmla="*/ 0 h 131"/>
                <a:gd name="T34" fmla="*/ 0 w 128"/>
                <a:gd name="T35" fmla="*/ 0 h 131"/>
                <a:gd name="T36" fmla="*/ 0 w 128"/>
                <a:gd name="T37" fmla="*/ 0 h 131"/>
                <a:gd name="T38" fmla="*/ 0 w 128"/>
                <a:gd name="T39" fmla="*/ 0 h 131"/>
                <a:gd name="T40" fmla="*/ 0 w 128"/>
                <a:gd name="T41" fmla="*/ 0 h 131"/>
                <a:gd name="T42" fmla="*/ 0 w 128"/>
                <a:gd name="T43" fmla="*/ 0 h 131"/>
                <a:gd name="T44" fmla="*/ 0 w 128"/>
                <a:gd name="T45" fmla="*/ 0 h 131"/>
                <a:gd name="T46" fmla="*/ 0 w 128"/>
                <a:gd name="T47" fmla="*/ 0 h 131"/>
                <a:gd name="T48" fmla="*/ 0 w 128"/>
                <a:gd name="T49" fmla="*/ 0 h 131"/>
                <a:gd name="T50" fmla="*/ 0 w 128"/>
                <a:gd name="T51" fmla="*/ 0 h 131"/>
                <a:gd name="T52" fmla="*/ 0 w 128"/>
                <a:gd name="T53" fmla="*/ 0 h 131"/>
                <a:gd name="T54" fmla="*/ 0 w 128"/>
                <a:gd name="T55" fmla="*/ 0 h 131"/>
                <a:gd name="T56" fmla="*/ 0 w 128"/>
                <a:gd name="T57" fmla="*/ 0 h 131"/>
                <a:gd name="T58" fmla="*/ 0 w 128"/>
                <a:gd name="T59" fmla="*/ 0 h 131"/>
                <a:gd name="T60" fmla="*/ 0 w 128"/>
                <a:gd name="T61" fmla="*/ 0 h 131"/>
                <a:gd name="T62" fmla="*/ 0 w 128"/>
                <a:gd name="T63" fmla="*/ 0 h 131"/>
                <a:gd name="T64" fmla="*/ 0 w 128"/>
                <a:gd name="T65" fmla="*/ 0 h 131"/>
                <a:gd name="T66" fmla="*/ 0 w 128"/>
                <a:gd name="T67" fmla="*/ 0 h 131"/>
                <a:gd name="T68" fmla="*/ 0 w 128"/>
                <a:gd name="T69" fmla="*/ 0 h 131"/>
                <a:gd name="T70" fmla="*/ 0 w 128"/>
                <a:gd name="T71" fmla="*/ 0 h 131"/>
                <a:gd name="T72" fmla="*/ 0 w 128"/>
                <a:gd name="T73" fmla="*/ 0 h 131"/>
                <a:gd name="T74" fmla="*/ 0 w 128"/>
                <a:gd name="T75" fmla="*/ 0 h 131"/>
                <a:gd name="T76" fmla="*/ 0 w 128"/>
                <a:gd name="T77" fmla="*/ 0 h 131"/>
                <a:gd name="T78" fmla="*/ 0 w 128"/>
                <a:gd name="T79" fmla="*/ 0 h 131"/>
                <a:gd name="T80" fmla="*/ 0 w 128"/>
                <a:gd name="T81" fmla="*/ 0 h 131"/>
                <a:gd name="T82" fmla="*/ 0 w 128"/>
                <a:gd name="T83" fmla="*/ 0 h 131"/>
                <a:gd name="T84" fmla="*/ 0 w 128"/>
                <a:gd name="T85" fmla="*/ 0 h 1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8"/>
                <a:gd name="T130" fmla="*/ 0 h 131"/>
                <a:gd name="T131" fmla="*/ 128 w 128"/>
                <a:gd name="T132" fmla="*/ 131 h 13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6" name="Freeform 198">
              <a:extLst>
                <a:ext uri="{FF2B5EF4-FFF2-40B4-BE49-F238E27FC236}">
                  <a16:creationId xmlns:a16="http://schemas.microsoft.com/office/drawing/2014/main" id="{95B284F3-E283-79A6-41B3-4637B044642E}"/>
                </a:ext>
              </a:extLst>
            </p:cNvPr>
            <p:cNvSpPr>
              <a:spLocks noChangeAspect="1"/>
            </p:cNvSpPr>
            <p:nvPr userDrawn="1"/>
          </p:nvSpPr>
          <p:spPr bwMode="gray">
            <a:xfrm>
              <a:off x="6359663" y="2912804"/>
              <a:ext cx="188035" cy="167664"/>
            </a:xfrm>
            <a:custGeom>
              <a:avLst/>
              <a:gdLst>
                <a:gd name="T0" fmla="*/ 0 w 352"/>
                <a:gd name="T1" fmla="*/ 0 h 293"/>
                <a:gd name="T2" fmla="*/ 0 w 352"/>
                <a:gd name="T3" fmla="*/ 0 h 293"/>
                <a:gd name="T4" fmla="*/ 0 w 352"/>
                <a:gd name="T5" fmla="*/ 0 h 293"/>
                <a:gd name="T6" fmla="*/ 0 w 352"/>
                <a:gd name="T7" fmla="*/ 0 h 293"/>
                <a:gd name="T8" fmla="*/ 0 w 352"/>
                <a:gd name="T9" fmla="*/ 0 h 293"/>
                <a:gd name="T10" fmla="*/ 0 w 352"/>
                <a:gd name="T11" fmla="*/ 0 h 293"/>
                <a:gd name="T12" fmla="*/ 0 w 352"/>
                <a:gd name="T13" fmla="*/ 0 h 293"/>
                <a:gd name="T14" fmla="*/ 0 w 352"/>
                <a:gd name="T15" fmla="*/ 0 h 293"/>
                <a:gd name="T16" fmla="*/ 0 w 352"/>
                <a:gd name="T17" fmla="*/ 0 h 293"/>
                <a:gd name="T18" fmla="*/ 0 w 352"/>
                <a:gd name="T19" fmla="*/ 0 h 293"/>
                <a:gd name="T20" fmla="*/ 0 w 352"/>
                <a:gd name="T21" fmla="*/ 0 h 293"/>
                <a:gd name="T22" fmla="*/ 0 w 352"/>
                <a:gd name="T23" fmla="*/ 0 h 293"/>
                <a:gd name="T24" fmla="*/ 0 w 352"/>
                <a:gd name="T25" fmla="*/ 0 h 293"/>
                <a:gd name="T26" fmla="*/ 0 w 352"/>
                <a:gd name="T27" fmla="*/ 0 h 293"/>
                <a:gd name="T28" fmla="*/ 0 w 352"/>
                <a:gd name="T29" fmla="*/ 0 h 293"/>
                <a:gd name="T30" fmla="*/ 0 w 352"/>
                <a:gd name="T31" fmla="*/ 0 h 293"/>
                <a:gd name="T32" fmla="*/ 0 w 352"/>
                <a:gd name="T33" fmla="*/ 0 h 293"/>
                <a:gd name="T34" fmla="*/ 0 w 352"/>
                <a:gd name="T35" fmla="*/ 0 h 293"/>
                <a:gd name="T36" fmla="*/ 0 w 352"/>
                <a:gd name="T37" fmla="*/ 0 h 293"/>
                <a:gd name="T38" fmla="*/ 0 w 352"/>
                <a:gd name="T39" fmla="*/ 0 h 293"/>
                <a:gd name="T40" fmla="*/ 0 w 352"/>
                <a:gd name="T41" fmla="*/ 0 h 293"/>
                <a:gd name="T42" fmla="*/ 0 w 352"/>
                <a:gd name="T43" fmla="*/ 0 h 293"/>
                <a:gd name="T44" fmla="*/ 0 w 352"/>
                <a:gd name="T45" fmla="*/ 0 h 293"/>
                <a:gd name="T46" fmla="*/ 0 w 352"/>
                <a:gd name="T47" fmla="*/ 0 h 293"/>
                <a:gd name="T48" fmla="*/ 0 w 352"/>
                <a:gd name="T49" fmla="*/ 0 h 293"/>
                <a:gd name="T50" fmla="*/ 0 w 352"/>
                <a:gd name="T51" fmla="*/ 0 h 293"/>
                <a:gd name="T52" fmla="*/ 0 w 352"/>
                <a:gd name="T53" fmla="*/ 0 h 293"/>
                <a:gd name="T54" fmla="*/ 0 w 352"/>
                <a:gd name="T55" fmla="*/ 0 h 293"/>
                <a:gd name="T56" fmla="*/ 0 w 352"/>
                <a:gd name="T57" fmla="*/ 0 h 293"/>
                <a:gd name="T58" fmla="*/ 0 w 352"/>
                <a:gd name="T59" fmla="*/ 0 h 293"/>
                <a:gd name="T60" fmla="*/ 0 w 352"/>
                <a:gd name="T61" fmla="*/ 0 h 293"/>
                <a:gd name="T62" fmla="*/ 0 w 352"/>
                <a:gd name="T63" fmla="*/ 0 h 293"/>
                <a:gd name="T64" fmla="*/ 0 w 352"/>
                <a:gd name="T65" fmla="*/ 0 h 293"/>
                <a:gd name="T66" fmla="*/ 0 w 352"/>
                <a:gd name="T67" fmla="*/ 0 h 293"/>
                <a:gd name="T68" fmla="*/ 0 w 352"/>
                <a:gd name="T69" fmla="*/ 0 h 293"/>
                <a:gd name="T70" fmla="*/ 0 w 352"/>
                <a:gd name="T71" fmla="*/ 0 h 293"/>
                <a:gd name="T72" fmla="*/ 0 w 352"/>
                <a:gd name="T73" fmla="*/ 0 h 293"/>
                <a:gd name="T74" fmla="*/ 0 w 352"/>
                <a:gd name="T75" fmla="*/ 0 h 293"/>
                <a:gd name="T76" fmla="*/ 0 w 352"/>
                <a:gd name="T77" fmla="*/ 0 h 293"/>
                <a:gd name="T78" fmla="*/ 0 w 352"/>
                <a:gd name="T79" fmla="*/ 0 h 293"/>
                <a:gd name="T80" fmla="*/ 0 w 352"/>
                <a:gd name="T81" fmla="*/ 0 h 293"/>
                <a:gd name="T82" fmla="*/ 0 w 352"/>
                <a:gd name="T83" fmla="*/ 0 h 293"/>
                <a:gd name="T84" fmla="*/ 0 w 352"/>
                <a:gd name="T85" fmla="*/ 0 h 293"/>
                <a:gd name="T86" fmla="*/ 0 w 352"/>
                <a:gd name="T87" fmla="*/ 0 h 293"/>
                <a:gd name="T88" fmla="*/ 0 w 352"/>
                <a:gd name="T89" fmla="*/ 0 h 293"/>
                <a:gd name="T90" fmla="*/ 0 w 352"/>
                <a:gd name="T91" fmla="*/ 0 h 293"/>
                <a:gd name="T92" fmla="*/ 0 w 352"/>
                <a:gd name="T93" fmla="*/ 0 h 293"/>
                <a:gd name="T94" fmla="*/ 0 w 352"/>
                <a:gd name="T95" fmla="*/ 0 h 293"/>
                <a:gd name="T96" fmla="*/ 0 w 352"/>
                <a:gd name="T97" fmla="*/ 0 h 293"/>
                <a:gd name="T98" fmla="*/ 0 w 352"/>
                <a:gd name="T99" fmla="*/ 0 h 293"/>
                <a:gd name="T100" fmla="*/ 0 w 352"/>
                <a:gd name="T101" fmla="*/ 0 h 293"/>
                <a:gd name="T102" fmla="*/ 0 w 352"/>
                <a:gd name="T103" fmla="*/ 0 h 293"/>
                <a:gd name="T104" fmla="*/ 0 w 352"/>
                <a:gd name="T105" fmla="*/ 0 h 293"/>
                <a:gd name="T106" fmla="*/ 0 w 352"/>
                <a:gd name="T107" fmla="*/ 0 h 293"/>
                <a:gd name="T108" fmla="*/ 0 w 352"/>
                <a:gd name="T109" fmla="*/ 0 h 293"/>
                <a:gd name="T110" fmla="*/ 0 w 352"/>
                <a:gd name="T111" fmla="*/ 0 h 293"/>
                <a:gd name="T112" fmla="*/ 0 w 352"/>
                <a:gd name="T113" fmla="*/ 0 h 293"/>
                <a:gd name="T114" fmla="*/ 0 w 352"/>
                <a:gd name="T115" fmla="*/ 0 h 293"/>
                <a:gd name="T116" fmla="*/ 2147483647 w 352"/>
                <a:gd name="T117" fmla="*/ 0 h 293"/>
                <a:gd name="T118" fmla="*/ 2147483647 w 352"/>
                <a:gd name="T119" fmla="*/ 0 h 293"/>
                <a:gd name="T120" fmla="*/ 2147483647 w 352"/>
                <a:gd name="T121" fmla="*/ 0 h 293"/>
                <a:gd name="T122" fmla="*/ 2147483647 w 352"/>
                <a:gd name="T123" fmla="*/ 0 h 293"/>
                <a:gd name="T124" fmla="*/ 2147483647 w 352"/>
                <a:gd name="T125" fmla="*/ 0 h 2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52"/>
                <a:gd name="T190" fmla="*/ 0 h 293"/>
                <a:gd name="T191" fmla="*/ 352 w 352"/>
                <a:gd name="T192" fmla="*/ 293 h 2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7" name="Freeform 199">
              <a:extLst>
                <a:ext uri="{FF2B5EF4-FFF2-40B4-BE49-F238E27FC236}">
                  <a16:creationId xmlns:a16="http://schemas.microsoft.com/office/drawing/2014/main" id="{1BA1FDB6-6FC8-8958-1E50-494197233AE4}"/>
                </a:ext>
              </a:extLst>
            </p:cNvPr>
            <p:cNvSpPr>
              <a:spLocks noChangeAspect="1"/>
            </p:cNvSpPr>
            <p:nvPr userDrawn="1"/>
          </p:nvSpPr>
          <p:spPr bwMode="gray">
            <a:xfrm>
              <a:off x="6240275" y="2614057"/>
              <a:ext cx="198482" cy="126510"/>
            </a:xfrm>
            <a:custGeom>
              <a:avLst/>
              <a:gdLst>
                <a:gd name="T0" fmla="*/ 0 w 369"/>
                <a:gd name="T1" fmla="*/ 0 h 223"/>
                <a:gd name="T2" fmla="*/ 0 w 369"/>
                <a:gd name="T3" fmla="*/ 0 h 223"/>
                <a:gd name="T4" fmla="*/ 0 w 369"/>
                <a:gd name="T5" fmla="*/ 0 h 223"/>
                <a:gd name="T6" fmla="*/ 0 w 369"/>
                <a:gd name="T7" fmla="*/ 0 h 223"/>
                <a:gd name="T8" fmla="*/ 0 w 369"/>
                <a:gd name="T9" fmla="*/ 0 h 223"/>
                <a:gd name="T10" fmla="*/ 0 w 369"/>
                <a:gd name="T11" fmla="*/ 0 h 223"/>
                <a:gd name="T12" fmla="*/ 0 w 369"/>
                <a:gd name="T13" fmla="*/ 0 h 223"/>
                <a:gd name="T14" fmla="*/ 0 w 369"/>
                <a:gd name="T15" fmla="*/ 0 h 223"/>
                <a:gd name="T16" fmla="*/ 2147483647 w 369"/>
                <a:gd name="T17" fmla="*/ 0 h 223"/>
                <a:gd name="T18" fmla="*/ 2147483647 w 369"/>
                <a:gd name="T19" fmla="*/ 0 h 223"/>
                <a:gd name="T20" fmla="*/ 2147483647 w 369"/>
                <a:gd name="T21" fmla="*/ 0 h 223"/>
                <a:gd name="T22" fmla="*/ 2147483647 w 369"/>
                <a:gd name="T23" fmla="*/ 0 h 223"/>
                <a:gd name="T24" fmla="*/ 2147483647 w 369"/>
                <a:gd name="T25" fmla="*/ 0 h 223"/>
                <a:gd name="T26" fmla="*/ 2147483647 w 369"/>
                <a:gd name="T27" fmla="*/ 0 h 223"/>
                <a:gd name="T28" fmla="*/ 2147483647 w 369"/>
                <a:gd name="T29" fmla="*/ 0 h 223"/>
                <a:gd name="T30" fmla="*/ 0 w 369"/>
                <a:gd name="T31" fmla="*/ 0 h 223"/>
                <a:gd name="T32" fmla="*/ 0 w 369"/>
                <a:gd name="T33" fmla="*/ 0 h 223"/>
                <a:gd name="T34" fmla="*/ 0 w 369"/>
                <a:gd name="T35" fmla="*/ 0 h 223"/>
                <a:gd name="T36" fmla="*/ 0 w 369"/>
                <a:gd name="T37" fmla="*/ 0 h 223"/>
                <a:gd name="T38" fmla="*/ 0 w 369"/>
                <a:gd name="T39" fmla="*/ 0 h 223"/>
                <a:gd name="T40" fmla="*/ 0 w 369"/>
                <a:gd name="T41" fmla="*/ 0 h 223"/>
                <a:gd name="T42" fmla="*/ 0 w 369"/>
                <a:gd name="T43" fmla="*/ 0 h 223"/>
                <a:gd name="T44" fmla="*/ 0 w 369"/>
                <a:gd name="T45" fmla="*/ 0 h 223"/>
                <a:gd name="T46" fmla="*/ 0 w 369"/>
                <a:gd name="T47" fmla="*/ 0 h 223"/>
                <a:gd name="T48" fmla="*/ 0 w 369"/>
                <a:gd name="T49" fmla="*/ 0 h 223"/>
                <a:gd name="T50" fmla="*/ 0 w 369"/>
                <a:gd name="T51" fmla="*/ 0 h 223"/>
                <a:gd name="T52" fmla="*/ 0 w 369"/>
                <a:gd name="T53" fmla="*/ 0 h 223"/>
                <a:gd name="T54" fmla="*/ 0 w 369"/>
                <a:gd name="T55" fmla="*/ 0 h 223"/>
                <a:gd name="T56" fmla="*/ 0 w 369"/>
                <a:gd name="T57" fmla="*/ 0 h 223"/>
                <a:gd name="T58" fmla="*/ 0 w 369"/>
                <a:gd name="T59" fmla="*/ 0 h 223"/>
                <a:gd name="T60" fmla="*/ 0 w 369"/>
                <a:gd name="T61" fmla="*/ 0 h 223"/>
                <a:gd name="T62" fmla="*/ 0 w 369"/>
                <a:gd name="T63" fmla="*/ 0 h 223"/>
                <a:gd name="T64" fmla="*/ 0 w 369"/>
                <a:gd name="T65" fmla="*/ 0 h 223"/>
                <a:gd name="T66" fmla="*/ 0 w 369"/>
                <a:gd name="T67" fmla="*/ 0 h 22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9"/>
                <a:gd name="T103" fmla="*/ 0 h 223"/>
                <a:gd name="T104" fmla="*/ 369 w 369"/>
                <a:gd name="T105" fmla="*/ 223 h 22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8" name="Freeform 200">
              <a:extLst>
                <a:ext uri="{FF2B5EF4-FFF2-40B4-BE49-F238E27FC236}">
                  <a16:creationId xmlns:a16="http://schemas.microsoft.com/office/drawing/2014/main" id="{EEC8D1E6-BBA9-8846-C0E8-D6F5B8CFD083}"/>
                </a:ext>
              </a:extLst>
            </p:cNvPr>
            <p:cNvSpPr>
              <a:spLocks noChangeAspect="1"/>
            </p:cNvSpPr>
            <p:nvPr userDrawn="1"/>
          </p:nvSpPr>
          <p:spPr bwMode="gray">
            <a:xfrm>
              <a:off x="6182075" y="2295496"/>
              <a:ext cx="291006" cy="294173"/>
            </a:xfrm>
            <a:custGeom>
              <a:avLst/>
              <a:gdLst>
                <a:gd name="T0" fmla="*/ 2147483647 w 545"/>
                <a:gd name="T1" fmla="*/ 2147483647 h 511"/>
                <a:gd name="T2" fmla="*/ 2147483647 w 545"/>
                <a:gd name="T3" fmla="*/ 2147483647 h 511"/>
                <a:gd name="T4" fmla="*/ 2147483647 w 545"/>
                <a:gd name="T5" fmla="*/ 2147483647 h 511"/>
                <a:gd name="T6" fmla="*/ 2147483647 w 545"/>
                <a:gd name="T7" fmla="*/ 2147483647 h 511"/>
                <a:gd name="T8" fmla="*/ 2147483647 w 545"/>
                <a:gd name="T9" fmla="*/ 2147483647 h 511"/>
                <a:gd name="T10" fmla="*/ 2147483647 w 545"/>
                <a:gd name="T11" fmla="*/ 2147483647 h 511"/>
                <a:gd name="T12" fmla="*/ 2147483647 w 545"/>
                <a:gd name="T13" fmla="*/ 2147483647 h 511"/>
                <a:gd name="T14" fmla="*/ 2147483647 w 545"/>
                <a:gd name="T15" fmla="*/ 2147483647 h 511"/>
                <a:gd name="T16" fmla="*/ 2147483647 w 545"/>
                <a:gd name="T17" fmla="*/ 2147483647 h 511"/>
                <a:gd name="T18" fmla="*/ 2147483647 w 545"/>
                <a:gd name="T19" fmla="*/ 2147483647 h 511"/>
                <a:gd name="T20" fmla="*/ 0 w 545"/>
                <a:gd name="T21" fmla="*/ 2147483647 h 511"/>
                <a:gd name="T22" fmla="*/ 0 w 545"/>
                <a:gd name="T23" fmla="*/ 2147483647 h 511"/>
                <a:gd name="T24" fmla="*/ 0 w 545"/>
                <a:gd name="T25" fmla="*/ 2147483647 h 511"/>
                <a:gd name="T26" fmla="*/ 0 w 545"/>
                <a:gd name="T27" fmla="*/ 2147483647 h 511"/>
                <a:gd name="T28" fmla="*/ 0 w 545"/>
                <a:gd name="T29" fmla="*/ 2147483647 h 511"/>
                <a:gd name="T30" fmla="*/ 0 w 545"/>
                <a:gd name="T31" fmla="*/ 2147483647 h 511"/>
                <a:gd name="T32" fmla="*/ 0 w 545"/>
                <a:gd name="T33" fmla="*/ 2147483647 h 511"/>
                <a:gd name="T34" fmla="*/ 0 w 545"/>
                <a:gd name="T35" fmla="*/ 2147483647 h 511"/>
                <a:gd name="T36" fmla="*/ 0 w 545"/>
                <a:gd name="T37" fmla="*/ 2147483647 h 511"/>
                <a:gd name="T38" fmla="*/ 0 w 545"/>
                <a:gd name="T39" fmla="*/ 2147483647 h 511"/>
                <a:gd name="T40" fmla="*/ 0 w 545"/>
                <a:gd name="T41" fmla="*/ 2147483647 h 511"/>
                <a:gd name="T42" fmla="*/ 0 w 545"/>
                <a:gd name="T43" fmla="*/ 0 h 511"/>
                <a:gd name="T44" fmla="*/ 0 w 545"/>
                <a:gd name="T45" fmla="*/ 0 h 511"/>
                <a:gd name="T46" fmla="*/ 0 w 545"/>
                <a:gd name="T47" fmla="*/ 0 h 511"/>
                <a:gd name="T48" fmla="*/ 0 w 545"/>
                <a:gd name="T49" fmla="*/ 0 h 511"/>
                <a:gd name="T50" fmla="*/ 0 w 545"/>
                <a:gd name="T51" fmla="*/ 0 h 511"/>
                <a:gd name="T52" fmla="*/ 0 w 545"/>
                <a:gd name="T53" fmla="*/ 0 h 511"/>
                <a:gd name="T54" fmla="*/ 0 w 545"/>
                <a:gd name="T55" fmla="*/ 0 h 511"/>
                <a:gd name="T56" fmla="*/ 0 w 545"/>
                <a:gd name="T57" fmla="*/ 0 h 511"/>
                <a:gd name="T58" fmla="*/ 0 w 545"/>
                <a:gd name="T59" fmla="*/ 0 h 511"/>
                <a:gd name="T60" fmla="*/ 0 w 545"/>
                <a:gd name="T61" fmla="*/ 0 h 511"/>
                <a:gd name="T62" fmla="*/ 0 w 545"/>
                <a:gd name="T63" fmla="*/ 0 h 511"/>
                <a:gd name="T64" fmla="*/ 0 w 545"/>
                <a:gd name="T65" fmla="*/ 0 h 511"/>
                <a:gd name="T66" fmla="*/ 0 w 545"/>
                <a:gd name="T67" fmla="*/ 0 h 511"/>
                <a:gd name="T68" fmla="*/ 0 w 545"/>
                <a:gd name="T69" fmla="*/ 0 h 511"/>
                <a:gd name="T70" fmla="*/ 0 w 545"/>
                <a:gd name="T71" fmla="*/ 0 h 511"/>
                <a:gd name="T72" fmla="*/ 2147483647 w 545"/>
                <a:gd name="T73" fmla="*/ 0 h 511"/>
                <a:gd name="T74" fmla="*/ 2147483647 w 545"/>
                <a:gd name="T75" fmla="*/ 0 h 511"/>
                <a:gd name="T76" fmla="*/ 2147483647 w 545"/>
                <a:gd name="T77" fmla="*/ 0 h 511"/>
                <a:gd name="T78" fmla="*/ 2147483647 w 545"/>
                <a:gd name="T79" fmla="*/ 0 h 511"/>
                <a:gd name="T80" fmla="*/ 2147483647 w 545"/>
                <a:gd name="T81" fmla="*/ 0 h 511"/>
                <a:gd name="T82" fmla="*/ 2147483647 w 545"/>
                <a:gd name="T83" fmla="*/ 0 h 5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45"/>
                <a:gd name="T127" fmla="*/ 0 h 511"/>
                <a:gd name="T128" fmla="*/ 545 w 545"/>
                <a:gd name="T129" fmla="*/ 511 h 5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89" name="Freeform 201">
              <a:extLst>
                <a:ext uri="{FF2B5EF4-FFF2-40B4-BE49-F238E27FC236}">
                  <a16:creationId xmlns:a16="http://schemas.microsoft.com/office/drawing/2014/main" id="{9948F56E-DFBE-65E9-AA8C-54AB56A89EE7}"/>
                </a:ext>
              </a:extLst>
            </p:cNvPr>
            <p:cNvSpPr>
              <a:spLocks noChangeAspect="1"/>
            </p:cNvSpPr>
            <p:nvPr userDrawn="1"/>
          </p:nvSpPr>
          <p:spPr bwMode="gray">
            <a:xfrm>
              <a:off x="6382048" y="2117162"/>
              <a:ext cx="216389" cy="135656"/>
            </a:xfrm>
            <a:custGeom>
              <a:avLst/>
              <a:gdLst>
                <a:gd name="T0" fmla="*/ 0 w 406"/>
                <a:gd name="T1" fmla="*/ 0 h 240"/>
                <a:gd name="T2" fmla="*/ 0 w 406"/>
                <a:gd name="T3" fmla="*/ 0 h 240"/>
                <a:gd name="T4" fmla="*/ 0 w 406"/>
                <a:gd name="T5" fmla="*/ 0 h 240"/>
                <a:gd name="T6" fmla="*/ 0 w 406"/>
                <a:gd name="T7" fmla="*/ 0 h 240"/>
                <a:gd name="T8" fmla="*/ 0 w 406"/>
                <a:gd name="T9" fmla="*/ 0 h 240"/>
                <a:gd name="T10" fmla="*/ 0 w 406"/>
                <a:gd name="T11" fmla="*/ 0 h 240"/>
                <a:gd name="T12" fmla="*/ 0 w 406"/>
                <a:gd name="T13" fmla="*/ 0 h 240"/>
                <a:gd name="T14" fmla="*/ 0 w 406"/>
                <a:gd name="T15" fmla="*/ 0 h 240"/>
                <a:gd name="T16" fmla="*/ 0 w 406"/>
                <a:gd name="T17" fmla="*/ 0 h 240"/>
                <a:gd name="T18" fmla="*/ 0 w 406"/>
                <a:gd name="T19" fmla="*/ 0 h 240"/>
                <a:gd name="T20" fmla="*/ 0 w 406"/>
                <a:gd name="T21" fmla="*/ 0 h 240"/>
                <a:gd name="T22" fmla="*/ 0 w 406"/>
                <a:gd name="T23" fmla="*/ 0 h 240"/>
                <a:gd name="T24" fmla="*/ 0 w 406"/>
                <a:gd name="T25" fmla="*/ 0 h 240"/>
                <a:gd name="T26" fmla="*/ 0 w 406"/>
                <a:gd name="T27" fmla="*/ 0 h 240"/>
                <a:gd name="T28" fmla="*/ 0 w 406"/>
                <a:gd name="T29" fmla="*/ 0 h 240"/>
                <a:gd name="T30" fmla="*/ 0 w 406"/>
                <a:gd name="T31" fmla="*/ 0 h 240"/>
                <a:gd name="T32" fmla="*/ 0 w 406"/>
                <a:gd name="T33" fmla="*/ 0 h 240"/>
                <a:gd name="T34" fmla="*/ 0 w 406"/>
                <a:gd name="T35" fmla="*/ 0 h 240"/>
                <a:gd name="T36" fmla="*/ 2147483647 w 406"/>
                <a:gd name="T37" fmla="*/ 0 h 240"/>
                <a:gd name="T38" fmla="*/ 2147483647 w 406"/>
                <a:gd name="T39" fmla="*/ 0 h 240"/>
                <a:gd name="T40" fmla="*/ 2147483647 w 406"/>
                <a:gd name="T41" fmla="*/ 0 h 240"/>
                <a:gd name="T42" fmla="*/ 2147483647 w 406"/>
                <a:gd name="T43" fmla="*/ 0 h 240"/>
                <a:gd name="T44" fmla="*/ 2147483647 w 406"/>
                <a:gd name="T45" fmla="*/ 0 h 240"/>
                <a:gd name="T46" fmla="*/ 2147483647 w 406"/>
                <a:gd name="T47" fmla="*/ 0 h 240"/>
                <a:gd name="T48" fmla="*/ 2147483647 w 406"/>
                <a:gd name="T49" fmla="*/ 0 h 240"/>
                <a:gd name="T50" fmla="*/ 2147483647 w 406"/>
                <a:gd name="T51" fmla="*/ 0 h 240"/>
                <a:gd name="T52" fmla="*/ 2147483647 w 406"/>
                <a:gd name="T53" fmla="*/ 0 h 240"/>
                <a:gd name="T54" fmla="*/ 2147483647 w 406"/>
                <a:gd name="T55" fmla="*/ 0 h 240"/>
                <a:gd name="T56" fmla="*/ 2147483647 w 406"/>
                <a:gd name="T57" fmla="*/ 0 h 240"/>
                <a:gd name="T58" fmla="*/ 2147483647 w 406"/>
                <a:gd name="T59" fmla="*/ 0 h 240"/>
                <a:gd name="T60" fmla="*/ 2147483647 w 406"/>
                <a:gd name="T61" fmla="*/ 0 h 240"/>
                <a:gd name="T62" fmla="*/ 2147483647 w 406"/>
                <a:gd name="T63" fmla="*/ 0 h 240"/>
                <a:gd name="T64" fmla="*/ 2147483647 w 406"/>
                <a:gd name="T65" fmla="*/ 0 h 240"/>
                <a:gd name="T66" fmla="*/ 2147483647 w 406"/>
                <a:gd name="T67" fmla="*/ 0 h 240"/>
                <a:gd name="T68" fmla="*/ 0 w 406"/>
                <a:gd name="T69" fmla="*/ 0 h 240"/>
                <a:gd name="T70" fmla="*/ 0 w 406"/>
                <a:gd name="T71" fmla="*/ 0 h 240"/>
                <a:gd name="T72" fmla="*/ 0 w 406"/>
                <a:gd name="T73" fmla="*/ 0 h 240"/>
                <a:gd name="T74" fmla="*/ 0 w 406"/>
                <a:gd name="T75" fmla="*/ 0 h 240"/>
                <a:gd name="T76" fmla="*/ 0 w 406"/>
                <a:gd name="T77" fmla="*/ 0 h 240"/>
                <a:gd name="T78" fmla="*/ 0 w 406"/>
                <a:gd name="T79" fmla="*/ 0 h 240"/>
                <a:gd name="T80" fmla="*/ 0 w 406"/>
                <a:gd name="T81" fmla="*/ 0 h 240"/>
                <a:gd name="T82" fmla="*/ 0 w 406"/>
                <a:gd name="T83" fmla="*/ 0 h 240"/>
                <a:gd name="T84" fmla="*/ 0 w 406"/>
                <a:gd name="T85" fmla="*/ 0 h 240"/>
                <a:gd name="T86" fmla="*/ 0 w 406"/>
                <a:gd name="T87" fmla="*/ 0 h 240"/>
                <a:gd name="T88" fmla="*/ 0 w 406"/>
                <a:gd name="T89" fmla="*/ 0 h 240"/>
                <a:gd name="T90" fmla="*/ 0 w 406"/>
                <a:gd name="T91" fmla="*/ 0 h 240"/>
                <a:gd name="T92" fmla="*/ 0 w 406"/>
                <a:gd name="T93" fmla="*/ 0 h 24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6"/>
                <a:gd name="T142" fmla="*/ 0 h 240"/>
                <a:gd name="T143" fmla="*/ 406 w 406"/>
                <a:gd name="T144" fmla="*/ 240 h 24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0" name="Freeform 202">
              <a:extLst>
                <a:ext uri="{FF2B5EF4-FFF2-40B4-BE49-F238E27FC236}">
                  <a16:creationId xmlns:a16="http://schemas.microsoft.com/office/drawing/2014/main" id="{493F6C7E-F2BB-D24B-E8E9-183A0A27C7BA}"/>
                </a:ext>
              </a:extLst>
            </p:cNvPr>
            <p:cNvSpPr>
              <a:spLocks noChangeAspect="1"/>
            </p:cNvSpPr>
            <p:nvPr userDrawn="1"/>
          </p:nvSpPr>
          <p:spPr bwMode="gray">
            <a:xfrm>
              <a:off x="6117903" y="2489072"/>
              <a:ext cx="202958" cy="126510"/>
            </a:xfrm>
            <a:custGeom>
              <a:avLst/>
              <a:gdLst>
                <a:gd name="T0" fmla="*/ 2147483647 w 378"/>
                <a:gd name="T1" fmla="*/ 0 h 222"/>
                <a:gd name="T2" fmla="*/ 2147483647 w 378"/>
                <a:gd name="T3" fmla="*/ 0 h 222"/>
                <a:gd name="T4" fmla="*/ 2147483647 w 378"/>
                <a:gd name="T5" fmla="*/ 0 h 222"/>
                <a:gd name="T6" fmla="*/ 2147483647 w 378"/>
                <a:gd name="T7" fmla="*/ 0 h 222"/>
                <a:gd name="T8" fmla="*/ 2147483647 w 378"/>
                <a:gd name="T9" fmla="*/ 0 h 222"/>
                <a:gd name="T10" fmla="*/ 2147483647 w 378"/>
                <a:gd name="T11" fmla="*/ 0 h 222"/>
                <a:gd name="T12" fmla="*/ 0 w 378"/>
                <a:gd name="T13" fmla="*/ 0 h 222"/>
                <a:gd name="T14" fmla="*/ 0 w 378"/>
                <a:gd name="T15" fmla="*/ 0 h 222"/>
                <a:gd name="T16" fmla="*/ 0 w 378"/>
                <a:gd name="T17" fmla="*/ 0 h 222"/>
                <a:gd name="T18" fmla="*/ 0 w 378"/>
                <a:gd name="T19" fmla="*/ 0 h 222"/>
                <a:gd name="T20" fmla="*/ 0 w 378"/>
                <a:gd name="T21" fmla="*/ 0 h 222"/>
                <a:gd name="T22" fmla="*/ 0 w 378"/>
                <a:gd name="T23" fmla="*/ 0 h 222"/>
                <a:gd name="T24" fmla="*/ 0 w 378"/>
                <a:gd name="T25" fmla="*/ 0 h 222"/>
                <a:gd name="T26" fmla="*/ 0 w 378"/>
                <a:gd name="T27" fmla="*/ 0 h 222"/>
                <a:gd name="T28" fmla="*/ 0 w 378"/>
                <a:gd name="T29" fmla="*/ 0 h 222"/>
                <a:gd name="T30" fmla="*/ 0 w 378"/>
                <a:gd name="T31" fmla="*/ 0 h 222"/>
                <a:gd name="T32" fmla="*/ 0 w 378"/>
                <a:gd name="T33" fmla="*/ 0 h 222"/>
                <a:gd name="T34" fmla="*/ 0 w 378"/>
                <a:gd name="T35" fmla="*/ 0 h 222"/>
                <a:gd name="T36" fmla="*/ 0 w 378"/>
                <a:gd name="T37" fmla="*/ 0 h 222"/>
                <a:gd name="T38" fmla="*/ 0 w 378"/>
                <a:gd name="T39" fmla="*/ 0 h 222"/>
                <a:gd name="T40" fmla="*/ 0 w 378"/>
                <a:gd name="T41" fmla="*/ 0 h 222"/>
                <a:gd name="T42" fmla="*/ 0 w 378"/>
                <a:gd name="T43" fmla="*/ 0 h 222"/>
                <a:gd name="T44" fmla="*/ 0 w 378"/>
                <a:gd name="T45" fmla="*/ 0 h 222"/>
                <a:gd name="T46" fmla="*/ 0 w 378"/>
                <a:gd name="T47" fmla="*/ 0 h 222"/>
                <a:gd name="T48" fmla="*/ 0 w 378"/>
                <a:gd name="T49" fmla="*/ 0 h 222"/>
                <a:gd name="T50" fmla="*/ 0 w 378"/>
                <a:gd name="T51" fmla="*/ 0 h 222"/>
                <a:gd name="T52" fmla="*/ 0 w 378"/>
                <a:gd name="T53" fmla="*/ 0 h 222"/>
                <a:gd name="T54" fmla="*/ 0 w 378"/>
                <a:gd name="T55" fmla="*/ 0 h 222"/>
                <a:gd name="T56" fmla="*/ 0 w 378"/>
                <a:gd name="T57" fmla="*/ 0 h 222"/>
                <a:gd name="T58" fmla="*/ 0 w 378"/>
                <a:gd name="T59" fmla="*/ 0 h 222"/>
                <a:gd name="T60" fmla="*/ 0 w 378"/>
                <a:gd name="T61" fmla="*/ 0 h 222"/>
                <a:gd name="T62" fmla="*/ 0 w 378"/>
                <a:gd name="T63" fmla="*/ 0 h 222"/>
                <a:gd name="T64" fmla="*/ 0 w 378"/>
                <a:gd name="T65" fmla="*/ 0 h 222"/>
                <a:gd name="T66" fmla="*/ 0 w 378"/>
                <a:gd name="T67" fmla="*/ 0 h 222"/>
                <a:gd name="T68" fmla="*/ 0 w 378"/>
                <a:gd name="T69" fmla="*/ 0 h 222"/>
                <a:gd name="T70" fmla="*/ 0 w 378"/>
                <a:gd name="T71" fmla="*/ 0 h 222"/>
                <a:gd name="T72" fmla="*/ 2147483647 w 378"/>
                <a:gd name="T73" fmla="*/ 0 h 222"/>
                <a:gd name="T74" fmla="*/ 2147483647 w 378"/>
                <a:gd name="T75" fmla="*/ 0 h 222"/>
                <a:gd name="T76" fmla="*/ 2147483647 w 378"/>
                <a:gd name="T77" fmla="*/ 0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8"/>
                <a:gd name="T118" fmla="*/ 0 h 222"/>
                <a:gd name="T119" fmla="*/ 378 w 378"/>
                <a:gd name="T120" fmla="*/ 222 h 22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1" name="Freeform 203">
              <a:extLst>
                <a:ext uri="{FF2B5EF4-FFF2-40B4-BE49-F238E27FC236}">
                  <a16:creationId xmlns:a16="http://schemas.microsoft.com/office/drawing/2014/main" id="{07CBA598-8CCB-DAA2-48C6-DE5E456F0016}"/>
                </a:ext>
              </a:extLst>
            </p:cNvPr>
            <p:cNvSpPr>
              <a:spLocks noChangeAspect="1"/>
            </p:cNvSpPr>
            <p:nvPr userDrawn="1"/>
          </p:nvSpPr>
          <p:spPr bwMode="gray">
            <a:xfrm>
              <a:off x="6425326" y="2809157"/>
              <a:ext cx="183559" cy="124985"/>
            </a:xfrm>
            <a:custGeom>
              <a:avLst/>
              <a:gdLst>
                <a:gd name="T0" fmla="*/ 0 w 346"/>
                <a:gd name="T1" fmla="*/ 0 h 215"/>
                <a:gd name="T2" fmla="*/ 0 w 346"/>
                <a:gd name="T3" fmla="*/ 0 h 215"/>
                <a:gd name="T4" fmla="*/ 0 w 346"/>
                <a:gd name="T5" fmla="*/ 0 h 215"/>
                <a:gd name="T6" fmla="*/ 0 w 346"/>
                <a:gd name="T7" fmla="*/ 0 h 215"/>
                <a:gd name="T8" fmla="*/ 0 w 346"/>
                <a:gd name="T9" fmla="*/ 0 h 215"/>
                <a:gd name="T10" fmla="*/ 0 w 346"/>
                <a:gd name="T11" fmla="*/ 0 h 215"/>
                <a:gd name="T12" fmla="*/ 0 w 346"/>
                <a:gd name="T13" fmla="*/ 0 h 215"/>
                <a:gd name="T14" fmla="*/ 0 w 346"/>
                <a:gd name="T15" fmla="*/ 0 h 215"/>
                <a:gd name="T16" fmla="*/ 0 w 346"/>
                <a:gd name="T17" fmla="*/ 0 h 215"/>
                <a:gd name="T18" fmla="*/ 0 w 346"/>
                <a:gd name="T19" fmla="*/ 0 h 215"/>
                <a:gd name="T20" fmla="*/ 0 w 346"/>
                <a:gd name="T21" fmla="*/ 0 h 215"/>
                <a:gd name="T22" fmla="*/ 0 w 346"/>
                <a:gd name="T23" fmla="*/ 0 h 215"/>
                <a:gd name="T24" fmla="*/ 0 w 346"/>
                <a:gd name="T25" fmla="*/ 0 h 215"/>
                <a:gd name="T26" fmla="*/ 0 w 346"/>
                <a:gd name="T27" fmla="*/ 0 h 215"/>
                <a:gd name="T28" fmla="*/ 0 w 346"/>
                <a:gd name="T29" fmla="*/ 0 h 215"/>
                <a:gd name="T30" fmla="*/ 0 w 346"/>
                <a:gd name="T31" fmla="*/ 0 h 215"/>
                <a:gd name="T32" fmla="*/ 0 w 346"/>
                <a:gd name="T33" fmla="*/ 0 h 215"/>
                <a:gd name="T34" fmla="*/ 0 w 346"/>
                <a:gd name="T35" fmla="*/ 0 h 215"/>
                <a:gd name="T36" fmla="*/ 0 w 346"/>
                <a:gd name="T37" fmla="*/ 0 h 215"/>
                <a:gd name="T38" fmla="*/ 0 w 346"/>
                <a:gd name="T39" fmla="*/ 0 h 215"/>
                <a:gd name="T40" fmla="*/ 0 w 346"/>
                <a:gd name="T41" fmla="*/ 0 h 215"/>
                <a:gd name="T42" fmla="*/ 0 w 346"/>
                <a:gd name="T43" fmla="*/ 0 h 215"/>
                <a:gd name="T44" fmla="*/ 0 w 346"/>
                <a:gd name="T45" fmla="*/ 0 h 215"/>
                <a:gd name="T46" fmla="*/ 0 w 346"/>
                <a:gd name="T47" fmla="*/ 0 h 215"/>
                <a:gd name="T48" fmla="*/ 0 w 346"/>
                <a:gd name="T49" fmla="*/ 0 h 215"/>
                <a:gd name="T50" fmla="*/ 0 w 346"/>
                <a:gd name="T51" fmla="*/ 0 h 215"/>
                <a:gd name="T52" fmla="*/ 2147483647 w 346"/>
                <a:gd name="T53" fmla="*/ 0 h 215"/>
                <a:gd name="T54" fmla="*/ 2147483647 w 346"/>
                <a:gd name="T55" fmla="*/ 0 h 215"/>
                <a:gd name="T56" fmla="*/ 2147483647 w 346"/>
                <a:gd name="T57" fmla="*/ 0 h 215"/>
                <a:gd name="T58" fmla="*/ 2147483647 w 346"/>
                <a:gd name="T59" fmla="*/ 0 h 215"/>
                <a:gd name="T60" fmla="*/ 2147483647 w 346"/>
                <a:gd name="T61" fmla="*/ 0 h 215"/>
                <a:gd name="T62" fmla="*/ 0 w 346"/>
                <a:gd name="T63" fmla="*/ 0 h 215"/>
                <a:gd name="T64" fmla="*/ 0 w 346"/>
                <a:gd name="T65" fmla="*/ 0 h 215"/>
                <a:gd name="T66" fmla="*/ 0 w 346"/>
                <a:gd name="T67" fmla="*/ 0 h 215"/>
                <a:gd name="T68" fmla="*/ 0 w 346"/>
                <a:gd name="T69" fmla="*/ 0 h 215"/>
                <a:gd name="T70" fmla="*/ 0 w 346"/>
                <a:gd name="T71" fmla="*/ 0 h 215"/>
                <a:gd name="T72" fmla="*/ 0 w 346"/>
                <a:gd name="T73" fmla="*/ 0 h 215"/>
                <a:gd name="T74" fmla="*/ 0 w 346"/>
                <a:gd name="T75" fmla="*/ 0 h 215"/>
                <a:gd name="T76" fmla="*/ 0 w 346"/>
                <a:gd name="T77" fmla="*/ 0 h 215"/>
                <a:gd name="T78" fmla="*/ 0 w 346"/>
                <a:gd name="T79" fmla="*/ 0 h 215"/>
                <a:gd name="T80" fmla="*/ 0 w 346"/>
                <a:gd name="T81" fmla="*/ 0 h 215"/>
                <a:gd name="T82" fmla="*/ 0 w 346"/>
                <a:gd name="T83" fmla="*/ 0 h 215"/>
                <a:gd name="T84" fmla="*/ 0 w 346"/>
                <a:gd name="T85" fmla="*/ 0 h 215"/>
                <a:gd name="T86" fmla="*/ 0 w 346"/>
                <a:gd name="T87" fmla="*/ 0 h 215"/>
                <a:gd name="T88" fmla="*/ 0 w 346"/>
                <a:gd name="T89" fmla="*/ 0 h 215"/>
                <a:gd name="T90" fmla="*/ 0 w 346"/>
                <a:gd name="T91" fmla="*/ 0 h 215"/>
                <a:gd name="T92" fmla="*/ 0 w 346"/>
                <a:gd name="T93" fmla="*/ 0 h 215"/>
                <a:gd name="T94" fmla="*/ 0 w 346"/>
                <a:gd name="T95" fmla="*/ 0 h 215"/>
                <a:gd name="T96" fmla="*/ 0 w 346"/>
                <a:gd name="T97" fmla="*/ 0 h 215"/>
                <a:gd name="T98" fmla="*/ 0 w 346"/>
                <a:gd name="T99" fmla="*/ 0 h 215"/>
                <a:gd name="T100" fmla="*/ 0 w 346"/>
                <a:gd name="T101" fmla="*/ 0 h 215"/>
                <a:gd name="T102" fmla="*/ 0 w 346"/>
                <a:gd name="T103" fmla="*/ 0 h 215"/>
                <a:gd name="T104" fmla="*/ 0 w 346"/>
                <a:gd name="T105" fmla="*/ 0 h 215"/>
                <a:gd name="T106" fmla="*/ 0 w 346"/>
                <a:gd name="T107" fmla="*/ 0 h 215"/>
                <a:gd name="T108" fmla="*/ 0 w 346"/>
                <a:gd name="T109" fmla="*/ 0 h 215"/>
                <a:gd name="T110" fmla="*/ 0 w 346"/>
                <a:gd name="T111" fmla="*/ 0 h 215"/>
                <a:gd name="T112" fmla="*/ 0 w 346"/>
                <a:gd name="T113" fmla="*/ 0 h 215"/>
                <a:gd name="T114" fmla="*/ 0 w 346"/>
                <a:gd name="T115" fmla="*/ 0 h 215"/>
                <a:gd name="T116" fmla="*/ 0 w 346"/>
                <a:gd name="T117" fmla="*/ 0 h 21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6"/>
                <a:gd name="T178" fmla="*/ 0 h 215"/>
                <a:gd name="T179" fmla="*/ 346 w 346"/>
                <a:gd name="T180" fmla="*/ 215 h 21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2" name="Freeform 204">
              <a:extLst>
                <a:ext uri="{FF2B5EF4-FFF2-40B4-BE49-F238E27FC236}">
                  <a16:creationId xmlns:a16="http://schemas.microsoft.com/office/drawing/2014/main" id="{92620554-D96B-BA14-5A01-B124F62673EB}"/>
                </a:ext>
              </a:extLst>
            </p:cNvPr>
            <p:cNvSpPr>
              <a:spLocks noChangeAspect="1"/>
            </p:cNvSpPr>
            <p:nvPr userDrawn="1"/>
          </p:nvSpPr>
          <p:spPr bwMode="gray">
            <a:xfrm>
              <a:off x="6165658" y="2705510"/>
              <a:ext cx="171620" cy="156995"/>
            </a:xfrm>
            <a:custGeom>
              <a:avLst/>
              <a:gdLst>
                <a:gd name="T0" fmla="*/ 0 w 322"/>
                <a:gd name="T1" fmla="*/ 0 h 276"/>
                <a:gd name="T2" fmla="*/ 0 w 322"/>
                <a:gd name="T3" fmla="*/ 0 h 276"/>
                <a:gd name="T4" fmla="*/ 0 w 322"/>
                <a:gd name="T5" fmla="*/ 0 h 276"/>
                <a:gd name="T6" fmla="*/ 0 w 322"/>
                <a:gd name="T7" fmla="*/ 0 h 276"/>
                <a:gd name="T8" fmla="*/ 0 w 322"/>
                <a:gd name="T9" fmla="*/ 0 h 276"/>
                <a:gd name="T10" fmla="*/ 0 w 322"/>
                <a:gd name="T11" fmla="*/ 0 h 276"/>
                <a:gd name="T12" fmla="*/ 0 w 322"/>
                <a:gd name="T13" fmla="*/ 0 h 276"/>
                <a:gd name="T14" fmla="*/ 0 w 322"/>
                <a:gd name="T15" fmla="*/ 0 h 276"/>
                <a:gd name="T16" fmla="*/ 0 w 322"/>
                <a:gd name="T17" fmla="*/ 0 h 276"/>
                <a:gd name="T18" fmla="*/ 0 w 322"/>
                <a:gd name="T19" fmla="*/ 0 h 276"/>
                <a:gd name="T20" fmla="*/ 0 w 322"/>
                <a:gd name="T21" fmla="*/ 0 h 276"/>
                <a:gd name="T22" fmla="*/ 0 w 322"/>
                <a:gd name="T23" fmla="*/ 0 h 276"/>
                <a:gd name="T24" fmla="*/ 0 w 322"/>
                <a:gd name="T25" fmla="*/ 0 h 276"/>
                <a:gd name="T26" fmla="*/ 0 w 322"/>
                <a:gd name="T27" fmla="*/ 0 h 276"/>
                <a:gd name="T28" fmla="*/ 0 w 322"/>
                <a:gd name="T29" fmla="*/ 0 h 276"/>
                <a:gd name="T30" fmla="*/ 0 w 322"/>
                <a:gd name="T31" fmla="*/ 0 h 276"/>
                <a:gd name="T32" fmla="*/ 0 w 322"/>
                <a:gd name="T33" fmla="*/ 0 h 276"/>
                <a:gd name="T34" fmla="*/ 0 w 322"/>
                <a:gd name="T35" fmla="*/ 0 h 276"/>
                <a:gd name="T36" fmla="*/ 0 w 322"/>
                <a:gd name="T37" fmla="*/ 0 h 276"/>
                <a:gd name="T38" fmla="*/ 0 w 322"/>
                <a:gd name="T39" fmla="*/ 0 h 276"/>
                <a:gd name="T40" fmla="*/ 0 w 322"/>
                <a:gd name="T41" fmla="*/ 0 h 276"/>
                <a:gd name="T42" fmla="*/ 0 w 322"/>
                <a:gd name="T43" fmla="*/ 0 h 276"/>
                <a:gd name="T44" fmla="*/ 0 w 322"/>
                <a:gd name="T45" fmla="*/ 0 h 276"/>
                <a:gd name="T46" fmla="*/ 0 w 322"/>
                <a:gd name="T47" fmla="*/ 0 h 276"/>
                <a:gd name="T48" fmla="*/ 0 w 322"/>
                <a:gd name="T49" fmla="*/ 0 h 276"/>
                <a:gd name="T50" fmla="*/ 0 w 322"/>
                <a:gd name="T51" fmla="*/ 0 h 276"/>
                <a:gd name="T52" fmla="*/ 0 w 322"/>
                <a:gd name="T53" fmla="*/ 0 h 276"/>
                <a:gd name="T54" fmla="*/ 0 w 322"/>
                <a:gd name="T55" fmla="*/ 0 h 276"/>
                <a:gd name="T56" fmla="*/ 0 w 322"/>
                <a:gd name="T57" fmla="*/ 0 h 276"/>
                <a:gd name="T58" fmla="*/ 0 w 322"/>
                <a:gd name="T59" fmla="*/ 0 h 276"/>
                <a:gd name="T60" fmla="*/ 0 w 322"/>
                <a:gd name="T61" fmla="*/ 0 h 276"/>
                <a:gd name="T62" fmla="*/ 0 w 322"/>
                <a:gd name="T63" fmla="*/ 0 h 276"/>
                <a:gd name="T64" fmla="*/ 0 w 322"/>
                <a:gd name="T65" fmla="*/ 0 h 276"/>
                <a:gd name="T66" fmla="*/ 0 w 322"/>
                <a:gd name="T67" fmla="*/ 0 h 276"/>
                <a:gd name="T68" fmla="*/ 0 w 322"/>
                <a:gd name="T69" fmla="*/ 0 h 276"/>
                <a:gd name="T70" fmla="*/ 0 w 322"/>
                <a:gd name="T71" fmla="*/ 0 h 276"/>
                <a:gd name="T72" fmla="*/ 0 w 322"/>
                <a:gd name="T73" fmla="*/ 0 h 276"/>
                <a:gd name="T74" fmla="*/ 0 w 322"/>
                <a:gd name="T75" fmla="*/ 0 h 276"/>
                <a:gd name="T76" fmla="*/ 0 w 322"/>
                <a:gd name="T77" fmla="*/ 0 h 276"/>
                <a:gd name="T78" fmla="*/ 0 w 322"/>
                <a:gd name="T79" fmla="*/ 0 h 276"/>
                <a:gd name="T80" fmla="*/ 0 w 322"/>
                <a:gd name="T81" fmla="*/ 0 h 276"/>
                <a:gd name="T82" fmla="*/ 0 w 322"/>
                <a:gd name="T83" fmla="*/ 0 h 276"/>
                <a:gd name="T84" fmla="*/ 0 w 322"/>
                <a:gd name="T85" fmla="*/ 0 h 276"/>
                <a:gd name="T86" fmla="*/ 0 w 322"/>
                <a:gd name="T87" fmla="*/ 0 h 276"/>
                <a:gd name="T88" fmla="*/ 0 w 322"/>
                <a:gd name="T89" fmla="*/ 0 h 276"/>
                <a:gd name="T90" fmla="*/ 0 w 322"/>
                <a:gd name="T91" fmla="*/ 0 h 276"/>
                <a:gd name="T92" fmla="*/ 0 w 322"/>
                <a:gd name="T93" fmla="*/ 0 h 276"/>
                <a:gd name="T94" fmla="*/ 2147483647 w 322"/>
                <a:gd name="T95" fmla="*/ 0 h 276"/>
                <a:gd name="T96" fmla="*/ 2147483647 w 322"/>
                <a:gd name="T97" fmla="*/ 0 h 276"/>
                <a:gd name="T98" fmla="*/ 0 w 322"/>
                <a:gd name="T99" fmla="*/ 0 h 276"/>
                <a:gd name="T100" fmla="*/ 0 w 322"/>
                <a:gd name="T101" fmla="*/ 0 h 276"/>
                <a:gd name="T102" fmla="*/ 0 w 322"/>
                <a:gd name="T103" fmla="*/ 0 h 276"/>
                <a:gd name="T104" fmla="*/ 0 w 322"/>
                <a:gd name="T105" fmla="*/ 0 h 276"/>
                <a:gd name="T106" fmla="*/ 0 w 322"/>
                <a:gd name="T107" fmla="*/ 0 h 276"/>
                <a:gd name="T108" fmla="*/ 0 w 322"/>
                <a:gd name="T109" fmla="*/ 0 h 276"/>
                <a:gd name="T110" fmla="*/ 0 w 322"/>
                <a:gd name="T111" fmla="*/ 0 h 276"/>
                <a:gd name="T112" fmla="*/ 0 w 322"/>
                <a:gd name="T113" fmla="*/ 0 h 27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22"/>
                <a:gd name="T172" fmla="*/ 0 h 276"/>
                <a:gd name="T173" fmla="*/ 322 w 322"/>
                <a:gd name="T174" fmla="*/ 276 h 27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3" name="Freeform 205">
              <a:extLst>
                <a:ext uri="{FF2B5EF4-FFF2-40B4-BE49-F238E27FC236}">
                  <a16:creationId xmlns:a16="http://schemas.microsoft.com/office/drawing/2014/main" id="{46ADF0E5-48EF-7657-EC42-932C2EEA8B43}"/>
                </a:ext>
              </a:extLst>
            </p:cNvPr>
            <p:cNvSpPr>
              <a:spLocks noChangeAspect="1"/>
            </p:cNvSpPr>
            <p:nvPr userDrawn="1"/>
          </p:nvSpPr>
          <p:spPr bwMode="gray">
            <a:xfrm>
              <a:off x="6334293" y="2876222"/>
              <a:ext cx="53724" cy="121938"/>
            </a:xfrm>
            <a:custGeom>
              <a:avLst/>
              <a:gdLst>
                <a:gd name="T0" fmla="*/ 0 w 97"/>
                <a:gd name="T1" fmla="*/ 0 h 215"/>
                <a:gd name="T2" fmla="*/ 0 w 97"/>
                <a:gd name="T3" fmla="*/ 0 h 215"/>
                <a:gd name="T4" fmla="*/ 0 w 97"/>
                <a:gd name="T5" fmla="*/ 0 h 215"/>
                <a:gd name="T6" fmla="*/ 0 w 97"/>
                <a:gd name="T7" fmla="*/ 0 h 215"/>
                <a:gd name="T8" fmla="*/ 0 w 97"/>
                <a:gd name="T9" fmla="*/ 0 h 215"/>
                <a:gd name="T10" fmla="*/ 0 w 97"/>
                <a:gd name="T11" fmla="*/ 0 h 215"/>
                <a:gd name="T12" fmla="*/ 0 w 97"/>
                <a:gd name="T13" fmla="*/ 0 h 215"/>
                <a:gd name="T14" fmla="*/ 0 w 97"/>
                <a:gd name="T15" fmla="*/ 0 h 215"/>
                <a:gd name="T16" fmla="*/ 0 w 97"/>
                <a:gd name="T17" fmla="*/ 0 h 215"/>
                <a:gd name="T18" fmla="*/ 0 w 97"/>
                <a:gd name="T19" fmla="*/ 0 h 215"/>
                <a:gd name="T20" fmla="*/ 0 w 97"/>
                <a:gd name="T21" fmla="*/ 0 h 215"/>
                <a:gd name="T22" fmla="*/ 0 w 97"/>
                <a:gd name="T23" fmla="*/ 0 h 215"/>
                <a:gd name="T24" fmla="*/ 0 w 97"/>
                <a:gd name="T25" fmla="*/ 0 h 215"/>
                <a:gd name="T26" fmla="*/ 0 w 97"/>
                <a:gd name="T27" fmla="*/ 0 h 215"/>
                <a:gd name="T28" fmla="*/ 0 w 97"/>
                <a:gd name="T29" fmla="*/ 0 h 215"/>
                <a:gd name="T30" fmla="*/ 0 w 97"/>
                <a:gd name="T31" fmla="*/ 0 h 215"/>
                <a:gd name="T32" fmla="*/ 0 w 97"/>
                <a:gd name="T33" fmla="*/ 0 h 215"/>
                <a:gd name="T34" fmla="*/ 0 w 97"/>
                <a:gd name="T35" fmla="*/ 0 h 215"/>
                <a:gd name="T36" fmla="*/ 0 w 97"/>
                <a:gd name="T37" fmla="*/ 0 h 215"/>
                <a:gd name="T38" fmla="*/ 0 w 97"/>
                <a:gd name="T39" fmla="*/ 0 h 215"/>
                <a:gd name="T40" fmla="*/ 0 w 97"/>
                <a:gd name="T41" fmla="*/ 0 h 215"/>
                <a:gd name="T42" fmla="*/ 0 w 97"/>
                <a:gd name="T43" fmla="*/ 0 h 215"/>
                <a:gd name="T44" fmla="*/ 0 w 97"/>
                <a:gd name="T45" fmla="*/ 0 h 215"/>
                <a:gd name="T46" fmla="*/ 0 w 97"/>
                <a:gd name="T47" fmla="*/ 0 h 215"/>
                <a:gd name="T48" fmla="*/ 0 w 97"/>
                <a:gd name="T49" fmla="*/ 0 h 215"/>
                <a:gd name="T50" fmla="*/ 0 w 97"/>
                <a:gd name="T51" fmla="*/ 0 h 215"/>
                <a:gd name="T52" fmla="*/ 0 w 97"/>
                <a:gd name="T53" fmla="*/ 0 h 215"/>
                <a:gd name="T54" fmla="*/ 0 w 97"/>
                <a:gd name="T55" fmla="*/ 0 h 215"/>
                <a:gd name="T56" fmla="*/ 0 w 97"/>
                <a:gd name="T57" fmla="*/ 0 h 215"/>
                <a:gd name="T58" fmla="*/ 0 w 97"/>
                <a:gd name="T59" fmla="*/ 0 h 215"/>
                <a:gd name="T60" fmla="*/ 0 w 97"/>
                <a:gd name="T61" fmla="*/ 0 h 215"/>
                <a:gd name="T62" fmla="*/ 0 w 97"/>
                <a:gd name="T63" fmla="*/ 0 h 215"/>
                <a:gd name="T64" fmla="*/ 0 w 97"/>
                <a:gd name="T65" fmla="*/ 0 h 215"/>
                <a:gd name="T66" fmla="*/ 0 w 97"/>
                <a:gd name="T67" fmla="*/ 0 h 215"/>
                <a:gd name="T68" fmla="*/ 0 w 97"/>
                <a:gd name="T69" fmla="*/ 0 h 215"/>
                <a:gd name="T70" fmla="*/ 0 w 97"/>
                <a:gd name="T71" fmla="*/ 0 h 215"/>
                <a:gd name="T72" fmla="*/ 0 w 97"/>
                <a:gd name="T73" fmla="*/ 0 h 215"/>
                <a:gd name="T74" fmla="*/ 0 w 97"/>
                <a:gd name="T75" fmla="*/ 0 h 215"/>
                <a:gd name="T76" fmla="*/ 0 w 97"/>
                <a:gd name="T77" fmla="*/ 0 h 215"/>
                <a:gd name="T78" fmla="*/ 0 w 97"/>
                <a:gd name="T79" fmla="*/ 0 h 215"/>
                <a:gd name="T80" fmla="*/ 0 w 97"/>
                <a:gd name="T81" fmla="*/ 0 h 2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7"/>
                <a:gd name="T124" fmla="*/ 0 h 215"/>
                <a:gd name="T125" fmla="*/ 97 w 97"/>
                <a:gd name="T126" fmla="*/ 215 h 2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4" name="Freeform 206">
              <a:extLst>
                <a:ext uri="{FF2B5EF4-FFF2-40B4-BE49-F238E27FC236}">
                  <a16:creationId xmlns:a16="http://schemas.microsoft.com/office/drawing/2014/main" id="{B413B9EB-DB9B-21B6-D924-09927D596432}"/>
                </a:ext>
              </a:extLst>
            </p:cNvPr>
            <p:cNvSpPr>
              <a:spLocks noChangeAspect="1"/>
            </p:cNvSpPr>
            <p:nvPr userDrawn="1"/>
          </p:nvSpPr>
          <p:spPr bwMode="gray">
            <a:xfrm>
              <a:off x="6385033" y="2208615"/>
              <a:ext cx="167142" cy="134131"/>
            </a:xfrm>
            <a:custGeom>
              <a:avLst/>
              <a:gdLst>
                <a:gd name="T0" fmla="*/ 0 w 317"/>
                <a:gd name="T1" fmla="*/ 0 h 244"/>
                <a:gd name="T2" fmla="*/ 0 w 317"/>
                <a:gd name="T3" fmla="*/ 0 h 244"/>
                <a:gd name="T4" fmla="*/ 0 w 317"/>
                <a:gd name="T5" fmla="*/ 0 h 244"/>
                <a:gd name="T6" fmla="*/ 0 w 317"/>
                <a:gd name="T7" fmla="*/ 0 h 244"/>
                <a:gd name="T8" fmla="*/ 0 w 317"/>
                <a:gd name="T9" fmla="*/ 0 h 244"/>
                <a:gd name="T10" fmla="*/ 0 w 317"/>
                <a:gd name="T11" fmla="*/ 0 h 244"/>
                <a:gd name="T12" fmla="*/ 0 w 317"/>
                <a:gd name="T13" fmla="*/ 0 h 244"/>
                <a:gd name="T14" fmla="*/ 0 w 317"/>
                <a:gd name="T15" fmla="*/ 0 h 244"/>
                <a:gd name="T16" fmla="*/ 0 w 317"/>
                <a:gd name="T17" fmla="*/ 0 h 244"/>
                <a:gd name="T18" fmla="*/ 0 w 317"/>
                <a:gd name="T19" fmla="*/ 0 h 244"/>
                <a:gd name="T20" fmla="*/ 0 w 317"/>
                <a:gd name="T21" fmla="*/ 0 h 244"/>
                <a:gd name="T22" fmla="*/ 0 w 317"/>
                <a:gd name="T23" fmla="*/ 0 h 244"/>
                <a:gd name="T24" fmla="*/ 0 w 317"/>
                <a:gd name="T25" fmla="*/ 0 h 244"/>
                <a:gd name="T26" fmla="*/ 0 w 317"/>
                <a:gd name="T27" fmla="*/ 0 h 244"/>
                <a:gd name="T28" fmla="*/ 0 w 317"/>
                <a:gd name="T29" fmla="*/ 0 h 244"/>
                <a:gd name="T30" fmla="*/ 0 w 317"/>
                <a:gd name="T31" fmla="*/ 0 h 244"/>
                <a:gd name="T32" fmla="*/ 0 w 317"/>
                <a:gd name="T33" fmla="*/ 0 h 244"/>
                <a:gd name="T34" fmla="*/ 0 w 317"/>
                <a:gd name="T35" fmla="*/ 0 h 244"/>
                <a:gd name="T36" fmla="*/ 0 w 317"/>
                <a:gd name="T37" fmla="*/ 0 h 244"/>
                <a:gd name="T38" fmla="*/ 0 w 317"/>
                <a:gd name="T39" fmla="*/ 0 h 244"/>
                <a:gd name="T40" fmla="*/ 0 w 317"/>
                <a:gd name="T41" fmla="*/ 0 h 244"/>
                <a:gd name="T42" fmla="*/ 0 w 317"/>
                <a:gd name="T43" fmla="*/ 0 h 244"/>
                <a:gd name="T44" fmla="*/ 0 w 317"/>
                <a:gd name="T45" fmla="*/ 0 h 244"/>
                <a:gd name="T46" fmla="*/ 0 w 317"/>
                <a:gd name="T47" fmla="*/ 0 h 244"/>
                <a:gd name="T48" fmla="*/ 0 w 317"/>
                <a:gd name="T49" fmla="*/ 0 h 244"/>
                <a:gd name="T50" fmla="*/ 0 w 317"/>
                <a:gd name="T51" fmla="*/ 0 h 244"/>
                <a:gd name="T52" fmla="*/ 0 w 317"/>
                <a:gd name="T53" fmla="*/ 0 h 244"/>
                <a:gd name="T54" fmla="*/ 0 w 317"/>
                <a:gd name="T55" fmla="*/ 0 h 244"/>
                <a:gd name="T56" fmla="*/ 0 w 317"/>
                <a:gd name="T57" fmla="*/ 0 h 244"/>
                <a:gd name="T58" fmla="*/ 0 w 317"/>
                <a:gd name="T59" fmla="*/ 0 h 244"/>
                <a:gd name="T60" fmla="*/ 0 w 317"/>
                <a:gd name="T61" fmla="*/ 0 h 244"/>
                <a:gd name="T62" fmla="*/ 0 w 317"/>
                <a:gd name="T63" fmla="*/ 0 h 244"/>
                <a:gd name="T64" fmla="*/ 0 w 317"/>
                <a:gd name="T65" fmla="*/ 0 h 244"/>
                <a:gd name="T66" fmla="*/ 0 w 317"/>
                <a:gd name="T67" fmla="*/ 0 h 244"/>
                <a:gd name="T68" fmla="*/ 0 w 317"/>
                <a:gd name="T69" fmla="*/ 0 h 244"/>
                <a:gd name="T70" fmla="*/ 0 w 317"/>
                <a:gd name="T71" fmla="*/ 0 h 244"/>
                <a:gd name="T72" fmla="*/ 0 w 317"/>
                <a:gd name="T73" fmla="*/ 0 h 244"/>
                <a:gd name="T74" fmla="*/ 0 w 317"/>
                <a:gd name="T75" fmla="*/ 0 h 244"/>
                <a:gd name="T76" fmla="*/ 0 w 317"/>
                <a:gd name="T77" fmla="*/ 0 h 244"/>
                <a:gd name="T78" fmla="*/ 0 w 317"/>
                <a:gd name="T79" fmla="*/ 0 h 244"/>
                <a:gd name="T80" fmla="*/ 0 w 317"/>
                <a:gd name="T81" fmla="*/ 0 h 244"/>
                <a:gd name="T82" fmla="*/ 0 w 317"/>
                <a:gd name="T83" fmla="*/ 0 h 244"/>
                <a:gd name="T84" fmla="*/ 0 w 317"/>
                <a:gd name="T85" fmla="*/ 0 h 244"/>
                <a:gd name="T86" fmla="*/ 0 w 317"/>
                <a:gd name="T87" fmla="*/ 0 h 244"/>
                <a:gd name="T88" fmla="*/ 0 w 317"/>
                <a:gd name="T89" fmla="*/ 0 h 244"/>
                <a:gd name="T90" fmla="*/ 0 w 317"/>
                <a:gd name="T91" fmla="*/ 0 h 2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17"/>
                <a:gd name="T139" fmla="*/ 0 h 244"/>
                <a:gd name="T140" fmla="*/ 317 w 317"/>
                <a:gd name="T141" fmla="*/ 244 h 2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5" name="Freeform 207">
              <a:extLst>
                <a:ext uri="{FF2B5EF4-FFF2-40B4-BE49-F238E27FC236}">
                  <a16:creationId xmlns:a16="http://schemas.microsoft.com/office/drawing/2014/main" id="{00EFD95F-B0AA-C62D-7A03-BB78246157EA}"/>
                </a:ext>
              </a:extLst>
            </p:cNvPr>
            <p:cNvSpPr>
              <a:spLocks noChangeAspect="1"/>
            </p:cNvSpPr>
            <p:nvPr userDrawn="1"/>
          </p:nvSpPr>
          <p:spPr bwMode="gray">
            <a:xfrm>
              <a:off x="6308923" y="2719229"/>
              <a:ext cx="129834" cy="190527"/>
            </a:xfrm>
            <a:custGeom>
              <a:avLst/>
              <a:gdLst>
                <a:gd name="T0" fmla="*/ 0 w 241"/>
                <a:gd name="T1" fmla="*/ 0 h 331"/>
                <a:gd name="T2" fmla="*/ 0 w 241"/>
                <a:gd name="T3" fmla="*/ 0 h 331"/>
                <a:gd name="T4" fmla="*/ 0 w 241"/>
                <a:gd name="T5" fmla="*/ 0 h 331"/>
                <a:gd name="T6" fmla="*/ 0 w 241"/>
                <a:gd name="T7" fmla="*/ 0 h 331"/>
                <a:gd name="T8" fmla="*/ 0 w 241"/>
                <a:gd name="T9" fmla="*/ 0 h 331"/>
                <a:gd name="T10" fmla="*/ 0 w 241"/>
                <a:gd name="T11" fmla="*/ 0 h 331"/>
                <a:gd name="T12" fmla="*/ 0 w 241"/>
                <a:gd name="T13" fmla="*/ 0 h 331"/>
                <a:gd name="T14" fmla="*/ 0 w 241"/>
                <a:gd name="T15" fmla="*/ 0 h 331"/>
                <a:gd name="T16" fmla="*/ 0 w 241"/>
                <a:gd name="T17" fmla="*/ 0 h 331"/>
                <a:gd name="T18" fmla="*/ 0 w 241"/>
                <a:gd name="T19" fmla="*/ 0 h 331"/>
                <a:gd name="T20" fmla="*/ 0 w 241"/>
                <a:gd name="T21" fmla="*/ 0 h 331"/>
                <a:gd name="T22" fmla="*/ 0 w 241"/>
                <a:gd name="T23" fmla="*/ 0 h 331"/>
                <a:gd name="T24" fmla="*/ 0 w 241"/>
                <a:gd name="T25" fmla="*/ 0 h 331"/>
                <a:gd name="T26" fmla="*/ 0 w 241"/>
                <a:gd name="T27" fmla="*/ 0 h 331"/>
                <a:gd name="T28" fmla="*/ 0 w 241"/>
                <a:gd name="T29" fmla="*/ 0 h 331"/>
                <a:gd name="T30" fmla="*/ 0 w 241"/>
                <a:gd name="T31" fmla="*/ 0 h 331"/>
                <a:gd name="T32" fmla="*/ 0 w 241"/>
                <a:gd name="T33" fmla="*/ 0 h 331"/>
                <a:gd name="T34" fmla="*/ 0 w 241"/>
                <a:gd name="T35" fmla="*/ 0 h 331"/>
                <a:gd name="T36" fmla="*/ 0 w 241"/>
                <a:gd name="T37" fmla="*/ 0 h 331"/>
                <a:gd name="T38" fmla="*/ 0 w 241"/>
                <a:gd name="T39" fmla="*/ 0 h 331"/>
                <a:gd name="T40" fmla="*/ 0 w 241"/>
                <a:gd name="T41" fmla="*/ 0 h 331"/>
                <a:gd name="T42" fmla="*/ 0 w 241"/>
                <a:gd name="T43" fmla="*/ 0 h 331"/>
                <a:gd name="T44" fmla="*/ 0 w 241"/>
                <a:gd name="T45" fmla="*/ 0 h 331"/>
                <a:gd name="T46" fmla="*/ 0 w 241"/>
                <a:gd name="T47" fmla="*/ 0 h 331"/>
                <a:gd name="T48" fmla="*/ 0 w 241"/>
                <a:gd name="T49" fmla="*/ 0 h 331"/>
                <a:gd name="T50" fmla="*/ 0 w 241"/>
                <a:gd name="T51" fmla="*/ 0 h 331"/>
                <a:gd name="T52" fmla="*/ 0 w 241"/>
                <a:gd name="T53" fmla="*/ 0 h 331"/>
                <a:gd name="T54" fmla="*/ 0 w 241"/>
                <a:gd name="T55" fmla="*/ 0 h 331"/>
                <a:gd name="T56" fmla="*/ 0 w 241"/>
                <a:gd name="T57" fmla="*/ 0 h 331"/>
                <a:gd name="T58" fmla="*/ 0 w 241"/>
                <a:gd name="T59" fmla="*/ 0 h 331"/>
                <a:gd name="T60" fmla="*/ 0 w 241"/>
                <a:gd name="T61" fmla="*/ 0 h 331"/>
                <a:gd name="T62" fmla="*/ 0 w 241"/>
                <a:gd name="T63" fmla="*/ 0 h 331"/>
                <a:gd name="T64" fmla="*/ 0 w 241"/>
                <a:gd name="T65" fmla="*/ 0 h 331"/>
                <a:gd name="T66" fmla="*/ 0 w 241"/>
                <a:gd name="T67" fmla="*/ 0 h 331"/>
                <a:gd name="T68" fmla="*/ 0 w 241"/>
                <a:gd name="T69" fmla="*/ 0 h 331"/>
                <a:gd name="T70" fmla="*/ 0 w 241"/>
                <a:gd name="T71" fmla="*/ 0 h 331"/>
                <a:gd name="T72" fmla="*/ 0 w 241"/>
                <a:gd name="T73" fmla="*/ 2147483647 h 331"/>
                <a:gd name="T74" fmla="*/ 0 w 241"/>
                <a:gd name="T75" fmla="*/ 2147483647 h 331"/>
                <a:gd name="T76" fmla="*/ 0 w 241"/>
                <a:gd name="T77" fmla="*/ 0 h 331"/>
                <a:gd name="T78" fmla="*/ 0 w 241"/>
                <a:gd name="T79" fmla="*/ 0 h 331"/>
                <a:gd name="T80" fmla="*/ 0 w 241"/>
                <a:gd name="T81" fmla="*/ 2147483647 h 331"/>
                <a:gd name="T82" fmla="*/ 0 w 241"/>
                <a:gd name="T83" fmla="*/ 2147483647 h 331"/>
                <a:gd name="T84" fmla="*/ 0 w 241"/>
                <a:gd name="T85" fmla="*/ 0 h 331"/>
                <a:gd name="T86" fmla="*/ 0 w 241"/>
                <a:gd name="T87" fmla="*/ 0 h 331"/>
                <a:gd name="T88" fmla="*/ 0 w 241"/>
                <a:gd name="T89" fmla="*/ 0 h 331"/>
                <a:gd name="T90" fmla="*/ 0 w 241"/>
                <a:gd name="T91" fmla="*/ 0 h 331"/>
                <a:gd name="T92" fmla="*/ 0 w 241"/>
                <a:gd name="T93" fmla="*/ 0 h 331"/>
                <a:gd name="T94" fmla="*/ 0 w 241"/>
                <a:gd name="T95" fmla="*/ 0 h 331"/>
                <a:gd name="T96" fmla="*/ 0 w 241"/>
                <a:gd name="T97" fmla="*/ 0 h 331"/>
                <a:gd name="T98" fmla="*/ 0 w 241"/>
                <a:gd name="T99" fmla="*/ 0 h 331"/>
                <a:gd name="T100" fmla="*/ 0 w 241"/>
                <a:gd name="T101" fmla="*/ 0 h 331"/>
                <a:gd name="T102" fmla="*/ 0 w 241"/>
                <a:gd name="T103" fmla="*/ 0 h 331"/>
                <a:gd name="T104" fmla="*/ 0 w 241"/>
                <a:gd name="T105" fmla="*/ 0 h 331"/>
                <a:gd name="T106" fmla="*/ 0 w 241"/>
                <a:gd name="T107" fmla="*/ 0 h 331"/>
                <a:gd name="T108" fmla="*/ 0 w 241"/>
                <a:gd name="T109" fmla="*/ 0 h 331"/>
                <a:gd name="T110" fmla="*/ 0 w 241"/>
                <a:gd name="T111" fmla="*/ 0 h 3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1"/>
                <a:gd name="T169" fmla="*/ 0 h 331"/>
                <a:gd name="T170" fmla="*/ 241 w 241"/>
                <a:gd name="T171" fmla="*/ 331 h 33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6" name="Freeform 208">
              <a:extLst>
                <a:ext uri="{FF2B5EF4-FFF2-40B4-BE49-F238E27FC236}">
                  <a16:creationId xmlns:a16="http://schemas.microsoft.com/office/drawing/2014/main" id="{463BD7AF-7A56-EB53-C320-7CA4026CA032}"/>
                </a:ext>
              </a:extLst>
            </p:cNvPr>
            <p:cNvSpPr>
              <a:spLocks noChangeAspect="1"/>
            </p:cNvSpPr>
            <p:nvPr userDrawn="1"/>
          </p:nvSpPr>
          <p:spPr bwMode="gray">
            <a:xfrm>
              <a:off x="6265646" y="2565282"/>
              <a:ext cx="159680" cy="85356"/>
            </a:xfrm>
            <a:custGeom>
              <a:avLst/>
              <a:gdLst>
                <a:gd name="T0" fmla="*/ 0 w 304"/>
                <a:gd name="T1" fmla="*/ 0 h 149"/>
                <a:gd name="T2" fmla="*/ 0 w 304"/>
                <a:gd name="T3" fmla="*/ 0 h 149"/>
                <a:gd name="T4" fmla="*/ 0 w 304"/>
                <a:gd name="T5" fmla="*/ 0 h 149"/>
                <a:gd name="T6" fmla="*/ 0 w 304"/>
                <a:gd name="T7" fmla="*/ 0 h 149"/>
                <a:gd name="T8" fmla="*/ 0 w 304"/>
                <a:gd name="T9" fmla="*/ 0 h 149"/>
                <a:gd name="T10" fmla="*/ 0 w 304"/>
                <a:gd name="T11" fmla="*/ 0 h 149"/>
                <a:gd name="T12" fmla="*/ 0 w 304"/>
                <a:gd name="T13" fmla="*/ 0 h 149"/>
                <a:gd name="T14" fmla="*/ 0 w 304"/>
                <a:gd name="T15" fmla="*/ 0 h 149"/>
                <a:gd name="T16" fmla="*/ 0 w 304"/>
                <a:gd name="T17" fmla="*/ 0 h 149"/>
                <a:gd name="T18" fmla="*/ 0 w 304"/>
                <a:gd name="T19" fmla="*/ 0 h 149"/>
                <a:gd name="T20" fmla="*/ 0 w 304"/>
                <a:gd name="T21" fmla="*/ 0 h 149"/>
                <a:gd name="T22" fmla="*/ 0 w 304"/>
                <a:gd name="T23" fmla="*/ 0 h 149"/>
                <a:gd name="T24" fmla="*/ 0 w 304"/>
                <a:gd name="T25" fmla="*/ 0 h 149"/>
                <a:gd name="T26" fmla="*/ 0 w 304"/>
                <a:gd name="T27" fmla="*/ 0 h 149"/>
                <a:gd name="T28" fmla="*/ 0 w 304"/>
                <a:gd name="T29" fmla="*/ 0 h 149"/>
                <a:gd name="T30" fmla="*/ 0 w 304"/>
                <a:gd name="T31" fmla="*/ 0 h 149"/>
                <a:gd name="T32" fmla="*/ 0 w 304"/>
                <a:gd name="T33" fmla="*/ 0 h 149"/>
                <a:gd name="T34" fmla="*/ 0 w 304"/>
                <a:gd name="T35" fmla="*/ 0 h 149"/>
                <a:gd name="T36" fmla="*/ 0 w 304"/>
                <a:gd name="T37" fmla="*/ 0 h 149"/>
                <a:gd name="T38" fmla="*/ 0 w 304"/>
                <a:gd name="T39" fmla="*/ 0 h 149"/>
                <a:gd name="T40" fmla="*/ 0 w 304"/>
                <a:gd name="T41" fmla="*/ 0 h 149"/>
                <a:gd name="T42" fmla="*/ 0 w 304"/>
                <a:gd name="T43" fmla="*/ 0 h 149"/>
                <a:gd name="T44" fmla="*/ 0 w 304"/>
                <a:gd name="T45" fmla="*/ 0 h 149"/>
                <a:gd name="T46" fmla="*/ 0 w 304"/>
                <a:gd name="T47" fmla="*/ 0 h 149"/>
                <a:gd name="T48" fmla="*/ 0 w 304"/>
                <a:gd name="T49" fmla="*/ 0 h 149"/>
                <a:gd name="T50" fmla="*/ 0 w 304"/>
                <a:gd name="T51" fmla="*/ 0 h 149"/>
                <a:gd name="T52" fmla="*/ 0 w 304"/>
                <a:gd name="T53" fmla="*/ 0 h 149"/>
                <a:gd name="T54" fmla="*/ 0 w 304"/>
                <a:gd name="T55" fmla="*/ 0 h 149"/>
                <a:gd name="T56" fmla="*/ 0 w 304"/>
                <a:gd name="T57" fmla="*/ 0 h 149"/>
                <a:gd name="T58" fmla="*/ 0 w 304"/>
                <a:gd name="T59" fmla="*/ 0 h 149"/>
                <a:gd name="T60" fmla="*/ 0 w 304"/>
                <a:gd name="T61" fmla="*/ 0 h 149"/>
                <a:gd name="T62" fmla="*/ 0 w 304"/>
                <a:gd name="T63" fmla="*/ 0 h 149"/>
                <a:gd name="T64" fmla="*/ 0 w 304"/>
                <a:gd name="T65" fmla="*/ 0 h 149"/>
                <a:gd name="T66" fmla="*/ 0 w 304"/>
                <a:gd name="T67" fmla="*/ 0 h 149"/>
                <a:gd name="T68" fmla="*/ 0 w 304"/>
                <a:gd name="T69" fmla="*/ 0 h 149"/>
                <a:gd name="T70" fmla="*/ 0 w 304"/>
                <a:gd name="T71" fmla="*/ 0 h 149"/>
                <a:gd name="T72" fmla="*/ 0 w 304"/>
                <a:gd name="T73" fmla="*/ 0 h 149"/>
                <a:gd name="T74" fmla="*/ 0 w 304"/>
                <a:gd name="T75" fmla="*/ 0 h 149"/>
                <a:gd name="T76" fmla="*/ 0 w 304"/>
                <a:gd name="T77" fmla="*/ 0 h 149"/>
                <a:gd name="T78" fmla="*/ 0 w 304"/>
                <a:gd name="T79" fmla="*/ 0 h 149"/>
                <a:gd name="T80" fmla="*/ 0 w 304"/>
                <a:gd name="T81" fmla="*/ 0 h 149"/>
                <a:gd name="T82" fmla="*/ 0 w 304"/>
                <a:gd name="T83" fmla="*/ 0 h 149"/>
                <a:gd name="T84" fmla="*/ 0 w 304"/>
                <a:gd name="T85" fmla="*/ 0 h 149"/>
                <a:gd name="T86" fmla="*/ 0 w 304"/>
                <a:gd name="T87" fmla="*/ 0 h 149"/>
                <a:gd name="T88" fmla="*/ 0 w 304"/>
                <a:gd name="T89" fmla="*/ 0 h 149"/>
                <a:gd name="T90" fmla="*/ 0 w 304"/>
                <a:gd name="T91" fmla="*/ 0 h 149"/>
                <a:gd name="T92" fmla="*/ 0 w 304"/>
                <a:gd name="T93" fmla="*/ 0 h 149"/>
                <a:gd name="T94" fmla="*/ 0 w 304"/>
                <a:gd name="T95" fmla="*/ 0 h 149"/>
                <a:gd name="T96" fmla="*/ 0 w 304"/>
                <a:gd name="T97" fmla="*/ 0 h 149"/>
                <a:gd name="T98" fmla="*/ 0 w 304"/>
                <a:gd name="T99" fmla="*/ 0 h 149"/>
                <a:gd name="T100" fmla="*/ 0 w 304"/>
                <a:gd name="T101" fmla="*/ 0 h 149"/>
                <a:gd name="T102" fmla="*/ 0 w 304"/>
                <a:gd name="T103" fmla="*/ 0 h 149"/>
                <a:gd name="T104" fmla="*/ 0 w 304"/>
                <a:gd name="T105" fmla="*/ 0 h 149"/>
                <a:gd name="T106" fmla="*/ 0 w 304"/>
                <a:gd name="T107" fmla="*/ 0 h 149"/>
                <a:gd name="T108" fmla="*/ 0 w 304"/>
                <a:gd name="T109" fmla="*/ 0 h 149"/>
                <a:gd name="T110" fmla="*/ 0 w 304"/>
                <a:gd name="T111" fmla="*/ 0 h 149"/>
                <a:gd name="T112" fmla="*/ 0 w 304"/>
                <a:gd name="T113" fmla="*/ 0 h 149"/>
                <a:gd name="T114" fmla="*/ 0 w 304"/>
                <a:gd name="T115" fmla="*/ 0 h 14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4"/>
                <a:gd name="T175" fmla="*/ 0 h 149"/>
                <a:gd name="T176" fmla="*/ 304 w 304"/>
                <a:gd name="T177" fmla="*/ 149 h 14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7" name="Freeform 209">
              <a:extLst>
                <a:ext uri="{FF2B5EF4-FFF2-40B4-BE49-F238E27FC236}">
                  <a16:creationId xmlns:a16="http://schemas.microsoft.com/office/drawing/2014/main" id="{509C3577-EF0F-0FCD-EF7E-2438189A0545}"/>
                </a:ext>
              </a:extLst>
            </p:cNvPr>
            <p:cNvSpPr>
              <a:spLocks noChangeAspect="1"/>
            </p:cNvSpPr>
            <p:nvPr userDrawn="1"/>
          </p:nvSpPr>
          <p:spPr bwMode="gray">
            <a:xfrm>
              <a:off x="6164166" y="2691792"/>
              <a:ext cx="89541" cy="70114"/>
            </a:xfrm>
            <a:custGeom>
              <a:avLst/>
              <a:gdLst>
                <a:gd name="T0" fmla="*/ 0 w 173"/>
                <a:gd name="T1" fmla="*/ 0 h 123"/>
                <a:gd name="T2" fmla="*/ 0 w 173"/>
                <a:gd name="T3" fmla="*/ 0 h 123"/>
                <a:gd name="T4" fmla="*/ 0 w 173"/>
                <a:gd name="T5" fmla="*/ 0 h 123"/>
                <a:gd name="T6" fmla="*/ 0 w 173"/>
                <a:gd name="T7" fmla="*/ 0 h 123"/>
                <a:gd name="T8" fmla="*/ 0 w 173"/>
                <a:gd name="T9" fmla="*/ 0 h 123"/>
                <a:gd name="T10" fmla="*/ 0 w 173"/>
                <a:gd name="T11" fmla="*/ 0 h 123"/>
                <a:gd name="T12" fmla="*/ 0 w 173"/>
                <a:gd name="T13" fmla="*/ 0 h 123"/>
                <a:gd name="T14" fmla="*/ 0 w 173"/>
                <a:gd name="T15" fmla="*/ 0 h 123"/>
                <a:gd name="T16" fmla="*/ 0 w 173"/>
                <a:gd name="T17" fmla="*/ 0 h 123"/>
                <a:gd name="T18" fmla="*/ 0 w 173"/>
                <a:gd name="T19" fmla="*/ 0 h 123"/>
                <a:gd name="T20" fmla="*/ 0 w 173"/>
                <a:gd name="T21" fmla="*/ 0 h 123"/>
                <a:gd name="T22" fmla="*/ 0 w 173"/>
                <a:gd name="T23" fmla="*/ 0 h 123"/>
                <a:gd name="T24" fmla="*/ 0 w 173"/>
                <a:gd name="T25" fmla="*/ 0 h 123"/>
                <a:gd name="T26" fmla="*/ 0 w 173"/>
                <a:gd name="T27" fmla="*/ 0 h 123"/>
                <a:gd name="T28" fmla="*/ 0 w 173"/>
                <a:gd name="T29" fmla="*/ 0 h 123"/>
                <a:gd name="T30" fmla="*/ 0 w 173"/>
                <a:gd name="T31" fmla="*/ 0 h 123"/>
                <a:gd name="T32" fmla="*/ 0 w 173"/>
                <a:gd name="T33" fmla="*/ 0 h 123"/>
                <a:gd name="T34" fmla="*/ 0 w 173"/>
                <a:gd name="T35" fmla="*/ 0 h 123"/>
                <a:gd name="T36" fmla="*/ 0 w 173"/>
                <a:gd name="T37" fmla="*/ 0 h 123"/>
                <a:gd name="T38" fmla="*/ 0 w 173"/>
                <a:gd name="T39" fmla="*/ 0 h 123"/>
                <a:gd name="T40" fmla="*/ 0 w 173"/>
                <a:gd name="T41" fmla="*/ 0 h 123"/>
                <a:gd name="T42" fmla="*/ 0 w 173"/>
                <a:gd name="T43" fmla="*/ 0 h 123"/>
                <a:gd name="T44" fmla="*/ 0 w 173"/>
                <a:gd name="T45" fmla="*/ 0 h 123"/>
                <a:gd name="T46" fmla="*/ 0 w 173"/>
                <a:gd name="T47" fmla="*/ 0 h 123"/>
                <a:gd name="T48" fmla="*/ 0 w 173"/>
                <a:gd name="T49" fmla="*/ 0 h 123"/>
                <a:gd name="T50" fmla="*/ 0 w 173"/>
                <a:gd name="T51" fmla="*/ 0 h 123"/>
                <a:gd name="T52" fmla="*/ 0 w 173"/>
                <a:gd name="T53" fmla="*/ 0 h 123"/>
                <a:gd name="T54" fmla="*/ 0 w 173"/>
                <a:gd name="T55" fmla="*/ 0 h 123"/>
                <a:gd name="T56" fmla="*/ 0 w 173"/>
                <a:gd name="T57" fmla="*/ 0 h 123"/>
                <a:gd name="T58" fmla="*/ 0 w 173"/>
                <a:gd name="T59" fmla="*/ 0 h 123"/>
                <a:gd name="T60" fmla="*/ 0 w 173"/>
                <a:gd name="T61" fmla="*/ 0 h 123"/>
                <a:gd name="T62" fmla="*/ 0 w 173"/>
                <a:gd name="T63" fmla="*/ 0 h 123"/>
                <a:gd name="T64" fmla="*/ 0 w 173"/>
                <a:gd name="T65" fmla="*/ 0 h 123"/>
                <a:gd name="T66" fmla="*/ 0 w 173"/>
                <a:gd name="T67" fmla="*/ 0 h 123"/>
                <a:gd name="T68" fmla="*/ 0 w 173"/>
                <a:gd name="T69" fmla="*/ 0 h 123"/>
                <a:gd name="T70" fmla="*/ 0 w 173"/>
                <a:gd name="T71" fmla="*/ 0 h 123"/>
                <a:gd name="T72" fmla="*/ 0 w 173"/>
                <a:gd name="T73" fmla="*/ 0 h 1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3"/>
                <a:gd name="T112" fmla="*/ 0 h 123"/>
                <a:gd name="T113" fmla="*/ 173 w 173"/>
                <a:gd name="T114" fmla="*/ 123 h 12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8" name="Freeform 210">
              <a:extLst>
                <a:ext uri="{FF2B5EF4-FFF2-40B4-BE49-F238E27FC236}">
                  <a16:creationId xmlns:a16="http://schemas.microsoft.com/office/drawing/2014/main" id="{030D21D6-3A7F-34B5-ADD1-AD9BF3FC487C}"/>
                </a:ext>
              </a:extLst>
            </p:cNvPr>
            <p:cNvSpPr>
              <a:spLocks noChangeAspect="1"/>
            </p:cNvSpPr>
            <p:nvPr userDrawn="1"/>
          </p:nvSpPr>
          <p:spPr bwMode="gray">
            <a:xfrm>
              <a:off x="6371601" y="2891464"/>
              <a:ext cx="68648" cy="57921"/>
            </a:xfrm>
            <a:custGeom>
              <a:avLst/>
              <a:gdLst>
                <a:gd name="T0" fmla="*/ 0 w 132"/>
                <a:gd name="T1" fmla="*/ 0 h 107"/>
                <a:gd name="T2" fmla="*/ 0 w 132"/>
                <a:gd name="T3" fmla="*/ 0 h 107"/>
                <a:gd name="T4" fmla="*/ 0 w 132"/>
                <a:gd name="T5" fmla="*/ 0 h 107"/>
                <a:gd name="T6" fmla="*/ 0 w 132"/>
                <a:gd name="T7" fmla="*/ 0 h 107"/>
                <a:gd name="T8" fmla="*/ 0 w 132"/>
                <a:gd name="T9" fmla="*/ 0 h 107"/>
                <a:gd name="T10" fmla="*/ 0 w 132"/>
                <a:gd name="T11" fmla="*/ 0 h 107"/>
                <a:gd name="T12" fmla="*/ 0 w 132"/>
                <a:gd name="T13" fmla="*/ 0 h 107"/>
                <a:gd name="T14" fmla="*/ 0 w 132"/>
                <a:gd name="T15" fmla="*/ 0 h 107"/>
                <a:gd name="T16" fmla="*/ 0 w 132"/>
                <a:gd name="T17" fmla="*/ 0 h 107"/>
                <a:gd name="T18" fmla="*/ 0 w 132"/>
                <a:gd name="T19" fmla="*/ 0 h 107"/>
                <a:gd name="T20" fmla="*/ 0 w 132"/>
                <a:gd name="T21" fmla="*/ 0 h 107"/>
                <a:gd name="T22" fmla="*/ 0 w 132"/>
                <a:gd name="T23" fmla="*/ 0 h 107"/>
                <a:gd name="T24" fmla="*/ 0 w 132"/>
                <a:gd name="T25" fmla="*/ 0 h 107"/>
                <a:gd name="T26" fmla="*/ 0 w 132"/>
                <a:gd name="T27" fmla="*/ 0 h 107"/>
                <a:gd name="T28" fmla="*/ 0 w 132"/>
                <a:gd name="T29" fmla="*/ 0 h 107"/>
                <a:gd name="T30" fmla="*/ 0 w 132"/>
                <a:gd name="T31" fmla="*/ 0 h 107"/>
                <a:gd name="T32" fmla="*/ 0 w 132"/>
                <a:gd name="T33" fmla="*/ 0 h 107"/>
                <a:gd name="T34" fmla="*/ 0 w 132"/>
                <a:gd name="T35" fmla="*/ 0 h 107"/>
                <a:gd name="T36" fmla="*/ 0 w 132"/>
                <a:gd name="T37" fmla="*/ 0 h 107"/>
                <a:gd name="T38" fmla="*/ 0 w 132"/>
                <a:gd name="T39" fmla="*/ 0 h 107"/>
                <a:gd name="T40" fmla="*/ 0 w 132"/>
                <a:gd name="T41" fmla="*/ 0 h 107"/>
                <a:gd name="T42" fmla="*/ 0 w 132"/>
                <a:gd name="T43" fmla="*/ 0 h 107"/>
                <a:gd name="T44" fmla="*/ 0 w 132"/>
                <a:gd name="T45" fmla="*/ 0 h 107"/>
                <a:gd name="T46" fmla="*/ 0 w 132"/>
                <a:gd name="T47" fmla="*/ 0 h 107"/>
                <a:gd name="T48" fmla="*/ 0 w 132"/>
                <a:gd name="T49" fmla="*/ 0 h 107"/>
                <a:gd name="T50" fmla="*/ 0 w 132"/>
                <a:gd name="T51" fmla="*/ 0 h 107"/>
                <a:gd name="T52" fmla="*/ 0 w 132"/>
                <a:gd name="T53" fmla="*/ 0 h 107"/>
                <a:gd name="T54" fmla="*/ 0 w 132"/>
                <a:gd name="T55" fmla="*/ 0 h 107"/>
                <a:gd name="T56" fmla="*/ 0 w 132"/>
                <a:gd name="T57" fmla="*/ 0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2"/>
                <a:gd name="T88" fmla="*/ 0 h 107"/>
                <a:gd name="T89" fmla="*/ 132 w 132"/>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199" name="Freeform 211">
              <a:extLst>
                <a:ext uri="{FF2B5EF4-FFF2-40B4-BE49-F238E27FC236}">
                  <a16:creationId xmlns:a16="http://schemas.microsoft.com/office/drawing/2014/main" id="{3F44EA9E-5345-351E-606C-A60CD506E932}"/>
                </a:ext>
              </a:extLst>
            </p:cNvPr>
            <p:cNvSpPr>
              <a:spLocks noChangeAspect="1"/>
            </p:cNvSpPr>
            <p:nvPr userDrawn="1"/>
          </p:nvSpPr>
          <p:spPr bwMode="gray">
            <a:xfrm>
              <a:off x="6359663" y="2626251"/>
              <a:ext cx="279068" cy="207294"/>
            </a:xfrm>
            <a:custGeom>
              <a:avLst/>
              <a:gdLst>
                <a:gd name="T0" fmla="*/ 2147483647 w 523"/>
                <a:gd name="T1" fmla="*/ 2147483647 h 364"/>
                <a:gd name="T2" fmla="*/ 2147483647 w 523"/>
                <a:gd name="T3" fmla="*/ 2147483647 h 364"/>
                <a:gd name="T4" fmla="*/ 2147483647 w 523"/>
                <a:gd name="T5" fmla="*/ 2147483647 h 364"/>
                <a:gd name="T6" fmla="*/ 2147483647 w 523"/>
                <a:gd name="T7" fmla="*/ 2147483647 h 364"/>
                <a:gd name="T8" fmla="*/ 0 w 523"/>
                <a:gd name="T9" fmla="*/ 2147483647 h 364"/>
                <a:gd name="T10" fmla="*/ 0 w 523"/>
                <a:gd name="T11" fmla="*/ 2147483647 h 364"/>
                <a:gd name="T12" fmla="*/ 0 w 523"/>
                <a:gd name="T13" fmla="*/ 2147483647 h 364"/>
                <a:gd name="T14" fmla="*/ 0 w 523"/>
                <a:gd name="T15" fmla="*/ 2147483647 h 364"/>
                <a:gd name="T16" fmla="*/ 0 w 523"/>
                <a:gd name="T17" fmla="*/ 2147483647 h 364"/>
                <a:gd name="T18" fmla="*/ 0 w 523"/>
                <a:gd name="T19" fmla="*/ 0 h 364"/>
                <a:gd name="T20" fmla="*/ 0 w 523"/>
                <a:gd name="T21" fmla="*/ 0 h 364"/>
                <a:gd name="T22" fmla="*/ 0 w 523"/>
                <a:gd name="T23" fmla="*/ 0 h 364"/>
                <a:gd name="T24" fmla="*/ 0 w 523"/>
                <a:gd name="T25" fmla="*/ 0 h 364"/>
                <a:gd name="T26" fmla="*/ 0 w 523"/>
                <a:gd name="T27" fmla="*/ 0 h 364"/>
                <a:gd name="T28" fmla="*/ 0 w 523"/>
                <a:gd name="T29" fmla="*/ 0 h 364"/>
                <a:gd name="T30" fmla="*/ 0 w 523"/>
                <a:gd name="T31" fmla="*/ 0 h 364"/>
                <a:gd name="T32" fmla="*/ 0 w 523"/>
                <a:gd name="T33" fmla="*/ 0 h 364"/>
                <a:gd name="T34" fmla="*/ 0 w 523"/>
                <a:gd name="T35" fmla="*/ 0 h 364"/>
                <a:gd name="T36" fmla="*/ 0 w 523"/>
                <a:gd name="T37" fmla="*/ 0 h 364"/>
                <a:gd name="T38" fmla="*/ 0 w 523"/>
                <a:gd name="T39" fmla="*/ 0 h 364"/>
                <a:gd name="T40" fmla="*/ 0 w 523"/>
                <a:gd name="T41" fmla="*/ 0 h 364"/>
                <a:gd name="T42" fmla="*/ 0 w 523"/>
                <a:gd name="T43" fmla="*/ 0 h 364"/>
                <a:gd name="T44" fmla="*/ 0 w 523"/>
                <a:gd name="T45" fmla="*/ 0 h 364"/>
                <a:gd name="T46" fmla="*/ 0 w 523"/>
                <a:gd name="T47" fmla="*/ 0 h 364"/>
                <a:gd name="T48" fmla="*/ 0 w 523"/>
                <a:gd name="T49" fmla="*/ 0 h 364"/>
                <a:gd name="T50" fmla="*/ 0 w 523"/>
                <a:gd name="T51" fmla="*/ 0 h 364"/>
                <a:gd name="T52" fmla="*/ 0 w 523"/>
                <a:gd name="T53" fmla="*/ 0 h 364"/>
                <a:gd name="T54" fmla="*/ 0 w 523"/>
                <a:gd name="T55" fmla="*/ 0 h 364"/>
                <a:gd name="T56" fmla="*/ 0 w 523"/>
                <a:gd name="T57" fmla="*/ 0 h 364"/>
                <a:gd name="T58" fmla="*/ 0 w 523"/>
                <a:gd name="T59" fmla="*/ 0 h 364"/>
                <a:gd name="T60" fmla="*/ 2147483647 w 523"/>
                <a:gd name="T61" fmla="*/ 0 h 364"/>
                <a:gd name="T62" fmla="*/ 2147483647 w 523"/>
                <a:gd name="T63" fmla="*/ 0 h 364"/>
                <a:gd name="T64" fmla="*/ 2147483647 w 523"/>
                <a:gd name="T65" fmla="*/ 0 h 364"/>
                <a:gd name="T66" fmla="*/ 2147483647 w 523"/>
                <a:gd name="T67" fmla="*/ 0 h 364"/>
                <a:gd name="T68" fmla="*/ 2147483647 w 523"/>
                <a:gd name="T69" fmla="*/ 0 h 364"/>
                <a:gd name="T70" fmla="*/ 2147483647 w 523"/>
                <a:gd name="T71" fmla="*/ 0 h 364"/>
                <a:gd name="T72" fmla="*/ 2147483647 w 523"/>
                <a:gd name="T73" fmla="*/ 0 h 364"/>
                <a:gd name="T74" fmla="*/ 2147483647 w 523"/>
                <a:gd name="T75" fmla="*/ 0 h 364"/>
                <a:gd name="T76" fmla="*/ 2147483647 w 523"/>
                <a:gd name="T77" fmla="*/ 0 h 364"/>
                <a:gd name="T78" fmla="*/ 2147483647 w 523"/>
                <a:gd name="T79" fmla="*/ 0 h 364"/>
                <a:gd name="T80" fmla="*/ 2147483647 w 523"/>
                <a:gd name="T81" fmla="*/ 0 h 364"/>
                <a:gd name="T82" fmla="*/ 2147483647 w 523"/>
                <a:gd name="T83" fmla="*/ 0 h 364"/>
                <a:gd name="T84" fmla="*/ 2147483647 w 523"/>
                <a:gd name="T85" fmla="*/ 0 h 364"/>
                <a:gd name="T86" fmla="*/ 2147483647 w 523"/>
                <a:gd name="T87" fmla="*/ 0 h 364"/>
                <a:gd name="T88" fmla="*/ 2147483647 w 523"/>
                <a:gd name="T89" fmla="*/ 0 h 364"/>
                <a:gd name="T90" fmla="*/ 2147483647 w 523"/>
                <a:gd name="T91" fmla="*/ 0 h 364"/>
                <a:gd name="T92" fmla="*/ 2147483647 w 523"/>
                <a:gd name="T93" fmla="*/ 0 h 364"/>
                <a:gd name="T94" fmla="*/ 2147483647 w 523"/>
                <a:gd name="T95" fmla="*/ 0 h 364"/>
                <a:gd name="T96" fmla="*/ 2147483647 w 523"/>
                <a:gd name="T97" fmla="*/ 0 h 364"/>
                <a:gd name="T98" fmla="*/ 2147483647 w 523"/>
                <a:gd name="T99" fmla="*/ 0 h 364"/>
                <a:gd name="T100" fmla="*/ 2147483647 w 523"/>
                <a:gd name="T101" fmla="*/ 0 h 364"/>
                <a:gd name="T102" fmla="*/ 2147483647 w 523"/>
                <a:gd name="T103" fmla="*/ 2147483647 h 364"/>
                <a:gd name="T104" fmla="*/ 2147483647 w 523"/>
                <a:gd name="T105" fmla="*/ 2147483647 h 3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364"/>
                <a:gd name="T161" fmla="*/ 523 w 523"/>
                <a:gd name="T162" fmla="*/ 364 h 3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0" name="Freeform 212">
              <a:extLst>
                <a:ext uri="{FF2B5EF4-FFF2-40B4-BE49-F238E27FC236}">
                  <a16:creationId xmlns:a16="http://schemas.microsoft.com/office/drawing/2014/main" id="{6B75D195-A6EC-03E6-FE1B-56D19C6246B9}"/>
                </a:ext>
              </a:extLst>
            </p:cNvPr>
            <p:cNvSpPr>
              <a:spLocks noChangeAspect="1"/>
            </p:cNvSpPr>
            <p:nvPr userDrawn="1"/>
          </p:nvSpPr>
          <p:spPr bwMode="gray">
            <a:xfrm>
              <a:off x="6453681" y="2022661"/>
              <a:ext cx="144757" cy="124985"/>
            </a:xfrm>
            <a:custGeom>
              <a:avLst/>
              <a:gdLst>
                <a:gd name="T0" fmla="*/ 0 w 267"/>
                <a:gd name="T1" fmla="*/ 0 h 220"/>
                <a:gd name="T2" fmla="*/ 0 w 267"/>
                <a:gd name="T3" fmla="*/ 0 h 220"/>
                <a:gd name="T4" fmla="*/ 0 w 267"/>
                <a:gd name="T5" fmla="*/ 0 h 220"/>
                <a:gd name="T6" fmla="*/ 0 w 267"/>
                <a:gd name="T7" fmla="*/ 0 h 220"/>
                <a:gd name="T8" fmla="*/ 0 w 267"/>
                <a:gd name="T9" fmla="*/ 0 h 220"/>
                <a:gd name="T10" fmla="*/ 0 w 267"/>
                <a:gd name="T11" fmla="*/ 0 h 220"/>
                <a:gd name="T12" fmla="*/ 0 w 267"/>
                <a:gd name="T13" fmla="*/ 0 h 220"/>
                <a:gd name="T14" fmla="*/ 0 w 267"/>
                <a:gd name="T15" fmla="*/ 0 h 220"/>
                <a:gd name="T16" fmla="*/ 0 w 267"/>
                <a:gd name="T17" fmla="*/ 0 h 220"/>
                <a:gd name="T18" fmla="*/ 0 w 267"/>
                <a:gd name="T19" fmla="*/ 0 h 220"/>
                <a:gd name="T20" fmla="*/ 0 w 267"/>
                <a:gd name="T21" fmla="*/ 0 h 220"/>
                <a:gd name="T22" fmla="*/ 0 w 267"/>
                <a:gd name="T23" fmla="*/ 0 h 220"/>
                <a:gd name="T24" fmla="*/ 0 w 267"/>
                <a:gd name="T25" fmla="*/ 0 h 220"/>
                <a:gd name="T26" fmla="*/ 0 w 267"/>
                <a:gd name="T27" fmla="*/ 0 h 220"/>
                <a:gd name="T28" fmla="*/ 0 w 267"/>
                <a:gd name="T29" fmla="*/ 0 h 220"/>
                <a:gd name="T30" fmla="*/ 0 w 267"/>
                <a:gd name="T31" fmla="*/ 0 h 220"/>
                <a:gd name="T32" fmla="*/ 0 w 267"/>
                <a:gd name="T33" fmla="*/ 0 h 220"/>
                <a:gd name="T34" fmla="*/ 0 w 267"/>
                <a:gd name="T35" fmla="*/ 0 h 220"/>
                <a:gd name="T36" fmla="*/ 0 w 267"/>
                <a:gd name="T37" fmla="*/ 0 h 220"/>
                <a:gd name="T38" fmla="*/ 0 w 267"/>
                <a:gd name="T39" fmla="*/ 0 h 220"/>
                <a:gd name="T40" fmla="*/ 0 w 267"/>
                <a:gd name="T41" fmla="*/ 0 h 220"/>
                <a:gd name="T42" fmla="*/ 0 w 267"/>
                <a:gd name="T43" fmla="*/ 0 h 220"/>
                <a:gd name="T44" fmla="*/ 0 w 267"/>
                <a:gd name="T45" fmla="*/ 0 h 220"/>
                <a:gd name="T46" fmla="*/ 0 w 267"/>
                <a:gd name="T47" fmla="*/ 0 h 220"/>
                <a:gd name="T48" fmla="*/ 0 w 267"/>
                <a:gd name="T49" fmla="*/ 0 h 220"/>
                <a:gd name="T50" fmla="*/ 0 w 267"/>
                <a:gd name="T51" fmla="*/ 0 h 220"/>
                <a:gd name="T52" fmla="*/ 0 w 267"/>
                <a:gd name="T53" fmla="*/ 0 h 220"/>
                <a:gd name="T54" fmla="*/ 0 w 267"/>
                <a:gd name="T55" fmla="*/ 0 h 220"/>
                <a:gd name="T56" fmla="*/ 0 w 267"/>
                <a:gd name="T57" fmla="*/ 0 h 220"/>
                <a:gd name="T58" fmla="*/ 0 w 267"/>
                <a:gd name="T59" fmla="*/ 0 h 220"/>
                <a:gd name="T60" fmla="*/ 0 w 267"/>
                <a:gd name="T61" fmla="*/ 0 h 220"/>
                <a:gd name="T62" fmla="*/ 0 w 267"/>
                <a:gd name="T63" fmla="*/ 0 h 220"/>
                <a:gd name="T64" fmla="*/ 0 w 267"/>
                <a:gd name="T65" fmla="*/ 0 h 220"/>
                <a:gd name="T66" fmla="*/ 0 w 267"/>
                <a:gd name="T67" fmla="*/ 0 h 220"/>
                <a:gd name="T68" fmla="*/ 0 w 267"/>
                <a:gd name="T69" fmla="*/ 0 h 220"/>
                <a:gd name="T70" fmla="*/ 0 w 267"/>
                <a:gd name="T71" fmla="*/ 0 h 220"/>
                <a:gd name="T72" fmla="*/ 0 w 267"/>
                <a:gd name="T73" fmla="*/ 0 h 220"/>
                <a:gd name="T74" fmla="*/ 0 w 267"/>
                <a:gd name="T75" fmla="*/ 0 h 220"/>
                <a:gd name="T76" fmla="*/ 0 w 267"/>
                <a:gd name="T77" fmla="*/ 0 h 220"/>
                <a:gd name="T78" fmla="*/ 0 w 267"/>
                <a:gd name="T79" fmla="*/ 0 h 220"/>
                <a:gd name="T80" fmla="*/ 0 w 267"/>
                <a:gd name="T81" fmla="*/ 0 h 220"/>
                <a:gd name="T82" fmla="*/ 0 w 267"/>
                <a:gd name="T83" fmla="*/ 0 h 220"/>
                <a:gd name="T84" fmla="*/ 0 w 267"/>
                <a:gd name="T85" fmla="*/ 0 h 220"/>
                <a:gd name="T86" fmla="*/ 0 w 267"/>
                <a:gd name="T87" fmla="*/ 0 h 2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7"/>
                <a:gd name="T133" fmla="*/ 0 h 220"/>
                <a:gd name="T134" fmla="*/ 267 w 267"/>
                <a:gd name="T135" fmla="*/ 220 h 2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1" name="Freeform 213">
              <a:extLst>
                <a:ext uri="{FF2B5EF4-FFF2-40B4-BE49-F238E27FC236}">
                  <a16:creationId xmlns:a16="http://schemas.microsoft.com/office/drawing/2014/main" id="{3CB0D17A-59D9-3E31-3EBC-D188A4677558}"/>
                </a:ext>
              </a:extLst>
            </p:cNvPr>
            <p:cNvSpPr>
              <a:spLocks noChangeAspect="1"/>
            </p:cNvSpPr>
            <p:nvPr userDrawn="1"/>
          </p:nvSpPr>
          <p:spPr bwMode="gray">
            <a:xfrm>
              <a:off x="6371601" y="1246834"/>
              <a:ext cx="317869" cy="762109"/>
            </a:xfrm>
            <a:custGeom>
              <a:avLst/>
              <a:gdLst>
                <a:gd name="T0" fmla="*/ 0 w 593"/>
                <a:gd name="T1" fmla="*/ 0 h 1339"/>
                <a:gd name="T2" fmla="*/ 0 w 593"/>
                <a:gd name="T3" fmla="*/ 2147483647 h 1339"/>
                <a:gd name="T4" fmla="*/ 0 w 593"/>
                <a:gd name="T5" fmla="*/ 2147483647 h 1339"/>
                <a:gd name="T6" fmla="*/ 0 w 593"/>
                <a:gd name="T7" fmla="*/ 2147483647 h 1339"/>
                <a:gd name="T8" fmla="*/ 0 w 593"/>
                <a:gd name="T9" fmla="*/ 2147483647 h 1339"/>
                <a:gd name="T10" fmla="*/ 0 w 593"/>
                <a:gd name="T11" fmla="*/ 2147483647 h 1339"/>
                <a:gd name="T12" fmla="*/ 0 w 593"/>
                <a:gd name="T13" fmla="*/ 2147483647 h 1339"/>
                <a:gd name="T14" fmla="*/ 0 w 593"/>
                <a:gd name="T15" fmla="*/ 2147483647 h 1339"/>
                <a:gd name="T16" fmla="*/ 0 w 593"/>
                <a:gd name="T17" fmla="*/ 2147483647 h 1339"/>
                <a:gd name="T18" fmla="*/ 0 w 593"/>
                <a:gd name="T19" fmla="*/ 2147483647 h 1339"/>
                <a:gd name="T20" fmla="*/ 0 w 593"/>
                <a:gd name="T21" fmla="*/ 2147483647 h 1339"/>
                <a:gd name="T22" fmla="*/ 0 w 593"/>
                <a:gd name="T23" fmla="*/ 2147483647 h 1339"/>
                <a:gd name="T24" fmla="*/ 0 w 593"/>
                <a:gd name="T25" fmla="*/ 2147483647 h 1339"/>
                <a:gd name="T26" fmla="*/ 0 w 593"/>
                <a:gd name="T27" fmla="*/ 2147483647 h 1339"/>
                <a:gd name="T28" fmla="*/ 0 w 593"/>
                <a:gd name="T29" fmla="*/ 2147483647 h 1339"/>
                <a:gd name="T30" fmla="*/ 0 w 593"/>
                <a:gd name="T31" fmla="*/ 2147483647 h 1339"/>
                <a:gd name="T32" fmla="*/ 0 w 593"/>
                <a:gd name="T33" fmla="*/ 2147483647 h 1339"/>
                <a:gd name="T34" fmla="*/ 0 w 593"/>
                <a:gd name="T35" fmla="*/ 2147483647 h 1339"/>
                <a:gd name="T36" fmla="*/ 0 w 593"/>
                <a:gd name="T37" fmla="*/ 2147483647 h 1339"/>
                <a:gd name="T38" fmla="*/ 0 w 593"/>
                <a:gd name="T39" fmla="*/ 2147483647 h 1339"/>
                <a:gd name="T40" fmla="*/ 0 w 593"/>
                <a:gd name="T41" fmla="*/ 2147483647 h 1339"/>
                <a:gd name="T42" fmla="*/ 0 w 593"/>
                <a:gd name="T43" fmla="*/ 2147483647 h 1339"/>
                <a:gd name="T44" fmla="*/ 0 w 593"/>
                <a:gd name="T45" fmla="*/ 2147483647 h 1339"/>
                <a:gd name="T46" fmla="*/ 0 w 593"/>
                <a:gd name="T47" fmla="*/ 2147483647 h 1339"/>
                <a:gd name="T48" fmla="*/ 0 w 593"/>
                <a:gd name="T49" fmla="*/ 2147483647 h 1339"/>
                <a:gd name="T50" fmla="*/ 0 w 593"/>
                <a:gd name="T51" fmla="*/ 2147483647 h 1339"/>
                <a:gd name="T52" fmla="*/ 0 w 593"/>
                <a:gd name="T53" fmla="*/ 2147483647 h 1339"/>
                <a:gd name="T54" fmla="*/ 0 w 593"/>
                <a:gd name="T55" fmla="*/ 2147483647 h 1339"/>
                <a:gd name="T56" fmla="*/ 0 w 593"/>
                <a:gd name="T57" fmla="*/ 2147483647 h 1339"/>
                <a:gd name="T58" fmla="*/ 0 w 593"/>
                <a:gd name="T59" fmla="*/ 2147483647 h 1339"/>
                <a:gd name="T60" fmla="*/ 0 w 593"/>
                <a:gd name="T61" fmla="*/ 2147483647 h 1339"/>
                <a:gd name="T62" fmla="*/ 0 w 593"/>
                <a:gd name="T63" fmla="*/ 2147483647 h 1339"/>
                <a:gd name="T64" fmla="*/ 0 w 593"/>
                <a:gd name="T65" fmla="*/ 2147483647 h 1339"/>
                <a:gd name="T66" fmla="*/ 2147483647 w 593"/>
                <a:gd name="T67" fmla="*/ 2147483647 h 1339"/>
                <a:gd name="T68" fmla="*/ 2147483647 w 593"/>
                <a:gd name="T69" fmla="*/ 2147483647 h 1339"/>
                <a:gd name="T70" fmla="*/ 2147483647 w 593"/>
                <a:gd name="T71" fmla="*/ 2147483647 h 1339"/>
                <a:gd name="T72" fmla="*/ 2147483647 w 593"/>
                <a:gd name="T73" fmla="*/ 2147483647 h 1339"/>
                <a:gd name="T74" fmla="*/ 2147483647 w 593"/>
                <a:gd name="T75" fmla="*/ 2147483647 h 1339"/>
                <a:gd name="T76" fmla="*/ 2147483647 w 593"/>
                <a:gd name="T77" fmla="*/ 2147483647 h 1339"/>
                <a:gd name="T78" fmla="*/ 2147483647 w 593"/>
                <a:gd name="T79" fmla="*/ 2147483647 h 1339"/>
                <a:gd name="T80" fmla="*/ 2147483647 w 593"/>
                <a:gd name="T81" fmla="*/ 2147483647 h 1339"/>
                <a:gd name="T82" fmla="*/ 2147483647 w 593"/>
                <a:gd name="T83" fmla="*/ 2147483647 h 1339"/>
                <a:gd name="T84" fmla="*/ 2147483647 w 593"/>
                <a:gd name="T85" fmla="*/ 2147483647 h 1339"/>
                <a:gd name="T86" fmla="*/ 2147483647 w 593"/>
                <a:gd name="T87" fmla="*/ 2147483647 h 1339"/>
                <a:gd name="T88" fmla="*/ 2147483647 w 593"/>
                <a:gd name="T89" fmla="*/ 2147483647 h 1339"/>
                <a:gd name="T90" fmla="*/ 2147483647 w 593"/>
                <a:gd name="T91" fmla="*/ 2147483647 h 1339"/>
                <a:gd name="T92" fmla="*/ 2147483647 w 593"/>
                <a:gd name="T93" fmla="*/ 0 h 1339"/>
                <a:gd name="T94" fmla="*/ 2147483647 w 593"/>
                <a:gd name="T95" fmla="*/ 0 h 1339"/>
                <a:gd name="T96" fmla="*/ 2147483647 w 593"/>
                <a:gd name="T97" fmla="*/ 0 h 1339"/>
                <a:gd name="T98" fmla="*/ 2147483647 w 593"/>
                <a:gd name="T99" fmla="*/ 0 h 1339"/>
                <a:gd name="T100" fmla="*/ 2147483647 w 593"/>
                <a:gd name="T101" fmla="*/ 0 h 1339"/>
                <a:gd name="T102" fmla="*/ 2147483647 w 593"/>
                <a:gd name="T103" fmla="*/ 0 h 1339"/>
                <a:gd name="T104" fmla="*/ 0 w 593"/>
                <a:gd name="T105" fmla="*/ 0 h 1339"/>
                <a:gd name="T106" fmla="*/ 0 w 593"/>
                <a:gd name="T107" fmla="*/ 0 h 1339"/>
                <a:gd name="T108" fmla="*/ 0 w 593"/>
                <a:gd name="T109" fmla="*/ 0 h 1339"/>
                <a:gd name="T110" fmla="*/ 0 w 593"/>
                <a:gd name="T111" fmla="*/ 0 h 1339"/>
                <a:gd name="T112" fmla="*/ 0 w 593"/>
                <a:gd name="T113" fmla="*/ 0 h 1339"/>
                <a:gd name="T114" fmla="*/ 0 w 593"/>
                <a:gd name="T115" fmla="*/ 0 h 1339"/>
                <a:gd name="T116" fmla="*/ 0 w 593"/>
                <a:gd name="T117" fmla="*/ 0 h 1339"/>
                <a:gd name="T118" fmla="*/ 0 w 593"/>
                <a:gd name="T119" fmla="*/ 0 h 13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3"/>
                <a:gd name="T181" fmla="*/ 0 h 1339"/>
                <a:gd name="T182" fmla="*/ 593 w 593"/>
                <a:gd name="T183" fmla="*/ 1339 h 133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2" name="Freeform 214">
              <a:extLst>
                <a:ext uri="{FF2B5EF4-FFF2-40B4-BE49-F238E27FC236}">
                  <a16:creationId xmlns:a16="http://schemas.microsoft.com/office/drawing/2014/main" id="{BF6A2995-F176-B6A9-8964-1925ECD750CA}"/>
                </a:ext>
              </a:extLst>
            </p:cNvPr>
            <p:cNvSpPr>
              <a:spLocks noChangeAspect="1"/>
            </p:cNvSpPr>
            <p:nvPr userDrawn="1"/>
          </p:nvSpPr>
          <p:spPr bwMode="gray">
            <a:xfrm>
              <a:off x="6005978" y="2136978"/>
              <a:ext cx="83571" cy="161567"/>
            </a:xfrm>
            <a:custGeom>
              <a:avLst/>
              <a:gdLst>
                <a:gd name="T0" fmla="*/ 0 w 154"/>
                <a:gd name="T1" fmla="*/ 0 h 284"/>
                <a:gd name="T2" fmla="*/ 0 w 154"/>
                <a:gd name="T3" fmla="*/ 0 h 284"/>
                <a:gd name="T4" fmla="*/ 0 w 154"/>
                <a:gd name="T5" fmla="*/ 0 h 284"/>
                <a:gd name="T6" fmla="*/ 0 w 154"/>
                <a:gd name="T7" fmla="*/ 0 h 284"/>
                <a:gd name="T8" fmla="*/ 0 w 154"/>
                <a:gd name="T9" fmla="*/ 0 h 284"/>
                <a:gd name="T10" fmla="*/ 0 w 154"/>
                <a:gd name="T11" fmla="*/ 0 h 284"/>
                <a:gd name="T12" fmla="*/ 0 w 154"/>
                <a:gd name="T13" fmla="*/ 0 h 284"/>
                <a:gd name="T14" fmla="*/ 0 w 154"/>
                <a:gd name="T15" fmla="*/ 0 h 284"/>
                <a:gd name="T16" fmla="*/ 0 w 154"/>
                <a:gd name="T17" fmla="*/ 0 h 284"/>
                <a:gd name="T18" fmla="*/ 0 w 154"/>
                <a:gd name="T19" fmla="*/ 0 h 284"/>
                <a:gd name="T20" fmla="*/ 0 w 154"/>
                <a:gd name="T21" fmla="*/ 0 h 284"/>
                <a:gd name="T22" fmla="*/ 0 w 154"/>
                <a:gd name="T23" fmla="*/ 0 h 284"/>
                <a:gd name="T24" fmla="*/ 0 w 154"/>
                <a:gd name="T25" fmla="*/ 0 h 284"/>
                <a:gd name="T26" fmla="*/ 0 w 154"/>
                <a:gd name="T27" fmla="*/ 0 h 284"/>
                <a:gd name="T28" fmla="*/ 0 w 154"/>
                <a:gd name="T29" fmla="*/ 0 h 284"/>
                <a:gd name="T30" fmla="*/ 0 w 154"/>
                <a:gd name="T31" fmla="*/ 0 h 284"/>
                <a:gd name="T32" fmla="*/ 0 w 154"/>
                <a:gd name="T33" fmla="*/ 0 h 284"/>
                <a:gd name="T34" fmla="*/ 0 w 154"/>
                <a:gd name="T35" fmla="*/ 0 h 284"/>
                <a:gd name="T36" fmla="*/ 0 w 154"/>
                <a:gd name="T37" fmla="*/ 0 h 284"/>
                <a:gd name="T38" fmla="*/ 0 w 154"/>
                <a:gd name="T39" fmla="*/ 0 h 284"/>
                <a:gd name="T40" fmla="*/ 0 w 154"/>
                <a:gd name="T41" fmla="*/ 0 h 284"/>
                <a:gd name="T42" fmla="*/ 0 w 154"/>
                <a:gd name="T43" fmla="*/ 0 h 284"/>
                <a:gd name="T44" fmla="*/ 0 w 154"/>
                <a:gd name="T45" fmla="*/ 0 h 284"/>
                <a:gd name="T46" fmla="*/ 0 w 154"/>
                <a:gd name="T47" fmla="*/ 0 h 284"/>
                <a:gd name="T48" fmla="*/ 0 w 154"/>
                <a:gd name="T49" fmla="*/ 0 h 284"/>
                <a:gd name="T50" fmla="*/ 0 w 154"/>
                <a:gd name="T51" fmla="*/ 0 h 284"/>
                <a:gd name="T52" fmla="*/ 0 w 154"/>
                <a:gd name="T53" fmla="*/ 0 h 284"/>
                <a:gd name="T54" fmla="*/ 0 w 154"/>
                <a:gd name="T55" fmla="*/ 0 h 284"/>
                <a:gd name="T56" fmla="*/ 0 w 154"/>
                <a:gd name="T57" fmla="*/ 0 h 284"/>
                <a:gd name="T58" fmla="*/ 0 w 154"/>
                <a:gd name="T59" fmla="*/ 0 h 284"/>
                <a:gd name="T60" fmla="*/ 0 w 154"/>
                <a:gd name="T61" fmla="*/ 0 h 284"/>
                <a:gd name="T62" fmla="*/ 0 w 154"/>
                <a:gd name="T63" fmla="*/ 0 h 284"/>
                <a:gd name="T64" fmla="*/ 0 w 154"/>
                <a:gd name="T65" fmla="*/ 0 h 284"/>
                <a:gd name="T66" fmla="*/ 0 w 154"/>
                <a:gd name="T67" fmla="*/ 0 h 284"/>
                <a:gd name="T68" fmla="*/ 0 w 154"/>
                <a:gd name="T69" fmla="*/ 0 h 284"/>
                <a:gd name="T70" fmla="*/ 0 w 154"/>
                <a:gd name="T71" fmla="*/ 0 h 284"/>
                <a:gd name="T72" fmla="*/ 0 w 154"/>
                <a:gd name="T73" fmla="*/ 0 h 284"/>
                <a:gd name="T74" fmla="*/ 0 w 154"/>
                <a:gd name="T75" fmla="*/ 0 h 284"/>
                <a:gd name="T76" fmla="*/ 0 w 154"/>
                <a:gd name="T77" fmla="*/ 0 h 284"/>
                <a:gd name="T78" fmla="*/ 0 w 154"/>
                <a:gd name="T79" fmla="*/ 0 h 284"/>
                <a:gd name="T80" fmla="*/ 0 w 154"/>
                <a:gd name="T81" fmla="*/ 0 h 284"/>
                <a:gd name="T82" fmla="*/ 0 w 154"/>
                <a:gd name="T83" fmla="*/ 0 h 284"/>
                <a:gd name="T84" fmla="*/ 0 w 154"/>
                <a:gd name="T85" fmla="*/ 0 h 2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4"/>
                <a:gd name="T130" fmla="*/ 0 h 284"/>
                <a:gd name="T131" fmla="*/ 154 w 154"/>
                <a:gd name="T132" fmla="*/ 284 h 2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3" name="Freeform 215">
              <a:extLst>
                <a:ext uri="{FF2B5EF4-FFF2-40B4-BE49-F238E27FC236}">
                  <a16:creationId xmlns:a16="http://schemas.microsoft.com/office/drawing/2014/main" id="{E84C0845-D41C-2998-0DA6-6D93E92AD5D1}"/>
                </a:ext>
              </a:extLst>
            </p:cNvPr>
            <p:cNvSpPr>
              <a:spLocks noChangeAspect="1"/>
            </p:cNvSpPr>
            <p:nvPr userDrawn="1"/>
          </p:nvSpPr>
          <p:spPr bwMode="gray">
            <a:xfrm>
              <a:off x="5917930" y="1150808"/>
              <a:ext cx="759602" cy="967879"/>
            </a:xfrm>
            <a:custGeom>
              <a:avLst/>
              <a:gdLst>
                <a:gd name="T0" fmla="*/ 2147483647 w 1427"/>
                <a:gd name="T1" fmla="*/ 0 h 1701"/>
                <a:gd name="T2" fmla="*/ 2147483647 w 1427"/>
                <a:gd name="T3" fmla="*/ 0 h 1701"/>
                <a:gd name="T4" fmla="*/ 2147483647 w 1427"/>
                <a:gd name="T5" fmla="*/ 0 h 1701"/>
                <a:gd name="T6" fmla="*/ 2147483647 w 1427"/>
                <a:gd name="T7" fmla="*/ 0 h 1701"/>
                <a:gd name="T8" fmla="*/ 2147483647 w 1427"/>
                <a:gd name="T9" fmla="*/ 0 h 1701"/>
                <a:gd name="T10" fmla="*/ 2147483647 w 1427"/>
                <a:gd name="T11" fmla="*/ 0 h 1701"/>
                <a:gd name="T12" fmla="*/ 2147483647 w 1427"/>
                <a:gd name="T13" fmla="*/ 0 h 1701"/>
                <a:gd name="T14" fmla="*/ 2147483647 w 1427"/>
                <a:gd name="T15" fmla="*/ 0 h 1701"/>
                <a:gd name="T16" fmla="*/ 2147483647 w 1427"/>
                <a:gd name="T17" fmla="*/ 0 h 1701"/>
                <a:gd name="T18" fmla="*/ 2147483647 w 1427"/>
                <a:gd name="T19" fmla="*/ 0 h 1701"/>
                <a:gd name="T20" fmla="*/ 2147483647 w 1427"/>
                <a:gd name="T21" fmla="*/ 0 h 1701"/>
                <a:gd name="T22" fmla="*/ 2147483647 w 1427"/>
                <a:gd name="T23" fmla="*/ 0 h 1701"/>
                <a:gd name="T24" fmla="*/ 2147483647 w 1427"/>
                <a:gd name="T25" fmla="*/ 0 h 1701"/>
                <a:gd name="T26" fmla="*/ 2147483647 w 1427"/>
                <a:gd name="T27" fmla="*/ 0 h 1701"/>
                <a:gd name="T28" fmla="*/ 2147483647 w 1427"/>
                <a:gd name="T29" fmla="*/ 0 h 1701"/>
                <a:gd name="T30" fmla="*/ 2147483647 w 1427"/>
                <a:gd name="T31" fmla="*/ 0 h 1701"/>
                <a:gd name="T32" fmla="*/ 2147483647 w 1427"/>
                <a:gd name="T33" fmla="*/ 2147483647 h 1701"/>
                <a:gd name="T34" fmla="*/ 2147483647 w 1427"/>
                <a:gd name="T35" fmla="*/ 2147483647 h 1701"/>
                <a:gd name="T36" fmla="*/ 2147483647 w 1427"/>
                <a:gd name="T37" fmla="*/ 2147483647 h 1701"/>
                <a:gd name="T38" fmla="*/ 2147483647 w 1427"/>
                <a:gd name="T39" fmla="*/ 2147483647 h 1701"/>
                <a:gd name="T40" fmla="*/ 2147483647 w 1427"/>
                <a:gd name="T41" fmla="*/ 2147483647 h 1701"/>
                <a:gd name="T42" fmla="*/ 2147483647 w 1427"/>
                <a:gd name="T43" fmla="*/ 2147483647 h 1701"/>
                <a:gd name="T44" fmla="*/ 2147483647 w 1427"/>
                <a:gd name="T45" fmla="*/ 2147483647 h 1701"/>
                <a:gd name="T46" fmla="*/ 2147483647 w 1427"/>
                <a:gd name="T47" fmla="*/ 2147483647 h 1701"/>
                <a:gd name="T48" fmla="*/ 2147483647 w 1427"/>
                <a:gd name="T49" fmla="*/ 2147483647 h 1701"/>
                <a:gd name="T50" fmla="*/ 2147483647 w 1427"/>
                <a:gd name="T51" fmla="*/ 2147483647 h 1701"/>
                <a:gd name="T52" fmla="*/ 2147483647 w 1427"/>
                <a:gd name="T53" fmla="*/ 2147483647 h 1701"/>
                <a:gd name="T54" fmla="*/ 0 w 1427"/>
                <a:gd name="T55" fmla="*/ 2147483647 h 1701"/>
                <a:gd name="T56" fmla="*/ 2147483647 w 1427"/>
                <a:gd name="T57" fmla="*/ 2147483647 h 1701"/>
                <a:gd name="T58" fmla="*/ 0 w 1427"/>
                <a:gd name="T59" fmla="*/ 2147483647 h 1701"/>
                <a:gd name="T60" fmla="*/ 0 w 1427"/>
                <a:gd name="T61" fmla="*/ 2147483647 h 1701"/>
                <a:gd name="T62" fmla="*/ 0 w 1427"/>
                <a:gd name="T63" fmla="*/ 2147483647 h 1701"/>
                <a:gd name="T64" fmla="*/ 0 w 1427"/>
                <a:gd name="T65" fmla="*/ 2147483647 h 1701"/>
                <a:gd name="T66" fmla="*/ 0 w 1427"/>
                <a:gd name="T67" fmla="*/ 2147483647 h 1701"/>
                <a:gd name="T68" fmla="*/ 0 w 1427"/>
                <a:gd name="T69" fmla="*/ 2147483647 h 1701"/>
                <a:gd name="T70" fmla="*/ 0 w 1427"/>
                <a:gd name="T71" fmla="*/ 2147483647 h 1701"/>
                <a:gd name="T72" fmla="*/ 0 w 1427"/>
                <a:gd name="T73" fmla="*/ 2147483647 h 1701"/>
                <a:gd name="T74" fmla="*/ 0 w 1427"/>
                <a:gd name="T75" fmla="*/ 2147483647 h 1701"/>
                <a:gd name="T76" fmla="*/ 0 w 1427"/>
                <a:gd name="T77" fmla="*/ 2147483647 h 1701"/>
                <a:gd name="T78" fmla="*/ 0 w 1427"/>
                <a:gd name="T79" fmla="*/ 2147483647 h 1701"/>
                <a:gd name="T80" fmla="*/ 0 w 1427"/>
                <a:gd name="T81" fmla="*/ 2147483647 h 1701"/>
                <a:gd name="T82" fmla="*/ 0 w 1427"/>
                <a:gd name="T83" fmla="*/ 2147483647 h 1701"/>
                <a:gd name="T84" fmla="*/ 0 w 1427"/>
                <a:gd name="T85" fmla="*/ 2147483647 h 1701"/>
                <a:gd name="T86" fmla="*/ 0 w 1427"/>
                <a:gd name="T87" fmla="*/ 2147483647 h 1701"/>
                <a:gd name="T88" fmla="*/ 0 w 1427"/>
                <a:gd name="T89" fmla="*/ 2147483647 h 1701"/>
                <a:gd name="T90" fmla="*/ 0 w 1427"/>
                <a:gd name="T91" fmla="*/ 2147483647 h 1701"/>
                <a:gd name="T92" fmla="*/ 0 w 1427"/>
                <a:gd name="T93" fmla="*/ 2147483647 h 1701"/>
                <a:gd name="T94" fmla="*/ 0 w 1427"/>
                <a:gd name="T95" fmla="*/ 2147483647 h 1701"/>
                <a:gd name="T96" fmla="*/ 0 w 1427"/>
                <a:gd name="T97" fmla="*/ 2147483647 h 1701"/>
                <a:gd name="T98" fmla="*/ 0 w 1427"/>
                <a:gd name="T99" fmla="*/ 2147483647 h 1701"/>
                <a:gd name="T100" fmla="*/ 2147483647 w 1427"/>
                <a:gd name="T101" fmla="*/ 2147483647 h 1701"/>
                <a:gd name="T102" fmla="*/ 2147483647 w 1427"/>
                <a:gd name="T103" fmla="*/ 2147483647 h 1701"/>
                <a:gd name="T104" fmla="*/ 2147483647 w 1427"/>
                <a:gd name="T105" fmla="*/ 2147483647 h 1701"/>
                <a:gd name="T106" fmla="*/ 2147483647 w 1427"/>
                <a:gd name="T107" fmla="*/ 2147483647 h 1701"/>
                <a:gd name="T108" fmla="*/ 2147483647 w 1427"/>
                <a:gd name="T109" fmla="*/ 2147483647 h 1701"/>
                <a:gd name="T110" fmla="*/ 2147483647 w 1427"/>
                <a:gd name="T111" fmla="*/ 2147483647 h 1701"/>
                <a:gd name="T112" fmla="*/ 2147483647 w 1427"/>
                <a:gd name="T113" fmla="*/ 2147483647 h 1701"/>
                <a:gd name="T114" fmla="*/ 2147483647 w 1427"/>
                <a:gd name="T115" fmla="*/ 2147483647 h 1701"/>
                <a:gd name="T116" fmla="*/ 2147483647 w 1427"/>
                <a:gd name="T117" fmla="*/ 2147483647 h 1701"/>
                <a:gd name="T118" fmla="*/ 2147483647 w 1427"/>
                <a:gd name="T119" fmla="*/ 2147483647 h 1701"/>
                <a:gd name="T120" fmla="*/ 2147483647 w 1427"/>
                <a:gd name="T121" fmla="*/ 0 h 1701"/>
                <a:gd name="T122" fmla="*/ 2147483647 w 1427"/>
                <a:gd name="T123" fmla="*/ 0 h 17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27"/>
                <a:gd name="T187" fmla="*/ 0 h 1701"/>
                <a:gd name="T188" fmla="*/ 1427 w 1427"/>
                <a:gd name="T189" fmla="*/ 1701 h 17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4" name="Freeform 216">
              <a:extLst>
                <a:ext uri="{FF2B5EF4-FFF2-40B4-BE49-F238E27FC236}">
                  <a16:creationId xmlns:a16="http://schemas.microsoft.com/office/drawing/2014/main" id="{60DEA708-12ED-E200-9714-BC00D6F5162C}"/>
                </a:ext>
              </a:extLst>
            </p:cNvPr>
            <p:cNvSpPr>
              <a:spLocks noChangeAspect="1"/>
            </p:cNvSpPr>
            <p:nvPr userDrawn="1"/>
          </p:nvSpPr>
          <p:spPr bwMode="gray">
            <a:xfrm>
              <a:off x="6094026" y="1333714"/>
              <a:ext cx="382040" cy="934346"/>
            </a:xfrm>
            <a:custGeom>
              <a:avLst/>
              <a:gdLst>
                <a:gd name="T0" fmla="*/ 0 w 715"/>
                <a:gd name="T1" fmla="*/ 2147483647 h 1640"/>
                <a:gd name="T2" fmla="*/ 0 w 715"/>
                <a:gd name="T3" fmla="*/ 2147483647 h 1640"/>
                <a:gd name="T4" fmla="*/ 0 w 715"/>
                <a:gd name="T5" fmla="*/ 2147483647 h 1640"/>
                <a:gd name="T6" fmla="*/ 0 w 715"/>
                <a:gd name="T7" fmla="*/ 2147483647 h 1640"/>
                <a:gd name="T8" fmla="*/ 0 w 715"/>
                <a:gd name="T9" fmla="*/ 2147483647 h 1640"/>
                <a:gd name="T10" fmla="*/ 0 w 715"/>
                <a:gd name="T11" fmla="*/ 2147483647 h 1640"/>
                <a:gd name="T12" fmla="*/ 0 w 715"/>
                <a:gd name="T13" fmla="*/ 2147483647 h 1640"/>
                <a:gd name="T14" fmla="*/ 0 w 715"/>
                <a:gd name="T15" fmla="*/ 2147483647 h 1640"/>
                <a:gd name="T16" fmla="*/ 0 w 715"/>
                <a:gd name="T17" fmla="*/ 2147483647 h 1640"/>
                <a:gd name="T18" fmla="*/ 0 w 715"/>
                <a:gd name="T19" fmla="*/ 2147483647 h 1640"/>
                <a:gd name="T20" fmla="*/ 0 w 715"/>
                <a:gd name="T21" fmla="*/ 2147483647 h 1640"/>
                <a:gd name="T22" fmla="*/ 0 w 715"/>
                <a:gd name="T23" fmla="*/ 2147483647 h 1640"/>
                <a:gd name="T24" fmla="*/ 0 w 715"/>
                <a:gd name="T25" fmla="*/ 2147483647 h 1640"/>
                <a:gd name="T26" fmla="*/ 0 w 715"/>
                <a:gd name="T27" fmla="*/ 2147483647 h 1640"/>
                <a:gd name="T28" fmla="*/ 2147483647 w 715"/>
                <a:gd name="T29" fmla="*/ 2147483647 h 1640"/>
                <a:gd name="T30" fmla="*/ 2147483647 w 715"/>
                <a:gd name="T31" fmla="*/ 2147483647 h 1640"/>
                <a:gd name="T32" fmla="*/ 2147483647 w 715"/>
                <a:gd name="T33" fmla="*/ 2147483647 h 1640"/>
                <a:gd name="T34" fmla="*/ 0 w 715"/>
                <a:gd name="T35" fmla="*/ 2147483647 h 1640"/>
                <a:gd name="T36" fmla="*/ 2147483647 w 715"/>
                <a:gd name="T37" fmla="*/ 2147483647 h 1640"/>
                <a:gd name="T38" fmla="*/ 2147483647 w 715"/>
                <a:gd name="T39" fmla="*/ 2147483647 h 1640"/>
                <a:gd name="T40" fmla="*/ 2147483647 w 715"/>
                <a:gd name="T41" fmla="*/ 2147483647 h 1640"/>
                <a:gd name="T42" fmla="*/ 2147483647 w 715"/>
                <a:gd name="T43" fmla="*/ 2147483647 h 1640"/>
                <a:gd name="T44" fmla="*/ 0 w 715"/>
                <a:gd name="T45" fmla="*/ 2147483647 h 1640"/>
                <a:gd name="T46" fmla="*/ 2147483647 w 715"/>
                <a:gd name="T47" fmla="*/ 2147483647 h 1640"/>
                <a:gd name="T48" fmla="*/ 2147483647 w 715"/>
                <a:gd name="T49" fmla="*/ 2147483647 h 1640"/>
                <a:gd name="T50" fmla="*/ 2147483647 w 715"/>
                <a:gd name="T51" fmla="*/ 2147483647 h 1640"/>
                <a:gd name="T52" fmla="*/ 2147483647 w 715"/>
                <a:gd name="T53" fmla="*/ 2147483647 h 1640"/>
                <a:gd name="T54" fmla="*/ 2147483647 w 715"/>
                <a:gd name="T55" fmla="*/ 2147483647 h 1640"/>
                <a:gd name="T56" fmla="*/ 2147483647 w 715"/>
                <a:gd name="T57" fmla="*/ 2147483647 h 1640"/>
                <a:gd name="T58" fmla="*/ 2147483647 w 715"/>
                <a:gd name="T59" fmla="*/ 2147483647 h 1640"/>
                <a:gd name="T60" fmla="*/ 2147483647 w 715"/>
                <a:gd name="T61" fmla="*/ 2147483647 h 1640"/>
                <a:gd name="T62" fmla="*/ 2147483647 w 715"/>
                <a:gd name="T63" fmla="*/ 2147483647 h 1640"/>
                <a:gd name="T64" fmla="*/ 2147483647 w 715"/>
                <a:gd name="T65" fmla="*/ 2147483647 h 1640"/>
                <a:gd name="T66" fmla="*/ 2147483647 w 715"/>
                <a:gd name="T67" fmla="*/ 2147483647 h 1640"/>
                <a:gd name="T68" fmla="*/ 2147483647 w 715"/>
                <a:gd name="T69" fmla="*/ 2147483647 h 1640"/>
                <a:gd name="T70" fmla="*/ 2147483647 w 715"/>
                <a:gd name="T71" fmla="*/ 2147483647 h 1640"/>
                <a:gd name="T72" fmla="*/ 2147483647 w 715"/>
                <a:gd name="T73" fmla="*/ 2147483647 h 1640"/>
                <a:gd name="T74" fmla="*/ 2147483647 w 715"/>
                <a:gd name="T75" fmla="*/ 2147483647 h 1640"/>
                <a:gd name="T76" fmla="*/ 2147483647 w 715"/>
                <a:gd name="T77" fmla="*/ 2147483647 h 1640"/>
                <a:gd name="T78" fmla="*/ 2147483647 w 715"/>
                <a:gd name="T79" fmla="*/ 2147483647 h 1640"/>
                <a:gd name="T80" fmla="*/ 2147483647 w 715"/>
                <a:gd name="T81" fmla="*/ 2147483647 h 1640"/>
                <a:gd name="T82" fmla="*/ 2147483647 w 715"/>
                <a:gd name="T83" fmla="*/ 0 h 1640"/>
                <a:gd name="T84" fmla="*/ 2147483647 w 715"/>
                <a:gd name="T85" fmla="*/ 0 h 1640"/>
                <a:gd name="T86" fmla="*/ 2147483647 w 715"/>
                <a:gd name="T87" fmla="*/ 0 h 1640"/>
                <a:gd name="T88" fmla="*/ 2147483647 w 715"/>
                <a:gd name="T89" fmla="*/ 0 h 1640"/>
                <a:gd name="T90" fmla="*/ 2147483647 w 715"/>
                <a:gd name="T91" fmla="*/ 0 h 1640"/>
                <a:gd name="T92" fmla="*/ 2147483647 w 715"/>
                <a:gd name="T93" fmla="*/ 0 h 1640"/>
                <a:gd name="T94" fmla="*/ 2147483647 w 715"/>
                <a:gd name="T95" fmla="*/ 0 h 1640"/>
                <a:gd name="T96" fmla="*/ 0 w 715"/>
                <a:gd name="T97" fmla="*/ 0 h 1640"/>
                <a:gd name="T98" fmla="*/ 0 w 715"/>
                <a:gd name="T99" fmla="*/ 2147483647 h 1640"/>
                <a:gd name="T100" fmla="*/ 0 w 715"/>
                <a:gd name="T101" fmla="*/ 2147483647 h 1640"/>
                <a:gd name="T102" fmla="*/ 0 w 715"/>
                <a:gd name="T103" fmla="*/ 2147483647 h 1640"/>
                <a:gd name="T104" fmla="*/ 0 w 715"/>
                <a:gd name="T105" fmla="*/ 2147483647 h 1640"/>
                <a:gd name="T106" fmla="*/ 0 w 715"/>
                <a:gd name="T107" fmla="*/ 2147483647 h 1640"/>
                <a:gd name="T108" fmla="*/ 0 w 715"/>
                <a:gd name="T109" fmla="*/ 2147483647 h 1640"/>
                <a:gd name="T110" fmla="*/ 0 w 715"/>
                <a:gd name="T111" fmla="*/ 2147483647 h 1640"/>
                <a:gd name="T112" fmla="*/ 0 w 715"/>
                <a:gd name="T113" fmla="*/ 2147483647 h 1640"/>
                <a:gd name="T114" fmla="*/ 0 w 715"/>
                <a:gd name="T115" fmla="*/ 2147483647 h 164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5"/>
                <a:gd name="T175" fmla="*/ 0 h 1640"/>
                <a:gd name="T176" fmla="*/ 715 w 715"/>
                <a:gd name="T177" fmla="*/ 1640 h 164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5" name="Freeform 218">
              <a:extLst>
                <a:ext uri="{FF2B5EF4-FFF2-40B4-BE49-F238E27FC236}">
                  <a16:creationId xmlns:a16="http://schemas.microsoft.com/office/drawing/2014/main" id="{AB01C7B5-3F51-E0E0-CEBE-BAFA9C478153}"/>
                </a:ext>
              </a:extLst>
            </p:cNvPr>
            <p:cNvSpPr>
              <a:spLocks noChangeAspect="1"/>
            </p:cNvSpPr>
            <p:nvPr userDrawn="1"/>
          </p:nvSpPr>
          <p:spPr bwMode="gray">
            <a:xfrm>
              <a:off x="6083580" y="24"/>
              <a:ext cx="314884" cy="531952"/>
            </a:xfrm>
            <a:custGeom>
              <a:avLst/>
              <a:gdLst>
                <a:gd name="T0" fmla="*/ 0 w 591"/>
                <a:gd name="T1" fmla="*/ 0 h 937"/>
                <a:gd name="T2" fmla="*/ 0 w 591"/>
                <a:gd name="T3" fmla="*/ 0 h 937"/>
                <a:gd name="T4" fmla="*/ 0 w 591"/>
                <a:gd name="T5" fmla="*/ 0 h 937"/>
                <a:gd name="T6" fmla="*/ 0 w 591"/>
                <a:gd name="T7" fmla="*/ 0 h 937"/>
                <a:gd name="T8" fmla="*/ 0 w 591"/>
                <a:gd name="T9" fmla="*/ 0 h 937"/>
                <a:gd name="T10" fmla="*/ 0 w 591"/>
                <a:gd name="T11" fmla="*/ 0 h 937"/>
                <a:gd name="T12" fmla="*/ 0 w 591"/>
                <a:gd name="T13" fmla="*/ 0 h 937"/>
                <a:gd name="T14" fmla="*/ 0 w 591"/>
                <a:gd name="T15" fmla="*/ 0 h 937"/>
                <a:gd name="T16" fmla="*/ 0 w 591"/>
                <a:gd name="T17" fmla="*/ 0 h 937"/>
                <a:gd name="T18" fmla="*/ 0 w 591"/>
                <a:gd name="T19" fmla="*/ 0 h 937"/>
                <a:gd name="T20" fmla="*/ 0 w 591"/>
                <a:gd name="T21" fmla="*/ 0 h 937"/>
                <a:gd name="T22" fmla="*/ 0 w 591"/>
                <a:gd name="T23" fmla="*/ 0 h 937"/>
                <a:gd name="T24" fmla="*/ 0 w 591"/>
                <a:gd name="T25" fmla="*/ 0 h 937"/>
                <a:gd name="T26" fmla="*/ 0 w 591"/>
                <a:gd name="T27" fmla="*/ 0 h 937"/>
                <a:gd name="T28" fmla="*/ 0 w 591"/>
                <a:gd name="T29" fmla="*/ 0 h 937"/>
                <a:gd name="T30" fmla="*/ 0 w 591"/>
                <a:gd name="T31" fmla="*/ 0 h 937"/>
                <a:gd name="T32" fmla="*/ 0 w 591"/>
                <a:gd name="T33" fmla="*/ 0 h 937"/>
                <a:gd name="T34" fmla="*/ 0 w 591"/>
                <a:gd name="T35" fmla="*/ 2147483647 h 937"/>
                <a:gd name="T36" fmla="*/ 0 w 591"/>
                <a:gd name="T37" fmla="*/ 2147483647 h 937"/>
                <a:gd name="T38" fmla="*/ 0 w 591"/>
                <a:gd name="T39" fmla="*/ 2147483647 h 937"/>
                <a:gd name="T40" fmla="*/ 0 w 591"/>
                <a:gd name="T41" fmla="*/ 2147483647 h 937"/>
                <a:gd name="T42" fmla="*/ 0 w 591"/>
                <a:gd name="T43" fmla="*/ 2147483647 h 937"/>
                <a:gd name="T44" fmla="*/ 0 w 591"/>
                <a:gd name="T45" fmla="*/ 2147483647 h 937"/>
                <a:gd name="T46" fmla="*/ 0 w 591"/>
                <a:gd name="T47" fmla="*/ 2147483647 h 937"/>
                <a:gd name="T48" fmla="*/ 0 w 591"/>
                <a:gd name="T49" fmla="*/ 2147483647 h 937"/>
                <a:gd name="T50" fmla="*/ 0 w 591"/>
                <a:gd name="T51" fmla="*/ 2147483647 h 937"/>
                <a:gd name="T52" fmla="*/ 2147483647 w 591"/>
                <a:gd name="T53" fmla="*/ 2147483647 h 937"/>
                <a:gd name="T54" fmla="*/ 2147483647 w 591"/>
                <a:gd name="T55" fmla="*/ 2147483647 h 937"/>
                <a:gd name="T56" fmla="*/ 2147483647 w 591"/>
                <a:gd name="T57" fmla="*/ 2147483647 h 937"/>
                <a:gd name="T58" fmla="*/ 0 w 591"/>
                <a:gd name="T59" fmla="*/ 2147483647 h 937"/>
                <a:gd name="T60" fmla="*/ 0 w 591"/>
                <a:gd name="T61" fmla="*/ 2147483647 h 937"/>
                <a:gd name="T62" fmla="*/ 0 w 591"/>
                <a:gd name="T63" fmla="*/ 2147483647 h 937"/>
                <a:gd name="T64" fmla="*/ 0 w 591"/>
                <a:gd name="T65" fmla="*/ 2147483647 h 937"/>
                <a:gd name="T66" fmla="*/ 0 w 591"/>
                <a:gd name="T67" fmla="*/ 2147483647 h 937"/>
                <a:gd name="T68" fmla="*/ 2147483647 w 591"/>
                <a:gd name="T69" fmla="*/ 2147483647 h 937"/>
                <a:gd name="T70" fmla="*/ 2147483647 w 591"/>
                <a:gd name="T71" fmla="*/ 2147483647 h 937"/>
                <a:gd name="T72" fmla="*/ 0 w 591"/>
                <a:gd name="T73" fmla="*/ 2147483647 h 937"/>
                <a:gd name="T74" fmla="*/ 0 w 591"/>
                <a:gd name="T75" fmla="*/ 2147483647 h 937"/>
                <a:gd name="T76" fmla="*/ 0 w 591"/>
                <a:gd name="T77" fmla="*/ 2147483647 h 937"/>
                <a:gd name="T78" fmla="*/ 0 w 591"/>
                <a:gd name="T79" fmla="*/ 2147483647 h 937"/>
                <a:gd name="T80" fmla="*/ 0 w 591"/>
                <a:gd name="T81" fmla="*/ 2147483647 h 937"/>
                <a:gd name="T82" fmla="*/ 0 w 591"/>
                <a:gd name="T83" fmla="*/ 2147483647 h 937"/>
                <a:gd name="T84" fmla="*/ 2147483647 w 591"/>
                <a:gd name="T85" fmla="*/ 2147483647 h 937"/>
                <a:gd name="T86" fmla="*/ 2147483647 w 591"/>
                <a:gd name="T87" fmla="*/ 2147483647 h 937"/>
                <a:gd name="T88" fmla="*/ 2147483647 w 591"/>
                <a:gd name="T89" fmla="*/ 2147483647 h 937"/>
                <a:gd name="T90" fmla="*/ 2147483647 w 591"/>
                <a:gd name="T91" fmla="*/ 2147483647 h 937"/>
                <a:gd name="T92" fmla="*/ 2147483647 w 591"/>
                <a:gd name="T93" fmla="*/ 2147483647 h 937"/>
                <a:gd name="T94" fmla="*/ 2147483647 w 591"/>
                <a:gd name="T95" fmla="*/ 2147483647 h 937"/>
                <a:gd name="T96" fmla="*/ 2147483647 w 591"/>
                <a:gd name="T97" fmla="*/ 2147483647 h 937"/>
                <a:gd name="T98" fmla="*/ 2147483647 w 591"/>
                <a:gd name="T99" fmla="*/ 2147483647 h 937"/>
                <a:gd name="T100" fmla="*/ 2147483647 w 591"/>
                <a:gd name="T101" fmla="*/ 2147483647 h 937"/>
                <a:gd name="T102" fmla="*/ 2147483647 w 591"/>
                <a:gd name="T103" fmla="*/ 2147483647 h 937"/>
                <a:gd name="T104" fmla="*/ 2147483647 w 591"/>
                <a:gd name="T105" fmla="*/ 0 h 937"/>
                <a:gd name="T106" fmla="*/ 2147483647 w 591"/>
                <a:gd name="T107" fmla="*/ 0 h 937"/>
                <a:gd name="T108" fmla="*/ 2147483647 w 591"/>
                <a:gd name="T109" fmla="*/ 0 h 937"/>
                <a:gd name="T110" fmla="*/ 2147483647 w 591"/>
                <a:gd name="T111" fmla="*/ 0 h 937"/>
                <a:gd name="T112" fmla="*/ 2147483647 w 591"/>
                <a:gd name="T113" fmla="*/ 0 h 937"/>
                <a:gd name="T114" fmla="*/ 0 w 591"/>
                <a:gd name="T115" fmla="*/ 0 h 9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91"/>
                <a:gd name="T175" fmla="*/ 0 h 937"/>
                <a:gd name="T176" fmla="*/ 591 w 591"/>
                <a:gd name="T177" fmla="*/ 937 h 9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0" y="2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6" name="Freeform 219">
              <a:extLst>
                <a:ext uri="{FF2B5EF4-FFF2-40B4-BE49-F238E27FC236}">
                  <a16:creationId xmlns:a16="http://schemas.microsoft.com/office/drawing/2014/main" id="{116F2E4A-E92F-35CE-89E7-B48E38758C74}"/>
                </a:ext>
              </a:extLst>
            </p:cNvPr>
            <p:cNvSpPr>
              <a:spLocks noChangeAspect="1"/>
            </p:cNvSpPr>
            <p:nvPr userDrawn="1"/>
          </p:nvSpPr>
          <p:spPr bwMode="gray">
            <a:xfrm>
              <a:off x="6361156" y="234753"/>
              <a:ext cx="67155" cy="62492"/>
            </a:xfrm>
            <a:custGeom>
              <a:avLst/>
              <a:gdLst>
                <a:gd name="T0" fmla="*/ 0 w 126"/>
                <a:gd name="T1" fmla="*/ 0 h 117"/>
                <a:gd name="T2" fmla="*/ 0 w 126"/>
                <a:gd name="T3" fmla="*/ 0 h 117"/>
                <a:gd name="T4" fmla="*/ 0 w 126"/>
                <a:gd name="T5" fmla="*/ 0 h 117"/>
                <a:gd name="T6" fmla="*/ 0 w 126"/>
                <a:gd name="T7" fmla="*/ 0 h 117"/>
                <a:gd name="T8" fmla="*/ 0 w 126"/>
                <a:gd name="T9" fmla="*/ 0 h 117"/>
                <a:gd name="T10" fmla="*/ 0 w 126"/>
                <a:gd name="T11" fmla="*/ 0 h 117"/>
                <a:gd name="T12" fmla="*/ 0 w 126"/>
                <a:gd name="T13" fmla="*/ 0 h 117"/>
                <a:gd name="T14" fmla="*/ 0 w 126"/>
                <a:gd name="T15" fmla="*/ 0 h 117"/>
                <a:gd name="T16" fmla="*/ 0 w 126"/>
                <a:gd name="T17" fmla="*/ 0 h 117"/>
                <a:gd name="T18" fmla="*/ 0 w 126"/>
                <a:gd name="T19" fmla="*/ 0 h 117"/>
                <a:gd name="T20" fmla="*/ 0 w 126"/>
                <a:gd name="T21" fmla="*/ 0 h 117"/>
                <a:gd name="T22" fmla="*/ 0 w 126"/>
                <a:gd name="T23" fmla="*/ 0 h 117"/>
                <a:gd name="T24" fmla="*/ 0 w 126"/>
                <a:gd name="T25" fmla="*/ 0 h 117"/>
                <a:gd name="T26" fmla="*/ 0 w 126"/>
                <a:gd name="T27" fmla="*/ 0 h 117"/>
                <a:gd name="T28" fmla="*/ 0 w 126"/>
                <a:gd name="T29" fmla="*/ 0 h 117"/>
                <a:gd name="T30" fmla="*/ 0 w 126"/>
                <a:gd name="T31" fmla="*/ 0 h 117"/>
                <a:gd name="T32" fmla="*/ 0 w 126"/>
                <a:gd name="T33" fmla="*/ 0 h 117"/>
                <a:gd name="T34" fmla="*/ 0 w 126"/>
                <a:gd name="T35" fmla="*/ 0 h 117"/>
                <a:gd name="T36" fmla="*/ 0 w 126"/>
                <a:gd name="T37" fmla="*/ 0 h 117"/>
                <a:gd name="T38" fmla="*/ 0 w 126"/>
                <a:gd name="T39" fmla="*/ 0 h 117"/>
                <a:gd name="T40" fmla="*/ 0 w 126"/>
                <a:gd name="T41" fmla="*/ 0 h 117"/>
                <a:gd name="T42" fmla="*/ 0 w 126"/>
                <a:gd name="T43" fmla="*/ 0 h 117"/>
                <a:gd name="T44" fmla="*/ 0 w 126"/>
                <a:gd name="T45" fmla="*/ 0 h 117"/>
                <a:gd name="T46" fmla="*/ 0 w 126"/>
                <a:gd name="T47" fmla="*/ 0 h 117"/>
                <a:gd name="T48" fmla="*/ 0 w 126"/>
                <a:gd name="T49" fmla="*/ 0 h 117"/>
                <a:gd name="T50" fmla="*/ 0 w 126"/>
                <a:gd name="T51" fmla="*/ 0 h 117"/>
                <a:gd name="T52" fmla="*/ 0 w 126"/>
                <a:gd name="T53" fmla="*/ 0 h 117"/>
                <a:gd name="T54" fmla="*/ 0 w 126"/>
                <a:gd name="T55" fmla="*/ 0 h 117"/>
                <a:gd name="T56" fmla="*/ 0 w 126"/>
                <a:gd name="T57" fmla="*/ 0 h 117"/>
                <a:gd name="T58" fmla="*/ 0 w 126"/>
                <a:gd name="T59" fmla="*/ 0 h 117"/>
                <a:gd name="T60" fmla="*/ 0 w 126"/>
                <a:gd name="T61" fmla="*/ 0 h 117"/>
                <a:gd name="T62" fmla="*/ 0 w 126"/>
                <a:gd name="T63" fmla="*/ 0 h 1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6"/>
                <a:gd name="T97" fmla="*/ 0 h 117"/>
                <a:gd name="T98" fmla="*/ 126 w 126"/>
                <a:gd name="T99" fmla="*/ 117 h 1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7" name="Freeform 220">
              <a:extLst>
                <a:ext uri="{FF2B5EF4-FFF2-40B4-BE49-F238E27FC236}">
                  <a16:creationId xmlns:a16="http://schemas.microsoft.com/office/drawing/2014/main" id="{41064A17-1367-8867-EEFC-AC41A5F7005A}"/>
                </a:ext>
              </a:extLst>
            </p:cNvPr>
            <p:cNvSpPr>
              <a:spLocks noChangeAspect="1"/>
            </p:cNvSpPr>
            <p:nvPr userDrawn="1"/>
          </p:nvSpPr>
          <p:spPr bwMode="gray">
            <a:xfrm>
              <a:off x="6450696" y="314013"/>
              <a:ext cx="2985" cy="1524"/>
            </a:xfrm>
            <a:custGeom>
              <a:avLst/>
              <a:gdLst>
                <a:gd name="T0" fmla="*/ 0 w 1"/>
                <a:gd name="T1" fmla="*/ 0 h 2"/>
                <a:gd name="T2" fmla="*/ 0 w 1"/>
                <a:gd name="T3" fmla="*/ 2147483647 h 2"/>
                <a:gd name="T4" fmla="*/ 2147483647 w 1"/>
                <a:gd name="T5" fmla="*/ 2147483647 h 2"/>
                <a:gd name="T6" fmla="*/ 0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lnTo>
                    <a:pt x="0" y="2"/>
                  </a:lnTo>
                  <a:lnTo>
                    <a:pt x="1" y="2"/>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8" name="Freeform 221">
              <a:extLst>
                <a:ext uri="{FF2B5EF4-FFF2-40B4-BE49-F238E27FC236}">
                  <a16:creationId xmlns:a16="http://schemas.microsoft.com/office/drawing/2014/main" id="{F8E50B57-9692-BF58-9FF2-4902535EBBD8}"/>
                </a:ext>
              </a:extLst>
            </p:cNvPr>
            <p:cNvSpPr>
              <a:spLocks noChangeAspect="1"/>
            </p:cNvSpPr>
            <p:nvPr userDrawn="1"/>
          </p:nvSpPr>
          <p:spPr bwMode="gray">
            <a:xfrm>
              <a:off x="6450696" y="315537"/>
              <a:ext cx="2985" cy="3049"/>
            </a:xfrm>
            <a:custGeom>
              <a:avLst/>
              <a:gdLst>
                <a:gd name="T0" fmla="*/ 0 w 1"/>
                <a:gd name="T1" fmla="*/ 0 h 1"/>
                <a:gd name="T2" fmla="*/ 0 w 1"/>
                <a:gd name="T3" fmla="*/ 0 h 1"/>
                <a:gd name="T4" fmla="*/ 0 w 1"/>
                <a:gd name="T5" fmla="*/ 2147483647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0"/>
                  </a:lnTo>
                  <a:lnTo>
                    <a:pt x="0" y="1"/>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09" name="Freeform 222">
              <a:extLst>
                <a:ext uri="{FF2B5EF4-FFF2-40B4-BE49-F238E27FC236}">
                  <a16:creationId xmlns:a16="http://schemas.microsoft.com/office/drawing/2014/main" id="{BB30E426-B465-BE11-B225-15D7C0681C58}"/>
                </a:ext>
              </a:extLst>
            </p:cNvPr>
            <p:cNvSpPr>
              <a:spLocks noChangeAspect="1"/>
            </p:cNvSpPr>
            <p:nvPr userDrawn="1"/>
          </p:nvSpPr>
          <p:spPr bwMode="gray">
            <a:xfrm>
              <a:off x="6379064" y="285052"/>
              <a:ext cx="120879" cy="152422"/>
            </a:xfrm>
            <a:custGeom>
              <a:avLst/>
              <a:gdLst>
                <a:gd name="T0" fmla="*/ 0 w 222"/>
                <a:gd name="T1" fmla="*/ 0 h 268"/>
                <a:gd name="T2" fmla="*/ 0 w 222"/>
                <a:gd name="T3" fmla="*/ 0 h 268"/>
                <a:gd name="T4" fmla="*/ 0 w 222"/>
                <a:gd name="T5" fmla="*/ 0 h 268"/>
                <a:gd name="T6" fmla="*/ 0 w 222"/>
                <a:gd name="T7" fmla="*/ 0 h 268"/>
                <a:gd name="T8" fmla="*/ 0 w 222"/>
                <a:gd name="T9" fmla="*/ 0 h 268"/>
                <a:gd name="T10" fmla="*/ 0 w 222"/>
                <a:gd name="T11" fmla="*/ 0 h 268"/>
                <a:gd name="T12" fmla="*/ 0 w 222"/>
                <a:gd name="T13" fmla="*/ 0 h 268"/>
                <a:gd name="T14" fmla="*/ 0 w 222"/>
                <a:gd name="T15" fmla="*/ 0 h 268"/>
                <a:gd name="T16" fmla="*/ 0 w 222"/>
                <a:gd name="T17" fmla="*/ 0 h 268"/>
                <a:gd name="T18" fmla="*/ 0 w 222"/>
                <a:gd name="T19" fmla="*/ 0 h 268"/>
                <a:gd name="T20" fmla="*/ 0 w 222"/>
                <a:gd name="T21" fmla="*/ 0 h 268"/>
                <a:gd name="T22" fmla="*/ 0 w 222"/>
                <a:gd name="T23" fmla="*/ 0 h 268"/>
                <a:gd name="T24" fmla="*/ 0 w 222"/>
                <a:gd name="T25" fmla="*/ 0 h 268"/>
                <a:gd name="T26" fmla="*/ 0 w 222"/>
                <a:gd name="T27" fmla="*/ 0 h 268"/>
                <a:gd name="T28" fmla="*/ 0 w 222"/>
                <a:gd name="T29" fmla="*/ 0 h 268"/>
                <a:gd name="T30" fmla="*/ 0 w 222"/>
                <a:gd name="T31" fmla="*/ 0 h 268"/>
                <a:gd name="T32" fmla="*/ 0 w 222"/>
                <a:gd name="T33" fmla="*/ 0 h 268"/>
                <a:gd name="T34" fmla="*/ 0 w 222"/>
                <a:gd name="T35" fmla="*/ 0 h 268"/>
                <a:gd name="T36" fmla="*/ 0 w 222"/>
                <a:gd name="T37" fmla="*/ 0 h 268"/>
                <a:gd name="T38" fmla="*/ 0 w 222"/>
                <a:gd name="T39" fmla="*/ 0 h 268"/>
                <a:gd name="T40" fmla="*/ 0 w 222"/>
                <a:gd name="T41" fmla="*/ 0 h 268"/>
                <a:gd name="T42" fmla="*/ 0 w 222"/>
                <a:gd name="T43" fmla="*/ 0 h 268"/>
                <a:gd name="T44" fmla="*/ 0 w 222"/>
                <a:gd name="T45" fmla="*/ 0 h 268"/>
                <a:gd name="T46" fmla="*/ 0 w 222"/>
                <a:gd name="T47" fmla="*/ 0 h 268"/>
                <a:gd name="T48" fmla="*/ 0 w 222"/>
                <a:gd name="T49" fmla="*/ 0 h 268"/>
                <a:gd name="T50" fmla="*/ 0 w 222"/>
                <a:gd name="T51" fmla="*/ 0 h 268"/>
                <a:gd name="T52" fmla="*/ 0 w 222"/>
                <a:gd name="T53" fmla="*/ 0 h 268"/>
                <a:gd name="T54" fmla="*/ 0 w 222"/>
                <a:gd name="T55" fmla="*/ 0 h 268"/>
                <a:gd name="T56" fmla="*/ 0 w 222"/>
                <a:gd name="T57" fmla="*/ 0 h 268"/>
                <a:gd name="T58" fmla="*/ 0 w 222"/>
                <a:gd name="T59" fmla="*/ 0 h 268"/>
                <a:gd name="T60" fmla="*/ 0 w 222"/>
                <a:gd name="T61" fmla="*/ 0 h 268"/>
                <a:gd name="T62" fmla="*/ 0 w 222"/>
                <a:gd name="T63" fmla="*/ 0 h 268"/>
                <a:gd name="T64" fmla="*/ 0 w 222"/>
                <a:gd name="T65" fmla="*/ 0 h 268"/>
                <a:gd name="T66" fmla="*/ 0 w 222"/>
                <a:gd name="T67" fmla="*/ 0 h 268"/>
                <a:gd name="T68" fmla="*/ 0 w 222"/>
                <a:gd name="T69" fmla="*/ 0 h 268"/>
                <a:gd name="T70" fmla="*/ 0 w 222"/>
                <a:gd name="T71" fmla="*/ 0 h 268"/>
                <a:gd name="T72" fmla="*/ 0 w 222"/>
                <a:gd name="T73" fmla="*/ 0 h 268"/>
                <a:gd name="T74" fmla="*/ 0 w 222"/>
                <a:gd name="T75" fmla="*/ 0 h 268"/>
                <a:gd name="T76" fmla="*/ 0 w 222"/>
                <a:gd name="T77" fmla="*/ 0 h 268"/>
                <a:gd name="T78" fmla="*/ 0 w 222"/>
                <a:gd name="T79" fmla="*/ 0 h 268"/>
                <a:gd name="T80" fmla="*/ 0 w 222"/>
                <a:gd name="T81" fmla="*/ 0 h 268"/>
                <a:gd name="T82" fmla="*/ 0 w 222"/>
                <a:gd name="T83" fmla="*/ 0 h 268"/>
                <a:gd name="T84" fmla="*/ 0 w 222"/>
                <a:gd name="T85" fmla="*/ 0 h 268"/>
                <a:gd name="T86" fmla="*/ 0 w 222"/>
                <a:gd name="T87" fmla="*/ 0 h 268"/>
                <a:gd name="T88" fmla="*/ 0 w 222"/>
                <a:gd name="T89" fmla="*/ 0 h 268"/>
                <a:gd name="T90" fmla="*/ 0 w 222"/>
                <a:gd name="T91" fmla="*/ 0 h 268"/>
                <a:gd name="T92" fmla="*/ 0 w 222"/>
                <a:gd name="T93" fmla="*/ 0 h 268"/>
                <a:gd name="T94" fmla="*/ 0 w 222"/>
                <a:gd name="T95" fmla="*/ 0 h 268"/>
                <a:gd name="T96" fmla="*/ 0 w 222"/>
                <a:gd name="T97" fmla="*/ 0 h 268"/>
                <a:gd name="T98" fmla="*/ 0 w 222"/>
                <a:gd name="T99" fmla="*/ 0 h 268"/>
                <a:gd name="T100" fmla="*/ 0 w 222"/>
                <a:gd name="T101" fmla="*/ 0 h 268"/>
                <a:gd name="T102" fmla="*/ 0 w 222"/>
                <a:gd name="T103" fmla="*/ 0 h 268"/>
                <a:gd name="T104" fmla="*/ 0 w 222"/>
                <a:gd name="T105" fmla="*/ 0 h 2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268"/>
                <a:gd name="T161" fmla="*/ 222 w 222"/>
                <a:gd name="T162" fmla="*/ 268 h 2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0" name="Freeform 223">
              <a:extLst>
                <a:ext uri="{FF2B5EF4-FFF2-40B4-BE49-F238E27FC236}">
                  <a16:creationId xmlns:a16="http://schemas.microsoft.com/office/drawing/2014/main" id="{C8EB72B1-A9AA-BC83-D44B-FD3C9983E1AA}"/>
                </a:ext>
              </a:extLst>
            </p:cNvPr>
            <p:cNvSpPr>
              <a:spLocks noChangeAspect="1"/>
            </p:cNvSpPr>
            <p:nvPr userDrawn="1"/>
          </p:nvSpPr>
          <p:spPr bwMode="gray">
            <a:xfrm>
              <a:off x="6302954" y="24"/>
              <a:ext cx="262652" cy="146325"/>
            </a:xfrm>
            <a:custGeom>
              <a:avLst/>
              <a:gdLst>
                <a:gd name="T0" fmla="*/ 0 w 496"/>
                <a:gd name="T1" fmla="*/ 0 h 260"/>
                <a:gd name="T2" fmla="*/ 0 w 496"/>
                <a:gd name="T3" fmla="*/ 0 h 260"/>
                <a:gd name="T4" fmla="*/ 0 w 496"/>
                <a:gd name="T5" fmla="*/ 0 h 260"/>
                <a:gd name="T6" fmla="*/ 0 w 496"/>
                <a:gd name="T7" fmla="*/ 0 h 260"/>
                <a:gd name="T8" fmla="*/ 0 w 496"/>
                <a:gd name="T9" fmla="*/ 0 h 260"/>
                <a:gd name="T10" fmla="*/ 0 w 496"/>
                <a:gd name="T11" fmla="*/ 0 h 260"/>
                <a:gd name="T12" fmla="*/ 0 w 496"/>
                <a:gd name="T13" fmla="*/ 0 h 260"/>
                <a:gd name="T14" fmla="*/ 0 w 496"/>
                <a:gd name="T15" fmla="*/ 0 h 260"/>
                <a:gd name="T16" fmla="*/ 0 w 496"/>
                <a:gd name="T17" fmla="*/ 0 h 260"/>
                <a:gd name="T18" fmla="*/ 0 w 496"/>
                <a:gd name="T19" fmla="*/ 0 h 260"/>
                <a:gd name="T20" fmla="*/ 0 w 496"/>
                <a:gd name="T21" fmla="*/ 0 h 260"/>
                <a:gd name="T22" fmla="*/ 0 w 496"/>
                <a:gd name="T23" fmla="*/ 0 h 260"/>
                <a:gd name="T24" fmla="*/ 0 w 496"/>
                <a:gd name="T25" fmla="*/ 0 h 260"/>
                <a:gd name="T26" fmla="*/ 0 w 496"/>
                <a:gd name="T27" fmla="*/ 0 h 260"/>
                <a:gd name="T28" fmla="*/ 0 w 496"/>
                <a:gd name="T29" fmla="*/ 0 h 260"/>
                <a:gd name="T30" fmla="*/ 0 w 496"/>
                <a:gd name="T31" fmla="*/ 0 h 260"/>
                <a:gd name="T32" fmla="*/ 0 w 496"/>
                <a:gd name="T33" fmla="*/ 0 h 260"/>
                <a:gd name="T34" fmla="*/ 0 w 496"/>
                <a:gd name="T35" fmla="*/ 0 h 260"/>
                <a:gd name="T36" fmla="*/ 0 w 496"/>
                <a:gd name="T37" fmla="*/ 0 h 260"/>
                <a:gd name="T38" fmla="*/ 0 w 496"/>
                <a:gd name="T39" fmla="*/ 0 h 260"/>
                <a:gd name="T40" fmla="*/ 0 w 496"/>
                <a:gd name="T41" fmla="*/ 0 h 260"/>
                <a:gd name="T42" fmla="*/ 0 w 496"/>
                <a:gd name="T43" fmla="*/ 0 h 260"/>
                <a:gd name="T44" fmla="*/ 0 w 496"/>
                <a:gd name="T45" fmla="*/ 0 h 260"/>
                <a:gd name="T46" fmla="*/ 0 w 496"/>
                <a:gd name="T47" fmla="*/ 0 h 260"/>
                <a:gd name="T48" fmla="*/ 0 w 496"/>
                <a:gd name="T49" fmla="*/ 0 h 260"/>
                <a:gd name="T50" fmla="*/ 0 w 496"/>
                <a:gd name="T51" fmla="*/ 0 h 260"/>
                <a:gd name="T52" fmla="*/ 0 w 496"/>
                <a:gd name="T53" fmla="*/ 0 h 260"/>
                <a:gd name="T54" fmla="*/ 0 w 496"/>
                <a:gd name="T55" fmla="*/ 0 h 260"/>
                <a:gd name="T56" fmla="*/ 0 w 496"/>
                <a:gd name="T57" fmla="*/ 0 h 260"/>
                <a:gd name="T58" fmla="*/ 0 w 496"/>
                <a:gd name="T59" fmla="*/ 0 h 260"/>
                <a:gd name="T60" fmla="*/ 0 w 496"/>
                <a:gd name="T61" fmla="*/ 0 h 260"/>
                <a:gd name="T62" fmla="*/ 0 w 496"/>
                <a:gd name="T63" fmla="*/ 0 h 260"/>
                <a:gd name="T64" fmla="*/ 0 w 496"/>
                <a:gd name="T65" fmla="*/ 0 h 260"/>
                <a:gd name="T66" fmla="*/ 0 w 496"/>
                <a:gd name="T67" fmla="*/ 0 h 260"/>
                <a:gd name="T68" fmla="*/ 0 w 496"/>
                <a:gd name="T69" fmla="*/ 0 h 260"/>
                <a:gd name="T70" fmla="*/ 2147483647 w 496"/>
                <a:gd name="T71" fmla="*/ 0 h 260"/>
                <a:gd name="T72" fmla="*/ 2147483647 w 496"/>
                <a:gd name="T73" fmla="*/ 0 h 260"/>
                <a:gd name="T74" fmla="*/ 2147483647 w 496"/>
                <a:gd name="T75" fmla="*/ 0 h 260"/>
                <a:gd name="T76" fmla="*/ 2147483647 w 496"/>
                <a:gd name="T77" fmla="*/ 0 h 260"/>
                <a:gd name="T78" fmla="*/ 2147483647 w 496"/>
                <a:gd name="T79" fmla="*/ 0 h 260"/>
                <a:gd name="T80" fmla="*/ 2147483647 w 496"/>
                <a:gd name="T81" fmla="*/ 0 h 260"/>
                <a:gd name="T82" fmla="*/ 2147483647 w 496"/>
                <a:gd name="T83" fmla="*/ 0 h 260"/>
                <a:gd name="T84" fmla="*/ 2147483647 w 496"/>
                <a:gd name="T85" fmla="*/ 0 h 260"/>
                <a:gd name="T86" fmla="*/ 2147483647 w 496"/>
                <a:gd name="T87" fmla="*/ 0 h 260"/>
                <a:gd name="T88" fmla="*/ 2147483647 w 496"/>
                <a:gd name="T89" fmla="*/ 0 h 260"/>
                <a:gd name="T90" fmla="*/ 2147483647 w 496"/>
                <a:gd name="T91" fmla="*/ 0 h 260"/>
                <a:gd name="T92" fmla="*/ 2147483647 w 496"/>
                <a:gd name="T93" fmla="*/ 0 h 260"/>
                <a:gd name="T94" fmla="*/ 2147483647 w 496"/>
                <a:gd name="T95" fmla="*/ 0 h 260"/>
                <a:gd name="T96" fmla="*/ 2147483647 w 496"/>
                <a:gd name="T97" fmla="*/ 0 h 260"/>
                <a:gd name="T98" fmla="*/ 0 w 496"/>
                <a:gd name="T99" fmla="*/ 0 h 260"/>
                <a:gd name="T100" fmla="*/ 0 w 496"/>
                <a:gd name="T101" fmla="*/ 0 h 260"/>
                <a:gd name="T102" fmla="*/ 0 w 496"/>
                <a:gd name="T103" fmla="*/ 0 h 260"/>
                <a:gd name="T104" fmla="*/ 0 w 496"/>
                <a:gd name="T105" fmla="*/ 0 h 2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6"/>
                <a:gd name="T160" fmla="*/ 0 h 260"/>
                <a:gd name="T161" fmla="*/ 496 w 496"/>
                <a:gd name="T162" fmla="*/ 260 h 26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6" y="0"/>
                  </a:lnTo>
                  <a:lnTo>
                    <a:pt x="35" y="0"/>
                  </a:lnTo>
                  <a:lnTo>
                    <a:pt x="31" y="6"/>
                  </a:lnTo>
                  <a:lnTo>
                    <a:pt x="32" y="1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1" name="Freeform 224">
              <a:extLst>
                <a:ext uri="{FF2B5EF4-FFF2-40B4-BE49-F238E27FC236}">
                  <a16:creationId xmlns:a16="http://schemas.microsoft.com/office/drawing/2014/main" id="{7B371079-35B6-4793-E913-799BD098AAE7}"/>
                </a:ext>
              </a:extLst>
            </p:cNvPr>
            <p:cNvSpPr>
              <a:spLocks noChangeAspect="1"/>
            </p:cNvSpPr>
            <p:nvPr userDrawn="1"/>
          </p:nvSpPr>
          <p:spPr bwMode="gray">
            <a:xfrm>
              <a:off x="4483789" y="2002846"/>
              <a:ext cx="10446" cy="9145"/>
            </a:xfrm>
            <a:custGeom>
              <a:avLst/>
              <a:gdLst>
                <a:gd name="T0" fmla="*/ 0 w 19"/>
                <a:gd name="T1" fmla="*/ 0 h 22"/>
                <a:gd name="T2" fmla="*/ 0 w 19"/>
                <a:gd name="T3" fmla="*/ 0 h 22"/>
                <a:gd name="T4" fmla="*/ 0 w 19"/>
                <a:gd name="T5" fmla="*/ 0 h 22"/>
                <a:gd name="T6" fmla="*/ 0 w 19"/>
                <a:gd name="T7" fmla="*/ 0 h 22"/>
                <a:gd name="T8" fmla="*/ 0 w 19"/>
                <a:gd name="T9" fmla="*/ 0 h 22"/>
                <a:gd name="T10" fmla="*/ 0 w 19"/>
                <a:gd name="T11" fmla="*/ 0 h 22"/>
                <a:gd name="T12" fmla="*/ 0 w 19"/>
                <a:gd name="T13" fmla="*/ 0 h 22"/>
                <a:gd name="T14" fmla="*/ 0 w 19"/>
                <a:gd name="T15" fmla="*/ 0 h 22"/>
                <a:gd name="T16" fmla="*/ 0 w 19"/>
                <a:gd name="T17" fmla="*/ 0 h 22"/>
                <a:gd name="T18" fmla="*/ 0 w 19"/>
                <a:gd name="T19" fmla="*/ 0 h 22"/>
                <a:gd name="T20" fmla="*/ 0 w 19"/>
                <a:gd name="T21" fmla="*/ 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22"/>
                <a:gd name="T35" fmla="*/ 19 w 19"/>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2" name="Freeform 227">
              <a:extLst>
                <a:ext uri="{FF2B5EF4-FFF2-40B4-BE49-F238E27FC236}">
                  <a16:creationId xmlns:a16="http://schemas.microsoft.com/office/drawing/2014/main" id="{158FEDD7-C490-C2B5-C0A8-04AA0B7A4175}"/>
                </a:ext>
              </a:extLst>
            </p:cNvPr>
            <p:cNvSpPr>
              <a:spLocks noChangeAspect="1"/>
            </p:cNvSpPr>
            <p:nvPr userDrawn="1"/>
          </p:nvSpPr>
          <p:spPr bwMode="gray">
            <a:xfrm>
              <a:off x="4485281" y="1993701"/>
              <a:ext cx="23877" cy="9145"/>
            </a:xfrm>
            <a:custGeom>
              <a:avLst/>
              <a:gdLst>
                <a:gd name="T0" fmla="*/ 0 w 44"/>
                <a:gd name="T1" fmla="*/ 0 h 15"/>
                <a:gd name="T2" fmla="*/ 0 w 44"/>
                <a:gd name="T3" fmla="*/ 0 h 15"/>
                <a:gd name="T4" fmla="*/ 0 w 44"/>
                <a:gd name="T5" fmla="*/ 0 h 15"/>
                <a:gd name="T6" fmla="*/ 0 w 44"/>
                <a:gd name="T7" fmla="*/ 0 h 15"/>
                <a:gd name="T8" fmla="*/ 0 w 44"/>
                <a:gd name="T9" fmla="*/ 0 h 15"/>
                <a:gd name="T10" fmla="*/ 0 w 44"/>
                <a:gd name="T11" fmla="*/ 0 h 15"/>
                <a:gd name="T12" fmla="*/ 0 w 44"/>
                <a:gd name="T13" fmla="*/ 0 h 15"/>
                <a:gd name="T14" fmla="*/ 0 w 44"/>
                <a:gd name="T15" fmla="*/ 0 h 15"/>
                <a:gd name="T16" fmla="*/ 0 w 44"/>
                <a:gd name="T17" fmla="*/ 0 h 15"/>
                <a:gd name="T18" fmla="*/ 0 w 44"/>
                <a:gd name="T19" fmla="*/ 0 h 15"/>
                <a:gd name="T20" fmla="*/ 0 w 44"/>
                <a:gd name="T21" fmla="*/ 0 h 15"/>
                <a:gd name="T22" fmla="*/ 0 w 44"/>
                <a:gd name="T23" fmla="*/ 0 h 15"/>
                <a:gd name="T24" fmla="*/ 0 w 44"/>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
                <a:gd name="T40" fmla="*/ 0 h 15"/>
                <a:gd name="T41" fmla="*/ 44 w 44"/>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3" name="Freeform 230">
              <a:extLst>
                <a:ext uri="{FF2B5EF4-FFF2-40B4-BE49-F238E27FC236}">
                  <a16:creationId xmlns:a16="http://schemas.microsoft.com/office/drawing/2014/main" id="{CA5CE919-3781-5635-EF54-91C30F5A8A79}"/>
                </a:ext>
              </a:extLst>
            </p:cNvPr>
            <p:cNvSpPr>
              <a:spLocks noChangeAspect="1"/>
            </p:cNvSpPr>
            <p:nvPr userDrawn="1"/>
          </p:nvSpPr>
          <p:spPr bwMode="gray">
            <a:xfrm>
              <a:off x="3754034" y="414612"/>
              <a:ext cx="88049" cy="35057"/>
            </a:xfrm>
            <a:custGeom>
              <a:avLst/>
              <a:gdLst>
                <a:gd name="T0" fmla="*/ 0 w 167"/>
                <a:gd name="T1" fmla="*/ 0 h 61"/>
                <a:gd name="T2" fmla="*/ 0 w 167"/>
                <a:gd name="T3" fmla="*/ 0 h 61"/>
                <a:gd name="T4" fmla="*/ 0 w 167"/>
                <a:gd name="T5" fmla="*/ 0 h 61"/>
                <a:gd name="T6" fmla="*/ 0 w 167"/>
                <a:gd name="T7" fmla="*/ 0 h 61"/>
                <a:gd name="T8" fmla="*/ 2147483647 w 167"/>
                <a:gd name="T9" fmla="*/ 0 h 61"/>
                <a:gd name="T10" fmla="*/ 2147483647 w 167"/>
                <a:gd name="T11" fmla="*/ 0 h 61"/>
                <a:gd name="T12" fmla="*/ 2147483647 w 167"/>
                <a:gd name="T13" fmla="*/ 0 h 61"/>
                <a:gd name="T14" fmla="*/ 2147483647 w 167"/>
                <a:gd name="T15" fmla="*/ 0 h 61"/>
                <a:gd name="T16" fmla="*/ 2147483647 w 167"/>
                <a:gd name="T17" fmla="*/ 0 h 61"/>
                <a:gd name="T18" fmla="*/ 2147483647 w 167"/>
                <a:gd name="T19" fmla="*/ 0 h 61"/>
                <a:gd name="T20" fmla="*/ 2147483647 w 167"/>
                <a:gd name="T21" fmla="*/ 0 h 61"/>
                <a:gd name="T22" fmla="*/ 2147483647 w 167"/>
                <a:gd name="T23" fmla="*/ 0 h 61"/>
                <a:gd name="T24" fmla="*/ 2147483647 w 167"/>
                <a:gd name="T25" fmla="*/ 0 h 61"/>
                <a:gd name="T26" fmla="*/ 0 w 167"/>
                <a:gd name="T27" fmla="*/ 0 h 61"/>
                <a:gd name="T28" fmla="*/ 0 w 167"/>
                <a:gd name="T29" fmla="*/ 0 h 61"/>
                <a:gd name="T30" fmla="*/ 0 w 167"/>
                <a:gd name="T31" fmla="*/ 0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7"/>
                <a:gd name="T49" fmla="*/ 0 h 61"/>
                <a:gd name="T50" fmla="*/ 167 w 167"/>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4" name="Freeform 232">
              <a:extLst>
                <a:ext uri="{FF2B5EF4-FFF2-40B4-BE49-F238E27FC236}">
                  <a16:creationId xmlns:a16="http://schemas.microsoft.com/office/drawing/2014/main" id="{90973DD5-2569-0B21-5220-2FB8E346E9AA}"/>
                </a:ext>
              </a:extLst>
            </p:cNvPr>
            <p:cNvSpPr>
              <a:spLocks noChangeAspect="1"/>
            </p:cNvSpPr>
            <p:nvPr userDrawn="1"/>
          </p:nvSpPr>
          <p:spPr bwMode="gray">
            <a:xfrm>
              <a:off x="3619723" y="6238647"/>
              <a:ext cx="61186" cy="76211"/>
            </a:xfrm>
            <a:custGeom>
              <a:avLst/>
              <a:gdLst>
                <a:gd name="T0" fmla="*/ 0 w 115"/>
                <a:gd name="T1" fmla="*/ 0 h 134"/>
                <a:gd name="T2" fmla="*/ 0 w 115"/>
                <a:gd name="T3" fmla="*/ 0 h 134"/>
                <a:gd name="T4" fmla="*/ 0 w 115"/>
                <a:gd name="T5" fmla="*/ 0 h 134"/>
                <a:gd name="T6" fmla="*/ 0 w 115"/>
                <a:gd name="T7" fmla="*/ 0 h 134"/>
                <a:gd name="T8" fmla="*/ 0 w 115"/>
                <a:gd name="T9" fmla="*/ 0 h 134"/>
                <a:gd name="T10" fmla="*/ 0 w 115"/>
                <a:gd name="T11" fmla="*/ 0 h 134"/>
                <a:gd name="T12" fmla="*/ 0 w 115"/>
                <a:gd name="T13" fmla="*/ 0 h 134"/>
                <a:gd name="T14" fmla="*/ 0 w 115"/>
                <a:gd name="T15" fmla="*/ 0 h 134"/>
                <a:gd name="T16" fmla="*/ 0 w 115"/>
                <a:gd name="T17" fmla="*/ 0 h 134"/>
                <a:gd name="T18" fmla="*/ 0 w 115"/>
                <a:gd name="T19" fmla="*/ 0 h 134"/>
                <a:gd name="T20" fmla="*/ 0 w 115"/>
                <a:gd name="T21" fmla="*/ 0 h 134"/>
                <a:gd name="T22" fmla="*/ 0 w 115"/>
                <a:gd name="T23" fmla="*/ 0 h 134"/>
                <a:gd name="T24" fmla="*/ 0 w 115"/>
                <a:gd name="T25" fmla="*/ 0 h 134"/>
                <a:gd name="T26" fmla="*/ 0 w 115"/>
                <a:gd name="T27" fmla="*/ 0 h 134"/>
                <a:gd name="T28" fmla="*/ 0 w 115"/>
                <a:gd name="T29" fmla="*/ 0 h 134"/>
                <a:gd name="T30" fmla="*/ 0 w 115"/>
                <a:gd name="T31" fmla="*/ 0 h 134"/>
                <a:gd name="T32" fmla="*/ 0 w 115"/>
                <a:gd name="T33" fmla="*/ 0 h 134"/>
                <a:gd name="T34" fmla="*/ 0 w 115"/>
                <a:gd name="T35" fmla="*/ 0 h 134"/>
                <a:gd name="T36" fmla="*/ 0 w 115"/>
                <a:gd name="T37" fmla="*/ 0 h 134"/>
                <a:gd name="T38" fmla="*/ 0 w 115"/>
                <a:gd name="T39" fmla="*/ 0 h 134"/>
                <a:gd name="T40" fmla="*/ 0 w 115"/>
                <a:gd name="T41" fmla="*/ 0 h 134"/>
                <a:gd name="T42" fmla="*/ 0 w 115"/>
                <a:gd name="T43" fmla="*/ 0 h 134"/>
                <a:gd name="T44" fmla="*/ 0 w 115"/>
                <a:gd name="T45" fmla="*/ 0 h 134"/>
                <a:gd name="T46" fmla="*/ 0 w 115"/>
                <a:gd name="T47" fmla="*/ 0 h 134"/>
                <a:gd name="T48" fmla="*/ 0 w 115"/>
                <a:gd name="T49" fmla="*/ 0 h 134"/>
                <a:gd name="T50" fmla="*/ 0 w 115"/>
                <a:gd name="T51" fmla="*/ 0 h 134"/>
                <a:gd name="T52" fmla="*/ 0 w 115"/>
                <a:gd name="T53" fmla="*/ 0 h 134"/>
                <a:gd name="T54" fmla="*/ 0 w 115"/>
                <a:gd name="T55" fmla="*/ 0 h 134"/>
                <a:gd name="T56" fmla="*/ 0 w 115"/>
                <a:gd name="T57" fmla="*/ 0 h 134"/>
                <a:gd name="T58" fmla="*/ 0 w 115"/>
                <a:gd name="T59" fmla="*/ 0 h 134"/>
                <a:gd name="T60" fmla="*/ 0 w 115"/>
                <a:gd name="T61" fmla="*/ 0 h 134"/>
                <a:gd name="T62" fmla="*/ 0 w 115"/>
                <a:gd name="T63" fmla="*/ 0 h 134"/>
                <a:gd name="T64" fmla="*/ 0 w 115"/>
                <a:gd name="T65" fmla="*/ 0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5"/>
                <a:gd name="T100" fmla="*/ 0 h 134"/>
                <a:gd name="T101" fmla="*/ 115 w 115"/>
                <a:gd name="T102" fmla="*/ 134 h 13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5" name="Freeform 233">
              <a:extLst>
                <a:ext uri="{FF2B5EF4-FFF2-40B4-BE49-F238E27FC236}">
                  <a16:creationId xmlns:a16="http://schemas.microsoft.com/office/drawing/2014/main" id="{98C44210-F8DF-3FDF-8707-CAE3930DDA35}"/>
                </a:ext>
              </a:extLst>
            </p:cNvPr>
            <p:cNvSpPr>
              <a:spLocks noChangeAspect="1"/>
            </p:cNvSpPr>
            <p:nvPr userDrawn="1"/>
          </p:nvSpPr>
          <p:spPr bwMode="gray">
            <a:xfrm>
              <a:off x="3625692" y="3959942"/>
              <a:ext cx="395471" cy="359715"/>
            </a:xfrm>
            <a:custGeom>
              <a:avLst/>
              <a:gdLst>
                <a:gd name="T0" fmla="*/ 0 w 743"/>
                <a:gd name="T1" fmla="*/ 0 h 631"/>
                <a:gd name="T2" fmla="*/ 0 w 743"/>
                <a:gd name="T3" fmla="*/ 0 h 631"/>
                <a:gd name="T4" fmla="*/ 0 w 743"/>
                <a:gd name="T5" fmla="*/ 0 h 631"/>
                <a:gd name="T6" fmla="*/ 0 w 743"/>
                <a:gd name="T7" fmla="*/ 0 h 631"/>
                <a:gd name="T8" fmla="*/ 0 w 743"/>
                <a:gd name="T9" fmla="*/ 0 h 631"/>
                <a:gd name="T10" fmla="*/ 0 w 743"/>
                <a:gd name="T11" fmla="*/ 0 h 631"/>
                <a:gd name="T12" fmla="*/ 0 w 743"/>
                <a:gd name="T13" fmla="*/ 0 h 631"/>
                <a:gd name="T14" fmla="*/ 0 w 743"/>
                <a:gd name="T15" fmla="*/ 0 h 631"/>
                <a:gd name="T16" fmla="*/ 0 w 743"/>
                <a:gd name="T17" fmla="*/ 0 h 631"/>
                <a:gd name="T18" fmla="*/ 0 w 743"/>
                <a:gd name="T19" fmla="*/ 0 h 631"/>
                <a:gd name="T20" fmla="*/ 0 w 743"/>
                <a:gd name="T21" fmla="*/ 0 h 631"/>
                <a:gd name="T22" fmla="*/ 2147483647 w 743"/>
                <a:gd name="T23" fmla="*/ 0 h 631"/>
                <a:gd name="T24" fmla="*/ 2147483647 w 743"/>
                <a:gd name="T25" fmla="*/ 0 h 631"/>
                <a:gd name="T26" fmla="*/ 2147483647 w 743"/>
                <a:gd name="T27" fmla="*/ 0 h 631"/>
                <a:gd name="T28" fmla="*/ 2147483647 w 743"/>
                <a:gd name="T29" fmla="*/ 0 h 631"/>
                <a:gd name="T30" fmla="*/ 2147483647 w 743"/>
                <a:gd name="T31" fmla="*/ 0 h 631"/>
                <a:gd name="T32" fmla="*/ 2147483647 w 743"/>
                <a:gd name="T33" fmla="*/ 0 h 631"/>
                <a:gd name="T34" fmla="*/ 2147483647 w 743"/>
                <a:gd name="T35" fmla="*/ 0 h 631"/>
                <a:gd name="T36" fmla="*/ 2147483647 w 743"/>
                <a:gd name="T37" fmla="*/ 0 h 631"/>
                <a:gd name="T38" fmla="*/ 2147483647 w 743"/>
                <a:gd name="T39" fmla="*/ 0 h 631"/>
                <a:gd name="T40" fmla="*/ 2147483647 w 743"/>
                <a:gd name="T41" fmla="*/ 0 h 631"/>
                <a:gd name="T42" fmla="*/ 2147483647 w 743"/>
                <a:gd name="T43" fmla="*/ 0 h 631"/>
                <a:gd name="T44" fmla="*/ 2147483647 w 743"/>
                <a:gd name="T45" fmla="*/ 0 h 631"/>
                <a:gd name="T46" fmla="*/ 2147483647 w 743"/>
                <a:gd name="T47" fmla="*/ 0 h 631"/>
                <a:gd name="T48" fmla="*/ 2147483647 w 743"/>
                <a:gd name="T49" fmla="*/ 0 h 631"/>
                <a:gd name="T50" fmla="*/ 2147483647 w 743"/>
                <a:gd name="T51" fmla="*/ 2147483647 h 631"/>
                <a:gd name="T52" fmla="*/ 2147483647 w 743"/>
                <a:gd name="T53" fmla="*/ 2147483647 h 631"/>
                <a:gd name="T54" fmla="*/ 2147483647 w 743"/>
                <a:gd name="T55" fmla="*/ 2147483647 h 631"/>
                <a:gd name="T56" fmla="*/ 2147483647 w 743"/>
                <a:gd name="T57" fmla="*/ 2147483647 h 631"/>
                <a:gd name="T58" fmla="*/ 2147483647 w 743"/>
                <a:gd name="T59" fmla="*/ 2147483647 h 631"/>
                <a:gd name="T60" fmla="*/ 2147483647 w 743"/>
                <a:gd name="T61" fmla="*/ 2147483647 h 631"/>
                <a:gd name="T62" fmla="*/ 2147483647 w 743"/>
                <a:gd name="T63" fmla="*/ 2147483647 h 631"/>
                <a:gd name="T64" fmla="*/ 2147483647 w 743"/>
                <a:gd name="T65" fmla="*/ 2147483647 h 631"/>
                <a:gd name="T66" fmla="*/ 2147483647 w 743"/>
                <a:gd name="T67" fmla="*/ 2147483647 h 631"/>
                <a:gd name="T68" fmla="*/ 2147483647 w 743"/>
                <a:gd name="T69" fmla="*/ 2147483647 h 631"/>
                <a:gd name="T70" fmla="*/ 2147483647 w 743"/>
                <a:gd name="T71" fmla="*/ 2147483647 h 631"/>
                <a:gd name="T72" fmla="*/ 2147483647 w 743"/>
                <a:gd name="T73" fmla="*/ 2147483647 h 631"/>
                <a:gd name="T74" fmla="*/ 2147483647 w 743"/>
                <a:gd name="T75" fmla="*/ 2147483647 h 631"/>
                <a:gd name="T76" fmla="*/ 2147483647 w 743"/>
                <a:gd name="T77" fmla="*/ 2147483647 h 631"/>
                <a:gd name="T78" fmla="*/ 2147483647 w 743"/>
                <a:gd name="T79" fmla="*/ 2147483647 h 631"/>
                <a:gd name="T80" fmla="*/ 2147483647 w 743"/>
                <a:gd name="T81" fmla="*/ 2147483647 h 631"/>
                <a:gd name="T82" fmla="*/ 2147483647 w 743"/>
                <a:gd name="T83" fmla="*/ 2147483647 h 631"/>
                <a:gd name="T84" fmla="*/ 0 w 743"/>
                <a:gd name="T85" fmla="*/ 2147483647 h 631"/>
                <a:gd name="T86" fmla="*/ 2147483647 w 743"/>
                <a:gd name="T87" fmla="*/ 2147483647 h 631"/>
                <a:gd name="T88" fmla="*/ 2147483647 w 743"/>
                <a:gd name="T89" fmla="*/ 2147483647 h 631"/>
                <a:gd name="T90" fmla="*/ 0 w 743"/>
                <a:gd name="T91" fmla="*/ 2147483647 h 631"/>
                <a:gd name="T92" fmla="*/ 0 w 743"/>
                <a:gd name="T93" fmla="*/ 2147483647 h 631"/>
                <a:gd name="T94" fmla="*/ 0 w 743"/>
                <a:gd name="T95" fmla="*/ 0 h 631"/>
                <a:gd name="T96" fmla="*/ 0 w 743"/>
                <a:gd name="T97" fmla="*/ 0 h 631"/>
                <a:gd name="T98" fmla="*/ 0 w 743"/>
                <a:gd name="T99" fmla="*/ 0 h 631"/>
                <a:gd name="T100" fmla="*/ 0 w 743"/>
                <a:gd name="T101" fmla="*/ 0 h 631"/>
                <a:gd name="T102" fmla="*/ 0 w 743"/>
                <a:gd name="T103" fmla="*/ 0 h 631"/>
                <a:gd name="T104" fmla="*/ 0 w 743"/>
                <a:gd name="T105" fmla="*/ 0 h 63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43"/>
                <a:gd name="T160" fmla="*/ 0 h 631"/>
                <a:gd name="T161" fmla="*/ 743 w 743"/>
                <a:gd name="T162" fmla="*/ 631 h 63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6" name="Freeform 234">
              <a:extLst>
                <a:ext uri="{FF2B5EF4-FFF2-40B4-BE49-F238E27FC236}">
                  <a16:creationId xmlns:a16="http://schemas.microsoft.com/office/drawing/2014/main" id="{643C8900-AE5E-E3ED-AA0E-0D57EA69F301}"/>
                </a:ext>
              </a:extLst>
            </p:cNvPr>
            <p:cNvSpPr>
              <a:spLocks noChangeAspect="1"/>
            </p:cNvSpPr>
            <p:nvPr userDrawn="1"/>
          </p:nvSpPr>
          <p:spPr bwMode="gray">
            <a:xfrm>
              <a:off x="3406319" y="4301366"/>
              <a:ext cx="164158" cy="195100"/>
            </a:xfrm>
            <a:custGeom>
              <a:avLst/>
              <a:gdLst>
                <a:gd name="T0" fmla="*/ 0 w 311"/>
                <a:gd name="T1" fmla="*/ 0 h 345"/>
                <a:gd name="T2" fmla="*/ 0 w 311"/>
                <a:gd name="T3" fmla="*/ 0 h 345"/>
                <a:gd name="T4" fmla="*/ 0 w 311"/>
                <a:gd name="T5" fmla="*/ 0 h 345"/>
                <a:gd name="T6" fmla="*/ 0 w 311"/>
                <a:gd name="T7" fmla="*/ 0 h 345"/>
                <a:gd name="T8" fmla="*/ 0 w 311"/>
                <a:gd name="T9" fmla="*/ 0 h 345"/>
                <a:gd name="T10" fmla="*/ 0 w 311"/>
                <a:gd name="T11" fmla="*/ 0 h 345"/>
                <a:gd name="T12" fmla="*/ 0 w 311"/>
                <a:gd name="T13" fmla="*/ 0 h 345"/>
                <a:gd name="T14" fmla="*/ 0 w 311"/>
                <a:gd name="T15" fmla="*/ 0 h 345"/>
                <a:gd name="T16" fmla="*/ 0 w 311"/>
                <a:gd name="T17" fmla="*/ 0 h 345"/>
                <a:gd name="T18" fmla="*/ 0 w 311"/>
                <a:gd name="T19" fmla="*/ 0 h 345"/>
                <a:gd name="T20" fmla="*/ 0 w 311"/>
                <a:gd name="T21" fmla="*/ 0 h 345"/>
                <a:gd name="T22" fmla="*/ 0 w 311"/>
                <a:gd name="T23" fmla="*/ 0 h 345"/>
                <a:gd name="T24" fmla="*/ 0 w 311"/>
                <a:gd name="T25" fmla="*/ 0 h 345"/>
                <a:gd name="T26" fmla="*/ 0 w 311"/>
                <a:gd name="T27" fmla="*/ 0 h 345"/>
                <a:gd name="T28" fmla="*/ 0 w 311"/>
                <a:gd name="T29" fmla="*/ 0 h 345"/>
                <a:gd name="T30" fmla="*/ 0 w 311"/>
                <a:gd name="T31" fmla="*/ 0 h 345"/>
                <a:gd name="T32" fmla="*/ 0 w 311"/>
                <a:gd name="T33" fmla="*/ 0 h 345"/>
                <a:gd name="T34" fmla="*/ 0 w 311"/>
                <a:gd name="T35" fmla="*/ 0 h 345"/>
                <a:gd name="T36" fmla="*/ 0 w 311"/>
                <a:gd name="T37" fmla="*/ 0 h 345"/>
                <a:gd name="T38" fmla="*/ 0 w 311"/>
                <a:gd name="T39" fmla="*/ 0 h 345"/>
                <a:gd name="T40" fmla="*/ 0 w 311"/>
                <a:gd name="T41" fmla="*/ 0 h 345"/>
                <a:gd name="T42" fmla="*/ 0 w 311"/>
                <a:gd name="T43" fmla="*/ 0 h 345"/>
                <a:gd name="T44" fmla="*/ 0 w 311"/>
                <a:gd name="T45" fmla="*/ 0 h 345"/>
                <a:gd name="T46" fmla="*/ 0 w 311"/>
                <a:gd name="T47" fmla="*/ 0 h 345"/>
                <a:gd name="T48" fmla="*/ 0 w 311"/>
                <a:gd name="T49" fmla="*/ 0 h 345"/>
                <a:gd name="T50" fmla="*/ 0 w 311"/>
                <a:gd name="T51" fmla="*/ 0 h 345"/>
                <a:gd name="T52" fmla="*/ 0 w 311"/>
                <a:gd name="T53" fmla="*/ 2147483647 h 345"/>
                <a:gd name="T54" fmla="*/ 0 w 311"/>
                <a:gd name="T55" fmla="*/ 2147483647 h 345"/>
                <a:gd name="T56" fmla="*/ 0 w 311"/>
                <a:gd name="T57" fmla="*/ 2147483647 h 345"/>
                <a:gd name="T58" fmla="*/ 0 w 311"/>
                <a:gd name="T59" fmla="*/ 2147483647 h 345"/>
                <a:gd name="T60" fmla="*/ 0 w 311"/>
                <a:gd name="T61" fmla="*/ 2147483647 h 345"/>
                <a:gd name="T62" fmla="*/ 0 w 311"/>
                <a:gd name="T63" fmla="*/ 2147483647 h 345"/>
                <a:gd name="T64" fmla="*/ 0 w 311"/>
                <a:gd name="T65" fmla="*/ 2147483647 h 345"/>
                <a:gd name="T66" fmla="*/ 0 w 311"/>
                <a:gd name="T67" fmla="*/ 2147483647 h 345"/>
                <a:gd name="T68" fmla="*/ 0 w 311"/>
                <a:gd name="T69" fmla="*/ 2147483647 h 345"/>
                <a:gd name="T70" fmla="*/ 0 w 311"/>
                <a:gd name="T71" fmla="*/ 0 h 345"/>
                <a:gd name="T72" fmla="*/ 0 w 311"/>
                <a:gd name="T73" fmla="*/ 0 h 345"/>
                <a:gd name="T74" fmla="*/ 0 w 311"/>
                <a:gd name="T75" fmla="*/ 0 h 345"/>
                <a:gd name="T76" fmla="*/ 0 w 311"/>
                <a:gd name="T77" fmla="*/ 0 h 345"/>
                <a:gd name="T78" fmla="*/ 0 w 311"/>
                <a:gd name="T79" fmla="*/ 0 h 345"/>
                <a:gd name="T80" fmla="*/ 0 w 311"/>
                <a:gd name="T81" fmla="*/ 0 h 345"/>
                <a:gd name="T82" fmla="*/ 0 w 311"/>
                <a:gd name="T83" fmla="*/ 0 h 345"/>
                <a:gd name="T84" fmla="*/ 0 w 311"/>
                <a:gd name="T85" fmla="*/ 0 h 345"/>
                <a:gd name="T86" fmla="*/ 0 w 311"/>
                <a:gd name="T87" fmla="*/ 0 h 345"/>
                <a:gd name="T88" fmla="*/ 0 w 311"/>
                <a:gd name="T89" fmla="*/ 0 h 345"/>
                <a:gd name="T90" fmla="*/ 0 w 311"/>
                <a:gd name="T91" fmla="*/ 0 h 345"/>
                <a:gd name="T92" fmla="*/ 0 w 311"/>
                <a:gd name="T93" fmla="*/ 0 h 345"/>
                <a:gd name="T94" fmla="*/ 0 w 311"/>
                <a:gd name="T95" fmla="*/ 0 h 345"/>
                <a:gd name="T96" fmla="*/ 0 w 311"/>
                <a:gd name="T97" fmla="*/ 0 h 345"/>
                <a:gd name="T98" fmla="*/ 0 w 311"/>
                <a:gd name="T99" fmla="*/ 0 h 345"/>
                <a:gd name="T100" fmla="*/ 0 w 311"/>
                <a:gd name="T101" fmla="*/ 0 h 345"/>
                <a:gd name="T102" fmla="*/ 0 w 311"/>
                <a:gd name="T103" fmla="*/ 0 h 345"/>
                <a:gd name="T104" fmla="*/ 0 w 311"/>
                <a:gd name="T105" fmla="*/ 0 h 345"/>
                <a:gd name="T106" fmla="*/ 0 w 311"/>
                <a:gd name="T107" fmla="*/ 0 h 345"/>
                <a:gd name="T108" fmla="*/ 0 w 311"/>
                <a:gd name="T109" fmla="*/ 0 h 345"/>
                <a:gd name="T110" fmla="*/ 0 w 311"/>
                <a:gd name="T111" fmla="*/ 0 h 345"/>
                <a:gd name="T112" fmla="*/ 0 w 311"/>
                <a:gd name="T113" fmla="*/ 0 h 345"/>
                <a:gd name="T114" fmla="*/ 0 w 311"/>
                <a:gd name="T115" fmla="*/ 0 h 345"/>
                <a:gd name="T116" fmla="*/ 0 w 311"/>
                <a:gd name="T117" fmla="*/ 0 h 345"/>
                <a:gd name="T118" fmla="*/ 0 w 311"/>
                <a:gd name="T119" fmla="*/ 0 h 345"/>
                <a:gd name="T120" fmla="*/ 0 w 311"/>
                <a:gd name="T121" fmla="*/ 0 h 3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1"/>
                <a:gd name="T184" fmla="*/ 0 h 345"/>
                <a:gd name="T185" fmla="*/ 311 w 311"/>
                <a:gd name="T186" fmla="*/ 345 h 34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7" name="Freeform 235">
              <a:extLst>
                <a:ext uri="{FF2B5EF4-FFF2-40B4-BE49-F238E27FC236}">
                  <a16:creationId xmlns:a16="http://schemas.microsoft.com/office/drawing/2014/main" id="{DA3D6D33-DD56-BCDC-4EC8-027CAAA94B64}"/>
                </a:ext>
              </a:extLst>
            </p:cNvPr>
            <p:cNvSpPr>
              <a:spLocks noChangeAspect="1"/>
            </p:cNvSpPr>
            <p:nvPr userDrawn="1"/>
          </p:nvSpPr>
          <p:spPr bwMode="gray">
            <a:xfrm>
              <a:off x="3936099" y="4950683"/>
              <a:ext cx="244744" cy="277407"/>
            </a:xfrm>
            <a:custGeom>
              <a:avLst/>
              <a:gdLst>
                <a:gd name="T0" fmla="*/ 0 w 459"/>
                <a:gd name="T1" fmla="*/ 0 h 491"/>
                <a:gd name="T2" fmla="*/ 0 w 459"/>
                <a:gd name="T3" fmla="*/ 0 h 491"/>
                <a:gd name="T4" fmla="*/ 0 w 459"/>
                <a:gd name="T5" fmla="*/ 0 h 491"/>
                <a:gd name="T6" fmla="*/ 0 w 459"/>
                <a:gd name="T7" fmla="*/ 0 h 491"/>
                <a:gd name="T8" fmla="*/ 0 w 459"/>
                <a:gd name="T9" fmla="*/ 0 h 491"/>
                <a:gd name="T10" fmla="*/ 0 w 459"/>
                <a:gd name="T11" fmla="*/ 0 h 491"/>
                <a:gd name="T12" fmla="*/ 0 w 459"/>
                <a:gd name="T13" fmla="*/ 0 h 491"/>
                <a:gd name="T14" fmla="*/ 0 w 459"/>
                <a:gd name="T15" fmla="*/ 0 h 491"/>
                <a:gd name="T16" fmla="*/ 0 w 459"/>
                <a:gd name="T17" fmla="*/ 0 h 491"/>
                <a:gd name="T18" fmla="*/ 0 w 459"/>
                <a:gd name="T19" fmla="*/ 0 h 491"/>
                <a:gd name="T20" fmla="*/ 0 w 459"/>
                <a:gd name="T21" fmla="*/ 0 h 491"/>
                <a:gd name="T22" fmla="*/ 0 w 459"/>
                <a:gd name="T23" fmla="*/ 0 h 491"/>
                <a:gd name="T24" fmla="*/ 0 w 459"/>
                <a:gd name="T25" fmla="*/ 0 h 491"/>
                <a:gd name="T26" fmla="*/ 0 w 459"/>
                <a:gd name="T27" fmla="*/ 0 h 491"/>
                <a:gd name="T28" fmla="*/ 0 w 459"/>
                <a:gd name="T29" fmla="*/ 0 h 491"/>
                <a:gd name="T30" fmla="*/ 0 w 459"/>
                <a:gd name="T31" fmla="*/ 0 h 491"/>
                <a:gd name="T32" fmla="*/ 0 w 459"/>
                <a:gd name="T33" fmla="*/ 0 h 491"/>
                <a:gd name="T34" fmla="*/ 2147483647 w 459"/>
                <a:gd name="T35" fmla="*/ 0 h 491"/>
                <a:gd name="T36" fmla="*/ 2147483647 w 459"/>
                <a:gd name="T37" fmla="*/ 0 h 491"/>
                <a:gd name="T38" fmla="*/ 2147483647 w 459"/>
                <a:gd name="T39" fmla="*/ 0 h 491"/>
                <a:gd name="T40" fmla="*/ 2147483647 w 459"/>
                <a:gd name="T41" fmla="*/ 0 h 491"/>
                <a:gd name="T42" fmla="*/ 2147483647 w 459"/>
                <a:gd name="T43" fmla="*/ 0 h 491"/>
                <a:gd name="T44" fmla="*/ 2147483647 w 459"/>
                <a:gd name="T45" fmla="*/ 0 h 491"/>
                <a:gd name="T46" fmla="*/ 2147483647 w 459"/>
                <a:gd name="T47" fmla="*/ 0 h 491"/>
                <a:gd name="T48" fmla="*/ 2147483647 w 459"/>
                <a:gd name="T49" fmla="*/ 0 h 491"/>
                <a:gd name="T50" fmla="*/ 2147483647 w 459"/>
                <a:gd name="T51" fmla="*/ 0 h 491"/>
                <a:gd name="T52" fmla="*/ 2147483647 w 459"/>
                <a:gd name="T53" fmla="*/ 0 h 491"/>
                <a:gd name="T54" fmla="*/ 2147483647 w 459"/>
                <a:gd name="T55" fmla="*/ 0 h 491"/>
                <a:gd name="T56" fmla="*/ 2147483647 w 459"/>
                <a:gd name="T57" fmla="*/ 2147483647 h 491"/>
                <a:gd name="T58" fmla="*/ 2147483647 w 459"/>
                <a:gd name="T59" fmla="*/ 2147483647 h 491"/>
                <a:gd name="T60" fmla="*/ 2147483647 w 459"/>
                <a:gd name="T61" fmla="*/ 2147483647 h 491"/>
                <a:gd name="T62" fmla="*/ 2147483647 w 459"/>
                <a:gd name="T63" fmla="*/ 2147483647 h 491"/>
                <a:gd name="T64" fmla="*/ 2147483647 w 459"/>
                <a:gd name="T65" fmla="*/ 2147483647 h 491"/>
                <a:gd name="T66" fmla="*/ 2147483647 w 459"/>
                <a:gd name="T67" fmla="*/ 2147483647 h 491"/>
                <a:gd name="T68" fmla="*/ 2147483647 w 459"/>
                <a:gd name="T69" fmla="*/ 2147483647 h 491"/>
                <a:gd name="T70" fmla="*/ 2147483647 w 459"/>
                <a:gd name="T71" fmla="*/ 2147483647 h 491"/>
                <a:gd name="T72" fmla="*/ 2147483647 w 459"/>
                <a:gd name="T73" fmla="*/ 2147483647 h 491"/>
                <a:gd name="T74" fmla="*/ 2147483647 w 459"/>
                <a:gd name="T75" fmla="*/ 2147483647 h 491"/>
                <a:gd name="T76" fmla="*/ 2147483647 w 459"/>
                <a:gd name="T77" fmla="*/ 2147483647 h 491"/>
                <a:gd name="T78" fmla="*/ 2147483647 w 459"/>
                <a:gd name="T79" fmla="*/ 2147483647 h 491"/>
                <a:gd name="T80" fmla="*/ 0 w 459"/>
                <a:gd name="T81" fmla="*/ 2147483647 h 491"/>
                <a:gd name="T82" fmla="*/ 0 w 459"/>
                <a:gd name="T83" fmla="*/ 2147483647 h 491"/>
                <a:gd name="T84" fmla="*/ 0 w 459"/>
                <a:gd name="T85" fmla="*/ 2147483647 h 491"/>
                <a:gd name="T86" fmla="*/ 0 w 459"/>
                <a:gd name="T87" fmla="*/ 2147483647 h 491"/>
                <a:gd name="T88" fmla="*/ 0 w 459"/>
                <a:gd name="T89" fmla="*/ 2147483647 h 491"/>
                <a:gd name="T90" fmla="*/ 0 w 459"/>
                <a:gd name="T91" fmla="*/ 2147483647 h 491"/>
                <a:gd name="T92" fmla="*/ 0 w 459"/>
                <a:gd name="T93" fmla="*/ 2147483647 h 491"/>
                <a:gd name="T94" fmla="*/ 0 w 459"/>
                <a:gd name="T95" fmla="*/ 2147483647 h 491"/>
                <a:gd name="T96" fmla="*/ 0 w 459"/>
                <a:gd name="T97" fmla="*/ 2147483647 h 491"/>
                <a:gd name="T98" fmla="*/ 0 w 459"/>
                <a:gd name="T99" fmla="*/ 2147483647 h 491"/>
                <a:gd name="T100" fmla="*/ 0 w 459"/>
                <a:gd name="T101" fmla="*/ 0 h 491"/>
                <a:gd name="T102" fmla="*/ 0 w 459"/>
                <a:gd name="T103" fmla="*/ 0 h 491"/>
                <a:gd name="T104" fmla="*/ 0 w 459"/>
                <a:gd name="T105" fmla="*/ 0 h 491"/>
                <a:gd name="T106" fmla="*/ 0 w 459"/>
                <a:gd name="T107" fmla="*/ 0 h 491"/>
                <a:gd name="T108" fmla="*/ 0 w 459"/>
                <a:gd name="T109" fmla="*/ 0 h 491"/>
                <a:gd name="T110" fmla="*/ 0 w 459"/>
                <a:gd name="T111" fmla="*/ 0 h 491"/>
                <a:gd name="T112" fmla="*/ 0 w 459"/>
                <a:gd name="T113" fmla="*/ 0 h 491"/>
                <a:gd name="T114" fmla="*/ 0 w 459"/>
                <a:gd name="T115" fmla="*/ 0 h 491"/>
                <a:gd name="T116" fmla="*/ 0 w 459"/>
                <a:gd name="T117" fmla="*/ 0 h 49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9"/>
                <a:gd name="T178" fmla="*/ 0 h 491"/>
                <a:gd name="T179" fmla="*/ 459 w 459"/>
                <a:gd name="T180" fmla="*/ 491 h 49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8" name="Freeform 238">
              <a:extLst>
                <a:ext uri="{FF2B5EF4-FFF2-40B4-BE49-F238E27FC236}">
                  <a16:creationId xmlns:a16="http://schemas.microsoft.com/office/drawing/2014/main" id="{8E10FE9C-E676-A769-7031-B9BA8D2F4DE1}"/>
                </a:ext>
              </a:extLst>
            </p:cNvPr>
            <p:cNvSpPr>
              <a:spLocks noChangeAspect="1"/>
            </p:cNvSpPr>
            <p:nvPr userDrawn="1"/>
          </p:nvSpPr>
          <p:spPr bwMode="gray">
            <a:xfrm>
              <a:off x="4297246" y="4327278"/>
              <a:ext cx="16416" cy="13718"/>
            </a:xfrm>
            <a:custGeom>
              <a:avLst/>
              <a:gdLst>
                <a:gd name="T0" fmla="*/ 0 w 32"/>
                <a:gd name="T1" fmla="*/ 0 h 27"/>
                <a:gd name="T2" fmla="*/ 0 w 32"/>
                <a:gd name="T3" fmla="*/ 0 h 27"/>
                <a:gd name="T4" fmla="*/ 0 w 32"/>
                <a:gd name="T5" fmla="*/ 0 h 27"/>
                <a:gd name="T6" fmla="*/ 0 w 32"/>
                <a:gd name="T7" fmla="*/ 0 h 27"/>
                <a:gd name="T8" fmla="*/ 0 w 32"/>
                <a:gd name="T9" fmla="*/ 0 h 27"/>
                <a:gd name="T10" fmla="*/ 0 w 32"/>
                <a:gd name="T11" fmla="*/ 0 h 27"/>
                <a:gd name="T12" fmla="*/ 0 w 32"/>
                <a:gd name="T13" fmla="*/ 0 h 27"/>
                <a:gd name="T14" fmla="*/ 0 w 32"/>
                <a:gd name="T15" fmla="*/ 0 h 27"/>
                <a:gd name="T16" fmla="*/ 0 w 32"/>
                <a:gd name="T17" fmla="*/ 0 h 27"/>
                <a:gd name="T18" fmla="*/ 0 w 32"/>
                <a:gd name="T19" fmla="*/ 0 h 27"/>
                <a:gd name="T20" fmla="*/ 0 w 32"/>
                <a:gd name="T21" fmla="*/ 0 h 27"/>
                <a:gd name="T22" fmla="*/ 0 w 32"/>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27"/>
                <a:gd name="T38" fmla="*/ 32 w 32"/>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19" name="Freeform 239">
              <a:extLst>
                <a:ext uri="{FF2B5EF4-FFF2-40B4-BE49-F238E27FC236}">
                  <a16:creationId xmlns:a16="http://schemas.microsoft.com/office/drawing/2014/main" id="{719BF3CA-EACB-9BDF-C275-6ABEC9E85330}"/>
                </a:ext>
              </a:extLst>
            </p:cNvPr>
            <p:cNvSpPr>
              <a:spLocks noChangeAspect="1"/>
            </p:cNvSpPr>
            <p:nvPr userDrawn="1"/>
          </p:nvSpPr>
          <p:spPr bwMode="gray">
            <a:xfrm>
              <a:off x="4316647" y="4340996"/>
              <a:ext cx="10446" cy="4572"/>
            </a:xfrm>
            <a:custGeom>
              <a:avLst/>
              <a:gdLst>
                <a:gd name="T0" fmla="*/ 0 w 18"/>
                <a:gd name="T1" fmla="*/ 0 h 12"/>
                <a:gd name="T2" fmla="*/ 0 w 18"/>
                <a:gd name="T3" fmla="*/ 0 h 12"/>
                <a:gd name="T4" fmla="*/ 0 w 18"/>
                <a:gd name="T5" fmla="*/ 0 h 12"/>
                <a:gd name="T6" fmla="*/ 0 w 18"/>
                <a:gd name="T7" fmla="*/ 0 h 12"/>
                <a:gd name="T8" fmla="*/ 0 w 18"/>
                <a:gd name="T9" fmla="*/ 0 h 12"/>
                <a:gd name="T10" fmla="*/ 0 w 18"/>
                <a:gd name="T11" fmla="*/ 0 h 12"/>
                <a:gd name="T12" fmla="*/ 0 w 18"/>
                <a:gd name="T13" fmla="*/ 0 h 12"/>
                <a:gd name="T14" fmla="*/ 0 w 18"/>
                <a:gd name="T15" fmla="*/ 0 h 12"/>
                <a:gd name="T16" fmla="*/ 0 w 18"/>
                <a:gd name="T17" fmla="*/ 0 h 12"/>
                <a:gd name="T18" fmla="*/ 0 w 18"/>
                <a:gd name="T19" fmla="*/ 0 h 12"/>
                <a:gd name="T20" fmla="*/ 0 w 18"/>
                <a:gd name="T21" fmla="*/ 0 h 12"/>
                <a:gd name="T22" fmla="*/ 0 w 18"/>
                <a:gd name="T23" fmla="*/ 0 h 12"/>
                <a:gd name="T24" fmla="*/ 0 w 18"/>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12"/>
                <a:gd name="T41" fmla="*/ 18 w 1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0" name="Freeform 240">
              <a:extLst>
                <a:ext uri="{FF2B5EF4-FFF2-40B4-BE49-F238E27FC236}">
                  <a16:creationId xmlns:a16="http://schemas.microsoft.com/office/drawing/2014/main" id="{D4D4EC1E-58D8-26B1-33D6-0F49FBD18699}"/>
                </a:ext>
              </a:extLst>
            </p:cNvPr>
            <p:cNvSpPr>
              <a:spLocks noChangeAspect="1"/>
            </p:cNvSpPr>
            <p:nvPr userDrawn="1"/>
          </p:nvSpPr>
          <p:spPr bwMode="gray">
            <a:xfrm>
              <a:off x="4292770" y="4345569"/>
              <a:ext cx="61186" cy="48775"/>
            </a:xfrm>
            <a:custGeom>
              <a:avLst/>
              <a:gdLst>
                <a:gd name="T0" fmla="*/ 0 w 116"/>
                <a:gd name="T1" fmla="*/ 0 h 87"/>
                <a:gd name="T2" fmla="*/ 0 w 116"/>
                <a:gd name="T3" fmla="*/ 0 h 87"/>
                <a:gd name="T4" fmla="*/ 0 w 116"/>
                <a:gd name="T5" fmla="*/ 0 h 87"/>
                <a:gd name="T6" fmla="*/ 0 w 116"/>
                <a:gd name="T7" fmla="*/ 0 h 87"/>
                <a:gd name="T8" fmla="*/ 0 w 116"/>
                <a:gd name="T9" fmla="*/ 0 h 87"/>
                <a:gd name="T10" fmla="*/ 0 w 116"/>
                <a:gd name="T11" fmla="*/ 0 h 87"/>
                <a:gd name="T12" fmla="*/ 0 w 116"/>
                <a:gd name="T13" fmla="*/ 0 h 87"/>
                <a:gd name="T14" fmla="*/ 0 w 116"/>
                <a:gd name="T15" fmla="*/ 0 h 87"/>
                <a:gd name="T16" fmla="*/ 0 w 116"/>
                <a:gd name="T17" fmla="*/ 0 h 87"/>
                <a:gd name="T18" fmla="*/ 0 w 116"/>
                <a:gd name="T19" fmla="*/ 0 h 87"/>
                <a:gd name="T20" fmla="*/ 0 w 116"/>
                <a:gd name="T21" fmla="*/ 0 h 87"/>
                <a:gd name="T22" fmla="*/ 0 w 116"/>
                <a:gd name="T23" fmla="*/ 0 h 87"/>
                <a:gd name="T24" fmla="*/ 0 w 116"/>
                <a:gd name="T25" fmla="*/ 0 h 87"/>
                <a:gd name="T26" fmla="*/ 0 w 116"/>
                <a:gd name="T27" fmla="*/ 0 h 87"/>
                <a:gd name="T28" fmla="*/ 0 w 116"/>
                <a:gd name="T29" fmla="*/ 0 h 87"/>
                <a:gd name="T30" fmla="*/ 0 w 116"/>
                <a:gd name="T31" fmla="*/ 0 h 87"/>
                <a:gd name="T32" fmla="*/ 0 w 116"/>
                <a:gd name="T33" fmla="*/ 0 h 87"/>
                <a:gd name="T34" fmla="*/ 0 w 116"/>
                <a:gd name="T35" fmla="*/ 0 h 87"/>
                <a:gd name="T36" fmla="*/ 0 w 116"/>
                <a:gd name="T37" fmla="*/ 0 h 87"/>
                <a:gd name="T38" fmla="*/ 0 w 116"/>
                <a:gd name="T39" fmla="*/ 0 h 87"/>
                <a:gd name="T40" fmla="*/ 0 w 116"/>
                <a:gd name="T41" fmla="*/ 0 h 87"/>
                <a:gd name="T42" fmla="*/ 0 w 116"/>
                <a:gd name="T43" fmla="*/ 0 h 87"/>
                <a:gd name="T44" fmla="*/ 0 w 116"/>
                <a:gd name="T45" fmla="*/ 0 h 87"/>
                <a:gd name="T46" fmla="*/ 0 w 116"/>
                <a:gd name="T47" fmla="*/ 0 h 87"/>
                <a:gd name="T48" fmla="*/ 0 w 116"/>
                <a:gd name="T49" fmla="*/ 0 h 87"/>
                <a:gd name="T50" fmla="*/ 0 w 116"/>
                <a:gd name="T51" fmla="*/ 0 h 87"/>
                <a:gd name="T52" fmla="*/ 0 w 116"/>
                <a:gd name="T53" fmla="*/ 0 h 87"/>
                <a:gd name="T54" fmla="*/ 0 w 116"/>
                <a:gd name="T55" fmla="*/ 0 h 87"/>
                <a:gd name="T56" fmla="*/ 0 w 116"/>
                <a:gd name="T57" fmla="*/ 0 h 87"/>
                <a:gd name="T58" fmla="*/ 0 w 116"/>
                <a:gd name="T59" fmla="*/ 0 h 87"/>
                <a:gd name="T60" fmla="*/ 0 w 116"/>
                <a:gd name="T61" fmla="*/ 0 h 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6"/>
                <a:gd name="T94" fmla="*/ 0 h 87"/>
                <a:gd name="T95" fmla="*/ 116 w 116"/>
                <a:gd name="T96" fmla="*/ 87 h 8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1" name="Freeform 241">
              <a:extLst>
                <a:ext uri="{FF2B5EF4-FFF2-40B4-BE49-F238E27FC236}">
                  <a16:creationId xmlns:a16="http://schemas.microsoft.com/office/drawing/2014/main" id="{81CCC1CE-8D26-4975-7531-ECAB50810601}"/>
                </a:ext>
              </a:extLst>
            </p:cNvPr>
            <p:cNvSpPr>
              <a:spLocks noChangeAspect="1"/>
            </p:cNvSpPr>
            <p:nvPr userDrawn="1"/>
          </p:nvSpPr>
          <p:spPr bwMode="gray">
            <a:xfrm>
              <a:off x="4274862" y="4340996"/>
              <a:ext cx="17908" cy="22863"/>
            </a:xfrm>
            <a:custGeom>
              <a:avLst/>
              <a:gdLst>
                <a:gd name="T0" fmla="*/ 0 w 31"/>
                <a:gd name="T1" fmla="*/ 0 h 38"/>
                <a:gd name="T2" fmla="*/ 0 w 31"/>
                <a:gd name="T3" fmla="*/ 0 h 38"/>
                <a:gd name="T4" fmla="*/ 0 w 31"/>
                <a:gd name="T5" fmla="*/ 0 h 38"/>
                <a:gd name="T6" fmla="*/ 0 w 31"/>
                <a:gd name="T7" fmla="*/ 0 h 38"/>
                <a:gd name="T8" fmla="*/ 0 w 31"/>
                <a:gd name="T9" fmla="*/ 0 h 38"/>
                <a:gd name="T10" fmla="*/ 0 w 31"/>
                <a:gd name="T11" fmla="*/ 0 h 38"/>
                <a:gd name="T12" fmla="*/ 0 w 31"/>
                <a:gd name="T13" fmla="*/ 0 h 38"/>
                <a:gd name="T14" fmla="*/ 0 w 31"/>
                <a:gd name="T15" fmla="*/ 0 h 38"/>
                <a:gd name="T16" fmla="*/ 0 w 31"/>
                <a:gd name="T17" fmla="*/ 0 h 38"/>
                <a:gd name="T18" fmla="*/ 0 w 31"/>
                <a:gd name="T19" fmla="*/ 0 h 38"/>
                <a:gd name="T20" fmla="*/ 0 w 31"/>
                <a:gd name="T21" fmla="*/ 0 h 38"/>
                <a:gd name="T22" fmla="*/ 0 w 31"/>
                <a:gd name="T23" fmla="*/ 0 h 38"/>
                <a:gd name="T24" fmla="*/ 0 w 31"/>
                <a:gd name="T25" fmla="*/ 0 h 38"/>
                <a:gd name="T26" fmla="*/ 0 w 31"/>
                <a:gd name="T27" fmla="*/ 0 h 38"/>
                <a:gd name="T28" fmla="*/ 0 w 31"/>
                <a:gd name="T29" fmla="*/ 0 h 38"/>
                <a:gd name="T30" fmla="*/ 0 w 31"/>
                <a:gd name="T31" fmla="*/ 0 h 38"/>
                <a:gd name="T32" fmla="*/ 0 w 31"/>
                <a:gd name="T33" fmla="*/ 0 h 38"/>
                <a:gd name="T34" fmla="*/ 0 w 31"/>
                <a:gd name="T35" fmla="*/ 0 h 38"/>
                <a:gd name="T36" fmla="*/ 0 w 31"/>
                <a:gd name="T37" fmla="*/ 0 h 38"/>
                <a:gd name="T38" fmla="*/ 0 w 31"/>
                <a:gd name="T39" fmla="*/ 0 h 38"/>
                <a:gd name="T40" fmla="*/ 0 w 31"/>
                <a:gd name="T41" fmla="*/ 0 h 38"/>
                <a:gd name="T42" fmla="*/ 0 w 31"/>
                <a:gd name="T43" fmla="*/ 0 h 38"/>
                <a:gd name="T44" fmla="*/ 0 w 31"/>
                <a:gd name="T45" fmla="*/ 0 h 38"/>
                <a:gd name="T46" fmla="*/ 0 w 31"/>
                <a:gd name="T47" fmla="*/ 0 h 3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38"/>
                <a:gd name="T74" fmla="*/ 31 w 31"/>
                <a:gd name="T75" fmla="*/ 38 h 3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2" name="Freeform 242">
              <a:extLst>
                <a:ext uri="{FF2B5EF4-FFF2-40B4-BE49-F238E27FC236}">
                  <a16:creationId xmlns:a16="http://schemas.microsoft.com/office/drawing/2014/main" id="{38C58208-75DB-A905-8874-8F4E3CCF526C}"/>
                </a:ext>
              </a:extLst>
            </p:cNvPr>
            <p:cNvSpPr>
              <a:spLocks noChangeAspect="1"/>
            </p:cNvSpPr>
            <p:nvPr userDrawn="1"/>
          </p:nvSpPr>
          <p:spPr bwMode="gray">
            <a:xfrm>
              <a:off x="4306200" y="4327278"/>
              <a:ext cx="2985" cy="1525"/>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w 6"/>
                <a:gd name="T13" fmla="*/ 0 h 7"/>
                <a:gd name="T14" fmla="*/ 0 w 6"/>
                <a:gd name="T15" fmla="*/ 0 h 7"/>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7"/>
                <a:gd name="T26" fmla="*/ 6 w 6"/>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7">
                  <a:moveTo>
                    <a:pt x="5" y="0"/>
                  </a:moveTo>
                  <a:lnTo>
                    <a:pt x="6" y="5"/>
                  </a:lnTo>
                  <a:lnTo>
                    <a:pt x="5" y="7"/>
                  </a:lnTo>
                  <a:lnTo>
                    <a:pt x="3" y="7"/>
                  </a:lnTo>
                  <a:lnTo>
                    <a:pt x="0" y="7"/>
                  </a:lnTo>
                  <a:lnTo>
                    <a:pt x="0" y="3"/>
                  </a:lnTo>
                  <a:lnTo>
                    <a:pt x="1" y="1"/>
                  </a:lnTo>
                  <a:lnTo>
                    <a:pt x="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3" name="Freeform 243">
              <a:extLst>
                <a:ext uri="{FF2B5EF4-FFF2-40B4-BE49-F238E27FC236}">
                  <a16:creationId xmlns:a16="http://schemas.microsoft.com/office/drawing/2014/main" id="{E339B67F-F4DA-8375-252D-7335AD8288D9}"/>
                </a:ext>
              </a:extLst>
            </p:cNvPr>
            <p:cNvSpPr>
              <a:spLocks noChangeAspect="1"/>
            </p:cNvSpPr>
            <p:nvPr userDrawn="1"/>
          </p:nvSpPr>
          <p:spPr bwMode="gray">
            <a:xfrm>
              <a:off x="4295754" y="4340996"/>
              <a:ext cx="5969" cy="3049"/>
            </a:xfrm>
            <a:custGeom>
              <a:avLst/>
              <a:gdLst>
                <a:gd name="T0" fmla="*/ 0 w 8"/>
                <a:gd name="T1" fmla="*/ 0 h 6"/>
                <a:gd name="T2" fmla="*/ 0 w 8"/>
                <a:gd name="T3" fmla="*/ 0 h 6"/>
                <a:gd name="T4" fmla="*/ 0 w 8"/>
                <a:gd name="T5" fmla="*/ 0 h 6"/>
                <a:gd name="T6" fmla="*/ 0 w 8"/>
                <a:gd name="T7" fmla="*/ 0 h 6"/>
                <a:gd name="T8" fmla="*/ 0 w 8"/>
                <a:gd name="T9" fmla="*/ 0 h 6"/>
                <a:gd name="T10" fmla="*/ 0 w 8"/>
                <a:gd name="T11" fmla="*/ 0 h 6"/>
                <a:gd name="T12" fmla="*/ 0 60000 65536"/>
                <a:gd name="T13" fmla="*/ 0 60000 65536"/>
                <a:gd name="T14" fmla="*/ 0 60000 65536"/>
                <a:gd name="T15" fmla="*/ 0 60000 65536"/>
                <a:gd name="T16" fmla="*/ 0 60000 65536"/>
                <a:gd name="T17" fmla="*/ 0 60000 65536"/>
                <a:gd name="T18" fmla="*/ 0 w 8"/>
                <a:gd name="T19" fmla="*/ 0 h 6"/>
                <a:gd name="T20" fmla="*/ 8 w 8"/>
                <a:gd name="T21" fmla="*/ 6 h 6"/>
              </a:gdLst>
              <a:ahLst/>
              <a:cxnLst>
                <a:cxn ang="T12">
                  <a:pos x="T0" y="T1"/>
                </a:cxn>
                <a:cxn ang="T13">
                  <a:pos x="T2" y="T3"/>
                </a:cxn>
                <a:cxn ang="T14">
                  <a:pos x="T4" y="T5"/>
                </a:cxn>
                <a:cxn ang="T15">
                  <a:pos x="T6" y="T7"/>
                </a:cxn>
                <a:cxn ang="T16">
                  <a:pos x="T8" y="T9"/>
                </a:cxn>
                <a:cxn ang="T17">
                  <a:pos x="T10" y="T11"/>
                </a:cxn>
              </a:cxnLst>
              <a:rect l="T18" t="T19" r="T20" b="T21"/>
              <a:pathLst>
                <a:path w="8" h="6">
                  <a:moveTo>
                    <a:pt x="7" y="0"/>
                  </a:moveTo>
                  <a:lnTo>
                    <a:pt x="8" y="2"/>
                  </a:lnTo>
                  <a:lnTo>
                    <a:pt x="8" y="6"/>
                  </a:lnTo>
                  <a:lnTo>
                    <a:pt x="3" y="6"/>
                  </a:lnTo>
                  <a:lnTo>
                    <a:pt x="0" y="1"/>
                  </a:lnTo>
                  <a:lnTo>
                    <a:pt x="7"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4" name="Freeform 244">
              <a:extLst>
                <a:ext uri="{FF2B5EF4-FFF2-40B4-BE49-F238E27FC236}">
                  <a16:creationId xmlns:a16="http://schemas.microsoft.com/office/drawing/2014/main" id="{FB3282E1-FAF9-0E77-D54B-BCB47F43A91E}"/>
                </a:ext>
              </a:extLst>
            </p:cNvPr>
            <p:cNvSpPr>
              <a:spLocks noChangeAspect="1"/>
            </p:cNvSpPr>
            <p:nvPr userDrawn="1"/>
          </p:nvSpPr>
          <p:spPr bwMode="gray">
            <a:xfrm>
              <a:off x="3610769" y="4179430"/>
              <a:ext cx="1138657" cy="1274246"/>
            </a:xfrm>
            <a:custGeom>
              <a:avLst/>
              <a:gdLst>
                <a:gd name="T0" fmla="*/ 2147483647 w 2135"/>
                <a:gd name="T1" fmla="*/ 0 h 2241"/>
                <a:gd name="T2" fmla="*/ 2147483647 w 2135"/>
                <a:gd name="T3" fmla="*/ 0 h 2241"/>
                <a:gd name="T4" fmla="*/ 2147483647 w 2135"/>
                <a:gd name="T5" fmla="*/ 0 h 2241"/>
                <a:gd name="T6" fmla="*/ 2147483647 w 2135"/>
                <a:gd name="T7" fmla="*/ 0 h 2241"/>
                <a:gd name="T8" fmla="*/ 2147483647 w 2135"/>
                <a:gd name="T9" fmla="*/ 0 h 2241"/>
                <a:gd name="T10" fmla="*/ 2147483647 w 2135"/>
                <a:gd name="T11" fmla="*/ 0 h 2241"/>
                <a:gd name="T12" fmla="*/ 0 w 2135"/>
                <a:gd name="T13" fmla="*/ 0 h 2241"/>
                <a:gd name="T14" fmla="*/ 0 w 2135"/>
                <a:gd name="T15" fmla="*/ 0 h 2241"/>
                <a:gd name="T16" fmla="*/ 0 w 2135"/>
                <a:gd name="T17" fmla="*/ 2147483647 h 2241"/>
                <a:gd name="T18" fmla="*/ 0 w 2135"/>
                <a:gd name="T19" fmla="*/ 2147483647 h 2241"/>
                <a:gd name="T20" fmla="*/ 0 w 2135"/>
                <a:gd name="T21" fmla="*/ 2147483647 h 2241"/>
                <a:gd name="T22" fmla="*/ 0 w 2135"/>
                <a:gd name="T23" fmla="*/ 2147483647 h 2241"/>
                <a:gd name="T24" fmla="*/ 0 w 2135"/>
                <a:gd name="T25" fmla="*/ 2147483647 h 2241"/>
                <a:gd name="T26" fmla="*/ 0 w 2135"/>
                <a:gd name="T27" fmla="*/ 2147483647 h 2241"/>
                <a:gd name="T28" fmla="*/ 2147483647 w 2135"/>
                <a:gd name="T29" fmla="*/ 2147483647 h 2241"/>
                <a:gd name="T30" fmla="*/ 2147483647 w 2135"/>
                <a:gd name="T31" fmla="*/ 2147483647 h 2241"/>
                <a:gd name="T32" fmla="*/ 2147483647 w 2135"/>
                <a:gd name="T33" fmla="*/ 2147483647 h 2241"/>
                <a:gd name="T34" fmla="*/ 2147483647 w 2135"/>
                <a:gd name="T35" fmla="*/ 2147483647 h 2241"/>
                <a:gd name="T36" fmla="*/ 2147483647 w 2135"/>
                <a:gd name="T37" fmla="*/ 2147483647 h 2241"/>
                <a:gd name="T38" fmla="*/ 2147483647 w 2135"/>
                <a:gd name="T39" fmla="*/ 2147483647 h 2241"/>
                <a:gd name="T40" fmla="*/ 2147483647 w 2135"/>
                <a:gd name="T41" fmla="*/ 2147483647 h 2241"/>
                <a:gd name="T42" fmla="*/ 2147483647 w 2135"/>
                <a:gd name="T43" fmla="*/ 2147483647 h 2241"/>
                <a:gd name="T44" fmla="*/ 2147483647 w 2135"/>
                <a:gd name="T45" fmla="*/ 2147483647 h 2241"/>
                <a:gd name="T46" fmla="*/ 2147483647 w 2135"/>
                <a:gd name="T47" fmla="*/ 2147483647 h 2241"/>
                <a:gd name="T48" fmla="*/ 2147483647 w 2135"/>
                <a:gd name="T49" fmla="*/ 2147483647 h 2241"/>
                <a:gd name="T50" fmla="*/ 2147483647 w 2135"/>
                <a:gd name="T51" fmla="*/ 2147483647 h 2241"/>
                <a:gd name="T52" fmla="*/ 2147483647 w 2135"/>
                <a:gd name="T53" fmla="*/ 2147483647 h 2241"/>
                <a:gd name="T54" fmla="*/ 2147483647 w 2135"/>
                <a:gd name="T55" fmla="*/ 2147483647 h 2241"/>
                <a:gd name="T56" fmla="*/ 2147483647 w 2135"/>
                <a:gd name="T57" fmla="*/ 2147483647 h 2241"/>
                <a:gd name="T58" fmla="*/ 2147483647 w 2135"/>
                <a:gd name="T59" fmla="*/ 2147483647 h 2241"/>
                <a:gd name="T60" fmla="*/ 2147483647 w 2135"/>
                <a:gd name="T61" fmla="*/ 2147483647 h 2241"/>
                <a:gd name="T62" fmla="*/ 2147483647 w 2135"/>
                <a:gd name="T63" fmla="*/ 2147483647 h 2241"/>
                <a:gd name="T64" fmla="*/ 2147483647 w 2135"/>
                <a:gd name="T65" fmla="*/ 2147483647 h 2241"/>
                <a:gd name="T66" fmla="*/ 2147483647 w 2135"/>
                <a:gd name="T67" fmla="*/ 2147483647 h 2241"/>
                <a:gd name="T68" fmla="*/ 2147483647 w 2135"/>
                <a:gd name="T69" fmla="*/ 2147483647 h 2241"/>
                <a:gd name="T70" fmla="*/ 2147483647 w 2135"/>
                <a:gd name="T71" fmla="*/ 2147483647 h 2241"/>
                <a:gd name="T72" fmla="*/ 2147483647 w 2135"/>
                <a:gd name="T73" fmla="*/ 2147483647 h 2241"/>
                <a:gd name="T74" fmla="*/ 2147483647 w 2135"/>
                <a:gd name="T75" fmla="*/ 2147483647 h 2241"/>
                <a:gd name="T76" fmla="*/ 2147483647 w 2135"/>
                <a:gd name="T77" fmla="*/ 2147483647 h 2241"/>
                <a:gd name="T78" fmla="*/ 2147483647 w 2135"/>
                <a:gd name="T79" fmla="*/ 2147483647 h 2241"/>
                <a:gd name="T80" fmla="*/ 2147483647 w 2135"/>
                <a:gd name="T81" fmla="*/ 2147483647 h 2241"/>
                <a:gd name="T82" fmla="*/ 2147483647 w 2135"/>
                <a:gd name="T83" fmla="*/ 2147483647 h 2241"/>
                <a:gd name="T84" fmla="*/ 2147483647 w 2135"/>
                <a:gd name="T85" fmla="*/ 2147483647 h 2241"/>
                <a:gd name="T86" fmla="*/ 2147483647 w 2135"/>
                <a:gd name="T87" fmla="*/ 2147483647 h 2241"/>
                <a:gd name="T88" fmla="*/ 2147483647 w 2135"/>
                <a:gd name="T89" fmla="*/ 2147483647 h 2241"/>
                <a:gd name="T90" fmla="*/ 2147483647 w 2135"/>
                <a:gd name="T91" fmla="*/ 2147483647 h 2241"/>
                <a:gd name="T92" fmla="*/ 2147483647 w 2135"/>
                <a:gd name="T93" fmla="*/ 2147483647 h 2241"/>
                <a:gd name="T94" fmla="*/ 2147483647 w 2135"/>
                <a:gd name="T95" fmla="*/ 2147483647 h 2241"/>
                <a:gd name="T96" fmla="*/ 2147483647 w 2135"/>
                <a:gd name="T97" fmla="*/ 2147483647 h 2241"/>
                <a:gd name="T98" fmla="*/ 2147483647 w 2135"/>
                <a:gd name="T99" fmla="*/ 2147483647 h 2241"/>
                <a:gd name="T100" fmla="*/ 2147483647 w 2135"/>
                <a:gd name="T101" fmla="*/ 0 h 2241"/>
                <a:gd name="T102" fmla="*/ 2147483647 w 2135"/>
                <a:gd name="T103" fmla="*/ 0 h 2241"/>
                <a:gd name="T104" fmla="*/ 2147483647 w 2135"/>
                <a:gd name="T105" fmla="*/ 0 h 2241"/>
                <a:gd name="T106" fmla="*/ 2147483647 w 2135"/>
                <a:gd name="T107" fmla="*/ 0 h 2241"/>
                <a:gd name="T108" fmla="*/ 2147483647 w 2135"/>
                <a:gd name="T109" fmla="*/ 0 h 2241"/>
                <a:gd name="T110" fmla="*/ 2147483647 w 2135"/>
                <a:gd name="T111" fmla="*/ 0 h 2241"/>
                <a:gd name="T112" fmla="*/ 2147483647 w 2135"/>
                <a:gd name="T113" fmla="*/ 0 h 2241"/>
                <a:gd name="T114" fmla="*/ 2147483647 w 2135"/>
                <a:gd name="T115" fmla="*/ 0 h 2241"/>
                <a:gd name="T116" fmla="*/ 2147483647 w 2135"/>
                <a:gd name="T117" fmla="*/ 0 h 224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35"/>
                <a:gd name="T178" fmla="*/ 0 h 2241"/>
                <a:gd name="T179" fmla="*/ 2135 w 2135"/>
                <a:gd name="T180" fmla="*/ 2241 h 224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5" name="Freeform 245">
              <a:extLst>
                <a:ext uri="{FF2B5EF4-FFF2-40B4-BE49-F238E27FC236}">
                  <a16:creationId xmlns:a16="http://schemas.microsoft.com/office/drawing/2014/main" id="{1BA1DD89-3056-9C17-F1AC-D071F6A73EF6}"/>
                </a:ext>
              </a:extLst>
            </p:cNvPr>
            <p:cNvSpPr>
              <a:spLocks noChangeAspect="1"/>
            </p:cNvSpPr>
            <p:nvPr userDrawn="1"/>
          </p:nvSpPr>
          <p:spPr bwMode="gray">
            <a:xfrm>
              <a:off x="3461535" y="3950796"/>
              <a:ext cx="352193" cy="516710"/>
            </a:xfrm>
            <a:custGeom>
              <a:avLst/>
              <a:gdLst>
                <a:gd name="T0" fmla="*/ 2147483647 w 663"/>
                <a:gd name="T1" fmla="*/ 0 h 909"/>
                <a:gd name="T2" fmla="*/ 2147483647 w 663"/>
                <a:gd name="T3" fmla="*/ 0 h 909"/>
                <a:gd name="T4" fmla="*/ 2147483647 w 663"/>
                <a:gd name="T5" fmla="*/ 0 h 909"/>
                <a:gd name="T6" fmla="*/ 0 w 663"/>
                <a:gd name="T7" fmla="*/ 0 h 909"/>
                <a:gd name="T8" fmla="*/ 0 w 663"/>
                <a:gd name="T9" fmla="*/ 0 h 909"/>
                <a:gd name="T10" fmla="*/ 0 w 663"/>
                <a:gd name="T11" fmla="*/ 0 h 909"/>
                <a:gd name="T12" fmla="*/ 0 w 663"/>
                <a:gd name="T13" fmla="*/ 0 h 909"/>
                <a:gd name="T14" fmla="*/ 0 w 663"/>
                <a:gd name="T15" fmla="*/ 0 h 909"/>
                <a:gd name="T16" fmla="*/ 0 w 663"/>
                <a:gd name="T17" fmla="*/ 0 h 909"/>
                <a:gd name="T18" fmla="*/ 0 w 663"/>
                <a:gd name="T19" fmla="*/ 0 h 909"/>
                <a:gd name="T20" fmla="*/ 0 w 663"/>
                <a:gd name="T21" fmla="*/ 0 h 909"/>
                <a:gd name="T22" fmla="*/ 0 w 663"/>
                <a:gd name="T23" fmla="*/ 0 h 909"/>
                <a:gd name="T24" fmla="*/ 0 w 663"/>
                <a:gd name="T25" fmla="*/ 2147483647 h 909"/>
                <a:gd name="T26" fmla="*/ 0 w 663"/>
                <a:gd name="T27" fmla="*/ 2147483647 h 909"/>
                <a:gd name="T28" fmla="*/ 0 w 663"/>
                <a:gd name="T29" fmla="*/ 2147483647 h 909"/>
                <a:gd name="T30" fmla="*/ 0 w 663"/>
                <a:gd name="T31" fmla="*/ 2147483647 h 909"/>
                <a:gd name="T32" fmla="*/ 0 w 663"/>
                <a:gd name="T33" fmla="*/ 2147483647 h 909"/>
                <a:gd name="T34" fmla="*/ 0 w 663"/>
                <a:gd name="T35" fmla="*/ 2147483647 h 909"/>
                <a:gd name="T36" fmla="*/ 0 w 663"/>
                <a:gd name="T37" fmla="*/ 2147483647 h 909"/>
                <a:gd name="T38" fmla="*/ 0 w 663"/>
                <a:gd name="T39" fmla="*/ 2147483647 h 909"/>
                <a:gd name="T40" fmla="*/ 0 w 663"/>
                <a:gd name="T41" fmla="*/ 2147483647 h 909"/>
                <a:gd name="T42" fmla="*/ 0 w 663"/>
                <a:gd name="T43" fmla="*/ 2147483647 h 909"/>
                <a:gd name="T44" fmla="*/ 0 w 663"/>
                <a:gd name="T45" fmla="*/ 2147483647 h 909"/>
                <a:gd name="T46" fmla="*/ 0 w 663"/>
                <a:gd name="T47" fmla="*/ 2147483647 h 909"/>
                <a:gd name="T48" fmla="*/ 0 w 663"/>
                <a:gd name="T49" fmla="*/ 2147483647 h 909"/>
                <a:gd name="T50" fmla="*/ 0 w 663"/>
                <a:gd name="T51" fmla="*/ 2147483647 h 909"/>
                <a:gd name="T52" fmla="*/ 2147483647 w 663"/>
                <a:gd name="T53" fmla="*/ 2147483647 h 909"/>
                <a:gd name="T54" fmla="*/ 2147483647 w 663"/>
                <a:gd name="T55" fmla="*/ 2147483647 h 909"/>
                <a:gd name="T56" fmla="*/ 2147483647 w 663"/>
                <a:gd name="T57" fmla="*/ 2147483647 h 909"/>
                <a:gd name="T58" fmla="*/ 2147483647 w 663"/>
                <a:gd name="T59" fmla="*/ 2147483647 h 909"/>
                <a:gd name="T60" fmla="*/ 2147483647 w 663"/>
                <a:gd name="T61" fmla="*/ 2147483647 h 909"/>
                <a:gd name="T62" fmla="*/ 2147483647 w 663"/>
                <a:gd name="T63" fmla="*/ 2147483647 h 909"/>
                <a:gd name="T64" fmla="*/ 2147483647 w 663"/>
                <a:gd name="T65" fmla="*/ 2147483647 h 909"/>
                <a:gd name="T66" fmla="*/ 2147483647 w 663"/>
                <a:gd name="T67" fmla="*/ 2147483647 h 909"/>
                <a:gd name="T68" fmla="*/ 2147483647 w 663"/>
                <a:gd name="T69" fmla="*/ 2147483647 h 909"/>
                <a:gd name="T70" fmla="*/ 2147483647 w 663"/>
                <a:gd name="T71" fmla="*/ 2147483647 h 909"/>
                <a:gd name="T72" fmla="*/ 2147483647 w 663"/>
                <a:gd name="T73" fmla="*/ 2147483647 h 909"/>
                <a:gd name="T74" fmla="*/ 2147483647 w 663"/>
                <a:gd name="T75" fmla="*/ 2147483647 h 909"/>
                <a:gd name="T76" fmla="*/ 2147483647 w 663"/>
                <a:gd name="T77" fmla="*/ 2147483647 h 909"/>
                <a:gd name="T78" fmla="*/ 2147483647 w 663"/>
                <a:gd name="T79" fmla="*/ 2147483647 h 909"/>
                <a:gd name="T80" fmla="*/ 2147483647 w 663"/>
                <a:gd name="T81" fmla="*/ 2147483647 h 909"/>
                <a:gd name="T82" fmla="*/ 2147483647 w 663"/>
                <a:gd name="T83" fmla="*/ 2147483647 h 909"/>
                <a:gd name="T84" fmla="*/ 2147483647 w 663"/>
                <a:gd name="T85" fmla="*/ 2147483647 h 909"/>
                <a:gd name="T86" fmla="*/ 2147483647 w 663"/>
                <a:gd name="T87" fmla="*/ 2147483647 h 909"/>
                <a:gd name="T88" fmla="*/ 2147483647 w 663"/>
                <a:gd name="T89" fmla="*/ 2147483647 h 909"/>
                <a:gd name="T90" fmla="*/ 2147483647 w 663"/>
                <a:gd name="T91" fmla="*/ 2147483647 h 909"/>
                <a:gd name="T92" fmla="*/ 2147483647 w 663"/>
                <a:gd name="T93" fmla="*/ 2147483647 h 909"/>
                <a:gd name="T94" fmla="*/ 2147483647 w 663"/>
                <a:gd name="T95" fmla="*/ 2147483647 h 909"/>
                <a:gd name="T96" fmla="*/ 2147483647 w 663"/>
                <a:gd name="T97" fmla="*/ 2147483647 h 909"/>
                <a:gd name="T98" fmla="*/ 2147483647 w 663"/>
                <a:gd name="T99" fmla="*/ 0 h 909"/>
                <a:gd name="T100" fmla="*/ 2147483647 w 663"/>
                <a:gd name="T101" fmla="*/ 0 h 909"/>
                <a:gd name="T102" fmla="*/ 2147483647 w 663"/>
                <a:gd name="T103" fmla="*/ 0 h 909"/>
                <a:gd name="T104" fmla="*/ 2147483647 w 663"/>
                <a:gd name="T105" fmla="*/ 0 h 909"/>
                <a:gd name="T106" fmla="*/ 2147483647 w 663"/>
                <a:gd name="T107" fmla="*/ 0 h 909"/>
                <a:gd name="T108" fmla="*/ 2147483647 w 663"/>
                <a:gd name="T109" fmla="*/ 0 h 9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63"/>
                <a:gd name="T166" fmla="*/ 0 h 909"/>
                <a:gd name="T167" fmla="*/ 663 w 663"/>
                <a:gd name="T168" fmla="*/ 909 h 90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6" name="Freeform 246">
              <a:extLst>
                <a:ext uri="{FF2B5EF4-FFF2-40B4-BE49-F238E27FC236}">
                  <a16:creationId xmlns:a16="http://schemas.microsoft.com/office/drawing/2014/main" id="{23B12B90-F845-46BB-6C4A-BD74C093F75A}"/>
                </a:ext>
              </a:extLst>
            </p:cNvPr>
            <p:cNvSpPr>
              <a:spLocks noChangeAspect="1"/>
            </p:cNvSpPr>
            <p:nvPr userDrawn="1"/>
          </p:nvSpPr>
          <p:spPr bwMode="gray">
            <a:xfrm>
              <a:off x="3731649" y="4639743"/>
              <a:ext cx="350700" cy="429829"/>
            </a:xfrm>
            <a:custGeom>
              <a:avLst/>
              <a:gdLst>
                <a:gd name="T0" fmla="*/ 0 w 658"/>
                <a:gd name="T1" fmla="*/ 0 h 754"/>
                <a:gd name="T2" fmla="*/ 0 w 658"/>
                <a:gd name="T3" fmla="*/ 0 h 754"/>
                <a:gd name="T4" fmla="*/ 0 w 658"/>
                <a:gd name="T5" fmla="*/ 0 h 754"/>
                <a:gd name="T6" fmla="*/ 0 w 658"/>
                <a:gd name="T7" fmla="*/ 0 h 754"/>
                <a:gd name="T8" fmla="*/ 0 w 658"/>
                <a:gd name="T9" fmla="*/ 0 h 754"/>
                <a:gd name="T10" fmla="*/ 0 w 658"/>
                <a:gd name="T11" fmla="*/ 0 h 754"/>
                <a:gd name="T12" fmla="*/ 0 w 658"/>
                <a:gd name="T13" fmla="*/ 0 h 754"/>
                <a:gd name="T14" fmla="*/ 2147483647 w 658"/>
                <a:gd name="T15" fmla="*/ 0 h 754"/>
                <a:gd name="T16" fmla="*/ 2147483647 w 658"/>
                <a:gd name="T17" fmla="*/ 0 h 754"/>
                <a:gd name="T18" fmla="*/ 2147483647 w 658"/>
                <a:gd name="T19" fmla="*/ 0 h 754"/>
                <a:gd name="T20" fmla="*/ 2147483647 w 658"/>
                <a:gd name="T21" fmla="*/ 0 h 754"/>
                <a:gd name="T22" fmla="*/ 2147483647 w 658"/>
                <a:gd name="T23" fmla="*/ 0 h 754"/>
                <a:gd name="T24" fmla="*/ 2147483647 w 658"/>
                <a:gd name="T25" fmla="*/ 0 h 754"/>
                <a:gd name="T26" fmla="*/ 2147483647 w 658"/>
                <a:gd name="T27" fmla="*/ 2147483647 h 754"/>
                <a:gd name="T28" fmla="*/ 2147483647 w 658"/>
                <a:gd name="T29" fmla="*/ 2147483647 h 754"/>
                <a:gd name="T30" fmla="*/ 2147483647 w 658"/>
                <a:gd name="T31" fmla="*/ 2147483647 h 754"/>
                <a:gd name="T32" fmla="*/ 2147483647 w 658"/>
                <a:gd name="T33" fmla="*/ 2147483647 h 754"/>
                <a:gd name="T34" fmla="*/ 2147483647 w 658"/>
                <a:gd name="T35" fmla="*/ 2147483647 h 754"/>
                <a:gd name="T36" fmla="*/ 2147483647 w 658"/>
                <a:gd name="T37" fmla="*/ 2147483647 h 754"/>
                <a:gd name="T38" fmla="*/ 2147483647 w 658"/>
                <a:gd name="T39" fmla="*/ 2147483647 h 754"/>
                <a:gd name="T40" fmla="*/ 2147483647 w 658"/>
                <a:gd name="T41" fmla="*/ 2147483647 h 754"/>
                <a:gd name="T42" fmla="*/ 2147483647 w 658"/>
                <a:gd name="T43" fmla="*/ 2147483647 h 754"/>
                <a:gd name="T44" fmla="*/ 2147483647 w 658"/>
                <a:gd name="T45" fmla="*/ 2147483647 h 754"/>
                <a:gd name="T46" fmla="*/ 2147483647 w 658"/>
                <a:gd name="T47" fmla="*/ 2147483647 h 754"/>
                <a:gd name="T48" fmla="*/ 2147483647 w 658"/>
                <a:gd name="T49" fmla="*/ 2147483647 h 754"/>
                <a:gd name="T50" fmla="*/ 2147483647 w 658"/>
                <a:gd name="T51" fmla="*/ 2147483647 h 754"/>
                <a:gd name="T52" fmla="*/ 2147483647 w 658"/>
                <a:gd name="T53" fmla="*/ 2147483647 h 754"/>
                <a:gd name="T54" fmla="*/ 2147483647 w 658"/>
                <a:gd name="T55" fmla="*/ 2147483647 h 754"/>
                <a:gd name="T56" fmla="*/ 2147483647 w 658"/>
                <a:gd name="T57" fmla="*/ 2147483647 h 754"/>
                <a:gd name="T58" fmla="*/ 0 w 658"/>
                <a:gd name="T59" fmla="*/ 2147483647 h 754"/>
                <a:gd name="T60" fmla="*/ 0 w 658"/>
                <a:gd name="T61" fmla="*/ 2147483647 h 754"/>
                <a:gd name="T62" fmla="*/ 0 w 658"/>
                <a:gd name="T63" fmla="*/ 2147483647 h 754"/>
                <a:gd name="T64" fmla="*/ 0 w 658"/>
                <a:gd name="T65" fmla="*/ 2147483647 h 754"/>
                <a:gd name="T66" fmla="*/ 0 w 658"/>
                <a:gd name="T67" fmla="*/ 2147483647 h 754"/>
                <a:gd name="T68" fmla="*/ 0 w 658"/>
                <a:gd name="T69" fmla="*/ 2147483647 h 754"/>
                <a:gd name="T70" fmla="*/ 0 w 658"/>
                <a:gd name="T71" fmla="*/ 2147483647 h 754"/>
                <a:gd name="T72" fmla="*/ 0 w 658"/>
                <a:gd name="T73" fmla="*/ 2147483647 h 754"/>
                <a:gd name="T74" fmla="*/ 0 w 658"/>
                <a:gd name="T75" fmla="*/ 2147483647 h 754"/>
                <a:gd name="T76" fmla="*/ 0 w 658"/>
                <a:gd name="T77" fmla="*/ 2147483647 h 754"/>
                <a:gd name="T78" fmla="*/ 0 w 658"/>
                <a:gd name="T79" fmla="*/ 2147483647 h 754"/>
                <a:gd name="T80" fmla="*/ 0 w 658"/>
                <a:gd name="T81" fmla="*/ 2147483647 h 754"/>
                <a:gd name="T82" fmla="*/ 0 w 658"/>
                <a:gd name="T83" fmla="*/ 2147483647 h 754"/>
                <a:gd name="T84" fmla="*/ 0 w 658"/>
                <a:gd name="T85" fmla="*/ 2147483647 h 754"/>
                <a:gd name="T86" fmla="*/ 0 w 658"/>
                <a:gd name="T87" fmla="*/ 2147483647 h 754"/>
                <a:gd name="T88" fmla="*/ 0 w 658"/>
                <a:gd name="T89" fmla="*/ 2147483647 h 754"/>
                <a:gd name="T90" fmla="*/ 0 w 658"/>
                <a:gd name="T91" fmla="*/ 2147483647 h 754"/>
                <a:gd name="T92" fmla="*/ 0 w 658"/>
                <a:gd name="T93" fmla="*/ 2147483647 h 754"/>
                <a:gd name="T94" fmla="*/ 0 w 658"/>
                <a:gd name="T95" fmla="*/ 2147483647 h 754"/>
                <a:gd name="T96" fmla="*/ 0 w 658"/>
                <a:gd name="T97" fmla="*/ 2147483647 h 754"/>
                <a:gd name="T98" fmla="*/ 0 w 658"/>
                <a:gd name="T99" fmla="*/ 2147483647 h 754"/>
                <a:gd name="T100" fmla="*/ 0 w 658"/>
                <a:gd name="T101" fmla="*/ 0 h 754"/>
                <a:gd name="T102" fmla="*/ 0 w 658"/>
                <a:gd name="T103" fmla="*/ 0 h 754"/>
                <a:gd name="T104" fmla="*/ 0 w 658"/>
                <a:gd name="T105" fmla="*/ 0 h 754"/>
                <a:gd name="T106" fmla="*/ 0 w 658"/>
                <a:gd name="T107" fmla="*/ 0 h 754"/>
                <a:gd name="T108" fmla="*/ 0 w 658"/>
                <a:gd name="T109" fmla="*/ 0 h 7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58"/>
                <a:gd name="T166" fmla="*/ 0 h 754"/>
                <a:gd name="T167" fmla="*/ 658 w 658"/>
                <a:gd name="T168" fmla="*/ 754 h 7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7" name="Freeform 247">
              <a:extLst>
                <a:ext uri="{FF2B5EF4-FFF2-40B4-BE49-F238E27FC236}">
                  <a16:creationId xmlns:a16="http://schemas.microsoft.com/office/drawing/2014/main" id="{C83E8C89-7498-8370-9707-44C205C34669}"/>
                </a:ext>
              </a:extLst>
            </p:cNvPr>
            <p:cNvSpPr>
              <a:spLocks noChangeAspect="1"/>
            </p:cNvSpPr>
            <p:nvPr userDrawn="1"/>
          </p:nvSpPr>
          <p:spPr bwMode="gray">
            <a:xfrm>
              <a:off x="4058472" y="5319544"/>
              <a:ext cx="156696" cy="179858"/>
            </a:xfrm>
            <a:custGeom>
              <a:avLst/>
              <a:gdLst>
                <a:gd name="T0" fmla="*/ 0 w 292"/>
                <a:gd name="T1" fmla="*/ 0 h 314"/>
                <a:gd name="T2" fmla="*/ 0 w 292"/>
                <a:gd name="T3" fmla="*/ 0 h 314"/>
                <a:gd name="T4" fmla="*/ 0 w 292"/>
                <a:gd name="T5" fmla="*/ 0 h 314"/>
                <a:gd name="T6" fmla="*/ 0 w 292"/>
                <a:gd name="T7" fmla="*/ 0 h 314"/>
                <a:gd name="T8" fmla="*/ 0 w 292"/>
                <a:gd name="T9" fmla="*/ 0 h 314"/>
                <a:gd name="T10" fmla="*/ 0 w 292"/>
                <a:gd name="T11" fmla="*/ 0 h 314"/>
                <a:gd name="T12" fmla="*/ 0 w 292"/>
                <a:gd name="T13" fmla="*/ 0 h 314"/>
                <a:gd name="T14" fmla="*/ 0 w 292"/>
                <a:gd name="T15" fmla="*/ 2147483647 h 314"/>
                <a:gd name="T16" fmla="*/ 0 w 292"/>
                <a:gd name="T17" fmla="*/ 0 h 314"/>
                <a:gd name="T18" fmla="*/ 0 w 292"/>
                <a:gd name="T19" fmla="*/ 0 h 314"/>
                <a:gd name="T20" fmla="*/ 0 w 292"/>
                <a:gd name="T21" fmla="*/ 0 h 314"/>
                <a:gd name="T22" fmla="*/ 0 w 292"/>
                <a:gd name="T23" fmla="*/ 0 h 314"/>
                <a:gd name="T24" fmla="*/ 0 w 292"/>
                <a:gd name="T25" fmla="*/ 0 h 314"/>
                <a:gd name="T26" fmla="*/ 0 w 292"/>
                <a:gd name="T27" fmla="*/ 0 h 314"/>
                <a:gd name="T28" fmla="*/ 0 w 292"/>
                <a:gd name="T29" fmla="*/ 0 h 314"/>
                <a:gd name="T30" fmla="*/ 0 w 292"/>
                <a:gd name="T31" fmla="*/ 0 h 314"/>
                <a:gd name="T32" fmla="*/ 0 w 292"/>
                <a:gd name="T33" fmla="*/ 0 h 314"/>
                <a:gd name="T34" fmla="*/ 0 w 292"/>
                <a:gd name="T35" fmla="*/ 0 h 314"/>
                <a:gd name="T36" fmla="*/ 0 w 292"/>
                <a:gd name="T37" fmla="*/ 0 h 314"/>
                <a:gd name="T38" fmla="*/ 0 w 292"/>
                <a:gd name="T39" fmla="*/ 0 h 314"/>
                <a:gd name="T40" fmla="*/ 0 w 292"/>
                <a:gd name="T41" fmla="*/ 0 h 314"/>
                <a:gd name="T42" fmla="*/ 0 w 292"/>
                <a:gd name="T43" fmla="*/ 0 h 314"/>
                <a:gd name="T44" fmla="*/ 0 w 292"/>
                <a:gd name="T45" fmla="*/ 0 h 314"/>
                <a:gd name="T46" fmla="*/ 0 w 292"/>
                <a:gd name="T47" fmla="*/ 0 h 314"/>
                <a:gd name="T48" fmla="*/ 0 w 292"/>
                <a:gd name="T49" fmla="*/ 0 h 314"/>
                <a:gd name="T50" fmla="*/ 0 w 292"/>
                <a:gd name="T51" fmla="*/ 0 h 314"/>
                <a:gd name="T52" fmla="*/ 0 w 292"/>
                <a:gd name="T53" fmla="*/ 0 h 314"/>
                <a:gd name="T54" fmla="*/ 0 w 292"/>
                <a:gd name="T55" fmla="*/ 0 h 314"/>
                <a:gd name="T56" fmla="*/ 0 w 292"/>
                <a:gd name="T57" fmla="*/ 0 h 314"/>
                <a:gd name="T58" fmla="*/ 0 w 292"/>
                <a:gd name="T59" fmla="*/ 0 h 314"/>
                <a:gd name="T60" fmla="*/ 0 w 292"/>
                <a:gd name="T61" fmla="*/ 0 h 314"/>
                <a:gd name="T62" fmla="*/ 0 w 292"/>
                <a:gd name="T63" fmla="*/ 0 h 314"/>
                <a:gd name="T64" fmla="*/ 0 w 292"/>
                <a:gd name="T65" fmla="*/ 0 h 314"/>
                <a:gd name="T66" fmla="*/ 0 w 292"/>
                <a:gd name="T67" fmla="*/ 0 h 314"/>
                <a:gd name="T68" fmla="*/ 0 w 292"/>
                <a:gd name="T69" fmla="*/ 0 h 314"/>
                <a:gd name="T70" fmla="*/ 0 w 292"/>
                <a:gd name="T71" fmla="*/ 0 h 314"/>
                <a:gd name="T72" fmla="*/ 0 w 292"/>
                <a:gd name="T73" fmla="*/ 0 h 314"/>
                <a:gd name="T74" fmla="*/ 0 w 292"/>
                <a:gd name="T75" fmla="*/ 0 h 314"/>
                <a:gd name="T76" fmla="*/ 0 w 292"/>
                <a:gd name="T77" fmla="*/ 0 h 314"/>
                <a:gd name="T78" fmla="*/ 0 w 292"/>
                <a:gd name="T79" fmla="*/ 0 h 314"/>
                <a:gd name="T80" fmla="*/ 0 w 292"/>
                <a:gd name="T81" fmla="*/ 0 h 314"/>
                <a:gd name="T82" fmla="*/ 0 w 292"/>
                <a:gd name="T83" fmla="*/ 0 h 314"/>
                <a:gd name="T84" fmla="*/ 0 w 292"/>
                <a:gd name="T85" fmla="*/ 0 h 3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314"/>
                <a:gd name="T131" fmla="*/ 292 w 292"/>
                <a:gd name="T132" fmla="*/ 314 h 3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8" name="Freeform 248">
              <a:extLst>
                <a:ext uri="{FF2B5EF4-FFF2-40B4-BE49-F238E27FC236}">
                  <a16:creationId xmlns:a16="http://schemas.microsoft.com/office/drawing/2014/main" id="{093D584F-322C-BE2A-A081-CCBCDB027F3A}"/>
                </a:ext>
              </a:extLst>
            </p:cNvPr>
            <p:cNvSpPr>
              <a:spLocks noChangeAspect="1"/>
            </p:cNvSpPr>
            <p:nvPr userDrawn="1"/>
          </p:nvSpPr>
          <p:spPr bwMode="gray">
            <a:xfrm>
              <a:off x="3977885" y="4083403"/>
              <a:ext cx="141773" cy="217964"/>
            </a:xfrm>
            <a:custGeom>
              <a:avLst/>
              <a:gdLst>
                <a:gd name="T0" fmla="*/ 0 w 265"/>
                <a:gd name="T1" fmla="*/ 0 h 386"/>
                <a:gd name="T2" fmla="*/ 0 w 265"/>
                <a:gd name="T3" fmla="*/ 0 h 386"/>
                <a:gd name="T4" fmla="*/ 0 w 265"/>
                <a:gd name="T5" fmla="*/ 0 h 386"/>
                <a:gd name="T6" fmla="*/ 0 w 265"/>
                <a:gd name="T7" fmla="*/ 0 h 386"/>
                <a:gd name="T8" fmla="*/ 0 w 265"/>
                <a:gd name="T9" fmla="*/ 0 h 386"/>
                <a:gd name="T10" fmla="*/ 0 w 265"/>
                <a:gd name="T11" fmla="*/ 0 h 386"/>
                <a:gd name="T12" fmla="*/ 0 w 265"/>
                <a:gd name="T13" fmla="*/ 0 h 386"/>
                <a:gd name="T14" fmla="*/ 0 w 265"/>
                <a:gd name="T15" fmla="*/ 0 h 386"/>
                <a:gd name="T16" fmla="*/ 0 w 265"/>
                <a:gd name="T17" fmla="*/ 0 h 386"/>
                <a:gd name="T18" fmla="*/ 0 w 265"/>
                <a:gd name="T19" fmla="*/ 0 h 386"/>
                <a:gd name="T20" fmla="*/ 0 w 265"/>
                <a:gd name="T21" fmla="*/ 0 h 386"/>
                <a:gd name="T22" fmla="*/ 0 w 265"/>
                <a:gd name="T23" fmla="*/ 0 h 386"/>
                <a:gd name="T24" fmla="*/ 0 w 265"/>
                <a:gd name="T25" fmla="*/ 0 h 386"/>
                <a:gd name="T26" fmla="*/ 0 w 265"/>
                <a:gd name="T27" fmla="*/ 0 h 386"/>
                <a:gd name="T28" fmla="*/ 0 w 265"/>
                <a:gd name="T29" fmla="*/ 0 h 386"/>
                <a:gd name="T30" fmla="*/ 0 w 265"/>
                <a:gd name="T31" fmla="*/ 0 h 386"/>
                <a:gd name="T32" fmla="*/ 0 w 265"/>
                <a:gd name="T33" fmla="*/ 0 h 386"/>
                <a:gd name="T34" fmla="*/ 0 w 265"/>
                <a:gd name="T35" fmla="*/ 0 h 386"/>
                <a:gd name="T36" fmla="*/ 0 w 265"/>
                <a:gd name="T37" fmla="*/ 2147483647 h 386"/>
                <a:gd name="T38" fmla="*/ 0 w 265"/>
                <a:gd name="T39" fmla="*/ 2147483647 h 386"/>
                <a:gd name="T40" fmla="*/ 0 w 265"/>
                <a:gd name="T41" fmla="*/ 2147483647 h 386"/>
                <a:gd name="T42" fmla="*/ 0 w 265"/>
                <a:gd name="T43" fmla="*/ 2147483647 h 386"/>
                <a:gd name="T44" fmla="*/ 0 w 265"/>
                <a:gd name="T45" fmla="*/ 2147483647 h 386"/>
                <a:gd name="T46" fmla="*/ 0 w 265"/>
                <a:gd name="T47" fmla="*/ 2147483647 h 386"/>
                <a:gd name="T48" fmla="*/ 0 w 265"/>
                <a:gd name="T49" fmla="*/ 2147483647 h 386"/>
                <a:gd name="T50" fmla="*/ 0 w 265"/>
                <a:gd name="T51" fmla="*/ 2147483647 h 386"/>
                <a:gd name="T52" fmla="*/ 0 w 265"/>
                <a:gd name="T53" fmla="*/ 2147483647 h 386"/>
                <a:gd name="T54" fmla="*/ 0 w 265"/>
                <a:gd name="T55" fmla="*/ 2147483647 h 386"/>
                <a:gd name="T56" fmla="*/ 0 w 265"/>
                <a:gd name="T57" fmla="*/ 0 h 386"/>
                <a:gd name="T58" fmla="*/ 0 w 265"/>
                <a:gd name="T59" fmla="*/ 0 h 386"/>
                <a:gd name="T60" fmla="*/ 0 w 265"/>
                <a:gd name="T61" fmla="*/ 0 h 386"/>
                <a:gd name="T62" fmla="*/ 0 w 265"/>
                <a:gd name="T63" fmla="*/ 0 h 386"/>
                <a:gd name="T64" fmla="*/ 0 w 265"/>
                <a:gd name="T65" fmla="*/ 0 h 386"/>
                <a:gd name="T66" fmla="*/ 0 w 265"/>
                <a:gd name="T67" fmla="*/ 0 h 386"/>
                <a:gd name="T68" fmla="*/ 0 w 265"/>
                <a:gd name="T69" fmla="*/ 0 h 386"/>
                <a:gd name="T70" fmla="*/ 0 w 265"/>
                <a:gd name="T71" fmla="*/ 0 h 386"/>
                <a:gd name="T72" fmla="*/ 0 w 265"/>
                <a:gd name="T73" fmla="*/ 0 h 386"/>
                <a:gd name="T74" fmla="*/ 0 w 265"/>
                <a:gd name="T75" fmla="*/ 0 h 386"/>
                <a:gd name="T76" fmla="*/ 0 w 265"/>
                <a:gd name="T77" fmla="*/ 0 h 386"/>
                <a:gd name="T78" fmla="*/ 0 w 265"/>
                <a:gd name="T79" fmla="*/ 0 h 386"/>
                <a:gd name="T80" fmla="*/ 0 w 265"/>
                <a:gd name="T81" fmla="*/ 0 h 386"/>
                <a:gd name="T82" fmla="*/ 0 w 265"/>
                <a:gd name="T83" fmla="*/ 0 h 386"/>
                <a:gd name="T84" fmla="*/ 0 w 265"/>
                <a:gd name="T85" fmla="*/ 0 h 386"/>
                <a:gd name="T86" fmla="*/ 0 w 265"/>
                <a:gd name="T87" fmla="*/ 0 h 386"/>
                <a:gd name="T88" fmla="*/ 0 w 265"/>
                <a:gd name="T89" fmla="*/ 0 h 386"/>
                <a:gd name="T90" fmla="*/ 0 w 265"/>
                <a:gd name="T91" fmla="*/ 0 h 3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5"/>
                <a:gd name="T139" fmla="*/ 0 h 386"/>
                <a:gd name="T140" fmla="*/ 265 w 265"/>
                <a:gd name="T141" fmla="*/ 386 h 3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29" name="Freeform 249">
              <a:extLst>
                <a:ext uri="{FF2B5EF4-FFF2-40B4-BE49-F238E27FC236}">
                  <a16:creationId xmlns:a16="http://schemas.microsoft.com/office/drawing/2014/main" id="{53239C1A-4B1F-F648-B0F0-0E0095536B46}"/>
                </a:ext>
              </a:extLst>
            </p:cNvPr>
            <p:cNvSpPr>
              <a:spLocks noChangeAspect="1"/>
            </p:cNvSpPr>
            <p:nvPr userDrawn="1"/>
          </p:nvSpPr>
          <p:spPr bwMode="gray">
            <a:xfrm>
              <a:off x="4179352" y="4164187"/>
              <a:ext cx="85063" cy="114316"/>
            </a:xfrm>
            <a:custGeom>
              <a:avLst/>
              <a:gdLst>
                <a:gd name="T0" fmla="*/ 0 w 157"/>
                <a:gd name="T1" fmla="*/ 0 h 200"/>
                <a:gd name="T2" fmla="*/ 0 w 157"/>
                <a:gd name="T3" fmla="*/ 0 h 200"/>
                <a:gd name="T4" fmla="*/ 0 w 157"/>
                <a:gd name="T5" fmla="*/ 0 h 200"/>
                <a:gd name="T6" fmla="*/ 0 w 157"/>
                <a:gd name="T7" fmla="*/ 0 h 200"/>
                <a:gd name="T8" fmla="*/ 0 w 157"/>
                <a:gd name="T9" fmla="*/ 0 h 200"/>
                <a:gd name="T10" fmla="*/ 0 w 157"/>
                <a:gd name="T11" fmla="*/ 0 h 200"/>
                <a:gd name="T12" fmla="*/ 0 w 157"/>
                <a:gd name="T13" fmla="*/ 0 h 200"/>
                <a:gd name="T14" fmla="*/ 0 w 157"/>
                <a:gd name="T15" fmla="*/ 0 h 200"/>
                <a:gd name="T16" fmla="*/ 0 w 157"/>
                <a:gd name="T17" fmla="*/ 0 h 200"/>
                <a:gd name="T18" fmla="*/ 0 w 157"/>
                <a:gd name="T19" fmla="*/ 0 h 200"/>
                <a:gd name="T20" fmla="*/ 0 w 157"/>
                <a:gd name="T21" fmla="*/ 0 h 200"/>
                <a:gd name="T22" fmla="*/ 0 w 157"/>
                <a:gd name="T23" fmla="*/ 0 h 200"/>
                <a:gd name="T24" fmla="*/ 0 w 157"/>
                <a:gd name="T25" fmla="*/ 0 h 200"/>
                <a:gd name="T26" fmla="*/ 0 w 157"/>
                <a:gd name="T27" fmla="*/ 0 h 200"/>
                <a:gd name="T28" fmla="*/ 0 w 157"/>
                <a:gd name="T29" fmla="*/ 0 h 200"/>
                <a:gd name="T30" fmla="*/ 0 w 157"/>
                <a:gd name="T31" fmla="*/ 0 h 200"/>
                <a:gd name="T32" fmla="*/ 0 w 157"/>
                <a:gd name="T33" fmla="*/ 0 h 200"/>
                <a:gd name="T34" fmla="*/ 0 w 157"/>
                <a:gd name="T35" fmla="*/ 0 h 200"/>
                <a:gd name="T36" fmla="*/ 0 w 157"/>
                <a:gd name="T37" fmla="*/ 0 h 200"/>
                <a:gd name="T38" fmla="*/ 0 w 157"/>
                <a:gd name="T39" fmla="*/ 0 h 200"/>
                <a:gd name="T40" fmla="*/ 0 w 157"/>
                <a:gd name="T41" fmla="*/ 0 h 200"/>
                <a:gd name="T42" fmla="*/ 0 w 157"/>
                <a:gd name="T43" fmla="*/ 0 h 200"/>
                <a:gd name="T44" fmla="*/ 0 w 157"/>
                <a:gd name="T45" fmla="*/ 0 h 200"/>
                <a:gd name="T46" fmla="*/ 0 w 157"/>
                <a:gd name="T47" fmla="*/ 0 h 200"/>
                <a:gd name="T48" fmla="*/ 0 w 157"/>
                <a:gd name="T49" fmla="*/ 0 h 200"/>
                <a:gd name="T50" fmla="*/ 0 w 157"/>
                <a:gd name="T51" fmla="*/ 0 h 200"/>
                <a:gd name="T52" fmla="*/ 0 w 157"/>
                <a:gd name="T53" fmla="*/ 0 h 200"/>
                <a:gd name="T54" fmla="*/ 0 w 157"/>
                <a:gd name="T55" fmla="*/ 0 h 200"/>
                <a:gd name="T56" fmla="*/ 0 w 157"/>
                <a:gd name="T57" fmla="*/ 0 h 200"/>
                <a:gd name="T58" fmla="*/ 0 w 157"/>
                <a:gd name="T59" fmla="*/ 0 h 200"/>
                <a:gd name="T60" fmla="*/ 0 w 157"/>
                <a:gd name="T61" fmla="*/ 0 h 200"/>
                <a:gd name="T62" fmla="*/ 0 w 157"/>
                <a:gd name="T63" fmla="*/ 0 h 200"/>
                <a:gd name="T64" fmla="*/ 0 w 157"/>
                <a:gd name="T65" fmla="*/ 0 h 200"/>
                <a:gd name="T66" fmla="*/ 0 w 157"/>
                <a:gd name="T67" fmla="*/ 0 h 200"/>
                <a:gd name="T68" fmla="*/ 0 w 157"/>
                <a:gd name="T69" fmla="*/ 0 h 200"/>
                <a:gd name="T70" fmla="*/ 0 w 157"/>
                <a:gd name="T71" fmla="*/ 0 h 200"/>
                <a:gd name="T72" fmla="*/ 0 w 157"/>
                <a:gd name="T73" fmla="*/ 0 h 200"/>
                <a:gd name="T74" fmla="*/ 0 w 157"/>
                <a:gd name="T75" fmla="*/ 0 h 200"/>
                <a:gd name="T76" fmla="*/ 0 w 157"/>
                <a:gd name="T77" fmla="*/ 0 h 200"/>
                <a:gd name="T78" fmla="*/ 0 w 157"/>
                <a:gd name="T79" fmla="*/ 0 h 200"/>
                <a:gd name="T80" fmla="*/ 0 w 157"/>
                <a:gd name="T81" fmla="*/ 0 h 200"/>
                <a:gd name="T82" fmla="*/ 0 w 157"/>
                <a:gd name="T83" fmla="*/ 0 h 200"/>
                <a:gd name="T84" fmla="*/ 0 w 157"/>
                <a:gd name="T85" fmla="*/ 0 h 200"/>
                <a:gd name="T86" fmla="*/ 0 w 157"/>
                <a:gd name="T87" fmla="*/ 0 h 200"/>
                <a:gd name="T88" fmla="*/ 0 w 157"/>
                <a:gd name="T89" fmla="*/ 0 h 200"/>
                <a:gd name="T90" fmla="*/ 0 w 157"/>
                <a:gd name="T91" fmla="*/ 0 h 200"/>
                <a:gd name="T92" fmla="*/ 0 w 157"/>
                <a:gd name="T93" fmla="*/ 0 h 200"/>
                <a:gd name="T94" fmla="*/ 0 w 157"/>
                <a:gd name="T95" fmla="*/ 0 h 200"/>
                <a:gd name="T96" fmla="*/ 0 w 157"/>
                <a:gd name="T97" fmla="*/ 0 h 200"/>
                <a:gd name="T98" fmla="*/ 0 w 157"/>
                <a:gd name="T99" fmla="*/ 0 h 200"/>
                <a:gd name="T100" fmla="*/ 0 w 157"/>
                <a:gd name="T101" fmla="*/ 0 h 200"/>
                <a:gd name="T102" fmla="*/ 0 w 157"/>
                <a:gd name="T103" fmla="*/ 0 h 2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7"/>
                <a:gd name="T157" fmla="*/ 0 h 200"/>
                <a:gd name="T158" fmla="*/ 157 w 157"/>
                <a:gd name="T159" fmla="*/ 200 h 2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0" name="Freeform 250">
              <a:extLst>
                <a:ext uri="{FF2B5EF4-FFF2-40B4-BE49-F238E27FC236}">
                  <a16:creationId xmlns:a16="http://schemas.microsoft.com/office/drawing/2014/main" id="{8A42EB8E-D432-6358-1F1C-BBD4F74DF1F4}"/>
                </a:ext>
              </a:extLst>
            </p:cNvPr>
            <p:cNvSpPr>
              <a:spLocks noChangeAspect="1"/>
            </p:cNvSpPr>
            <p:nvPr userDrawn="1"/>
          </p:nvSpPr>
          <p:spPr bwMode="gray">
            <a:xfrm>
              <a:off x="3391395" y="4344045"/>
              <a:ext cx="365623" cy="571582"/>
            </a:xfrm>
            <a:custGeom>
              <a:avLst/>
              <a:gdLst>
                <a:gd name="T0" fmla="*/ 2147483647 w 686"/>
                <a:gd name="T1" fmla="*/ 0 h 1005"/>
                <a:gd name="T2" fmla="*/ 2147483647 w 686"/>
                <a:gd name="T3" fmla="*/ 0 h 1005"/>
                <a:gd name="T4" fmla="*/ 0 w 686"/>
                <a:gd name="T5" fmla="*/ 0 h 1005"/>
                <a:gd name="T6" fmla="*/ 0 w 686"/>
                <a:gd name="T7" fmla="*/ 0 h 1005"/>
                <a:gd name="T8" fmla="*/ 0 w 686"/>
                <a:gd name="T9" fmla="*/ 0 h 1005"/>
                <a:gd name="T10" fmla="*/ 0 w 686"/>
                <a:gd name="T11" fmla="*/ 0 h 1005"/>
                <a:gd name="T12" fmla="*/ 0 w 686"/>
                <a:gd name="T13" fmla="*/ 0 h 1005"/>
                <a:gd name="T14" fmla="*/ 0 w 686"/>
                <a:gd name="T15" fmla="*/ 0 h 1005"/>
                <a:gd name="T16" fmla="*/ 0 w 686"/>
                <a:gd name="T17" fmla="*/ 0 h 1005"/>
                <a:gd name="T18" fmla="*/ 0 w 686"/>
                <a:gd name="T19" fmla="*/ 0 h 1005"/>
                <a:gd name="T20" fmla="*/ 0 w 686"/>
                <a:gd name="T21" fmla="*/ 0 h 1005"/>
                <a:gd name="T22" fmla="*/ 0 w 686"/>
                <a:gd name="T23" fmla="*/ 0 h 1005"/>
                <a:gd name="T24" fmla="*/ 0 w 686"/>
                <a:gd name="T25" fmla="*/ 0 h 1005"/>
                <a:gd name="T26" fmla="*/ 0 w 686"/>
                <a:gd name="T27" fmla="*/ 0 h 1005"/>
                <a:gd name="T28" fmla="*/ 0 w 686"/>
                <a:gd name="T29" fmla="*/ 0 h 1005"/>
                <a:gd name="T30" fmla="*/ 0 w 686"/>
                <a:gd name="T31" fmla="*/ 2147483647 h 1005"/>
                <a:gd name="T32" fmla="*/ 0 w 686"/>
                <a:gd name="T33" fmla="*/ 2147483647 h 1005"/>
                <a:gd name="T34" fmla="*/ 0 w 686"/>
                <a:gd name="T35" fmla="*/ 2147483647 h 1005"/>
                <a:gd name="T36" fmla="*/ 0 w 686"/>
                <a:gd name="T37" fmla="*/ 2147483647 h 1005"/>
                <a:gd name="T38" fmla="*/ 0 w 686"/>
                <a:gd name="T39" fmla="*/ 2147483647 h 1005"/>
                <a:gd name="T40" fmla="*/ 0 w 686"/>
                <a:gd name="T41" fmla="*/ 2147483647 h 1005"/>
                <a:gd name="T42" fmla="*/ 0 w 686"/>
                <a:gd name="T43" fmla="*/ 2147483647 h 1005"/>
                <a:gd name="T44" fmla="*/ 0 w 686"/>
                <a:gd name="T45" fmla="*/ 2147483647 h 1005"/>
                <a:gd name="T46" fmla="*/ 2147483647 w 686"/>
                <a:gd name="T47" fmla="*/ 2147483647 h 1005"/>
                <a:gd name="T48" fmla="*/ 2147483647 w 686"/>
                <a:gd name="T49" fmla="*/ 2147483647 h 1005"/>
                <a:gd name="T50" fmla="*/ 2147483647 w 686"/>
                <a:gd name="T51" fmla="*/ 2147483647 h 1005"/>
                <a:gd name="T52" fmla="*/ 2147483647 w 686"/>
                <a:gd name="T53" fmla="*/ 2147483647 h 1005"/>
                <a:gd name="T54" fmla="*/ 2147483647 w 686"/>
                <a:gd name="T55" fmla="*/ 2147483647 h 1005"/>
                <a:gd name="T56" fmla="*/ 2147483647 w 686"/>
                <a:gd name="T57" fmla="*/ 2147483647 h 1005"/>
                <a:gd name="T58" fmla="*/ 2147483647 w 686"/>
                <a:gd name="T59" fmla="*/ 2147483647 h 1005"/>
                <a:gd name="T60" fmla="*/ 2147483647 w 686"/>
                <a:gd name="T61" fmla="*/ 2147483647 h 1005"/>
                <a:gd name="T62" fmla="*/ 2147483647 w 686"/>
                <a:gd name="T63" fmla="*/ 2147483647 h 1005"/>
                <a:gd name="T64" fmla="*/ 2147483647 w 686"/>
                <a:gd name="T65" fmla="*/ 2147483647 h 1005"/>
                <a:gd name="T66" fmla="*/ 2147483647 w 686"/>
                <a:gd name="T67" fmla="*/ 2147483647 h 1005"/>
                <a:gd name="T68" fmla="*/ 2147483647 w 686"/>
                <a:gd name="T69" fmla="*/ 2147483647 h 1005"/>
                <a:gd name="T70" fmla="*/ 2147483647 w 686"/>
                <a:gd name="T71" fmla="*/ 2147483647 h 1005"/>
                <a:gd name="T72" fmla="*/ 2147483647 w 686"/>
                <a:gd name="T73" fmla="*/ 2147483647 h 1005"/>
                <a:gd name="T74" fmla="*/ 2147483647 w 686"/>
                <a:gd name="T75" fmla="*/ 2147483647 h 1005"/>
                <a:gd name="T76" fmla="*/ 2147483647 w 686"/>
                <a:gd name="T77" fmla="*/ 2147483647 h 1005"/>
                <a:gd name="T78" fmla="*/ 2147483647 w 686"/>
                <a:gd name="T79" fmla="*/ 2147483647 h 1005"/>
                <a:gd name="T80" fmla="*/ 2147483647 w 686"/>
                <a:gd name="T81" fmla="*/ 2147483647 h 1005"/>
                <a:gd name="T82" fmla="*/ 2147483647 w 686"/>
                <a:gd name="T83" fmla="*/ 2147483647 h 1005"/>
                <a:gd name="T84" fmla="*/ 2147483647 w 686"/>
                <a:gd name="T85" fmla="*/ 2147483647 h 1005"/>
                <a:gd name="T86" fmla="*/ 2147483647 w 686"/>
                <a:gd name="T87" fmla="*/ 2147483647 h 1005"/>
                <a:gd name="T88" fmla="*/ 2147483647 w 686"/>
                <a:gd name="T89" fmla="*/ 2147483647 h 1005"/>
                <a:gd name="T90" fmla="*/ 2147483647 w 686"/>
                <a:gd name="T91" fmla="*/ 0 h 1005"/>
                <a:gd name="T92" fmla="*/ 2147483647 w 686"/>
                <a:gd name="T93" fmla="*/ 0 h 1005"/>
                <a:gd name="T94" fmla="*/ 2147483647 w 686"/>
                <a:gd name="T95" fmla="*/ 0 h 1005"/>
                <a:gd name="T96" fmla="*/ 2147483647 w 686"/>
                <a:gd name="T97" fmla="*/ 0 h 1005"/>
                <a:gd name="T98" fmla="*/ 2147483647 w 686"/>
                <a:gd name="T99" fmla="*/ 0 h 1005"/>
                <a:gd name="T100" fmla="*/ 2147483647 w 686"/>
                <a:gd name="T101" fmla="*/ 0 h 1005"/>
                <a:gd name="T102" fmla="*/ 2147483647 w 686"/>
                <a:gd name="T103" fmla="*/ 0 h 1005"/>
                <a:gd name="T104" fmla="*/ 2147483647 w 686"/>
                <a:gd name="T105" fmla="*/ 0 h 1005"/>
                <a:gd name="T106" fmla="*/ 2147483647 w 686"/>
                <a:gd name="T107" fmla="*/ 0 h 1005"/>
                <a:gd name="T108" fmla="*/ 2147483647 w 686"/>
                <a:gd name="T109" fmla="*/ 0 h 1005"/>
                <a:gd name="T110" fmla="*/ 2147483647 w 686"/>
                <a:gd name="T111" fmla="*/ 0 h 1005"/>
                <a:gd name="T112" fmla="*/ 2147483647 w 686"/>
                <a:gd name="T113" fmla="*/ 0 h 1005"/>
                <a:gd name="T114" fmla="*/ 2147483647 w 686"/>
                <a:gd name="T115" fmla="*/ 0 h 1005"/>
                <a:gd name="T116" fmla="*/ 2147483647 w 686"/>
                <a:gd name="T117" fmla="*/ 0 h 10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6"/>
                <a:gd name="T178" fmla="*/ 0 h 1005"/>
                <a:gd name="T179" fmla="*/ 686 w 686"/>
                <a:gd name="T180" fmla="*/ 1005 h 100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1" name="Freeform 251">
              <a:extLst>
                <a:ext uri="{FF2B5EF4-FFF2-40B4-BE49-F238E27FC236}">
                  <a16:creationId xmlns:a16="http://schemas.microsoft.com/office/drawing/2014/main" id="{792DA1F2-D46E-2B4F-CE31-C55FD31A6974}"/>
                </a:ext>
              </a:extLst>
            </p:cNvPr>
            <p:cNvSpPr>
              <a:spLocks noChangeAspect="1"/>
            </p:cNvSpPr>
            <p:nvPr userDrawn="1"/>
          </p:nvSpPr>
          <p:spPr bwMode="gray">
            <a:xfrm>
              <a:off x="3624201" y="5032991"/>
              <a:ext cx="576044" cy="1219375"/>
            </a:xfrm>
            <a:custGeom>
              <a:avLst/>
              <a:gdLst>
                <a:gd name="T0" fmla="*/ 0 w 1080"/>
                <a:gd name="T1" fmla="*/ 2147483647 h 2146"/>
                <a:gd name="T2" fmla="*/ 0 w 1080"/>
                <a:gd name="T3" fmla="*/ 2147483647 h 2146"/>
                <a:gd name="T4" fmla="*/ 0 w 1080"/>
                <a:gd name="T5" fmla="*/ 2147483647 h 2146"/>
                <a:gd name="T6" fmla="*/ 0 w 1080"/>
                <a:gd name="T7" fmla="*/ 2147483647 h 2146"/>
                <a:gd name="T8" fmla="*/ 0 w 1080"/>
                <a:gd name="T9" fmla="*/ 2147483647 h 2146"/>
                <a:gd name="T10" fmla="*/ 0 w 1080"/>
                <a:gd name="T11" fmla="*/ 2147483647 h 2146"/>
                <a:gd name="T12" fmla="*/ 0 w 1080"/>
                <a:gd name="T13" fmla="*/ 2147483647 h 2146"/>
                <a:gd name="T14" fmla="*/ 0 w 1080"/>
                <a:gd name="T15" fmla="*/ 2147483647 h 2146"/>
                <a:gd name="T16" fmla="*/ 0 w 1080"/>
                <a:gd name="T17" fmla="*/ 2147483647 h 2146"/>
                <a:gd name="T18" fmla="*/ 0 w 1080"/>
                <a:gd name="T19" fmla="*/ 2147483647 h 2146"/>
                <a:gd name="T20" fmla="*/ 0 w 1080"/>
                <a:gd name="T21" fmla="*/ 2147483647 h 2146"/>
                <a:gd name="T22" fmla="*/ 0 w 1080"/>
                <a:gd name="T23" fmla="*/ 2147483647 h 2146"/>
                <a:gd name="T24" fmla="*/ 0 w 1080"/>
                <a:gd name="T25" fmla="*/ 2147483647 h 2146"/>
                <a:gd name="T26" fmla="*/ 0 w 1080"/>
                <a:gd name="T27" fmla="*/ 2147483647 h 2146"/>
                <a:gd name="T28" fmla="*/ 0 w 1080"/>
                <a:gd name="T29" fmla="*/ 2147483647 h 2146"/>
                <a:gd name="T30" fmla="*/ 0 w 1080"/>
                <a:gd name="T31" fmla="*/ 2147483647 h 2146"/>
                <a:gd name="T32" fmla="*/ 0 w 1080"/>
                <a:gd name="T33" fmla="*/ 2147483647 h 2146"/>
                <a:gd name="T34" fmla="*/ 0 w 1080"/>
                <a:gd name="T35" fmla="*/ 2147483647 h 2146"/>
                <a:gd name="T36" fmla="*/ 0 w 1080"/>
                <a:gd name="T37" fmla="*/ 2147483647 h 2146"/>
                <a:gd name="T38" fmla="*/ 0 w 1080"/>
                <a:gd name="T39" fmla="*/ 0 h 2146"/>
                <a:gd name="T40" fmla="*/ 0 w 1080"/>
                <a:gd name="T41" fmla="*/ 0 h 2146"/>
                <a:gd name="T42" fmla="*/ 2147483647 w 1080"/>
                <a:gd name="T43" fmla="*/ 0 h 2146"/>
                <a:gd name="T44" fmla="*/ 2147483647 w 1080"/>
                <a:gd name="T45" fmla="*/ 0 h 2146"/>
                <a:gd name="T46" fmla="*/ 2147483647 w 1080"/>
                <a:gd name="T47" fmla="*/ 0 h 2146"/>
                <a:gd name="T48" fmla="*/ 2147483647 w 1080"/>
                <a:gd name="T49" fmla="*/ 0 h 2146"/>
                <a:gd name="T50" fmla="*/ 2147483647 w 1080"/>
                <a:gd name="T51" fmla="*/ 0 h 2146"/>
                <a:gd name="T52" fmla="*/ 2147483647 w 1080"/>
                <a:gd name="T53" fmla="*/ 0 h 2146"/>
                <a:gd name="T54" fmla="*/ 2147483647 w 1080"/>
                <a:gd name="T55" fmla="*/ 0 h 2146"/>
                <a:gd name="T56" fmla="*/ 2147483647 w 1080"/>
                <a:gd name="T57" fmla="*/ 0 h 2146"/>
                <a:gd name="T58" fmla="*/ 2147483647 w 1080"/>
                <a:gd name="T59" fmla="*/ 0 h 2146"/>
                <a:gd name="T60" fmla="*/ 2147483647 w 1080"/>
                <a:gd name="T61" fmla="*/ 0 h 2146"/>
                <a:gd name="T62" fmla="*/ 2147483647 w 1080"/>
                <a:gd name="T63" fmla="*/ 2147483647 h 2146"/>
                <a:gd name="T64" fmla="*/ 2147483647 w 1080"/>
                <a:gd name="T65" fmla="*/ 2147483647 h 2146"/>
                <a:gd name="T66" fmla="*/ 2147483647 w 1080"/>
                <a:gd name="T67" fmla="*/ 0 h 2146"/>
                <a:gd name="T68" fmla="*/ 2147483647 w 1080"/>
                <a:gd name="T69" fmla="*/ 0 h 2146"/>
                <a:gd name="T70" fmla="*/ 2147483647 w 1080"/>
                <a:gd name="T71" fmla="*/ 2147483647 h 2146"/>
                <a:gd name="T72" fmla="*/ 2147483647 w 1080"/>
                <a:gd name="T73" fmla="*/ 2147483647 h 2146"/>
                <a:gd name="T74" fmla="*/ 2147483647 w 1080"/>
                <a:gd name="T75" fmla="*/ 2147483647 h 2146"/>
                <a:gd name="T76" fmla="*/ 2147483647 w 1080"/>
                <a:gd name="T77" fmla="*/ 2147483647 h 2146"/>
                <a:gd name="T78" fmla="*/ 2147483647 w 1080"/>
                <a:gd name="T79" fmla="*/ 2147483647 h 2146"/>
                <a:gd name="T80" fmla="*/ 2147483647 w 1080"/>
                <a:gd name="T81" fmla="*/ 2147483647 h 2146"/>
                <a:gd name="T82" fmla="*/ 2147483647 w 1080"/>
                <a:gd name="T83" fmla="*/ 2147483647 h 2146"/>
                <a:gd name="T84" fmla="*/ 2147483647 w 1080"/>
                <a:gd name="T85" fmla="*/ 2147483647 h 2146"/>
                <a:gd name="T86" fmla="*/ 2147483647 w 1080"/>
                <a:gd name="T87" fmla="*/ 2147483647 h 2146"/>
                <a:gd name="T88" fmla="*/ 2147483647 w 1080"/>
                <a:gd name="T89" fmla="*/ 2147483647 h 2146"/>
                <a:gd name="T90" fmla="*/ 2147483647 w 1080"/>
                <a:gd name="T91" fmla="*/ 2147483647 h 2146"/>
                <a:gd name="T92" fmla="*/ 2147483647 w 1080"/>
                <a:gd name="T93" fmla="*/ 2147483647 h 2146"/>
                <a:gd name="T94" fmla="*/ 2147483647 w 1080"/>
                <a:gd name="T95" fmla="*/ 2147483647 h 2146"/>
                <a:gd name="T96" fmla="*/ 2147483647 w 1080"/>
                <a:gd name="T97" fmla="*/ 2147483647 h 2146"/>
                <a:gd name="T98" fmla="*/ 2147483647 w 1080"/>
                <a:gd name="T99" fmla="*/ 2147483647 h 2146"/>
                <a:gd name="T100" fmla="*/ 2147483647 w 1080"/>
                <a:gd name="T101" fmla="*/ 2147483647 h 2146"/>
                <a:gd name="T102" fmla="*/ 2147483647 w 1080"/>
                <a:gd name="T103" fmla="*/ 2147483647 h 2146"/>
                <a:gd name="T104" fmla="*/ 2147483647 w 1080"/>
                <a:gd name="T105" fmla="*/ 2147483647 h 2146"/>
                <a:gd name="T106" fmla="*/ 2147483647 w 1080"/>
                <a:gd name="T107" fmla="*/ 2147483647 h 2146"/>
                <a:gd name="T108" fmla="*/ 2147483647 w 1080"/>
                <a:gd name="T109" fmla="*/ 2147483647 h 2146"/>
                <a:gd name="T110" fmla="*/ 2147483647 w 1080"/>
                <a:gd name="T111" fmla="*/ 2147483647 h 2146"/>
                <a:gd name="T112" fmla="*/ 2147483647 w 1080"/>
                <a:gd name="T113" fmla="*/ 2147483647 h 2146"/>
                <a:gd name="T114" fmla="*/ 0 w 1080"/>
                <a:gd name="T115" fmla="*/ 2147483647 h 2146"/>
                <a:gd name="T116" fmla="*/ 0 w 1080"/>
                <a:gd name="T117" fmla="*/ 2147483647 h 2146"/>
                <a:gd name="T118" fmla="*/ 0 w 1080"/>
                <a:gd name="T119" fmla="*/ 2147483647 h 21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80"/>
                <a:gd name="T181" fmla="*/ 0 h 2146"/>
                <a:gd name="T182" fmla="*/ 1080 w 1080"/>
                <a:gd name="T183" fmla="*/ 2146 h 21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2" name="Freeform 253">
              <a:extLst>
                <a:ext uri="{FF2B5EF4-FFF2-40B4-BE49-F238E27FC236}">
                  <a16:creationId xmlns:a16="http://schemas.microsoft.com/office/drawing/2014/main" id="{CDF39914-DA55-F47B-4631-553E48DD9780}"/>
                </a:ext>
              </a:extLst>
            </p:cNvPr>
            <p:cNvSpPr>
              <a:spLocks noChangeAspect="1"/>
            </p:cNvSpPr>
            <p:nvPr userDrawn="1"/>
          </p:nvSpPr>
          <p:spPr bwMode="gray">
            <a:xfrm>
              <a:off x="4071903" y="4156565"/>
              <a:ext cx="119387" cy="128034"/>
            </a:xfrm>
            <a:custGeom>
              <a:avLst/>
              <a:gdLst>
                <a:gd name="T0" fmla="*/ 0 w 226"/>
                <a:gd name="T1" fmla="*/ 0 h 221"/>
                <a:gd name="T2" fmla="*/ 0 w 226"/>
                <a:gd name="T3" fmla="*/ 0 h 221"/>
                <a:gd name="T4" fmla="*/ 0 w 226"/>
                <a:gd name="T5" fmla="*/ 0 h 221"/>
                <a:gd name="T6" fmla="*/ 0 w 226"/>
                <a:gd name="T7" fmla="*/ 0 h 221"/>
                <a:gd name="T8" fmla="*/ 0 w 226"/>
                <a:gd name="T9" fmla="*/ 0 h 221"/>
                <a:gd name="T10" fmla="*/ 0 w 226"/>
                <a:gd name="T11" fmla="*/ 0 h 221"/>
                <a:gd name="T12" fmla="*/ 0 w 226"/>
                <a:gd name="T13" fmla="*/ 0 h 221"/>
                <a:gd name="T14" fmla="*/ 0 w 226"/>
                <a:gd name="T15" fmla="*/ 0 h 221"/>
                <a:gd name="T16" fmla="*/ 0 w 226"/>
                <a:gd name="T17" fmla="*/ 0 h 221"/>
                <a:gd name="T18" fmla="*/ 0 w 226"/>
                <a:gd name="T19" fmla="*/ 0 h 221"/>
                <a:gd name="T20" fmla="*/ 0 w 226"/>
                <a:gd name="T21" fmla="*/ 0 h 221"/>
                <a:gd name="T22" fmla="*/ 0 w 226"/>
                <a:gd name="T23" fmla="*/ 0 h 221"/>
                <a:gd name="T24" fmla="*/ 0 w 226"/>
                <a:gd name="T25" fmla="*/ 0 h 221"/>
                <a:gd name="T26" fmla="*/ 0 w 226"/>
                <a:gd name="T27" fmla="*/ 0 h 221"/>
                <a:gd name="T28" fmla="*/ 0 w 226"/>
                <a:gd name="T29" fmla="*/ 0 h 221"/>
                <a:gd name="T30" fmla="*/ 0 w 226"/>
                <a:gd name="T31" fmla="*/ 0 h 221"/>
                <a:gd name="T32" fmla="*/ 0 w 226"/>
                <a:gd name="T33" fmla="*/ 0 h 221"/>
                <a:gd name="T34" fmla="*/ 0 w 226"/>
                <a:gd name="T35" fmla="*/ 0 h 221"/>
                <a:gd name="T36" fmla="*/ 0 w 226"/>
                <a:gd name="T37" fmla="*/ 0 h 221"/>
                <a:gd name="T38" fmla="*/ 0 w 226"/>
                <a:gd name="T39" fmla="*/ 0 h 221"/>
                <a:gd name="T40" fmla="*/ 0 w 226"/>
                <a:gd name="T41" fmla="*/ 0 h 221"/>
                <a:gd name="T42" fmla="*/ 0 w 226"/>
                <a:gd name="T43" fmla="*/ 0 h 221"/>
                <a:gd name="T44" fmla="*/ 0 w 226"/>
                <a:gd name="T45" fmla="*/ 0 h 221"/>
                <a:gd name="T46" fmla="*/ 0 w 226"/>
                <a:gd name="T47" fmla="*/ 0 h 221"/>
                <a:gd name="T48" fmla="*/ 0 w 226"/>
                <a:gd name="T49" fmla="*/ 0 h 221"/>
                <a:gd name="T50" fmla="*/ 0 w 226"/>
                <a:gd name="T51" fmla="*/ 0 h 221"/>
                <a:gd name="T52" fmla="*/ 0 w 226"/>
                <a:gd name="T53" fmla="*/ 0 h 221"/>
                <a:gd name="T54" fmla="*/ 0 w 226"/>
                <a:gd name="T55" fmla="*/ 0 h 221"/>
                <a:gd name="T56" fmla="*/ 0 w 226"/>
                <a:gd name="T57" fmla="*/ 0 h 221"/>
                <a:gd name="T58" fmla="*/ 0 w 226"/>
                <a:gd name="T59" fmla="*/ 0 h 221"/>
                <a:gd name="T60" fmla="*/ 0 w 226"/>
                <a:gd name="T61" fmla="*/ 0 h 221"/>
                <a:gd name="T62" fmla="*/ 0 w 226"/>
                <a:gd name="T63" fmla="*/ 0 h 221"/>
                <a:gd name="T64" fmla="*/ 0 w 226"/>
                <a:gd name="T65" fmla="*/ 0 h 221"/>
                <a:gd name="T66" fmla="*/ 0 w 226"/>
                <a:gd name="T67" fmla="*/ 0 h 221"/>
                <a:gd name="T68" fmla="*/ 0 w 226"/>
                <a:gd name="T69" fmla="*/ 0 h 221"/>
                <a:gd name="T70" fmla="*/ 0 w 226"/>
                <a:gd name="T71" fmla="*/ 0 h 221"/>
                <a:gd name="T72" fmla="*/ 0 w 226"/>
                <a:gd name="T73" fmla="*/ 0 h 221"/>
                <a:gd name="T74" fmla="*/ 0 w 226"/>
                <a:gd name="T75" fmla="*/ 0 h 221"/>
                <a:gd name="T76" fmla="*/ 0 w 226"/>
                <a:gd name="T77" fmla="*/ 0 h 221"/>
                <a:gd name="T78" fmla="*/ 0 w 226"/>
                <a:gd name="T79" fmla="*/ 0 h 221"/>
                <a:gd name="T80" fmla="*/ 0 w 226"/>
                <a:gd name="T81" fmla="*/ 0 h 22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26"/>
                <a:gd name="T124" fmla="*/ 0 h 221"/>
                <a:gd name="T125" fmla="*/ 226 w 226"/>
                <a:gd name="T126" fmla="*/ 221 h 22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3" name="Freeform 254">
              <a:extLst>
                <a:ext uri="{FF2B5EF4-FFF2-40B4-BE49-F238E27FC236}">
                  <a16:creationId xmlns:a16="http://schemas.microsoft.com/office/drawing/2014/main" id="{CB139EAC-F9B0-3846-3568-8624290D0056}"/>
                </a:ext>
              </a:extLst>
            </p:cNvPr>
            <p:cNvSpPr>
              <a:spLocks noChangeAspect="1"/>
            </p:cNvSpPr>
            <p:nvPr userDrawn="1"/>
          </p:nvSpPr>
          <p:spPr bwMode="gray">
            <a:xfrm rot="20552049">
              <a:off x="3834620" y="3970611"/>
              <a:ext cx="10447" cy="12193"/>
            </a:xfrm>
            <a:custGeom>
              <a:avLst/>
              <a:gdLst>
                <a:gd name="T0" fmla="*/ 0 w 183"/>
                <a:gd name="T1" fmla="*/ 0 h 93"/>
                <a:gd name="T2" fmla="*/ 0 w 183"/>
                <a:gd name="T3" fmla="*/ 0 h 93"/>
                <a:gd name="T4" fmla="*/ 0 w 183"/>
                <a:gd name="T5" fmla="*/ 0 h 93"/>
                <a:gd name="T6" fmla="*/ 0 w 183"/>
                <a:gd name="T7" fmla="*/ 0 h 93"/>
                <a:gd name="T8" fmla="*/ 0 w 183"/>
                <a:gd name="T9" fmla="*/ 0 h 93"/>
                <a:gd name="T10" fmla="*/ 0 w 183"/>
                <a:gd name="T11" fmla="*/ 0 h 93"/>
                <a:gd name="T12" fmla="*/ 0 w 183"/>
                <a:gd name="T13" fmla="*/ 0 h 93"/>
                <a:gd name="T14" fmla="*/ 0 w 183"/>
                <a:gd name="T15" fmla="*/ 0 h 93"/>
                <a:gd name="T16" fmla="*/ 0 w 183"/>
                <a:gd name="T17" fmla="*/ 0 h 93"/>
                <a:gd name="T18" fmla="*/ 0 w 183"/>
                <a:gd name="T19" fmla="*/ 0 h 93"/>
                <a:gd name="T20" fmla="*/ 0 w 183"/>
                <a:gd name="T21" fmla="*/ 0 h 93"/>
                <a:gd name="T22" fmla="*/ 0 w 183"/>
                <a:gd name="T23" fmla="*/ 0 h 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3"/>
                <a:gd name="T37" fmla="*/ 0 h 93"/>
                <a:gd name="T38" fmla="*/ 183 w 183"/>
                <a:gd name="T39" fmla="*/ 93 h 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4" name="Freeform 255">
              <a:extLst>
                <a:ext uri="{FF2B5EF4-FFF2-40B4-BE49-F238E27FC236}">
                  <a16:creationId xmlns:a16="http://schemas.microsoft.com/office/drawing/2014/main" id="{06510AAB-CCB8-88CF-0531-4E98419B7EED}"/>
                </a:ext>
              </a:extLst>
            </p:cNvPr>
            <p:cNvSpPr>
              <a:spLocks noChangeAspect="1"/>
            </p:cNvSpPr>
            <p:nvPr userDrawn="1"/>
          </p:nvSpPr>
          <p:spPr bwMode="gray">
            <a:xfrm rot="20552049">
              <a:off x="3736126" y="3956893"/>
              <a:ext cx="7462" cy="12193"/>
            </a:xfrm>
            <a:custGeom>
              <a:avLst/>
              <a:gdLst>
                <a:gd name="T0" fmla="*/ 0 w 101"/>
                <a:gd name="T1" fmla="*/ 0 h 102"/>
                <a:gd name="T2" fmla="*/ 0 w 101"/>
                <a:gd name="T3" fmla="*/ 0 h 102"/>
                <a:gd name="T4" fmla="*/ 0 w 101"/>
                <a:gd name="T5" fmla="*/ 0 h 102"/>
                <a:gd name="T6" fmla="*/ 0 w 101"/>
                <a:gd name="T7" fmla="*/ 0 h 102"/>
                <a:gd name="T8" fmla="*/ 0 w 101"/>
                <a:gd name="T9" fmla="*/ 0 h 102"/>
                <a:gd name="T10" fmla="*/ 0 w 101"/>
                <a:gd name="T11" fmla="*/ 0 h 102"/>
                <a:gd name="T12" fmla="*/ 0 w 101"/>
                <a:gd name="T13" fmla="*/ 0 h 102"/>
                <a:gd name="T14" fmla="*/ 0 w 101"/>
                <a:gd name="T15" fmla="*/ 0 h 102"/>
                <a:gd name="T16" fmla="*/ 0 w 101"/>
                <a:gd name="T17" fmla="*/ 0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1"/>
                <a:gd name="T28" fmla="*/ 0 h 102"/>
                <a:gd name="T29" fmla="*/ 101 w 101"/>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1" h="102">
                  <a:moveTo>
                    <a:pt x="24" y="37"/>
                  </a:moveTo>
                  <a:lnTo>
                    <a:pt x="0" y="0"/>
                  </a:lnTo>
                  <a:lnTo>
                    <a:pt x="0" y="10"/>
                  </a:lnTo>
                  <a:lnTo>
                    <a:pt x="5" y="41"/>
                  </a:lnTo>
                  <a:lnTo>
                    <a:pt x="24" y="72"/>
                  </a:lnTo>
                  <a:lnTo>
                    <a:pt x="101" y="102"/>
                  </a:lnTo>
                  <a:lnTo>
                    <a:pt x="101" y="85"/>
                  </a:lnTo>
                  <a:lnTo>
                    <a:pt x="59" y="68"/>
                  </a:lnTo>
                  <a:lnTo>
                    <a:pt x="24" y="3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5" name="Freeform 256">
              <a:extLst>
                <a:ext uri="{FF2B5EF4-FFF2-40B4-BE49-F238E27FC236}">
                  <a16:creationId xmlns:a16="http://schemas.microsoft.com/office/drawing/2014/main" id="{DA356E7F-B8BF-32C1-F246-291244F4DED6}"/>
                </a:ext>
              </a:extLst>
            </p:cNvPr>
            <p:cNvSpPr>
              <a:spLocks noChangeAspect="1"/>
            </p:cNvSpPr>
            <p:nvPr userDrawn="1"/>
          </p:nvSpPr>
          <p:spPr bwMode="gray">
            <a:xfrm rot="20552049">
              <a:off x="3749557" y="3953845"/>
              <a:ext cx="4477" cy="10669"/>
            </a:xfrm>
            <a:custGeom>
              <a:avLst/>
              <a:gdLst>
                <a:gd name="T0" fmla="*/ 0 w 69"/>
                <a:gd name="T1" fmla="*/ 0 h 85"/>
                <a:gd name="T2" fmla="*/ 0 w 69"/>
                <a:gd name="T3" fmla="*/ 0 h 85"/>
                <a:gd name="T4" fmla="*/ 0 w 69"/>
                <a:gd name="T5" fmla="*/ 0 h 85"/>
                <a:gd name="T6" fmla="*/ 0 w 69"/>
                <a:gd name="T7" fmla="*/ 0 h 85"/>
                <a:gd name="T8" fmla="*/ 0 w 69"/>
                <a:gd name="T9" fmla="*/ 0 h 85"/>
                <a:gd name="T10" fmla="*/ 0 w 69"/>
                <a:gd name="T11" fmla="*/ 0 h 85"/>
                <a:gd name="T12" fmla="*/ 0 w 69"/>
                <a:gd name="T13" fmla="*/ 0 h 85"/>
                <a:gd name="T14" fmla="*/ 0 w 69"/>
                <a:gd name="T15" fmla="*/ 0 h 85"/>
                <a:gd name="T16" fmla="*/ 0 w 69"/>
                <a:gd name="T17" fmla="*/ 0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85"/>
                <a:gd name="T29" fmla="*/ 69 w 69"/>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85">
                  <a:moveTo>
                    <a:pt x="20" y="17"/>
                  </a:moveTo>
                  <a:lnTo>
                    <a:pt x="0" y="0"/>
                  </a:lnTo>
                  <a:lnTo>
                    <a:pt x="13" y="26"/>
                  </a:lnTo>
                  <a:lnTo>
                    <a:pt x="38" y="51"/>
                  </a:lnTo>
                  <a:lnTo>
                    <a:pt x="52" y="82"/>
                  </a:lnTo>
                  <a:lnTo>
                    <a:pt x="62" y="85"/>
                  </a:lnTo>
                  <a:lnTo>
                    <a:pt x="69" y="38"/>
                  </a:lnTo>
                  <a:lnTo>
                    <a:pt x="52" y="23"/>
                  </a:lnTo>
                  <a:lnTo>
                    <a:pt x="20" y="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6" name="Freeform 257">
              <a:extLst>
                <a:ext uri="{FF2B5EF4-FFF2-40B4-BE49-F238E27FC236}">
                  <a16:creationId xmlns:a16="http://schemas.microsoft.com/office/drawing/2014/main" id="{C5F68587-AE56-3C78-AE13-75489DE7F310}"/>
                </a:ext>
              </a:extLst>
            </p:cNvPr>
            <p:cNvSpPr>
              <a:spLocks noChangeAspect="1"/>
            </p:cNvSpPr>
            <p:nvPr userDrawn="1"/>
          </p:nvSpPr>
          <p:spPr bwMode="gray">
            <a:xfrm>
              <a:off x="3206345" y="3870012"/>
              <a:ext cx="126849" cy="131083"/>
            </a:xfrm>
            <a:custGeom>
              <a:avLst/>
              <a:gdLst>
                <a:gd name="T0" fmla="*/ 2147483647 w 234"/>
                <a:gd name="T1" fmla="*/ 0 h 236"/>
                <a:gd name="T2" fmla="*/ 2147483647 w 234"/>
                <a:gd name="T3" fmla="*/ 0 h 236"/>
                <a:gd name="T4" fmla="*/ 2147483647 w 234"/>
                <a:gd name="T5" fmla="*/ 0 h 236"/>
                <a:gd name="T6" fmla="*/ 2147483647 w 234"/>
                <a:gd name="T7" fmla="*/ 0 h 236"/>
                <a:gd name="T8" fmla="*/ 2147483647 w 234"/>
                <a:gd name="T9" fmla="*/ 0 h 236"/>
                <a:gd name="T10" fmla="*/ 2147483647 w 234"/>
                <a:gd name="T11" fmla="*/ 0 h 236"/>
                <a:gd name="T12" fmla="*/ 2147483647 w 234"/>
                <a:gd name="T13" fmla="*/ 0 h 236"/>
                <a:gd name="T14" fmla="*/ 2147483647 w 234"/>
                <a:gd name="T15" fmla="*/ 0 h 236"/>
                <a:gd name="T16" fmla="*/ 2147483647 w 234"/>
                <a:gd name="T17" fmla="*/ 0 h 236"/>
                <a:gd name="T18" fmla="*/ 2147483647 w 234"/>
                <a:gd name="T19" fmla="*/ 0 h 236"/>
                <a:gd name="T20" fmla="*/ 2147483647 w 234"/>
                <a:gd name="T21" fmla="*/ 0 h 236"/>
                <a:gd name="T22" fmla="*/ 2147483647 w 234"/>
                <a:gd name="T23" fmla="*/ 0 h 236"/>
                <a:gd name="T24" fmla="*/ 2147483647 w 234"/>
                <a:gd name="T25" fmla="*/ 0 h 236"/>
                <a:gd name="T26" fmla="*/ 2147483647 w 234"/>
                <a:gd name="T27" fmla="*/ 0 h 236"/>
                <a:gd name="T28" fmla="*/ 2147483647 w 234"/>
                <a:gd name="T29" fmla="*/ 0 h 236"/>
                <a:gd name="T30" fmla="*/ 0 w 234"/>
                <a:gd name="T31" fmla="*/ 0 h 236"/>
                <a:gd name="T32" fmla="*/ 0 w 234"/>
                <a:gd name="T33" fmla="*/ 2147483647 h 236"/>
                <a:gd name="T34" fmla="*/ 0 w 234"/>
                <a:gd name="T35" fmla="*/ 2147483647 h 236"/>
                <a:gd name="T36" fmla="*/ 0 w 234"/>
                <a:gd name="T37" fmla="*/ 2147483647 h 236"/>
                <a:gd name="T38" fmla="*/ 0 w 234"/>
                <a:gd name="T39" fmla="*/ 2147483647 h 236"/>
                <a:gd name="T40" fmla="*/ 0 w 234"/>
                <a:gd name="T41" fmla="*/ 2147483647 h 236"/>
                <a:gd name="T42" fmla="*/ 0 w 234"/>
                <a:gd name="T43" fmla="*/ 2147483647 h 236"/>
                <a:gd name="T44" fmla="*/ 2147483647 w 234"/>
                <a:gd name="T45" fmla="*/ 2147483647 h 236"/>
                <a:gd name="T46" fmla="*/ 2147483647 w 234"/>
                <a:gd name="T47" fmla="*/ 2147483647 h 236"/>
                <a:gd name="T48" fmla="*/ 2147483647 w 234"/>
                <a:gd name="T49" fmla="*/ 2147483647 h 236"/>
                <a:gd name="T50" fmla="*/ 2147483647 w 234"/>
                <a:gd name="T51" fmla="*/ 2147483647 h 236"/>
                <a:gd name="T52" fmla="*/ 2147483647 w 234"/>
                <a:gd name="T53" fmla="*/ 2147483647 h 236"/>
                <a:gd name="T54" fmla="*/ 2147483647 w 234"/>
                <a:gd name="T55" fmla="*/ 2147483647 h 236"/>
                <a:gd name="T56" fmla="*/ 2147483647 w 234"/>
                <a:gd name="T57" fmla="*/ 2147483647 h 236"/>
                <a:gd name="T58" fmla="*/ 2147483647 w 234"/>
                <a:gd name="T59" fmla="*/ 2147483647 h 236"/>
                <a:gd name="T60" fmla="*/ 2147483647 w 234"/>
                <a:gd name="T61" fmla="*/ 2147483647 h 236"/>
                <a:gd name="T62" fmla="*/ 2147483647 w 234"/>
                <a:gd name="T63" fmla="*/ 2147483647 h 236"/>
                <a:gd name="T64" fmla="*/ 2147483647 w 234"/>
                <a:gd name="T65" fmla="*/ 2147483647 h 236"/>
                <a:gd name="T66" fmla="*/ 2147483647 w 234"/>
                <a:gd name="T67" fmla="*/ 2147483647 h 236"/>
                <a:gd name="T68" fmla="*/ 2147483647 w 234"/>
                <a:gd name="T69" fmla="*/ 2147483647 h 236"/>
                <a:gd name="T70" fmla="*/ 2147483647 w 234"/>
                <a:gd name="T71" fmla="*/ 2147483647 h 236"/>
                <a:gd name="T72" fmla="*/ 2147483647 w 234"/>
                <a:gd name="T73" fmla="*/ 2147483647 h 236"/>
                <a:gd name="T74" fmla="*/ 2147483647 w 234"/>
                <a:gd name="T75" fmla="*/ 0 h 236"/>
                <a:gd name="T76" fmla="*/ 2147483647 w 234"/>
                <a:gd name="T77" fmla="*/ 0 h 2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4"/>
                <a:gd name="T118" fmla="*/ 0 h 236"/>
                <a:gd name="T119" fmla="*/ 234 w 234"/>
                <a:gd name="T120" fmla="*/ 236 h 2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7" name="Freeform 258">
              <a:extLst>
                <a:ext uri="{FF2B5EF4-FFF2-40B4-BE49-F238E27FC236}">
                  <a16:creationId xmlns:a16="http://schemas.microsoft.com/office/drawing/2014/main" id="{02680707-9203-CA97-DE40-B3210C4C3AA1}"/>
                </a:ext>
              </a:extLst>
            </p:cNvPr>
            <p:cNvSpPr>
              <a:spLocks noChangeAspect="1"/>
            </p:cNvSpPr>
            <p:nvPr userDrawn="1"/>
          </p:nvSpPr>
          <p:spPr bwMode="gray">
            <a:xfrm>
              <a:off x="3340656" y="4040725"/>
              <a:ext cx="170127" cy="77735"/>
            </a:xfrm>
            <a:custGeom>
              <a:avLst/>
              <a:gdLst>
                <a:gd name="T0" fmla="*/ 0 w 318"/>
                <a:gd name="T1" fmla="*/ 0 h 135"/>
                <a:gd name="T2" fmla="*/ 0 w 318"/>
                <a:gd name="T3" fmla="*/ 0 h 135"/>
                <a:gd name="T4" fmla="*/ 0 w 318"/>
                <a:gd name="T5" fmla="*/ 0 h 135"/>
                <a:gd name="T6" fmla="*/ 0 w 318"/>
                <a:gd name="T7" fmla="*/ 0 h 135"/>
                <a:gd name="T8" fmla="*/ 0 w 318"/>
                <a:gd name="T9" fmla="*/ 0 h 135"/>
                <a:gd name="T10" fmla="*/ 0 w 318"/>
                <a:gd name="T11" fmla="*/ 2147483647 h 135"/>
                <a:gd name="T12" fmla="*/ 0 w 318"/>
                <a:gd name="T13" fmla="*/ 0 h 135"/>
                <a:gd name="T14" fmla="*/ 2147483647 w 318"/>
                <a:gd name="T15" fmla="*/ 2147483647 h 135"/>
                <a:gd name="T16" fmla="*/ 2147483647 w 318"/>
                <a:gd name="T17" fmla="*/ 2147483647 h 135"/>
                <a:gd name="T18" fmla="*/ 2147483647 w 318"/>
                <a:gd name="T19" fmla="*/ 2147483647 h 135"/>
                <a:gd name="T20" fmla="*/ 2147483647 w 318"/>
                <a:gd name="T21" fmla="*/ 2147483647 h 135"/>
                <a:gd name="T22" fmla="*/ 2147483647 w 318"/>
                <a:gd name="T23" fmla="*/ 2147483647 h 135"/>
                <a:gd name="T24" fmla="*/ 2147483647 w 318"/>
                <a:gd name="T25" fmla="*/ 2147483647 h 135"/>
                <a:gd name="T26" fmla="*/ 2147483647 w 318"/>
                <a:gd name="T27" fmla="*/ 2147483647 h 135"/>
                <a:gd name="T28" fmla="*/ 2147483647 w 318"/>
                <a:gd name="T29" fmla="*/ 2147483647 h 135"/>
                <a:gd name="T30" fmla="*/ 2147483647 w 318"/>
                <a:gd name="T31" fmla="*/ 2147483647 h 135"/>
                <a:gd name="T32" fmla="*/ 2147483647 w 318"/>
                <a:gd name="T33" fmla="*/ 0 h 135"/>
                <a:gd name="T34" fmla="*/ 2147483647 w 318"/>
                <a:gd name="T35" fmla="*/ 0 h 135"/>
                <a:gd name="T36" fmla="*/ 2147483647 w 318"/>
                <a:gd name="T37" fmla="*/ 0 h 135"/>
                <a:gd name="T38" fmla="*/ 2147483647 w 318"/>
                <a:gd name="T39" fmla="*/ 0 h 135"/>
                <a:gd name="T40" fmla="*/ 2147483647 w 318"/>
                <a:gd name="T41" fmla="*/ 0 h 135"/>
                <a:gd name="T42" fmla="*/ 2147483647 w 318"/>
                <a:gd name="T43" fmla="*/ 0 h 135"/>
                <a:gd name="T44" fmla="*/ 2147483647 w 318"/>
                <a:gd name="T45" fmla="*/ 2147483647 h 135"/>
                <a:gd name="T46" fmla="*/ 2147483647 w 318"/>
                <a:gd name="T47" fmla="*/ 2147483647 h 135"/>
                <a:gd name="T48" fmla="*/ 2147483647 w 318"/>
                <a:gd name="T49" fmla="*/ 2147483647 h 135"/>
                <a:gd name="T50" fmla="*/ 2147483647 w 318"/>
                <a:gd name="T51" fmla="*/ 2147483647 h 135"/>
                <a:gd name="T52" fmla="*/ 2147483647 w 318"/>
                <a:gd name="T53" fmla="*/ 2147483647 h 135"/>
                <a:gd name="T54" fmla="*/ 2147483647 w 318"/>
                <a:gd name="T55" fmla="*/ 2147483647 h 135"/>
                <a:gd name="T56" fmla="*/ 2147483647 w 318"/>
                <a:gd name="T57" fmla="*/ 2147483647 h 135"/>
                <a:gd name="T58" fmla="*/ 2147483647 w 318"/>
                <a:gd name="T59" fmla="*/ 0 h 135"/>
                <a:gd name="T60" fmla="*/ 2147483647 w 318"/>
                <a:gd name="T61" fmla="*/ 0 h 135"/>
                <a:gd name="T62" fmla="*/ 2147483647 w 318"/>
                <a:gd name="T63" fmla="*/ 0 h 135"/>
                <a:gd name="T64" fmla="*/ 2147483647 w 318"/>
                <a:gd name="T65" fmla="*/ 0 h 135"/>
                <a:gd name="T66" fmla="*/ 2147483647 w 318"/>
                <a:gd name="T67" fmla="*/ 0 h 135"/>
                <a:gd name="T68" fmla="*/ 2147483647 w 318"/>
                <a:gd name="T69" fmla="*/ 0 h 135"/>
                <a:gd name="T70" fmla="*/ 2147483647 w 318"/>
                <a:gd name="T71" fmla="*/ 0 h 135"/>
                <a:gd name="T72" fmla="*/ 2147483647 w 318"/>
                <a:gd name="T73" fmla="*/ 0 h 135"/>
                <a:gd name="T74" fmla="*/ 2147483647 w 318"/>
                <a:gd name="T75" fmla="*/ 0 h 135"/>
                <a:gd name="T76" fmla="*/ 2147483647 w 318"/>
                <a:gd name="T77" fmla="*/ 0 h 135"/>
                <a:gd name="T78" fmla="*/ 2147483647 w 318"/>
                <a:gd name="T79" fmla="*/ 0 h 135"/>
                <a:gd name="T80" fmla="*/ 0 w 318"/>
                <a:gd name="T81" fmla="*/ 0 h 135"/>
                <a:gd name="T82" fmla="*/ 0 w 318"/>
                <a:gd name="T83" fmla="*/ 0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18"/>
                <a:gd name="T127" fmla="*/ 0 h 135"/>
                <a:gd name="T128" fmla="*/ 318 w 318"/>
                <a:gd name="T129" fmla="*/ 135 h 13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8" name="Freeform 259">
              <a:extLst>
                <a:ext uri="{FF2B5EF4-FFF2-40B4-BE49-F238E27FC236}">
                  <a16:creationId xmlns:a16="http://schemas.microsoft.com/office/drawing/2014/main" id="{07B96744-2A48-7705-060C-E5E448478FCF}"/>
                </a:ext>
              </a:extLst>
            </p:cNvPr>
            <p:cNvSpPr>
              <a:spLocks noChangeAspect="1"/>
            </p:cNvSpPr>
            <p:nvPr userDrawn="1"/>
          </p:nvSpPr>
          <p:spPr bwMode="gray">
            <a:xfrm>
              <a:off x="3070541" y="3777036"/>
              <a:ext cx="114911" cy="135655"/>
            </a:xfrm>
            <a:custGeom>
              <a:avLst/>
              <a:gdLst>
                <a:gd name="T0" fmla="*/ 2147483647 w 212"/>
                <a:gd name="T1" fmla="*/ 0 h 235"/>
                <a:gd name="T2" fmla="*/ 0 w 212"/>
                <a:gd name="T3" fmla="*/ 0 h 235"/>
                <a:gd name="T4" fmla="*/ 2147483647 w 212"/>
                <a:gd name="T5" fmla="*/ 0 h 235"/>
                <a:gd name="T6" fmla="*/ 2147483647 w 212"/>
                <a:gd name="T7" fmla="*/ 0 h 235"/>
                <a:gd name="T8" fmla="*/ 2147483647 w 212"/>
                <a:gd name="T9" fmla="*/ 2147483647 h 235"/>
                <a:gd name="T10" fmla="*/ 2147483647 w 212"/>
                <a:gd name="T11" fmla="*/ 2147483647 h 235"/>
                <a:gd name="T12" fmla="*/ 2147483647 w 212"/>
                <a:gd name="T13" fmla="*/ 2147483647 h 235"/>
                <a:gd name="T14" fmla="*/ 0 w 212"/>
                <a:gd name="T15" fmla="*/ 2147483647 h 235"/>
                <a:gd name="T16" fmla="*/ 0 w 212"/>
                <a:gd name="T17" fmla="*/ 2147483647 h 235"/>
                <a:gd name="T18" fmla="*/ 0 w 212"/>
                <a:gd name="T19" fmla="*/ 2147483647 h 235"/>
                <a:gd name="T20" fmla="*/ 0 w 212"/>
                <a:gd name="T21" fmla="*/ 2147483647 h 235"/>
                <a:gd name="T22" fmla="*/ 0 w 212"/>
                <a:gd name="T23" fmla="*/ 2147483647 h 235"/>
                <a:gd name="T24" fmla="*/ 0 w 212"/>
                <a:gd name="T25" fmla="*/ 2147483647 h 235"/>
                <a:gd name="T26" fmla="*/ 0 w 212"/>
                <a:gd name="T27" fmla="*/ 2147483647 h 235"/>
                <a:gd name="T28" fmla="*/ 0 w 212"/>
                <a:gd name="T29" fmla="*/ 2147483647 h 235"/>
                <a:gd name="T30" fmla="*/ 0 w 212"/>
                <a:gd name="T31" fmla="*/ 2147483647 h 235"/>
                <a:gd name="T32" fmla="*/ 2147483647 w 212"/>
                <a:gd name="T33" fmla="*/ 2147483647 h 235"/>
                <a:gd name="T34" fmla="*/ 2147483647 w 212"/>
                <a:gd name="T35" fmla="*/ 2147483647 h 235"/>
                <a:gd name="T36" fmla="*/ 2147483647 w 212"/>
                <a:gd name="T37" fmla="*/ 2147483647 h 235"/>
                <a:gd name="T38" fmla="*/ 2147483647 w 212"/>
                <a:gd name="T39" fmla="*/ 2147483647 h 235"/>
                <a:gd name="T40" fmla="*/ 2147483647 w 212"/>
                <a:gd name="T41" fmla="*/ 2147483647 h 235"/>
                <a:gd name="T42" fmla="*/ 2147483647 w 212"/>
                <a:gd name="T43" fmla="*/ 2147483647 h 235"/>
                <a:gd name="T44" fmla="*/ 2147483647 w 212"/>
                <a:gd name="T45" fmla="*/ 2147483647 h 235"/>
                <a:gd name="T46" fmla="*/ 2147483647 w 212"/>
                <a:gd name="T47" fmla="*/ 2147483647 h 235"/>
                <a:gd name="T48" fmla="*/ 2147483647 w 212"/>
                <a:gd name="T49" fmla="*/ 2147483647 h 235"/>
                <a:gd name="T50" fmla="*/ 2147483647 w 212"/>
                <a:gd name="T51" fmla="*/ 2147483647 h 235"/>
                <a:gd name="T52" fmla="*/ 2147483647 w 212"/>
                <a:gd name="T53" fmla="*/ 2147483647 h 235"/>
                <a:gd name="T54" fmla="*/ 2147483647 w 212"/>
                <a:gd name="T55" fmla="*/ 2147483647 h 235"/>
                <a:gd name="T56" fmla="*/ 2147483647 w 212"/>
                <a:gd name="T57" fmla="*/ 2147483647 h 235"/>
                <a:gd name="T58" fmla="*/ 2147483647 w 212"/>
                <a:gd name="T59" fmla="*/ 2147483647 h 235"/>
                <a:gd name="T60" fmla="*/ 2147483647 w 212"/>
                <a:gd name="T61" fmla="*/ 2147483647 h 235"/>
                <a:gd name="T62" fmla="*/ 2147483647 w 212"/>
                <a:gd name="T63" fmla="*/ 2147483647 h 235"/>
                <a:gd name="T64" fmla="*/ 2147483647 w 212"/>
                <a:gd name="T65" fmla="*/ 2147483647 h 235"/>
                <a:gd name="T66" fmla="*/ 2147483647 w 212"/>
                <a:gd name="T67" fmla="*/ 2147483647 h 235"/>
                <a:gd name="T68" fmla="*/ 2147483647 w 212"/>
                <a:gd name="T69" fmla="*/ 2147483647 h 235"/>
                <a:gd name="T70" fmla="*/ 2147483647 w 212"/>
                <a:gd name="T71" fmla="*/ 2147483647 h 235"/>
                <a:gd name="T72" fmla="*/ 2147483647 w 212"/>
                <a:gd name="T73" fmla="*/ 2147483647 h 235"/>
                <a:gd name="T74" fmla="*/ 2147483647 w 212"/>
                <a:gd name="T75" fmla="*/ 0 h 2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2"/>
                <a:gd name="T115" fmla="*/ 0 h 235"/>
                <a:gd name="T116" fmla="*/ 212 w 212"/>
                <a:gd name="T117" fmla="*/ 235 h 2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39" name="Freeform 260">
              <a:extLst>
                <a:ext uri="{FF2B5EF4-FFF2-40B4-BE49-F238E27FC236}">
                  <a16:creationId xmlns:a16="http://schemas.microsoft.com/office/drawing/2014/main" id="{CDBEA2D9-BDB3-15FE-57B8-A0A727A33CF4}"/>
                </a:ext>
              </a:extLst>
            </p:cNvPr>
            <p:cNvSpPr>
              <a:spLocks noChangeAspect="1"/>
            </p:cNvSpPr>
            <p:nvPr userDrawn="1"/>
          </p:nvSpPr>
          <p:spPr bwMode="gray">
            <a:xfrm>
              <a:off x="3160082" y="3760269"/>
              <a:ext cx="31340" cy="82308"/>
            </a:xfrm>
            <a:custGeom>
              <a:avLst/>
              <a:gdLst>
                <a:gd name="T0" fmla="*/ 0 w 62"/>
                <a:gd name="T1" fmla="*/ 0 h 145"/>
                <a:gd name="T2" fmla="*/ 0 w 62"/>
                <a:gd name="T3" fmla="*/ 0 h 145"/>
                <a:gd name="T4" fmla="*/ 0 w 62"/>
                <a:gd name="T5" fmla="*/ 0 h 145"/>
                <a:gd name="T6" fmla="*/ 0 w 62"/>
                <a:gd name="T7" fmla="*/ 0 h 145"/>
                <a:gd name="T8" fmla="*/ 0 w 62"/>
                <a:gd name="T9" fmla="*/ 0 h 145"/>
                <a:gd name="T10" fmla="*/ 0 w 62"/>
                <a:gd name="T11" fmla="*/ 0 h 145"/>
                <a:gd name="T12" fmla="*/ 0 w 62"/>
                <a:gd name="T13" fmla="*/ 2147483647 h 145"/>
                <a:gd name="T14" fmla="*/ 0 w 62"/>
                <a:gd name="T15" fmla="*/ 2147483647 h 145"/>
                <a:gd name="T16" fmla="*/ 0 w 62"/>
                <a:gd name="T17" fmla="*/ 2147483647 h 145"/>
                <a:gd name="T18" fmla="*/ 0 w 62"/>
                <a:gd name="T19" fmla="*/ 2147483647 h 145"/>
                <a:gd name="T20" fmla="*/ 0 w 62"/>
                <a:gd name="T21" fmla="*/ 2147483647 h 145"/>
                <a:gd name="T22" fmla="*/ 0 w 62"/>
                <a:gd name="T23" fmla="*/ 2147483647 h 145"/>
                <a:gd name="T24" fmla="*/ 0 w 62"/>
                <a:gd name="T25" fmla="*/ 2147483647 h 145"/>
                <a:gd name="T26" fmla="*/ 0 w 62"/>
                <a:gd name="T27" fmla="*/ 2147483647 h 145"/>
                <a:gd name="T28" fmla="*/ 0 w 62"/>
                <a:gd name="T29" fmla="*/ 2147483647 h 145"/>
                <a:gd name="T30" fmla="*/ 0 w 62"/>
                <a:gd name="T31" fmla="*/ 2147483647 h 145"/>
                <a:gd name="T32" fmla="*/ 0 w 62"/>
                <a:gd name="T33" fmla="*/ 2147483647 h 145"/>
                <a:gd name="T34" fmla="*/ 0 w 62"/>
                <a:gd name="T35" fmla="*/ 2147483647 h 145"/>
                <a:gd name="T36" fmla="*/ 0 w 62"/>
                <a:gd name="T37" fmla="*/ 2147483647 h 145"/>
                <a:gd name="T38" fmla="*/ 0 w 62"/>
                <a:gd name="T39" fmla="*/ 2147483647 h 145"/>
                <a:gd name="T40" fmla="*/ 0 w 62"/>
                <a:gd name="T41" fmla="*/ 2147483647 h 145"/>
                <a:gd name="T42" fmla="*/ 0 w 62"/>
                <a:gd name="T43" fmla="*/ 0 h 145"/>
                <a:gd name="T44" fmla="*/ 0 w 62"/>
                <a:gd name="T45" fmla="*/ 0 h 145"/>
                <a:gd name="T46" fmla="*/ 0 w 62"/>
                <a:gd name="T47" fmla="*/ 0 h 145"/>
                <a:gd name="T48" fmla="*/ 0 w 62"/>
                <a:gd name="T49" fmla="*/ 0 h 145"/>
                <a:gd name="T50" fmla="*/ 0 w 62"/>
                <a:gd name="T51" fmla="*/ 0 h 145"/>
                <a:gd name="T52" fmla="*/ 0 w 62"/>
                <a:gd name="T53" fmla="*/ 0 h 145"/>
                <a:gd name="T54" fmla="*/ 0 w 62"/>
                <a:gd name="T55" fmla="*/ 0 h 145"/>
                <a:gd name="T56" fmla="*/ 0 w 62"/>
                <a:gd name="T57" fmla="*/ 0 h 1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2"/>
                <a:gd name="T88" fmla="*/ 0 h 145"/>
                <a:gd name="T89" fmla="*/ 62 w 62"/>
                <a:gd name="T90" fmla="*/ 145 h 1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0" name="Freeform 261">
              <a:extLst>
                <a:ext uri="{FF2B5EF4-FFF2-40B4-BE49-F238E27FC236}">
                  <a16:creationId xmlns:a16="http://schemas.microsoft.com/office/drawing/2014/main" id="{28BDCE54-47B1-41E7-D740-21765F67DEA6}"/>
                </a:ext>
              </a:extLst>
            </p:cNvPr>
            <p:cNvSpPr>
              <a:spLocks noChangeAspect="1"/>
            </p:cNvSpPr>
            <p:nvPr userDrawn="1"/>
          </p:nvSpPr>
          <p:spPr bwMode="gray">
            <a:xfrm>
              <a:off x="3134712" y="3889828"/>
              <a:ext cx="67155" cy="39630"/>
            </a:xfrm>
            <a:custGeom>
              <a:avLst/>
              <a:gdLst>
                <a:gd name="T0" fmla="*/ 0 w 125"/>
                <a:gd name="T1" fmla="*/ 0 h 71"/>
                <a:gd name="T2" fmla="*/ 0 w 125"/>
                <a:gd name="T3" fmla="*/ 0 h 71"/>
                <a:gd name="T4" fmla="*/ 0 w 125"/>
                <a:gd name="T5" fmla="*/ 0 h 71"/>
                <a:gd name="T6" fmla="*/ 0 w 125"/>
                <a:gd name="T7" fmla="*/ 0 h 71"/>
                <a:gd name="T8" fmla="*/ 0 w 125"/>
                <a:gd name="T9" fmla="*/ 0 h 71"/>
                <a:gd name="T10" fmla="*/ 0 w 125"/>
                <a:gd name="T11" fmla="*/ 0 h 71"/>
                <a:gd name="T12" fmla="*/ 0 w 125"/>
                <a:gd name="T13" fmla="*/ 0 h 71"/>
                <a:gd name="T14" fmla="*/ 0 w 125"/>
                <a:gd name="T15" fmla="*/ 0 h 71"/>
                <a:gd name="T16" fmla="*/ 0 w 125"/>
                <a:gd name="T17" fmla="*/ 0 h 71"/>
                <a:gd name="T18" fmla="*/ 0 w 125"/>
                <a:gd name="T19" fmla="*/ 0 h 71"/>
                <a:gd name="T20" fmla="*/ 0 w 125"/>
                <a:gd name="T21" fmla="*/ 0 h 71"/>
                <a:gd name="T22" fmla="*/ 0 w 125"/>
                <a:gd name="T23" fmla="*/ 0 h 71"/>
                <a:gd name="T24" fmla="*/ 0 w 125"/>
                <a:gd name="T25" fmla="*/ 0 h 71"/>
                <a:gd name="T26" fmla="*/ 2147483647 w 125"/>
                <a:gd name="T27" fmla="*/ 0 h 71"/>
                <a:gd name="T28" fmla="*/ 2147483647 w 125"/>
                <a:gd name="T29" fmla="*/ 0 h 71"/>
                <a:gd name="T30" fmla="*/ 2147483647 w 125"/>
                <a:gd name="T31" fmla="*/ 0 h 71"/>
                <a:gd name="T32" fmla="*/ 2147483647 w 125"/>
                <a:gd name="T33" fmla="*/ 0 h 71"/>
                <a:gd name="T34" fmla="*/ 2147483647 w 125"/>
                <a:gd name="T35" fmla="*/ 0 h 71"/>
                <a:gd name="T36" fmla="*/ 2147483647 w 125"/>
                <a:gd name="T37" fmla="*/ 0 h 71"/>
                <a:gd name="T38" fmla="*/ 2147483647 w 125"/>
                <a:gd name="T39" fmla="*/ 0 h 71"/>
                <a:gd name="T40" fmla="*/ 2147483647 w 125"/>
                <a:gd name="T41" fmla="*/ 0 h 71"/>
                <a:gd name="T42" fmla="*/ 2147483647 w 125"/>
                <a:gd name="T43" fmla="*/ 0 h 71"/>
                <a:gd name="T44" fmla="*/ 2147483647 w 125"/>
                <a:gd name="T45" fmla="*/ 0 h 71"/>
                <a:gd name="T46" fmla="*/ 2147483647 w 125"/>
                <a:gd name="T47" fmla="*/ 0 h 71"/>
                <a:gd name="T48" fmla="*/ 2147483647 w 125"/>
                <a:gd name="T49" fmla="*/ 0 h 71"/>
                <a:gd name="T50" fmla="*/ 2147483647 w 125"/>
                <a:gd name="T51" fmla="*/ 0 h 71"/>
                <a:gd name="T52" fmla="*/ 2147483647 w 125"/>
                <a:gd name="T53" fmla="*/ 0 h 71"/>
                <a:gd name="T54" fmla="*/ 2147483647 w 125"/>
                <a:gd name="T55" fmla="*/ 0 h 71"/>
                <a:gd name="T56" fmla="*/ 2147483647 w 125"/>
                <a:gd name="T57" fmla="*/ 0 h 71"/>
                <a:gd name="T58" fmla="*/ 2147483647 w 125"/>
                <a:gd name="T59" fmla="*/ 0 h 71"/>
                <a:gd name="T60" fmla="*/ 2147483647 w 125"/>
                <a:gd name="T61" fmla="*/ 0 h 71"/>
                <a:gd name="T62" fmla="*/ 2147483647 w 125"/>
                <a:gd name="T63" fmla="*/ 0 h 71"/>
                <a:gd name="T64" fmla="*/ 2147483647 w 125"/>
                <a:gd name="T65" fmla="*/ 0 h 71"/>
                <a:gd name="T66" fmla="*/ 2147483647 w 125"/>
                <a:gd name="T67" fmla="*/ 0 h 71"/>
                <a:gd name="T68" fmla="*/ 2147483647 w 125"/>
                <a:gd name="T69" fmla="*/ 0 h 71"/>
                <a:gd name="T70" fmla="*/ 2147483647 w 125"/>
                <a:gd name="T71" fmla="*/ 0 h 71"/>
                <a:gd name="T72" fmla="*/ 2147483647 w 125"/>
                <a:gd name="T73" fmla="*/ 0 h 71"/>
                <a:gd name="T74" fmla="*/ 0 w 125"/>
                <a:gd name="T75" fmla="*/ 0 h 71"/>
                <a:gd name="T76" fmla="*/ 0 w 125"/>
                <a:gd name="T77" fmla="*/ 0 h 7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5"/>
                <a:gd name="T118" fmla="*/ 0 h 71"/>
                <a:gd name="T119" fmla="*/ 125 w 125"/>
                <a:gd name="T120" fmla="*/ 71 h 7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1" name="Freeform 262">
              <a:extLst>
                <a:ext uri="{FF2B5EF4-FFF2-40B4-BE49-F238E27FC236}">
                  <a16:creationId xmlns:a16="http://schemas.microsoft.com/office/drawing/2014/main" id="{748AF516-1B5E-819B-CFC8-1DA489BB32B7}"/>
                </a:ext>
              </a:extLst>
            </p:cNvPr>
            <p:cNvSpPr>
              <a:spLocks noChangeAspect="1"/>
            </p:cNvSpPr>
            <p:nvPr userDrawn="1"/>
          </p:nvSpPr>
          <p:spPr bwMode="gray">
            <a:xfrm>
              <a:off x="3257084" y="3991950"/>
              <a:ext cx="97002" cy="91453"/>
            </a:xfrm>
            <a:custGeom>
              <a:avLst/>
              <a:gdLst>
                <a:gd name="T0" fmla="*/ 2147483647 w 180"/>
                <a:gd name="T1" fmla="*/ 0 h 157"/>
                <a:gd name="T2" fmla="*/ 2147483647 w 180"/>
                <a:gd name="T3" fmla="*/ 0 h 157"/>
                <a:gd name="T4" fmla="*/ 2147483647 w 180"/>
                <a:gd name="T5" fmla="*/ 0 h 157"/>
                <a:gd name="T6" fmla="*/ 2147483647 w 180"/>
                <a:gd name="T7" fmla="*/ 0 h 157"/>
                <a:gd name="T8" fmla="*/ 2147483647 w 180"/>
                <a:gd name="T9" fmla="*/ 0 h 157"/>
                <a:gd name="T10" fmla="*/ 0 w 180"/>
                <a:gd name="T11" fmla="*/ 0 h 157"/>
                <a:gd name="T12" fmla="*/ 0 w 180"/>
                <a:gd name="T13" fmla="*/ 0 h 157"/>
                <a:gd name="T14" fmla="*/ 0 w 180"/>
                <a:gd name="T15" fmla="*/ 0 h 157"/>
                <a:gd name="T16" fmla="*/ 0 w 180"/>
                <a:gd name="T17" fmla="*/ 0 h 157"/>
                <a:gd name="T18" fmla="*/ 0 w 180"/>
                <a:gd name="T19" fmla="*/ 0 h 157"/>
                <a:gd name="T20" fmla="*/ 0 w 180"/>
                <a:gd name="T21" fmla="*/ 0 h 157"/>
                <a:gd name="T22" fmla="*/ 0 w 180"/>
                <a:gd name="T23" fmla="*/ 0 h 157"/>
                <a:gd name="T24" fmla="*/ 0 w 180"/>
                <a:gd name="T25" fmla="*/ 0 h 157"/>
                <a:gd name="T26" fmla="*/ 0 w 180"/>
                <a:gd name="T27" fmla="*/ 2147483647 h 157"/>
                <a:gd name="T28" fmla="*/ 0 w 180"/>
                <a:gd name="T29" fmla="*/ 2147483647 h 157"/>
                <a:gd name="T30" fmla="*/ 2147483647 w 180"/>
                <a:gd name="T31" fmla="*/ 0 h 157"/>
                <a:gd name="T32" fmla="*/ 0 w 180"/>
                <a:gd name="T33" fmla="*/ 0 h 157"/>
                <a:gd name="T34" fmla="*/ 2147483647 w 180"/>
                <a:gd name="T35" fmla="*/ 0 h 157"/>
                <a:gd name="T36" fmla="*/ 2147483647 w 180"/>
                <a:gd name="T37" fmla="*/ 2147483647 h 157"/>
                <a:gd name="T38" fmla="*/ 2147483647 w 180"/>
                <a:gd name="T39" fmla="*/ 2147483647 h 157"/>
                <a:gd name="T40" fmla="*/ 2147483647 w 180"/>
                <a:gd name="T41" fmla="*/ 2147483647 h 157"/>
                <a:gd name="T42" fmla="*/ 2147483647 w 180"/>
                <a:gd name="T43" fmla="*/ 2147483647 h 157"/>
                <a:gd name="T44" fmla="*/ 2147483647 w 180"/>
                <a:gd name="T45" fmla="*/ 2147483647 h 157"/>
                <a:gd name="T46" fmla="*/ 2147483647 w 180"/>
                <a:gd name="T47" fmla="*/ 2147483647 h 157"/>
                <a:gd name="T48" fmla="*/ 2147483647 w 180"/>
                <a:gd name="T49" fmla="*/ 2147483647 h 157"/>
                <a:gd name="T50" fmla="*/ 2147483647 w 180"/>
                <a:gd name="T51" fmla="*/ 2147483647 h 157"/>
                <a:gd name="T52" fmla="*/ 2147483647 w 180"/>
                <a:gd name="T53" fmla="*/ 2147483647 h 157"/>
                <a:gd name="T54" fmla="*/ 2147483647 w 180"/>
                <a:gd name="T55" fmla="*/ 2147483647 h 157"/>
                <a:gd name="T56" fmla="*/ 2147483647 w 180"/>
                <a:gd name="T57" fmla="*/ 2147483647 h 157"/>
                <a:gd name="T58" fmla="*/ 2147483647 w 180"/>
                <a:gd name="T59" fmla="*/ 2147483647 h 157"/>
                <a:gd name="T60" fmla="*/ 2147483647 w 180"/>
                <a:gd name="T61" fmla="*/ 2147483647 h 157"/>
                <a:gd name="T62" fmla="*/ 2147483647 w 180"/>
                <a:gd name="T63" fmla="*/ 2147483647 h 157"/>
                <a:gd name="T64" fmla="*/ 2147483647 w 180"/>
                <a:gd name="T65" fmla="*/ 2147483647 h 157"/>
                <a:gd name="T66" fmla="*/ 2147483647 w 180"/>
                <a:gd name="T67" fmla="*/ 2147483647 h 157"/>
                <a:gd name="T68" fmla="*/ 2147483647 w 180"/>
                <a:gd name="T69" fmla="*/ 2147483647 h 157"/>
                <a:gd name="T70" fmla="*/ 2147483647 w 180"/>
                <a:gd name="T71" fmla="*/ 0 h 157"/>
                <a:gd name="T72" fmla="*/ 2147483647 w 180"/>
                <a:gd name="T73" fmla="*/ 0 h 157"/>
                <a:gd name="T74" fmla="*/ 2147483647 w 180"/>
                <a:gd name="T75" fmla="*/ 0 h 157"/>
                <a:gd name="T76" fmla="*/ 2147483647 w 180"/>
                <a:gd name="T77" fmla="*/ 0 h 15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0"/>
                <a:gd name="T118" fmla="*/ 0 h 157"/>
                <a:gd name="T119" fmla="*/ 180 w 180"/>
                <a:gd name="T120" fmla="*/ 157 h 15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2" name="Freeform 263">
              <a:extLst>
                <a:ext uri="{FF2B5EF4-FFF2-40B4-BE49-F238E27FC236}">
                  <a16:creationId xmlns:a16="http://schemas.microsoft.com/office/drawing/2014/main" id="{C473A75E-DBB7-BF00-A749-49389FBF92C6}"/>
                </a:ext>
              </a:extLst>
            </p:cNvPr>
            <p:cNvSpPr>
              <a:spLocks noChangeAspect="1"/>
            </p:cNvSpPr>
            <p:nvPr userDrawn="1"/>
          </p:nvSpPr>
          <p:spPr bwMode="gray">
            <a:xfrm>
              <a:off x="3154112" y="3838004"/>
              <a:ext cx="179081" cy="96025"/>
            </a:xfrm>
            <a:custGeom>
              <a:avLst/>
              <a:gdLst>
                <a:gd name="T0" fmla="*/ 2147483647 w 337"/>
                <a:gd name="T1" fmla="*/ 0 h 166"/>
                <a:gd name="T2" fmla="*/ 2147483647 w 337"/>
                <a:gd name="T3" fmla="*/ 0 h 166"/>
                <a:gd name="T4" fmla="*/ 2147483647 w 337"/>
                <a:gd name="T5" fmla="*/ 0 h 166"/>
                <a:gd name="T6" fmla="*/ 2147483647 w 337"/>
                <a:gd name="T7" fmla="*/ 0 h 166"/>
                <a:gd name="T8" fmla="*/ 2147483647 w 337"/>
                <a:gd name="T9" fmla="*/ 0 h 166"/>
                <a:gd name="T10" fmla="*/ 2147483647 w 337"/>
                <a:gd name="T11" fmla="*/ 0 h 166"/>
                <a:gd name="T12" fmla="*/ 2147483647 w 337"/>
                <a:gd name="T13" fmla="*/ 0 h 166"/>
                <a:gd name="T14" fmla="*/ 2147483647 w 337"/>
                <a:gd name="T15" fmla="*/ 2147483647 h 166"/>
                <a:gd name="T16" fmla="*/ 2147483647 w 337"/>
                <a:gd name="T17" fmla="*/ 2147483647 h 166"/>
                <a:gd name="T18" fmla="*/ 2147483647 w 337"/>
                <a:gd name="T19" fmla="*/ 2147483647 h 166"/>
                <a:gd name="T20" fmla="*/ 2147483647 w 337"/>
                <a:gd name="T21" fmla="*/ 2147483647 h 166"/>
                <a:gd name="T22" fmla="*/ 2147483647 w 337"/>
                <a:gd name="T23" fmla="*/ 2147483647 h 166"/>
                <a:gd name="T24" fmla="*/ 2147483647 w 337"/>
                <a:gd name="T25" fmla="*/ 2147483647 h 166"/>
                <a:gd name="T26" fmla="*/ 2147483647 w 337"/>
                <a:gd name="T27" fmla="*/ 2147483647 h 166"/>
                <a:gd name="T28" fmla="*/ 2147483647 w 337"/>
                <a:gd name="T29" fmla="*/ 2147483647 h 166"/>
                <a:gd name="T30" fmla="*/ 2147483647 w 337"/>
                <a:gd name="T31" fmla="*/ 2147483647 h 166"/>
                <a:gd name="T32" fmla="*/ 2147483647 w 337"/>
                <a:gd name="T33" fmla="*/ 2147483647 h 166"/>
                <a:gd name="T34" fmla="*/ 2147483647 w 337"/>
                <a:gd name="T35" fmla="*/ 2147483647 h 166"/>
                <a:gd name="T36" fmla="*/ 2147483647 w 337"/>
                <a:gd name="T37" fmla="*/ 2147483647 h 166"/>
                <a:gd name="T38" fmla="*/ 2147483647 w 337"/>
                <a:gd name="T39" fmla="*/ 2147483647 h 166"/>
                <a:gd name="T40" fmla="*/ 2147483647 w 337"/>
                <a:gd name="T41" fmla="*/ 2147483647 h 166"/>
                <a:gd name="T42" fmla="*/ 2147483647 w 337"/>
                <a:gd name="T43" fmla="*/ 2147483647 h 166"/>
                <a:gd name="T44" fmla="*/ 2147483647 w 337"/>
                <a:gd name="T45" fmla="*/ 2147483647 h 166"/>
                <a:gd name="T46" fmla="*/ 2147483647 w 337"/>
                <a:gd name="T47" fmla="*/ 2147483647 h 166"/>
                <a:gd name="T48" fmla="*/ 2147483647 w 337"/>
                <a:gd name="T49" fmla="*/ 2147483647 h 166"/>
                <a:gd name="T50" fmla="*/ 2147483647 w 337"/>
                <a:gd name="T51" fmla="*/ 2147483647 h 166"/>
                <a:gd name="T52" fmla="*/ 2147483647 w 337"/>
                <a:gd name="T53" fmla="*/ 2147483647 h 166"/>
                <a:gd name="T54" fmla="*/ 2147483647 w 337"/>
                <a:gd name="T55" fmla="*/ 2147483647 h 166"/>
                <a:gd name="T56" fmla="*/ 0 w 337"/>
                <a:gd name="T57" fmla="*/ 2147483647 h 166"/>
                <a:gd name="T58" fmla="*/ 0 w 337"/>
                <a:gd name="T59" fmla="*/ 2147483647 h 166"/>
                <a:gd name="T60" fmla="*/ 0 w 337"/>
                <a:gd name="T61" fmla="*/ 2147483647 h 166"/>
                <a:gd name="T62" fmla="*/ 0 w 337"/>
                <a:gd name="T63" fmla="*/ 2147483647 h 166"/>
                <a:gd name="T64" fmla="*/ 0 w 337"/>
                <a:gd name="T65" fmla="*/ 2147483647 h 166"/>
                <a:gd name="T66" fmla="*/ 0 w 337"/>
                <a:gd name="T67" fmla="*/ 2147483647 h 166"/>
                <a:gd name="T68" fmla="*/ 0 w 337"/>
                <a:gd name="T69" fmla="*/ 0 h 166"/>
                <a:gd name="T70" fmla="*/ 0 w 337"/>
                <a:gd name="T71" fmla="*/ 0 h 166"/>
                <a:gd name="T72" fmla="*/ 0 w 337"/>
                <a:gd name="T73" fmla="*/ 0 h 166"/>
                <a:gd name="T74" fmla="*/ 0 w 337"/>
                <a:gd name="T75" fmla="*/ 0 h 166"/>
                <a:gd name="T76" fmla="*/ 0 w 337"/>
                <a:gd name="T77" fmla="*/ 0 h 166"/>
                <a:gd name="T78" fmla="*/ 2147483647 w 337"/>
                <a:gd name="T79" fmla="*/ 0 h 166"/>
                <a:gd name="T80" fmla="*/ 2147483647 w 337"/>
                <a:gd name="T81" fmla="*/ 0 h 166"/>
                <a:gd name="T82" fmla="*/ 2147483647 w 337"/>
                <a:gd name="T83" fmla="*/ 0 h 166"/>
                <a:gd name="T84" fmla="*/ 2147483647 w 337"/>
                <a:gd name="T85" fmla="*/ 0 h 166"/>
                <a:gd name="T86" fmla="*/ 2147483647 w 337"/>
                <a:gd name="T87" fmla="*/ 0 h 166"/>
                <a:gd name="T88" fmla="*/ 2147483647 w 337"/>
                <a:gd name="T89" fmla="*/ 0 h 166"/>
                <a:gd name="T90" fmla="*/ 2147483647 w 337"/>
                <a:gd name="T91" fmla="*/ 0 h 166"/>
                <a:gd name="T92" fmla="*/ 2147483647 w 337"/>
                <a:gd name="T93" fmla="*/ 0 h 166"/>
                <a:gd name="T94" fmla="*/ 2147483647 w 337"/>
                <a:gd name="T95" fmla="*/ 0 h 166"/>
                <a:gd name="T96" fmla="*/ 2147483647 w 337"/>
                <a:gd name="T97" fmla="*/ 0 h 166"/>
                <a:gd name="T98" fmla="*/ 2147483647 w 337"/>
                <a:gd name="T99" fmla="*/ 0 h 166"/>
                <a:gd name="T100" fmla="*/ 2147483647 w 337"/>
                <a:gd name="T101" fmla="*/ 0 h 166"/>
                <a:gd name="T102" fmla="*/ 2147483647 w 337"/>
                <a:gd name="T103" fmla="*/ 0 h 166"/>
                <a:gd name="T104" fmla="*/ 2147483647 w 337"/>
                <a:gd name="T105" fmla="*/ 0 h 1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37"/>
                <a:gd name="T160" fmla="*/ 0 h 166"/>
                <a:gd name="T161" fmla="*/ 337 w 337"/>
                <a:gd name="T162" fmla="*/ 166 h 1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3" name="Freeform 264">
              <a:extLst>
                <a:ext uri="{FF2B5EF4-FFF2-40B4-BE49-F238E27FC236}">
                  <a16:creationId xmlns:a16="http://schemas.microsoft.com/office/drawing/2014/main" id="{7FDBDBDA-CF74-1874-DC37-AF77719CDAB1}"/>
                </a:ext>
              </a:extLst>
            </p:cNvPr>
            <p:cNvSpPr>
              <a:spLocks noChangeAspect="1"/>
            </p:cNvSpPr>
            <p:nvPr userDrawn="1"/>
          </p:nvSpPr>
          <p:spPr bwMode="gray">
            <a:xfrm>
              <a:off x="2343771" y="3270995"/>
              <a:ext cx="884958" cy="614259"/>
            </a:xfrm>
            <a:custGeom>
              <a:avLst/>
              <a:gdLst>
                <a:gd name="T0" fmla="*/ 2147483647 w 1657"/>
                <a:gd name="T1" fmla="*/ 0 h 1083"/>
                <a:gd name="T2" fmla="*/ 2147483647 w 1657"/>
                <a:gd name="T3" fmla="*/ 2147483647 h 1083"/>
                <a:gd name="T4" fmla="*/ 2147483647 w 1657"/>
                <a:gd name="T5" fmla="*/ 2147483647 h 1083"/>
                <a:gd name="T6" fmla="*/ 2147483647 w 1657"/>
                <a:gd name="T7" fmla="*/ 2147483647 h 1083"/>
                <a:gd name="T8" fmla="*/ 2147483647 w 1657"/>
                <a:gd name="T9" fmla="*/ 2147483647 h 1083"/>
                <a:gd name="T10" fmla="*/ 2147483647 w 1657"/>
                <a:gd name="T11" fmla="*/ 2147483647 h 1083"/>
                <a:gd name="T12" fmla="*/ 2147483647 w 1657"/>
                <a:gd name="T13" fmla="*/ 2147483647 h 1083"/>
                <a:gd name="T14" fmla="*/ 2147483647 w 1657"/>
                <a:gd name="T15" fmla="*/ 2147483647 h 1083"/>
                <a:gd name="T16" fmla="*/ 2147483647 w 1657"/>
                <a:gd name="T17" fmla="*/ 2147483647 h 1083"/>
                <a:gd name="T18" fmla="*/ 2147483647 w 1657"/>
                <a:gd name="T19" fmla="*/ 2147483647 h 1083"/>
                <a:gd name="T20" fmla="*/ 2147483647 w 1657"/>
                <a:gd name="T21" fmla="*/ 2147483647 h 1083"/>
                <a:gd name="T22" fmla="*/ 2147483647 w 1657"/>
                <a:gd name="T23" fmla="*/ 2147483647 h 1083"/>
                <a:gd name="T24" fmla="*/ 2147483647 w 1657"/>
                <a:gd name="T25" fmla="*/ 2147483647 h 1083"/>
                <a:gd name="T26" fmla="*/ 2147483647 w 1657"/>
                <a:gd name="T27" fmla="*/ 2147483647 h 1083"/>
                <a:gd name="T28" fmla="*/ 2147483647 w 1657"/>
                <a:gd name="T29" fmla="*/ 2147483647 h 1083"/>
                <a:gd name="T30" fmla="*/ 2147483647 w 1657"/>
                <a:gd name="T31" fmla="*/ 2147483647 h 1083"/>
                <a:gd name="T32" fmla="*/ 2147483647 w 1657"/>
                <a:gd name="T33" fmla="*/ 2147483647 h 1083"/>
                <a:gd name="T34" fmla="*/ 2147483647 w 1657"/>
                <a:gd name="T35" fmla="*/ 2147483647 h 1083"/>
                <a:gd name="T36" fmla="*/ 2147483647 w 1657"/>
                <a:gd name="T37" fmla="*/ 2147483647 h 1083"/>
                <a:gd name="T38" fmla="*/ 2147483647 w 1657"/>
                <a:gd name="T39" fmla="*/ 2147483647 h 1083"/>
                <a:gd name="T40" fmla="*/ 2147483647 w 1657"/>
                <a:gd name="T41" fmla="*/ 2147483647 h 1083"/>
                <a:gd name="T42" fmla="*/ 2147483647 w 1657"/>
                <a:gd name="T43" fmla="*/ 2147483647 h 1083"/>
                <a:gd name="T44" fmla="*/ 2147483647 w 1657"/>
                <a:gd name="T45" fmla="*/ 2147483647 h 1083"/>
                <a:gd name="T46" fmla="*/ 2147483647 w 1657"/>
                <a:gd name="T47" fmla="*/ 2147483647 h 1083"/>
                <a:gd name="T48" fmla="*/ 2147483647 w 1657"/>
                <a:gd name="T49" fmla="*/ 2147483647 h 1083"/>
                <a:gd name="T50" fmla="*/ 2147483647 w 1657"/>
                <a:gd name="T51" fmla="*/ 2147483647 h 1083"/>
                <a:gd name="T52" fmla="*/ 2147483647 w 1657"/>
                <a:gd name="T53" fmla="*/ 2147483647 h 1083"/>
                <a:gd name="T54" fmla="*/ 2147483647 w 1657"/>
                <a:gd name="T55" fmla="*/ 2147483647 h 1083"/>
                <a:gd name="T56" fmla="*/ 2147483647 w 1657"/>
                <a:gd name="T57" fmla="*/ 2147483647 h 1083"/>
                <a:gd name="T58" fmla="*/ 2147483647 w 1657"/>
                <a:gd name="T59" fmla="*/ 2147483647 h 1083"/>
                <a:gd name="T60" fmla="*/ 2147483647 w 1657"/>
                <a:gd name="T61" fmla="*/ 2147483647 h 1083"/>
                <a:gd name="T62" fmla="*/ 2147483647 w 1657"/>
                <a:gd name="T63" fmla="*/ 2147483647 h 1083"/>
                <a:gd name="T64" fmla="*/ 2147483647 w 1657"/>
                <a:gd name="T65" fmla="*/ 2147483647 h 1083"/>
                <a:gd name="T66" fmla="*/ 2147483647 w 1657"/>
                <a:gd name="T67" fmla="*/ 2147483647 h 1083"/>
                <a:gd name="T68" fmla="*/ 2147483647 w 1657"/>
                <a:gd name="T69" fmla="*/ 2147483647 h 1083"/>
                <a:gd name="T70" fmla="*/ 2147483647 w 1657"/>
                <a:gd name="T71" fmla="*/ 2147483647 h 1083"/>
                <a:gd name="T72" fmla="*/ 2147483647 w 1657"/>
                <a:gd name="T73" fmla="*/ 2147483647 h 1083"/>
                <a:gd name="T74" fmla="*/ 2147483647 w 1657"/>
                <a:gd name="T75" fmla="*/ 2147483647 h 1083"/>
                <a:gd name="T76" fmla="*/ 2147483647 w 1657"/>
                <a:gd name="T77" fmla="*/ 2147483647 h 1083"/>
                <a:gd name="T78" fmla="*/ 2147483647 w 1657"/>
                <a:gd name="T79" fmla="*/ 2147483647 h 1083"/>
                <a:gd name="T80" fmla="*/ 2147483647 w 1657"/>
                <a:gd name="T81" fmla="*/ 2147483647 h 1083"/>
                <a:gd name="T82" fmla="*/ 2147483647 w 1657"/>
                <a:gd name="T83" fmla="*/ 2147483647 h 1083"/>
                <a:gd name="T84" fmla="*/ 0 w 1657"/>
                <a:gd name="T85" fmla="*/ 0 h 1083"/>
                <a:gd name="T86" fmla="*/ 2147483647 w 1657"/>
                <a:gd name="T87" fmla="*/ 2147483647 h 1083"/>
                <a:gd name="T88" fmla="*/ 2147483647 w 1657"/>
                <a:gd name="T89" fmla="*/ 2147483647 h 1083"/>
                <a:gd name="T90" fmla="*/ 2147483647 w 1657"/>
                <a:gd name="T91" fmla="*/ 2147483647 h 1083"/>
                <a:gd name="T92" fmla="*/ 2147483647 w 1657"/>
                <a:gd name="T93" fmla="*/ 2147483647 h 1083"/>
                <a:gd name="T94" fmla="*/ 2147483647 w 1657"/>
                <a:gd name="T95" fmla="*/ 2147483647 h 1083"/>
                <a:gd name="T96" fmla="*/ 2147483647 w 1657"/>
                <a:gd name="T97" fmla="*/ 2147483647 h 1083"/>
                <a:gd name="T98" fmla="*/ 2147483647 w 1657"/>
                <a:gd name="T99" fmla="*/ 2147483647 h 1083"/>
                <a:gd name="T100" fmla="*/ 2147483647 w 1657"/>
                <a:gd name="T101" fmla="*/ 2147483647 h 1083"/>
                <a:gd name="T102" fmla="*/ 2147483647 w 1657"/>
                <a:gd name="T103" fmla="*/ 2147483647 h 1083"/>
                <a:gd name="T104" fmla="*/ 2147483647 w 1657"/>
                <a:gd name="T105" fmla="*/ 2147483647 h 1083"/>
                <a:gd name="T106" fmla="*/ 2147483647 w 1657"/>
                <a:gd name="T107" fmla="*/ 2147483647 h 1083"/>
                <a:gd name="T108" fmla="*/ 2147483647 w 1657"/>
                <a:gd name="T109" fmla="*/ 2147483647 h 1083"/>
                <a:gd name="T110" fmla="*/ 2147483647 w 1657"/>
                <a:gd name="T111" fmla="*/ 2147483647 h 1083"/>
                <a:gd name="T112" fmla="*/ 2147483647 w 1657"/>
                <a:gd name="T113" fmla="*/ 2147483647 h 1083"/>
                <a:gd name="T114" fmla="*/ 2147483647 w 1657"/>
                <a:gd name="T115" fmla="*/ 2147483647 h 1083"/>
                <a:gd name="T116" fmla="*/ 2147483647 w 1657"/>
                <a:gd name="T117" fmla="*/ 2147483647 h 1083"/>
                <a:gd name="T118" fmla="*/ 2147483647 w 1657"/>
                <a:gd name="T119" fmla="*/ 2147483647 h 1083"/>
                <a:gd name="T120" fmla="*/ 2147483647 w 1657"/>
                <a:gd name="T121" fmla="*/ 2147483647 h 1083"/>
                <a:gd name="T122" fmla="*/ 2147483647 w 1657"/>
                <a:gd name="T123" fmla="*/ 0 h 10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7"/>
                <a:gd name="T187" fmla="*/ 0 h 1083"/>
                <a:gd name="T188" fmla="*/ 1657 w 1657"/>
                <a:gd name="T189" fmla="*/ 1083 h 10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4" name="Freeform 267">
              <a:extLst>
                <a:ext uri="{FF2B5EF4-FFF2-40B4-BE49-F238E27FC236}">
                  <a16:creationId xmlns:a16="http://schemas.microsoft.com/office/drawing/2014/main" id="{34EA5832-B3E5-3FB1-131A-FD337C2DFF5A}"/>
                </a:ext>
              </a:extLst>
            </p:cNvPr>
            <p:cNvSpPr>
              <a:spLocks noChangeAspect="1"/>
            </p:cNvSpPr>
            <p:nvPr userDrawn="1"/>
          </p:nvSpPr>
          <p:spPr bwMode="gray">
            <a:xfrm>
              <a:off x="1128515" y="2210745"/>
              <a:ext cx="8008" cy="19909"/>
            </a:xfrm>
            <a:custGeom>
              <a:avLst/>
              <a:gdLst>
                <a:gd name="T0" fmla="*/ 0 w 12"/>
                <a:gd name="T1" fmla="*/ 0 h 33"/>
                <a:gd name="T2" fmla="*/ 0 w 12"/>
                <a:gd name="T3" fmla="*/ 0 h 33"/>
                <a:gd name="T4" fmla="*/ 0 w 12"/>
                <a:gd name="T5" fmla="*/ 0 h 33"/>
                <a:gd name="T6" fmla="*/ 0 w 12"/>
                <a:gd name="T7" fmla="*/ 0 h 33"/>
                <a:gd name="T8" fmla="*/ 0 w 12"/>
                <a:gd name="T9" fmla="*/ 0 h 33"/>
                <a:gd name="T10" fmla="*/ 0 w 12"/>
                <a:gd name="T11" fmla="*/ 0 h 33"/>
                <a:gd name="T12" fmla="*/ 0 w 12"/>
                <a:gd name="T13" fmla="*/ 0 h 33"/>
                <a:gd name="T14" fmla="*/ 0 w 12"/>
                <a:gd name="T15" fmla="*/ 0 h 33"/>
                <a:gd name="T16" fmla="*/ 0 w 12"/>
                <a:gd name="T17" fmla="*/ 0 h 33"/>
                <a:gd name="T18" fmla="*/ 0 w 12"/>
                <a:gd name="T19" fmla="*/ 0 h 33"/>
                <a:gd name="T20" fmla="*/ 0 w 12"/>
                <a:gd name="T21" fmla="*/ 0 h 33"/>
                <a:gd name="T22" fmla="*/ 0 w 12"/>
                <a:gd name="T23" fmla="*/ 0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33"/>
                <a:gd name="T38" fmla="*/ 12 w 12"/>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5" name="Freeform 268">
              <a:extLst>
                <a:ext uri="{FF2B5EF4-FFF2-40B4-BE49-F238E27FC236}">
                  <a16:creationId xmlns:a16="http://schemas.microsoft.com/office/drawing/2014/main" id="{3A9B24B9-8F5C-8D19-1DAE-44735E026174}"/>
                </a:ext>
              </a:extLst>
            </p:cNvPr>
            <p:cNvSpPr>
              <a:spLocks noChangeAspect="1"/>
            </p:cNvSpPr>
            <p:nvPr userDrawn="1"/>
          </p:nvSpPr>
          <p:spPr bwMode="gray">
            <a:xfrm>
              <a:off x="1280669" y="2162395"/>
              <a:ext cx="16017" cy="11377"/>
            </a:xfrm>
            <a:custGeom>
              <a:avLst/>
              <a:gdLst>
                <a:gd name="T0" fmla="*/ 0 w 27"/>
                <a:gd name="T1" fmla="*/ 0 h 18"/>
                <a:gd name="T2" fmla="*/ 0 w 27"/>
                <a:gd name="T3" fmla="*/ 0 h 18"/>
                <a:gd name="T4" fmla="*/ 0 w 27"/>
                <a:gd name="T5" fmla="*/ 0 h 18"/>
                <a:gd name="T6" fmla="*/ 0 w 27"/>
                <a:gd name="T7" fmla="*/ 0 h 18"/>
                <a:gd name="T8" fmla="*/ 0 w 27"/>
                <a:gd name="T9" fmla="*/ 0 h 18"/>
                <a:gd name="T10" fmla="*/ 0 w 27"/>
                <a:gd name="T11" fmla="*/ 0 h 18"/>
                <a:gd name="T12" fmla="*/ 0 w 27"/>
                <a:gd name="T13" fmla="*/ 0 h 18"/>
                <a:gd name="T14" fmla="*/ 0 w 27"/>
                <a:gd name="T15" fmla="*/ 0 h 18"/>
                <a:gd name="T16" fmla="*/ 0 w 27"/>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8"/>
                <a:gd name="T29" fmla="*/ 27 w 27"/>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8">
                  <a:moveTo>
                    <a:pt x="13" y="9"/>
                  </a:moveTo>
                  <a:lnTo>
                    <a:pt x="5" y="18"/>
                  </a:lnTo>
                  <a:lnTo>
                    <a:pt x="0" y="9"/>
                  </a:lnTo>
                  <a:lnTo>
                    <a:pt x="5" y="2"/>
                  </a:lnTo>
                  <a:lnTo>
                    <a:pt x="10" y="0"/>
                  </a:lnTo>
                  <a:lnTo>
                    <a:pt x="13" y="1"/>
                  </a:lnTo>
                  <a:lnTo>
                    <a:pt x="26" y="1"/>
                  </a:lnTo>
                  <a:lnTo>
                    <a:pt x="27" y="3"/>
                  </a:lnTo>
                  <a:lnTo>
                    <a:pt x="13" y="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6" name="Freeform 269">
              <a:extLst>
                <a:ext uri="{FF2B5EF4-FFF2-40B4-BE49-F238E27FC236}">
                  <a16:creationId xmlns:a16="http://schemas.microsoft.com/office/drawing/2014/main" id="{918D85F5-5581-98CA-7633-97458F7D18B5}"/>
                </a:ext>
              </a:extLst>
            </p:cNvPr>
            <p:cNvSpPr>
              <a:spLocks noChangeAspect="1"/>
            </p:cNvSpPr>
            <p:nvPr userDrawn="1"/>
          </p:nvSpPr>
          <p:spPr bwMode="gray">
            <a:xfrm>
              <a:off x="1237959" y="2119733"/>
              <a:ext cx="77412" cy="68259"/>
            </a:xfrm>
            <a:custGeom>
              <a:avLst/>
              <a:gdLst>
                <a:gd name="T0" fmla="*/ 0 w 145"/>
                <a:gd name="T1" fmla="*/ 0 h 117"/>
                <a:gd name="T2" fmla="*/ 0 w 145"/>
                <a:gd name="T3" fmla="*/ 0 h 117"/>
                <a:gd name="T4" fmla="*/ 0 w 145"/>
                <a:gd name="T5" fmla="*/ 0 h 117"/>
                <a:gd name="T6" fmla="*/ 0 w 145"/>
                <a:gd name="T7" fmla="*/ 0 h 117"/>
                <a:gd name="T8" fmla="*/ 0 w 145"/>
                <a:gd name="T9" fmla="*/ 0 h 117"/>
                <a:gd name="T10" fmla="*/ 0 w 145"/>
                <a:gd name="T11" fmla="*/ 0 h 117"/>
                <a:gd name="T12" fmla="*/ 0 w 145"/>
                <a:gd name="T13" fmla="*/ 0 h 117"/>
                <a:gd name="T14" fmla="*/ 0 w 145"/>
                <a:gd name="T15" fmla="*/ 0 h 117"/>
                <a:gd name="T16" fmla="*/ 0 w 145"/>
                <a:gd name="T17" fmla="*/ 0 h 117"/>
                <a:gd name="T18" fmla="*/ 0 w 145"/>
                <a:gd name="T19" fmla="*/ 0 h 117"/>
                <a:gd name="T20" fmla="*/ 0 w 145"/>
                <a:gd name="T21" fmla="*/ 0 h 117"/>
                <a:gd name="T22" fmla="*/ 0 w 145"/>
                <a:gd name="T23" fmla="*/ 0 h 117"/>
                <a:gd name="T24" fmla="*/ 0 w 145"/>
                <a:gd name="T25" fmla="*/ 0 h 117"/>
                <a:gd name="T26" fmla="*/ 0 w 145"/>
                <a:gd name="T27" fmla="*/ 0 h 117"/>
                <a:gd name="T28" fmla="*/ 0 w 145"/>
                <a:gd name="T29" fmla="*/ 0 h 117"/>
                <a:gd name="T30" fmla="*/ 0 w 145"/>
                <a:gd name="T31" fmla="*/ 0 h 117"/>
                <a:gd name="T32" fmla="*/ 0 w 145"/>
                <a:gd name="T33" fmla="*/ 0 h 117"/>
                <a:gd name="T34" fmla="*/ 0 w 145"/>
                <a:gd name="T35" fmla="*/ 0 h 117"/>
                <a:gd name="T36" fmla="*/ 0 w 145"/>
                <a:gd name="T37" fmla="*/ 0 h 117"/>
                <a:gd name="T38" fmla="*/ 0 w 145"/>
                <a:gd name="T39" fmla="*/ 0 h 117"/>
                <a:gd name="T40" fmla="*/ 0 w 145"/>
                <a:gd name="T41" fmla="*/ 0 h 117"/>
                <a:gd name="T42" fmla="*/ 0 w 145"/>
                <a:gd name="T43" fmla="*/ 0 h 117"/>
                <a:gd name="T44" fmla="*/ 0 w 145"/>
                <a:gd name="T45" fmla="*/ 0 h 117"/>
                <a:gd name="T46" fmla="*/ 0 w 145"/>
                <a:gd name="T47" fmla="*/ 0 h 117"/>
                <a:gd name="T48" fmla="*/ 0 w 145"/>
                <a:gd name="T49" fmla="*/ 0 h 117"/>
                <a:gd name="T50" fmla="*/ 0 w 145"/>
                <a:gd name="T51" fmla="*/ 0 h 117"/>
                <a:gd name="T52" fmla="*/ 0 w 145"/>
                <a:gd name="T53" fmla="*/ 0 h 117"/>
                <a:gd name="T54" fmla="*/ 0 w 145"/>
                <a:gd name="T55" fmla="*/ 0 h 117"/>
                <a:gd name="T56" fmla="*/ 0 w 145"/>
                <a:gd name="T57" fmla="*/ 0 h 117"/>
                <a:gd name="T58" fmla="*/ 0 w 145"/>
                <a:gd name="T59" fmla="*/ 0 h 117"/>
                <a:gd name="T60" fmla="*/ 0 w 145"/>
                <a:gd name="T61" fmla="*/ 0 h 117"/>
                <a:gd name="T62" fmla="*/ 0 w 145"/>
                <a:gd name="T63" fmla="*/ 0 h 117"/>
                <a:gd name="T64" fmla="*/ 0 w 145"/>
                <a:gd name="T65" fmla="*/ 0 h 117"/>
                <a:gd name="T66" fmla="*/ 0 w 145"/>
                <a:gd name="T67" fmla="*/ 0 h 117"/>
                <a:gd name="T68" fmla="*/ 0 w 145"/>
                <a:gd name="T69" fmla="*/ 0 h 117"/>
                <a:gd name="T70" fmla="*/ 0 w 145"/>
                <a:gd name="T71" fmla="*/ 0 h 117"/>
                <a:gd name="T72" fmla="*/ 0 w 145"/>
                <a:gd name="T73" fmla="*/ 0 h 117"/>
                <a:gd name="T74" fmla="*/ 0 w 145"/>
                <a:gd name="T75" fmla="*/ 0 h 117"/>
                <a:gd name="T76" fmla="*/ 0 w 145"/>
                <a:gd name="T77" fmla="*/ 0 h 117"/>
                <a:gd name="T78" fmla="*/ 0 w 145"/>
                <a:gd name="T79" fmla="*/ 0 h 117"/>
                <a:gd name="T80" fmla="*/ 0 w 145"/>
                <a:gd name="T81" fmla="*/ 0 h 117"/>
                <a:gd name="T82" fmla="*/ 0 w 145"/>
                <a:gd name="T83" fmla="*/ 0 h 117"/>
                <a:gd name="T84" fmla="*/ 0 w 145"/>
                <a:gd name="T85" fmla="*/ 0 h 117"/>
                <a:gd name="T86" fmla="*/ 0 w 145"/>
                <a:gd name="T87" fmla="*/ 0 h 1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5"/>
                <a:gd name="T133" fmla="*/ 0 h 117"/>
                <a:gd name="T134" fmla="*/ 145 w 145"/>
                <a:gd name="T135" fmla="*/ 117 h 11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7" name="Freeform 270">
              <a:extLst>
                <a:ext uri="{FF2B5EF4-FFF2-40B4-BE49-F238E27FC236}">
                  <a16:creationId xmlns:a16="http://schemas.microsoft.com/office/drawing/2014/main" id="{0CCF0DC3-1EC0-1EA3-7CF5-13B244F3F095}"/>
                </a:ext>
              </a:extLst>
            </p:cNvPr>
            <p:cNvSpPr>
              <a:spLocks noChangeAspect="1"/>
            </p:cNvSpPr>
            <p:nvPr userDrawn="1"/>
          </p:nvSpPr>
          <p:spPr bwMode="gray">
            <a:xfrm>
              <a:off x="850900" y="1124298"/>
              <a:ext cx="875555" cy="1168926"/>
            </a:xfrm>
            <a:custGeom>
              <a:avLst/>
              <a:gdLst>
                <a:gd name="T0" fmla="*/ 0 w 1638"/>
                <a:gd name="T1" fmla="*/ 0 h 2054"/>
                <a:gd name="T2" fmla="*/ 0 w 1638"/>
                <a:gd name="T3" fmla="*/ 0 h 2054"/>
                <a:gd name="T4" fmla="*/ 0 w 1638"/>
                <a:gd name="T5" fmla="*/ 0 h 2054"/>
                <a:gd name="T6" fmla="*/ 0 w 1638"/>
                <a:gd name="T7" fmla="*/ 0 h 2054"/>
                <a:gd name="T8" fmla="*/ 0 w 1638"/>
                <a:gd name="T9" fmla="*/ 0 h 2054"/>
                <a:gd name="T10" fmla="*/ 0 w 1638"/>
                <a:gd name="T11" fmla="*/ 0 h 2054"/>
                <a:gd name="T12" fmla="*/ 0 w 1638"/>
                <a:gd name="T13" fmla="*/ 0 h 2054"/>
                <a:gd name="T14" fmla="*/ 0 w 1638"/>
                <a:gd name="T15" fmla="*/ 0 h 2054"/>
                <a:gd name="T16" fmla="*/ 0 w 1638"/>
                <a:gd name="T17" fmla="*/ 0 h 2054"/>
                <a:gd name="T18" fmla="*/ 0 w 1638"/>
                <a:gd name="T19" fmla="*/ 0 h 2054"/>
                <a:gd name="T20" fmla="*/ 0 w 1638"/>
                <a:gd name="T21" fmla="*/ 0 h 2054"/>
                <a:gd name="T22" fmla="*/ 0 w 1638"/>
                <a:gd name="T23" fmla="*/ 0 h 2054"/>
                <a:gd name="T24" fmla="*/ 0 w 1638"/>
                <a:gd name="T25" fmla="*/ 0 h 2054"/>
                <a:gd name="T26" fmla="*/ 0 w 1638"/>
                <a:gd name="T27" fmla="*/ 0 h 2054"/>
                <a:gd name="T28" fmla="*/ 0 w 1638"/>
                <a:gd name="T29" fmla="*/ 0 h 2054"/>
                <a:gd name="T30" fmla="*/ 0 w 1638"/>
                <a:gd name="T31" fmla="*/ 0 h 2054"/>
                <a:gd name="T32" fmla="*/ 0 w 1638"/>
                <a:gd name="T33" fmla="*/ 0 h 2054"/>
                <a:gd name="T34" fmla="*/ 0 w 1638"/>
                <a:gd name="T35" fmla="*/ 0 h 2054"/>
                <a:gd name="T36" fmla="*/ 0 w 1638"/>
                <a:gd name="T37" fmla="*/ 0 h 2054"/>
                <a:gd name="T38" fmla="*/ 0 w 1638"/>
                <a:gd name="T39" fmla="*/ 0 h 2054"/>
                <a:gd name="T40" fmla="*/ 0 w 1638"/>
                <a:gd name="T41" fmla="*/ 0 h 2054"/>
                <a:gd name="T42" fmla="*/ 0 w 1638"/>
                <a:gd name="T43" fmla="*/ 0 h 2054"/>
                <a:gd name="T44" fmla="*/ 0 w 1638"/>
                <a:gd name="T45" fmla="*/ 0 h 2054"/>
                <a:gd name="T46" fmla="*/ 0 w 1638"/>
                <a:gd name="T47" fmla="*/ 0 h 2054"/>
                <a:gd name="T48" fmla="*/ 0 w 1638"/>
                <a:gd name="T49" fmla="*/ 0 h 2054"/>
                <a:gd name="T50" fmla="*/ 0 w 1638"/>
                <a:gd name="T51" fmla="*/ 0 h 2054"/>
                <a:gd name="T52" fmla="*/ 0 w 1638"/>
                <a:gd name="T53" fmla="*/ 0 h 2054"/>
                <a:gd name="T54" fmla="*/ 0 w 1638"/>
                <a:gd name="T55" fmla="*/ 0 h 2054"/>
                <a:gd name="T56" fmla="*/ 0 w 1638"/>
                <a:gd name="T57" fmla="*/ 0 h 2054"/>
                <a:gd name="T58" fmla="*/ 0 w 1638"/>
                <a:gd name="T59" fmla="*/ 0 h 2054"/>
                <a:gd name="T60" fmla="*/ 0 w 1638"/>
                <a:gd name="T61" fmla="*/ 0 h 2054"/>
                <a:gd name="T62" fmla="*/ 0 w 1638"/>
                <a:gd name="T63" fmla="*/ 0 h 2054"/>
                <a:gd name="T64" fmla="*/ 0 w 1638"/>
                <a:gd name="T65" fmla="*/ 0 h 2054"/>
                <a:gd name="T66" fmla="*/ 0 w 1638"/>
                <a:gd name="T67" fmla="*/ 0 h 2054"/>
                <a:gd name="T68" fmla="*/ 0 w 1638"/>
                <a:gd name="T69" fmla="*/ 0 h 2054"/>
                <a:gd name="T70" fmla="*/ 0 w 1638"/>
                <a:gd name="T71" fmla="*/ 0 h 2054"/>
                <a:gd name="T72" fmla="*/ 0 w 1638"/>
                <a:gd name="T73" fmla="*/ 0 h 2054"/>
                <a:gd name="T74" fmla="*/ 0 w 1638"/>
                <a:gd name="T75" fmla="*/ 0 h 2054"/>
                <a:gd name="T76" fmla="*/ 0 w 1638"/>
                <a:gd name="T77" fmla="*/ 0 h 2054"/>
                <a:gd name="T78" fmla="*/ 0 w 1638"/>
                <a:gd name="T79" fmla="*/ 0 h 2054"/>
                <a:gd name="T80" fmla="*/ 0 w 1638"/>
                <a:gd name="T81" fmla="*/ 0 h 2054"/>
                <a:gd name="T82" fmla="*/ 0 w 1638"/>
                <a:gd name="T83" fmla="*/ 0 h 2054"/>
                <a:gd name="T84" fmla="*/ 0 w 1638"/>
                <a:gd name="T85" fmla="*/ 0 h 2054"/>
                <a:gd name="T86" fmla="*/ 0 w 1638"/>
                <a:gd name="T87" fmla="*/ 0 h 2054"/>
                <a:gd name="T88" fmla="*/ 0 w 1638"/>
                <a:gd name="T89" fmla="*/ 0 h 2054"/>
                <a:gd name="T90" fmla="*/ 0 w 1638"/>
                <a:gd name="T91" fmla="*/ 0 h 2054"/>
                <a:gd name="T92" fmla="*/ 0 w 1638"/>
                <a:gd name="T93" fmla="*/ 0 h 2054"/>
                <a:gd name="T94" fmla="*/ 0 w 1638"/>
                <a:gd name="T95" fmla="*/ 0 h 2054"/>
                <a:gd name="T96" fmla="*/ 0 w 1638"/>
                <a:gd name="T97" fmla="*/ 0 h 2054"/>
                <a:gd name="T98" fmla="*/ 0 w 1638"/>
                <a:gd name="T99" fmla="*/ 0 h 2054"/>
                <a:gd name="T100" fmla="*/ 0 w 1638"/>
                <a:gd name="T101" fmla="*/ 0 h 2054"/>
                <a:gd name="T102" fmla="*/ 0 w 1638"/>
                <a:gd name="T103" fmla="*/ 0 h 2054"/>
                <a:gd name="T104" fmla="*/ 0 w 1638"/>
                <a:gd name="T105" fmla="*/ 0 h 2054"/>
                <a:gd name="T106" fmla="*/ 0 w 1638"/>
                <a:gd name="T107" fmla="*/ 0 h 2054"/>
                <a:gd name="T108" fmla="*/ 0 w 1638"/>
                <a:gd name="T109" fmla="*/ 0 h 2054"/>
                <a:gd name="T110" fmla="*/ 0 w 1638"/>
                <a:gd name="T111" fmla="*/ 0 h 2054"/>
                <a:gd name="T112" fmla="*/ 0 w 1638"/>
                <a:gd name="T113" fmla="*/ 0 h 2054"/>
                <a:gd name="T114" fmla="*/ 0 w 1638"/>
                <a:gd name="T115" fmla="*/ 0 h 2054"/>
                <a:gd name="T116" fmla="*/ 0 w 1638"/>
                <a:gd name="T117" fmla="*/ 0 h 2054"/>
                <a:gd name="T118" fmla="*/ 0 w 1638"/>
                <a:gd name="T119" fmla="*/ 0 h 20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38"/>
                <a:gd name="T181" fmla="*/ 0 h 2054"/>
                <a:gd name="T182" fmla="*/ 1638 w 1638"/>
                <a:gd name="T183" fmla="*/ 2054 h 20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8" name="Freeform 271">
              <a:extLst>
                <a:ext uri="{FF2B5EF4-FFF2-40B4-BE49-F238E27FC236}">
                  <a16:creationId xmlns:a16="http://schemas.microsoft.com/office/drawing/2014/main" id="{89B7FB3D-B805-F89D-3375-3F081CB0E33F}"/>
                </a:ext>
              </a:extLst>
            </p:cNvPr>
            <p:cNvSpPr>
              <a:spLocks noChangeAspect="1"/>
            </p:cNvSpPr>
            <p:nvPr userDrawn="1"/>
          </p:nvSpPr>
          <p:spPr bwMode="gray">
            <a:xfrm>
              <a:off x="1723786" y="2011658"/>
              <a:ext cx="242913" cy="287254"/>
            </a:xfrm>
            <a:custGeom>
              <a:avLst/>
              <a:gdLst>
                <a:gd name="T0" fmla="*/ 0 w 456"/>
                <a:gd name="T1" fmla="*/ 0 h 507"/>
                <a:gd name="T2" fmla="*/ 0 w 456"/>
                <a:gd name="T3" fmla="*/ 0 h 507"/>
                <a:gd name="T4" fmla="*/ 0 w 456"/>
                <a:gd name="T5" fmla="*/ 0 h 507"/>
                <a:gd name="T6" fmla="*/ 0 w 456"/>
                <a:gd name="T7" fmla="*/ 0 h 507"/>
                <a:gd name="T8" fmla="*/ 0 w 456"/>
                <a:gd name="T9" fmla="*/ 0 h 507"/>
                <a:gd name="T10" fmla="*/ 0 w 456"/>
                <a:gd name="T11" fmla="*/ 0 h 507"/>
                <a:gd name="T12" fmla="*/ 0 w 456"/>
                <a:gd name="T13" fmla="*/ 0 h 507"/>
                <a:gd name="T14" fmla="*/ 0 w 456"/>
                <a:gd name="T15" fmla="*/ 0 h 507"/>
                <a:gd name="T16" fmla="*/ 0 w 456"/>
                <a:gd name="T17" fmla="*/ 0 h 507"/>
                <a:gd name="T18" fmla="*/ 0 w 456"/>
                <a:gd name="T19" fmla="*/ 0 h 507"/>
                <a:gd name="T20" fmla="*/ 0 w 456"/>
                <a:gd name="T21" fmla="*/ 0 h 507"/>
                <a:gd name="T22" fmla="*/ 0 w 456"/>
                <a:gd name="T23" fmla="*/ 0 h 507"/>
                <a:gd name="T24" fmla="*/ 0 w 456"/>
                <a:gd name="T25" fmla="*/ 0 h 507"/>
                <a:gd name="T26" fmla="*/ 0 w 456"/>
                <a:gd name="T27" fmla="*/ 0 h 507"/>
                <a:gd name="T28" fmla="*/ 0 w 456"/>
                <a:gd name="T29" fmla="*/ 0 h 507"/>
                <a:gd name="T30" fmla="*/ 0 w 456"/>
                <a:gd name="T31" fmla="*/ 0 h 507"/>
                <a:gd name="T32" fmla="*/ 0 w 456"/>
                <a:gd name="T33" fmla="*/ 0 h 507"/>
                <a:gd name="T34" fmla="*/ 0 w 456"/>
                <a:gd name="T35" fmla="*/ 0 h 507"/>
                <a:gd name="T36" fmla="*/ 0 w 456"/>
                <a:gd name="T37" fmla="*/ 0 h 507"/>
                <a:gd name="T38" fmla="*/ 0 w 456"/>
                <a:gd name="T39" fmla="*/ 0 h 507"/>
                <a:gd name="T40" fmla="*/ 0 w 456"/>
                <a:gd name="T41" fmla="*/ 0 h 507"/>
                <a:gd name="T42" fmla="*/ 0 w 456"/>
                <a:gd name="T43" fmla="*/ 0 h 507"/>
                <a:gd name="T44" fmla="*/ 0 w 456"/>
                <a:gd name="T45" fmla="*/ 0 h 507"/>
                <a:gd name="T46" fmla="*/ 0 w 456"/>
                <a:gd name="T47" fmla="*/ 0 h 507"/>
                <a:gd name="T48" fmla="*/ 0 w 456"/>
                <a:gd name="T49" fmla="*/ 0 h 507"/>
                <a:gd name="T50" fmla="*/ 0 w 456"/>
                <a:gd name="T51" fmla="*/ 0 h 507"/>
                <a:gd name="T52" fmla="*/ 0 w 456"/>
                <a:gd name="T53" fmla="*/ 0 h 507"/>
                <a:gd name="T54" fmla="*/ 0 w 456"/>
                <a:gd name="T55" fmla="*/ 0 h 507"/>
                <a:gd name="T56" fmla="*/ 0 w 456"/>
                <a:gd name="T57" fmla="*/ 0 h 507"/>
                <a:gd name="T58" fmla="*/ 0 w 456"/>
                <a:gd name="T59" fmla="*/ 0 h 507"/>
                <a:gd name="T60" fmla="*/ 0 w 456"/>
                <a:gd name="T61" fmla="*/ 0 h 507"/>
                <a:gd name="T62" fmla="*/ 0 w 456"/>
                <a:gd name="T63" fmla="*/ 0 h 507"/>
                <a:gd name="T64" fmla="*/ 0 w 456"/>
                <a:gd name="T65" fmla="*/ 0 h 507"/>
                <a:gd name="T66" fmla="*/ 0 w 456"/>
                <a:gd name="T67" fmla="*/ 0 h 507"/>
                <a:gd name="T68" fmla="*/ 0 w 456"/>
                <a:gd name="T69" fmla="*/ 0 h 507"/>
                <a:gd name="T70" fmla="*/ 0 w 456"/>
                <a:gd name="T71" fmla="*/ 0 h 507"/>
                <a:gd name="T72" fmla="*/ 0 w 456"/>
                <a:gd name="T73" fmla="*/ 0 h 507"/>
                <a:gd name="T74" fmla="*/ 0 w 456"/>
                <a:gd name="T75" fmla="*/ 0 h 507"/>
                <a:gd name="T76" fmla="*/ 0 w 456"/>
                <a:gd name="T77" fmla="*/ 0 h 507"/>
                <a:gd name="T78" fmla="*/ 0 w 456"/>
                <a:gd name="T79" fmla="*/ 0 h 507"/>
                <a:gd name="T80" fmla="*/ 0 w 456"/>
                <a:gd name="T81" fmla="*/ 0 h 507"/>
                <a:gd name="T82" fmla="*/ 0 w 456"/>
                <a:gd name="T83" fmla="*/ 0 h 507"/>
                <a:gd name="T84" fmla="*/ 0 w 456"/>
                <a:gd name="T85" fmla="*/ 0 h 507"/>
                <a:gd name="T86" fmla="*/ 0 w 456"/>
                <a:gd name="T87" fmla="*/ 0 h 507"/>
                <a:gd name="T88" fmla="*/ 0 w 456"/>
                <a:gd name="T89" fmla="*/ 0 h 507"/>
                <a:gd name="T90" fmla="*/ 0 w 456"/>
                <a:gd name="T91" fmla="*/ 0 h 507"/>
                <a:gd name="T92" fmla="*/ 0 w 456"/>
                <a:gd name="T93" fmla="*/ 0 h 507"/>
                <a:gd name="T94" fmla="*/ 0 w 456"/>
                <a:gd name="T95" fmla="*/ 0 h 507"/>
                <a:gd name="T96" fmla="*/ 0 w 456"/>
                <a:gd name="T97" fmla="*/ 0 h 507"/>
                <a:gd name="T98" fmla="*/ 0 w 456"/>
                <a:gd name="T99" fmla="*/ 0 h 507"/>
                <a:gd name="T100" fmla="*/ 0 w 456"/>
                <a:gd name="T101" fmla="*/ 0 h 507"/>
                <a:gd name="T102" fmla="*/ 0 w 456"/>
                <a:gd name="T103" fmla="*/ 0 h 507"/>
                <a:gd name="T104" fmla="*/ 0 w 456"/>
                <a:gd name="T105" fmla="*/ 0 h 507"/>
                <a:gd name="T106" fmla="*/ 0 w 456"/>
                <a:gd name="T107" fmla="*/ 0 h 507"/>
                <a:gd name="T108" fmla="*/ 0 w 456"/>
                <a:gd name="T109" fmla="*/ 0 h 507"/>
                <a:gd name="T110" fmla="*/ 0 w 456"/>
                <a:gd name="T111" fmla="*/ 0 h 507"/>
                <a:gd name="T112" fmla="*/ 0 w 456"/>
                <a:gd name="T113" fmla="*/ 0 h 50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56"/>
                <a:gd name="T172" fmla="*/ 0 h 507"/>
                <a:gd name="T173" fmla="*/ 456 w 456"/>
                <a:gd name="T174" fmla="*/ 507 h 50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49" name="Freeform 273">
              <a:extLst>
                <a:ext uri="{FF2B5EF4-FFF2-40B4-BE49-F238E27FC236}">
                  <a16:creationId xmlns:a16="http://schemas.microsoft.com/office/drawing/2014/main" id="{0A05CB69-FF4D-4C93-24B0-AA2B74CB64FB}"/>
                </a:ext>
              </a:extLst>
            </p:cNvPr>
            <p:cNvSpPr>
              <a:spLocks noChangeAspect="1"/>
            </p:cNvSpPr>
            <p:nvPr userDrawn="1"/>
          </p:nvSpPr>
          <p:spPr bwMode="gray">
            <a:xfrm>
              <a:off x="3813446" y="2782546"/>
              <a:ext cx="5338" cy="8545"/>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w 10"/>
                <a:gd name="T11" fmla="*/ 0 h 15"/>
                <a:gd name="T12" fmla="*/ 0 w 10"/>
                <a:gd name="T13" fmla="*/ 0 h 15"/>
                <a:gd name="T14" fmla="*/ 0 w 10"/>
                <a:gd name="T15" fmla="*/ 0 h 15"/>
                <a:gd name="T16" fmla="*/ 0 w 1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5"/>
                <a:gd name="T29" fmla="*/ 10 w 1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5">
                  <a:moveTo>
                    <a:pt x="5" y="0"/>
                  </a:moveTo>
                  <a:lnTo>
                    <a:pt x="2" y="3"/>
                  </a:lnTo>
                  <a:lnTo>
                    <a:pt x="1" y="10"/>
                  </a:lnTo>
                  <a:lnTo>
                    <a:pt x="0" y="15"/>
                  </a:lnTo>
                  <a:lnTo>
                    <a:pt x="5" y="10"/>
                  </a:lnTo>
                  <a:lnTo>
                    <a:pt x="8" y="10"/>
                  </a:lnTo>
                  <a:lnTo>
                    <a:pt x="8" y="6"/>
                  </a:lnTo>
                  <a:lnTo>
                    <a:pt x="10" y="1"/>
                  </a:lnTo>
                  <a:lnTo>
                    <a:pt x="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0" name="Freeform 274">
              <a:extLst>
                <a:ext uri="{FF2B5EF4-FFF2-40B4-BE49-F238E27FC236}">
                  <a16:creationId xmlns:a16="http://schemas.microsoft.com/office/drawing/2014/main" id="{44B8E008-ED78-A646-5261-96B3D3B78EB3}"/>
                </a:ext>
              </a:extLst>
            </p:cNvPr>
            <p:cNvSpPr>
              <a:spLocks noChangeAspect="1"/>
            </p:cNvSpPr>
            <p:nvPr userDrawn="1"/>
          </p:nvSpPr>
          <p:spPr bwMode="gray">
            <a:xfrm>
              <a:off x="3813446" y="2782546"/>
              <a:ext cx="5338" cy="8545"/>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w 10"/>
                <a:gd name="T11" fmla="*/ 0 h 15"/>
                <a:gd name="T12" fmla="*/ 0 w 10"/>
                <a:gd name="T13" fmla="*/ 0 h 15"/>
                <a:gd name="T14" fmla="*/ 0 w 10"/>
                <a:gd name="T15" fmla="*/ 0 h 15"/>
                <a:gd name="T16" fmla="*/ 0 w 1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5"/>
                <a:gd name="T29" fmla="*/ 10 w 1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5">
                  <a:moveTo>
                    <a:pt x="5" y="0"/>
                  </a:moveTo>
                  <a:lnTo>
                    <a:pt x="2" y="3"/>
                  </a:lnTo>
                  <a:lnTo>
                    <a:pt x="1" y="10"/>
                  </a:lnTo>
                  <a:lnTo>
                    <a:pt x="0" y="15"/>
                  </a:lnTo>
                  <a:lnTo>
                    <a:pt x="5" y="10"/>
                  </a:lnTo>
                  <a:lnTo>
                    <a:pt x="8" y="10"/>
                  </a:lnTo>
                  <a:lnTo>
                    <a:pt x="8" y="6"/>
                  </a:lnTo>
                  <a:lnTo>
                    <a:pt x="10" y="1"/>
                  </a:lnTo>
                  <a:lnTo>
                    <a:pt x="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1" name="Freeform 275">
              <a:extLst>
                <a:ext uri="{FF2B5EF4-FFF2-40B4-BE49-F238E27FC236}">
                  <a16:creationId xmlns:a16="http://schemas.microsoft.com/office/drawing/2014/main" id="{083F4DA8-B14B-31DB-4DC0-1748847D8D7E}"/>
                </a:ext>
              </a:extLst>
            </p:cNvPr>
            <p:cNvSpPr>
              <a:spLocks noChangeAspect="1"/>
            </p:cNvSpPr>
            <p:nvPr userDrawn="1"/>
          </p:nvSpPr>
          <p:spPr bwMode="gray">
            <a:xfrm>
              <a:off x="3517210" y="3033208"/>
              <a:ext cx="2669" cy="2848"/>
            </a:xfrm>
            <a:custGeom>
              <a:avLst/>
              <a:gdLst>
                <a:gd name="T0" fmla="*/ 0 w 1"/>
                <a:gd name="T1" fmla="*/ 0 h 3"/>
                <a:gd name="T2" fmla="*/ 0 w 1"/>
                <a:gd name="T3" fmla="*/ 0 h 3"/>
                <a:gd name="T4" fmla="*/ 0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lnTo>
                    <a:pt x="0" y="0"/>
                  </a:lnTo>
                  <a:lnTo>
                    <a:pt x="0"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2" name="Freeform 276">
              <a:extLst>
                <a:ext uri="{FF2B5EF4-FFF2-40B4-BE49-F238E27FC236}">
                  <a16:creationId xmlns:a16="http://schemas.microsoft.com/office/drawing/2014/main" id="{9B6FC5A8-7AB9-2A99-F910-73B5664E86BF}"/>
                </a:ext>
              </a:extLst>
            </p:cNvPr>
            <p:cNvSpPr>
              <a:spLocks noChangeAspect="1"/>
            </p:cNvSpPr>
            <p:nvPr userDrawn="1"/>
          </p:nvSpPr>
          <p:spPr bwMode="gray">
            <a:xfrm>
              <a:off x="3514541" y="3027512"/>
              <a:ext cx="2669" cy="2848"/>
            </a:xfrm>
            <a:custGeom>
              <a:avLst/>
              <a:gdLst>
                <a:gd name="T0" fmla="*/ 0 w 5"/>
                <a:gd name="T1" fmla="*/ 0 h 6"/>
                <a:gd name="T2" fmla="*/ 0 w 5"/>
                <a:gd name="T3" fmla="*/ 0 h 6"/>
                <a:gd name="T4" fmla="*/ 0 w 5"/>
                <a:gd name="T5" fmla="*/ 0 h 6"/>
                <a:gd name="T6" fmla="*/ 0 w 5"/>
                <a:gd name="T7" fmla="*/ 0 h 6"/>
                <a:gd name="T8" fmla="*/ 0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2"/>
                  </a:moveTo>
                  <a:lnTo>
                    <a:pt x="0" y="0"/>
                  </a:lnTo>
                  <a:lnTo>
                    <a:pt x="3" y="2"/>
                  </a:lnTo>
                  <a:lnTo>
                    <a:pt x="5" y="6"/>
                  </a:lnTo>
                  <a:lnTo>
                    <a:pt x="3"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3" name="Freeform 277">
              <a:extLst>
                <a:ext uri="{FF2B5EF4-FFF2-40B4-BE49-F238E27FC236}">
                  <a16:creationId xmlns:a16="http://schemas.microsoft.com/office/drawing/2014/main" id="{D124591B-3521-ADD7-1C56-DAB39D549D95}"/>
                </a:ext>
              </a:extLst>
            </p:cNvPr>
            <p:cNvSpPr>
              <a:spLocks noChangeAspect="1"/>
            </p:cNvSpPr>
            <p:nvPr userDrawn="1"/>
          </p:nvSpPr>
          <p:spPr bwMode="gray">
            <a:xfrm>
              <a:off x="2124098" y="2571761"/>
              <a:ext cx="1689348" cy="965621"/>
            </a:xfrm>
            <a:custGeom>
              <a:avLst/>
              <a:gdLst>
                <a:gd name="T0" fmla="*/ 0 w 3166"/>
                <a:gd name="T1" fmla="*/ 0 h 1693"/>
                <a:gd name="T2" fmla="*/ 0 w 3166"/>
                <a:gd name="T3" fmla="*/ 0 h 1693"/>
                <a:gd name="T4" fmla="*/ 0 w 3166"/>
                <a:gd name="T5" fmla="*/ 0 h 1693"/>
                <a:gd name="T6" fmla="*/ 0 w 3166"/>
                <a:gd name="T7" fmla="*/ 0 h 1693"/>
                <a:gd name="T8" fmla="*/ 0 w 3166"/>
                <a:gd name="T9" fmla="*/ 0 h 1693"/>
                <a:gd name="T10" fmla="*/ 0 w 3166"/>
                <a:gd name="T11" fmla="*/ 0 h 1693"/>
                <a:gd name="T12" fmla="*/ 0 w 3166"/>
                <a:gd name="T13" fmla="*/ 0 h 1693"/>
                <a:gd name="T14" fmla="*/ 0 w 3166"/>
                <a:gd name="T15" fmla="*/ 0 h 1693"/>
                <a:gd name="T16" fmla="*/ 0 w 3166"/>
                <a:gd name="T17" fmla="*/ 0 h 1693"/>
                <a:gd name="T18" fmla="*/ 0 w 3166"/>
                <a:gd name="T19" fmla="*/ 0 h 1693"/>
                <a:gd name="T20" fmla="*/ 0 w 3166"/>
                <a:gd name="T21" fmla="*/ 0 h 1693"/>
                <a:gd name="T22" fmla="*/ 0 w 3166"/>
                <a:gd name="T23" fmla="*/ 0 h 1693"/>
                <a:gd name="T24" fmla="*/ 0 w 3166"/>
                <a:gd name="T25" fmla="*/ 0 h 1693"/>
                <a:gd name="T26" fmla="*/ 0 w 3166"/>
                <a:gd name="T27" fmla="*/ 0 h 1693"/>
                <a:gd name="T28" fmla="*/ 0 w 3166"/>
                <a:gd name="T29" fmla="*/ 0 h 1693"/>
                <a:gd name="T30" fmla="*/ 0 w 3166"/>
                <a:gd name="T31" fmla="*/ 0 h 1693"/>
                <a:gd name="T32" fmla="*/ 0 w 3166"/>
                <a:gd name="T33" fmla="*/ 0 h 1693"/>
                <a:gd name="T34" fmla="*/ 0 w 3166"/>
                <a:gd name="T35" fmla="*/ 0 h 1693"/>
                <a:gd name="T36" fmla="*/ 0 w 3166"/>
                <a:gd name="T37" fmla="*/ 0 h 1693"/>
                <a:gd name="T38" fmla="*/ 0 w 3166"/>
                <a:gd name="T39" fmla="*/ 0 h 1693"/>
                <a:gd name="T40" fmla="*/ 0 w 3166"/>
                <a:gd name="T41" fmla="*/ 0 h 1693"/>
                <a:gd name="T42" fmla="*/ 0 w 3166"/>
                <a:gd name="T43" fmla="*/ 0 h 1693"/>
                <a:gd name="T44" fmla="*/ 0 w 3166"/>
                <a:gd name="T45" fmla="*/ 0 h 1693"/>
                <a:gd name="T46" fmla="*/ 0 w 3166"/>
                <a:gd name="T47" fmla="*/ 0 h 1693"/>
                <a:gd name="T48" fmla="*/ 0 w 3166"/>
                <a:gd name="T49" fmla="*/ 0 h 1693"/>
                <a:gd name="T50" fmla="*/ 0 w 3166"/>
                <a:gd name="T51" fmla="*/ 0 h 1693"/>
                <a:gd name="T52" fmla="*/ 0 w 3166"/>
                <a:gd name="T53" fmla="*/ 0 h 1693"/>
                <a:gd name="T54" fmla="*/ 0 w 3166"/>
                <a:gd name="T55" fmla="*/ 0 h 1693"/>
                <a:gd name="T56" fmla="*/ 0 w 3166"/>
                <a:gd name="T57" fmla="*/ 0 h 1693"/>
                <a:gd name="T58" fmla="*/ 0 w 3166"/>
                <a:gd name="T59" fmla="*/ 0 h 1693"/>
                <a:gd name="T60" fmla="*/ 0 w 3166"/>
                <a:gd name="T61" fmla="*/ 0 h 1693"/>
                <a:gd name="T62" fmla="*/ 0 w 3166"/>
                <a:gd name="T63" fmla="*/ 0 h 1693"/>
                <a:gd name="T64" fmla="*/ 0 w 3166"/>
                <a:gd name="T65" fmla="*/ 0 h 1693"/>
                <a:gd name="T66" fmla="*/ 0 w 3166"/>
                <a:gd name="T67" fmla="*/ 0 h 1693"/>
                <a:gd name="T68" fmla="*/ 0 w 3166"/>
                <a:gd name="T69" fmla="*/ 0 h 1693"/>
                <a:gd name="T70" fmla="*/ 0 w 3166"/>
                <a:gd name="T71" fmla="*/ 0 h 1693"/>
                <a:gd name="T72" fmla="*/ 0 w 3166"/>
                <a:gd name="T73" fmla="*/ 0 h 1693"/>
                <a:gd name="T74" fmla="*/ 0 w 3166"/>
                <a:gd name="T75" fmla="*/ 0 h 1693"/>
                <a:gd name="T76" fmla="*/ 0 w 3166"/>
                <a:gd name="T77" fmla="*/ 0 h 1693"/>
                <a:gd name="T78" fmla="*/ 0 w 3166"/>
                <a:gd name="T79" fmla="*/ 0 h 1693"/>
                <a:gd name="T80" fmla="*/ 0 w 3166"/>
                <a:gd name="T81" fmla="*/ 0 h 1693"/>
                <a:gd name="T82" fmla="*/ 0 w 3166"/>
                <a:gd name="T83" fmla="*/ 0 h 1693"/>
                <a:gd name="T84" fmla="*/ 0 w 3166"/>
                <a:gd name="T85" fmla="*/ 0 h 1693"/>
                <a:gd name="T86" fmla="*/ 0 w 3166"/>
                <a:gd name="T87" fmla="*/ 0 h 1693"/>
                <a:gd name="T88" fmla="*/ 0 w 3166"/>
                <a:gd name="T89" fmla="*/ 0 h 1693"/>
                <a:gd name="T90" fmla="*/ 0 w 3166"/>
                <a:gd name="T91" fmla="*/ 0 h 1693"/>
                <a:gd name="T92" fmla="*/ 0 w 3166"/>
                <a:gd name="T93" fmla="*/ 0 h 1693"/>
                <a:gd name="T94" fmla="*/ 0 w 3166"/>
                <a:gd name="T95" fmla="*/ 0 h 1693"/>
                <a:gd name="T96" fmla="*/ 0 w 3166"/>
                <a:gd name="T97" fmla="*/ 0 h 1693"/>
                <a:gd name="T98" fmla="*/ 0 w 3166"/>
                <a:gd name="T99" fmla="*/ 0 h 1693"/>
                <a:gd name="T100" fmla="*/ 0 w 3166"/>
                <a:gd name="T101" fmla="*/ 0 h 1693"/>
                <a:gd name="T102" fmla="*/ 0 w 3166"/>
                <a:gd name="T103" fmla="*/ 0 h 1693"/>
                <a:gd name="T104" fmla="*/ 0 w 3166"/>
                <a:gd name="T105" fmla="*/ 0 h 1693"/>
                <a:gd name="T106" fmla="*/ 0 w 3166"/>
                <a:gd name="T107" fmla="*/ 0 h 1693"/>
                <a:gd name="T108" fmla="*/ 0 w 3166"/>
                <a:gd name="T109" fmla="*/ 0 h 1693"/>
                <a:gd name="T110" fmla="*/ 0 w 3166"/>
                <a:gd name="T111" fmla="*/ 0 h 1693"/>
                <a:gd name="T112" fmla="*/ 0 w 3166"/>
                <a:gd name="T113" fmla="*/ 0 h 1693"/>
                <a:gd name="T114" fmla="*/ 0 w 3166"/>
                <a:gd name="T115" fmla="*/ 0 h 1693"/>
                <a:gd name="T116" fmla="*/ 0 w 3166"/>
                <a:gd name="T117" fmla="*/ 0 h 1693"/>
                <a:gd name="T118" fmla="*/ 0 w 3166"/>
                <a:gd name="T119" fmla="*/ 0 h 16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166"/>
                <a:gd name="T181" fmla="*/ 0 h 1693"/>
                <a:gd name="T182" fmla="*/ 3166 w 3166"/>
                <a:gd name="T183" fmla="*/ 1693 h 16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4" name="Freeform 279">
              <a:extLst>
                <a:ext uri="{FF2B5EF4-FFF2-40B4-BE49-F238E27FC236}">
                  <a16:creationId xmlns:a16="http://schemas.microsoft.com/office/drawing/2014/main" id="{A94008D7-B437-7451-ABA9-7F78C6CE7C3B}"/>
                </a:ext>
              </a:extLst>
            </p:cNvPr>
            <p:cNvSpPr>
              <a:spLocks noChangeAspect="1"/>
            </p:cNvSpPr>
            <p:nvPr userDrawn="1"/>
          </p:nvSpPr>
          <p:spPr bwMode="gray">
            <a:xfrm>
              <a:off x="4137566" y="2361037"/>
              <a:ext cx="1492" cy="3049"/>
            </a:xfrm>
            <a:custGeom>
              <a:avLst/>
              <a:gdLst>
                <a:gd name="T0" fmla="*/ 0 w 3"/>
                <a:gd name="T1" fmla="*/ 0 h 2"/>
                <a:gd name="T2" fmla="*/ 0 w 3"/>
                <a:gd name="T3" fmla="*/ 2147483647 h 2"/>
                <a:gd name="T4" fmla="*/ 0 w 3"/>
                <a:gd name="T5" fmla="*/ 2147483647 h 2"/>
                <a:gd name="T6" fmla="*/ 0 w 3"/>
                <a:gd name="T7" fmla="*/ 0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0" y="0"/>
                  </a:moveTo>
                  <a:lnTo>
                    <a:pt x="0" y="1"/>
                  </a:lnTo>
                  <a:lnTo>
                    <a:pt x="3" y="2"/>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5" name="Freeform 280">
              <a:extLst>
                <a:ext uri="{FF2B5EF4-FFF2-40B4-BE49-F238E27FC236}">
                  <a16:creationId xmlns:a16="http://schemas.microsoft.com/office/drawing/2014/main" id="{D2C54985-CF94-142E-C0BA-FCFD471BB694}"/>
                </a:ext>
              </a:extLst>
            </p:cNvPr>
            <p:cNvSpPr>
              <a:spLocks noChangeAspect="1"/>
            </p:cNvSpPr>
            <p:nvPr userDrawn="1"/>
          </p:nvSpPr>
          <p:spPr bwMode="gray">
            <a:xfrm>
              <a:off x="4036087" y="2461635"/>
              <a:ext cx="194004" cy="237778"/>
            </a:xfrm>
            <a:custGeom>
              <a:avLst/>
              <a:gdLst>
                <a:gd name="T0" fmla="*/ 0 w 362"/>
                <a:gd name="T1" fmla="*/ 0 h 420"/>
                <a:gd name="T2" fmla="*/ 0 w 362"/>
                <a:gd name="T3" fmla="*/ 0 h 420"/>
                <a:gd name="T4" fmla="*/ 0 w 362"/>
                <a:gd name="T5" fmla="*/ 0 h 420"/>
                <a:gd name="T6" fmla="*/ 0 w 362"/>
                <a:gd name="T7" fmla="*/ 0 h 420"/>
                <a:gd name="T8" fmla="*/ 0 w 362"/>
                <a:gd name="T9" fmla="*/ 0 h 420"/>
                <a:gd name="T10" fmla="*/ 0 w 362"/>
                <a:gd name="T11" fmla="*/ 0 h 420"/>
                <a:gd name="T12" fmla="*/ 0 w 362"/>
                <a:gd name="T13" fmla="*/ 0 h 420"/>
                <a:gd name="T14" fmla="*/ 0 w 362"/>
                <a:gd name="T15" fmla="*/ 0 h 420"/>
                <a:gd name="T16" fmla="*/ 0 w 362"/>
                <a:gd name="T17" fmla="*/ 0 h 420"/>
                <a:gd name="T18" fmla="*/ 0 w 362"/>
                <a:gd name="T19" fmla="*/ 0 h 420"/>
                <a:gd name="T20" fmla="*/ 0 w 362"/>
                <a:gd name="T21" fmla="*/ 0 h 420"/>
                <a:gd name="T22" fmla="*/ 0 w 362"/>
                <a:gd name="T23" fmla="*/ 0 h 420"/>
                <a:gd name="T24" fmla="*/ 0 w 362"/>
                <a:gd name="T25" fmla="*/ 0 h 420"/>
                <a:gd name="T26" fmla="*/ 0 w 362"/>
                <a:gd name="T27" fmla="*/ 0 h 420"/>
                <a:gd name="T28" fmla="*/ 0 w 362"/>
                <a:gd name="T29" fmla="*/ 2147483647 h 420"/>
                <a:gd name="T30" fmla="*/ 0 w 362"/>
                <a:gd name="T31" fmla="*/ 2147483647 h 420"/>
                <a:gd name="T32" fmla="*/ 0 w 362"/>
                <a:gd name="T33" fmla="*/ 2147483647 h 420"/>
                <a:gd name="T34" fmla="*/ 0 w 362"/>
                <a:gd name="T35" fmla="*/ 2147483647 h 420"/>
                <a:gd name="T36" fmla="*/ 0 w 362"/>
                <a:gd name="T37" fmla="*/ 2147483647 h 420"/>
                <a:gd name="T38" fmla="*/ 0 w 362"/>
                <a:gd name="T39" fmla="*/ 2147483647 h 420"/>
                <a:gd name="T40" fmla="*/ 0 w 362"/>
                <a:gd name="T41" fmla="*/ 2147483647 h 420"/>
                <a:gd name="T42" fmla="*/ 0 w 362"/>
                <a:gd name="T43" fmla="*/ 2147483647 h 420"/>
                <a:gd name="T44" fmla="*/ 0 w 362"/>
                <a:gd name="T45" fmla="*/ 2147483647 h 420"/>
                <a:gd name="T46" fmla="*/ 0 w 362"/>
                <a:gd name="T47" fmla="*/ 2147483647 h 420"/>
                <a:gd name="T48" fmla="*/ 0 w 362"/>
                <a:gd name="T49" fmla="*/ 2147483647 h 420"/>
                <a:gd name="T50" fmla="*/ 0 w 362"/>
                <a:gd name="T51" fmla="*/ 2147483647 h 420"/>
                <a:gd name="T52" fmla="*/ 0 w 362"/>
                <a:gd name="T53" fmla="*/ 2147483647 h 420"/>
                <a:gd name="T54" fmla="*/ 0 w 362"/>
                <a:gd name="T55" fmla="*/ 2147483647 h 420"/>
                <a:gd name="T56" fmla="*/ 0 w 362"/>
                <a:gd name="T57" fmla="*/ 2147483647 h 420"/>
                <a:gd name="T58" fmla="*/ 0 w 362"/>
                <a:gd name="T59" fmla="*/ 2147483647 h 420"/>
                <a:gd name="T60" fmla="*/ 2147483647 w 362"/>
                <a:gd name="T61" fmla="*/ 2147483647 h 420"/>
                <a:gd name="T62" fmla="*/ 2147483647 w 362"/>
                <a:gd name="T63" fmla="*/ 2147483647 h 420"/>
                <a:gd name="T64" fmla="*/ 2147483647 w 362"/>
                <a:gd name="T65" fmla="*/ 2147483647 h 420"/>
                <a:gd name="T66" fmla="*/ 2147483647 w 362"/>
                <a:gd name="T67" fmla="*/ 2147483647 h 420"/>
                <a:gd name="T68" fmla="*/ 2147483647 w 362"/>
                <a:gd name="T69" fmla="*/ 2147483647 h 420"/>
                <a:gd name="T70" fmla="*/ 2147483647 w 362"/>
                <a:gd name="T71" fmla="*/ 0 h 420"/>
                <a:gd name="T72" fmla="*/ 2147483647 w 362"/>
                <a:gd name="T73" fmla="*/ 0 h 420"/>
                <a:gd name="T74" fmla="*/ 2147483647 w 362"/>
                <a:gd name="T75" fmla="*/ 2147483647 h 420"/>
                <a:gd name="T76" fmla="*/ 2147483647 w 362"/>
                <a:gd name="T77" fmla="*/ 2147483647 h 420"/>
                <a:gd name="T78" fmla="*/ 2147483647 w 362"/>
                <a:gd name="T79" fmla="*/ 0 h 420"/>
                <a:gd name="T80" fmla="*/ 2147483647 w 362"/>
                <a:gd name="T81" fmla="*/ 0 h 420"/>
                <a:gd name="T82" fmla="*/ 2147483647 w 362"/>
                <a:gd name="T83" fmla="*/ 0 h 420"/>
                <a:gd name="T84" fmla="*/ 0 w 362"/>
                <a:gd name="T85" fmla="*/ 0 h 420"/>
                <a:gd name="T86" fmla="*/ 0 w 362"/>
                <a:gd name="T87" fmla="*/ 0 h 420"/>
                <a:gd name="T88" fmla="*/ 0 w 362"/>
                <a:gd name="T89" fmla="*/ 0 h 420"/>
                <a:gd name="T90" fmla="*/ 2147483647 w 362"/>
                <a:gd name="T91" fmla="*/ 0 h 420"/>
                <a:gd name="T92" fmla="*/ 0 w 362"/>
                <a:gd name="T93" fmla="*/ 0 h 420"/>
                <a:gd name="T94" fmla="*/ 0 w 362"/>
                <a:gd name="T95" fmla="*/ 0 h 420"/>
                <a:gd name="T96" fmla="*/ 0 w 362"/>
                <a:gd name="T97" fmla="*/ 0 h 420"/>
                <a:gd name="T98" fmla="*/ 0 w 362"/>
                <a:gd name="T99" fmla="*/ 0 h 420"/>
                <a:gd name="T100" fmla="*/ 0 w 362"/>
                <a:gd name="T101" fmla="*/ 0 h 420"/>
                <a:gd name="T102" fmla="*/ 0 w 362"/>
                <a:gd name="T103" fmla="*/ 0 h 420"/>
                <a:gd name="T104" fmla="*/ 0 w 362"/>
                <a:gd name="T105" fmla="*/ 0 h 420"/>
                <a:gd name="T106" fmla="*/ 0 w 362"/>
                <a:gd name="T107" fmla="*/ 0 h 420"/>
                <a:gd name="T108" fmla="*/ 0 w 362"/>
                <a:gd name="T109" fmla="*/ 0 h 420"/>
                <a:gd name="T110" fmla="*/ 0 w 362"/>
                <a:gd name="T111" fmla="*/ 0 h 420"/>
                <a:gd name="T112" fmla="*/ 0 w 362"/>
                <a:gd name="T113" fmla="*/ 0 h 420"/>
                <a:gd name="T114" fmla="*/ 0 w 362"/>
                <a:gd name="T115" fmla="*/ 0 h 420"/>
                <a:gd name="T116" fmla="*/ 0 w 362"/>
                <a:gd name="T117" fmla="*/ 0 h 420"/>
                <a:gd name="T118" fmla="*/ 0 w 362"/>
                <a:gd name="T119" fmla="*/ 0 h 4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62"/>
                <a:gd name="T181" fmla="*/ 0 h 420"/>
                <a:gd name="T182" fmla="*/ 362 w 362"/>
                <a:gd name="T183" fmla="*/ 420 h 4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6" name="Freeform 281">
              <a:extLst>
                <a:ext uri="{FF2B5EF4-FFF2-40B4-BE49-F238E27FC236}">
                  <a16:creationId xmlns:a16="http://schemas.microsoft.com/office/drawing/2014/main" id="{93C1F92C-9D9F-4A18-779C-B64532B2C126}"/>
                </a:ext>
              </a:extLst>
            </p:cNvPr>
            <p:cNvSpPr>
              <a:spLocks noChangeAspect="1"/>
            </p:cNvSpPr>
            <p:nvPr userDrawn="1"/>
          </p:nvSpPr>
          <p:spPr bwMode="gray">
            <a:xfrm>
              <a:off x="2013963" y="2498217"/>
              <a:ext cx="146250" cy="121938"/>
            </a:xfrm>
            <a:custGeom>
              <a:avLst/>
              <a:gdLst>
                <a:gd name="T0" fmla="*/ 0 w 275"/>
                <a:gd name="T1" fmla="*/ 0 h 214"/>
                <a:gd name="T2" fmla="*/ 0 w 275"/>
                <a:gd name="T3" fmla="*/ 0 h 214"/>
                <a:gd name="T4" fmla="*/ 0 w 275"/>
                <a:gd name="T5" fmla="*/ 0 h 214"/>
                <a:gd name="T6" fmla="*/ 0 w 275"/>
                <a:gd name="T7" fmla="*/ 0 h 214"/>
                <a:gd name="T8" fmla="*/ 0 w 275"/>
                <a:gd name="T9" fmla="*/ 0 h 214"/>
                <a:gd name="T10" fmla="*/ 0 w 275"/>
                <a:gd name="T11" fmla="*/ 0 h 214"/>
                <a:gd name="T12" fmla="*/ 0 w 275"/>
                <a:gd name="T13" fmla="*/ 0 h 214"/>
                <a:gd name="T14" fmla="*/ 0 w 275"/>
                <a:gd name="T15" fmla="*/ 0 h 214"/>
                <a:gd name="T16" fmla="*/ 0 w 275"/>
                <a:gd name="T17" fmla="*/ 0 h 214"/>
                <a:gd name="T18" fmla="*/ 0 w 275"/>
                <a:gd name="T19" fmla="*/ 0 h 214"/>
                <a:gd name="T20" fmla="*/ 0 w 275"/>
                <a:gd name="T21" fmla="*/ 0 h 214"/>
                <a:gd name="T22" fmla="*/ 0 w 275"/>
                <a:gd name="T23" fmla="*/ 0 h 214"/>
                <a:gd name="T24" fmla="*/ 0 w 275"/>
                <a:gd name="T25" fmla="*/ 0 h 214"/>
                <a:gd name="T26" fmla="*/ 0 w 275"/>
                <a:gd name="T27" fmla="*/ 0 h 214"/>
                <a:gd name="T28" fmla="*/ 0 w 275"/>
                <a:gd name="T29" fmla="*/ 0 h 214"/>
                <a:gd name="T30" fmla="*/ 0 w 275"/>
                <a:gd name="T31" fmla="*/ 0 h 214"/>
                <a:gd name="T32" fmla="*/ 0 w 275"/>
                <a:gd name="T33" fmla="*/ 0 h 214"/>
                <a:gd name="T34" fmla="*/ 0 w 275"/>
                <a:gd name="T35" fmla="*/ 0 h 214"/>
                <a:gd name="T36" fmla="*/ 0 w 275"/>
                <a:gd name="T37" fmla="*/ 0 h 214"/>
                <a:gd name="T38" fmla="*/ 0 w 275"/>
                <a:gd name="T39" fmla="*/ 0 h 214"/>
                <a:gd name="T40" fmla="*/ 0 w 275"/>
                <a:gd name="T41" fmla="*/ 0 h 214"/>
                <a:gd name="T42" fmla="*/ 0 w 275"/>
                <a:gd name="T43" fmla="*/ 0 h 214"/>
                <a:gd name="T44" fmla="*/ 0 w 275"/>
                <a:gd name="T45" fmla="*/ 0 h 214"/>
                <a:gd name="T46" fmla="*/ 0 w 275"/>
                <a:gd name="T47" fmla="*/ 0 h 214"/>
                <a:gd name="T48" fmla="*/ 0 w 275"/>
                <a:gd name="T49" fmla="*/ 0 h 214"/>
                <a:gd name="T50" fmla="*/ 0 w 275"/>
                <a:gd name="T51" fmla="*/ 0 h 214"/>
                <a:gd name="T52" fmla="*/ 0 w 275"/>
                <a:gd name="T53" fmla="*/ 0 h 214"/>
                <a:gd name="T54" fmla="*/ 0 w 275"/>
                <a:gd name="T55" fmla="*/ 0 h 214"/>
                <a:gd name="T56" fmla="*/ 0 w 275"/>
                <a:gd name="T57" fmla="*/ 0 h 214"/>
                <a:gd name="T58" fmla="*/ 0 w 275"/>
                <a:gd name="T59" fmla="*/ 0 h 214"/>
                <a:gd name="T60" fmla="*/ 0 w 275"/>
                <a:gd name="T61" fmla="*/ 0 h 214"/>
                <a:gd name="T62" fmla="*/ 0 w 275"/>
                <a:gd name="T63" fmla="*/ 0 h 214"/>
                <a:gd name="T64" fmla="*/ 0 w 275"/>
                <a:gd name="T65" fmla="*/ 0 h 214"/>
                <a:gd name="T66" fmla="*/ 0 w 275"/>
                <a:gd name="T67" fmla="*/ 0 h 214"/>
                <a:gd name="T68" fmla="*/ 0 w 275"/>
                <a:gd name="T69" fmla="*/ 0 h 214"/>
                <a:gd name="T70" fmla="*/ 0 w 275"/>
                <a:gd name="T71" fmla="*/ 0 h 214"/>
                <a:gd name="T72" fmla="*/ 0 w 275"/>
                <a:gd name="T73" fmla="*/ 0 h 214"/>
                <a:gd name="T74" fmla="*/ 0 w 275"/>
                <a:gd name="T75" fmla="*/ 0 h 214"/>
                <a:gd name="T76" fmla="*/ 0 w 275"/>
                <a:gd name="T77" fmla="*/ 0 h 214"/>
                <a:gd name="T78" fmla="*/ 0 w 275"/>
                <a:gd name="T79" fmla="*/ 0 h 214"/>
                <a:gd name="T80" fmla="*/ 0 w 275"/>
                <a:gd name="T81" fmla="*/ 0 h 214"/>
                <a:gd name="T82" fmla="*/ 0 w 275"/>
                <a:gd name="T83" fmla="*/ 0 h 214"/>
                <a:gd name="T84" fmla="*/ 0 w 275"/>
                <a:gd name="T85" fmla="*/ 0 h 214"/>
                <a:gd name="T86" fmla="*/ 0 w 275"/>
                <a:gd name="T87" fmla="*/ 0 h 214"/>
                <a:gd name="T88" fmla="*/ 0 w 275"/>
                <a:gd name="T89" fmla="*/ 0 h 214"/>
                <a:gd name="T90" fmla="*/ 0 w 275"/>
                <a:gd name="T91" fmla="*/ 0 h 214"/>
                <a:gd name="T92" fmla="*/ 0 w 275"/>
                <a:gd name="T93" fmla="*/ 0 h 214"/>
                <a:gd name="T94" fmla="*/ 0 w 275"/>
                <a:gd name="T95" fmla="*/ 0 h 214"/>
                <a:gd name="T96" fmla="*/ 0 w 275"/>
                <a:gd name="T97" fmla="*/ 0 h 214"/>
                <a:gd name="T98" fmla="*/ 0 w 275"/>
                <a:gd name="T99" fmla="*/ 0 h 214"/>
                <a:gd name="T100" fmla="*/ 0 w 275"/>
                <a:gd name="T101" fmla="*/ 0 h 214"/>
                <a:gd name="T102" fmla="*/ 0 w 275"/>
                <a:gd name="T103" fmla="*/ 0 h 214"/>
                <a:gd name="T104" fmla="*/ 0 w 275"/>
                <a:gd name="T105" fmla="*/ 0 h 214"/>
                <a:gd name="T106" fmla="*/ 0 w 275"/>
                <a:gd name="T107" fmla="*/ 0 h 214"/>
                <a:gd name="T108" fmla="*/ 0 w 275"/>
                <a:gd name="T109" fmla="*/ 0 h 214"/>
                <a:gd name="T110" fmla="*/ 0 w 275"/>
                <a:gd name="T111" fmla="*/ 0 h 214"/>
                <a:gd name="T112" fmla="*/ 0 w 275"/>
                <a:gd name="T113" fmla="*/ 0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5"/>
                <a:gd name="T172" fmla="*/ 0 h 214"/>
                <a:gd name="T173" fmla="*/ 275 w 275"/>
                <a:gd name="T174" fmla="*/ 214 h 21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7" name="Freeform 282">
              <a:extLst>
                <a:ext uri="{FF2B5EF4-FFF2-40B4-BE49-F238E27FC236}">
                  <a16:creationId xmlns:a16="http://schemas.microsoft.com/office/drawing/2014/main" id="{B40AC012-F95F-3020-8607-B769261F2648}"/>
                </a:ext>
              </a:extLst>
            </p:cNvPr>
            <p:cNvSpPr>
              <a:spLocks noChangeAspect="1"/>
            </p:cNvSpPr>
            <p:nvPr userDrawn="1"/>
          </p:nvSpPr>
          <p:spPr bwMode="gray">
            <a:xfrm>
              <a:off x="2860121" y="1262076"/>
              <a:ext cx="126849" cy="124985"/>
            </a:xfrm>
            <a:custGeom>
              <a:avLst/>
              <a:gdLst>
                <a:gd name="T0" fmla="*/ 0 w 236"/>
                <a:gd name="T1" fmla="*/ 0 h 221"/>
                <a:gd name="T2" fmla="*/ 0 w 236"/>
                <a:gd name="T3" fmla="*/ 0 h 221"/>
                <a:gd name="T4" fmla="*/ 0 w 236"/>
                <a:gd name="T5" fmla="*/ 0 h 221"/>
                <a:gd name="T6" fmla="*/ 0 w 236"/>
                <a:gd name="T7" fmla="*/ 0 h 221"/>
                <a:gd name="T8" fmla="*/ 0 w 236"/>
                <a:gd name="T9" fmla="*/ 0 h 221"/>
                <a:gd name="T10" fmla="*/ 0 w 236"/>
                <a:gd name="T11" fmla="*/ 0 h 221"/>
                <a:gd name="T12" fmla="*/ 0 w 236"/>
                <a:gd name="T13" fmla="*/ 0 h 221"/>
                <a:gd name="T14" fmla="*/ 0 w 236"/>
                <a:gd name="T15" fmla="*/ 0 h 221"/>
                <a:gd name="T16" fmla="*/ 0 w 236"/>
                <a:gd name="T17" fmla="*/ 0 h 221"/>
                <a:gd name="T18" fmla="*/ 0 w 236"/>
                <a:gd name="T19" fmla="*/ 0 h 221"/>
                <a:gd name="T20" fmla="*/ 0 w 236"/>
                <a:gd name="T21" fmla="*/ 0 h 221"/>
                <a:gd name="T22" fmla="*/ 0 w 236"/>
                <a:gd name="T23" fmla="*/ 0 h 221"/>
                <a:gd name="T24" fmla="*/ 0 w 236"/>
                <a:gd name="T25" fmla="*/ 0 h 221"/>
                <a:gd name="T26" fmla="*/ 0 w 236"/>
                <a:gd name="T27" fmla="*/ 0 h 221"/>
                <a:gd name="T28" fmla="*/ 0 w 236"/>
                <a:gd name="T29" fmla="*/ 0 h 221"/>
                <a:gd name="T30" fmla="*/ 0 w 236"/>
                <a:gd name="T31" fmla="*/ 0 h 221"/>
                <a:gd name="T32" fmla="*/ 0 w 236"/>
                <a:gd name="T33" fmla="*/ 0 h 221"/>
                <a:gd name="T34" fmla="*/ 0 w 236"/>
                <a:gd name="T35" fmla="*/ 0 h 221"/>
                <a:gd name="T36" fmla="*/ 0 w 236"/>
                <a:gd name="T37" fmla="*/ 0 h 221"/>
                <a:gd name="T38" fmla="*/ 0 w 236"/>
                <a:gd name="T39" fmla="*/ 0 h 221"/>
                <a:gd name="T40" fmla="*/ 0 w 236"/>
                <a:gd name="T41" fmla="*/ 0 h 221"/>
                <a:gd name="T42" fmla="*/ 0 w 236"/>
                <a:gd name="T43" fmla="*/ 0 h 221"/>
                <a:gd name="T44" fmla="*/ 0 w 236"/>
                <a:gd name="T45" fmla="*/ 0 h 221"/>
                <a:gd name="T46" fmla="*/ 0 w 236"/>
                <a:gd name="T47" fmla="*/ 0 h 221"/>
                <a:gd name="T48" fmla="*/ 0 w 236"/>
                <a:gd name="T49" fmla="*/ 0 h 221"/>
                <a:gd name="T50" fmla="*/ 0 w 236"/>
                <a:gd name="T51" fmla="*/ 0 h 221"/>
                <a:gd name="T52" fmla="*/ 0 w 236"/>
                <a:gd name="T53" fmla="*/ 0 h 221"/>
                <a:gd name="T54" fmla="*/ 0 w 236"/>
                <a:gd name="T55" fmla="*/ 0 h 221"/>
                <a:gd name="T56" fmla="*/ 0 w 236"/>
                <a:gd name="T57" fmla="*/ 0 h 221"/>
                <a:gd name="T58" fmla="*/ 0 w 236"/>
                <a:gd name="T59" fmla="*/ 0 h 221"/>
                <a:gd name="T60" fmla="*/ 0 w 236"/>
                <a:gd name="T61" fmla="*/ 0 h 221"/>
                <a:gd name="T62" fmla="*/ 0 w 236"/>
                <a:gd name="T63" fmla="*/ 0 h 221"/>
                <a:gd name="T64" fmla="*/ 0 w 236"/>
                <a:gd name="T65" fmla="*/ 0 h 221"/>
                <a:gd name="T66" fmla="*/ 0 w 236"/>
                <a:gd name="T67" fmla="*/ 0 h 221"/>
                <a:gd name="T68" fmla="*/ 0 w 236"/>
                <a:gd name="T69" fmla="*/ 0 h 22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6"/>
                <a:gd name="T106" fmla="*/ 0 h 221"/>
                <a:gd name="T107" fmla="*/ 236 w 236"/>
                <a:gd name="T108" fmla="*/ 221 h 22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8" name="Freeform 283">
              <a:extLst>
                <a:ext uri="{FF2B5EF4-FFF2-40B4-BE49-F238E27FC236}">
                  <a16:creationId xmlns:a16="http://schemas.microsoft.com/office/drawing/2014/main" id="{C17B1472-AEEE-1DDC-AA6B-A81BF9642296}"/>
                </a:ext>
              </a:extLst>
            </p:cNvPr>
            <p:cNvSpPr>
              <a:spLocks noChangeAspect="1"/>
            </p:cNvSpPr>
            <p:nvPr userDrawn="1"/>
          </p:nvSpPr>
          <p:spPr bwMode="gray">
            <a:xfrm>
              <a:off x="2084104" y="777375"/>
              <a:ext cx="310407" cy="370385"/>
            </a:xfrm>
            <a:custGeom>
              <a:avLst/>
              <a:gdLst>
                <a:gd name="T0" fmla="*/ 0 w 582"/>
                <a:gd name="T1" fmla="*/ 0 h 653"/>
                <a:gd name="T2" fmla="*/ 0 w 582"/>
                <a:gd name="T3" fmla="*/ 0 h 653"/>
                <a:gd name="T4" fmla="*/ 0 w 582"/>
                <a:gd name="T5" fmla="*/ 0 h 653"/>
                <a:gd name="T6" fmla="*/ 0 w 582"/>
                <a:gd name="T7" fmla="*/ 0 h 653"/>
                <a:gd name="T8" fmla="*/ 0 w 582"/>
                <a:gd name="T9" fmla="*/ 0 h 653"/>
                <a:gd name="T10" fmla="*/ 0 w 582"/>
                <a:gd name="T11" fmla="*/ 0 h 653"/>
                <a:gd name="T12" fmla="*/ 0 w 582"/>
                <a:gd name="T13" fmla="*/ 0 h 653"/>
                <a:gd name="T14" fmla="*/ 0 w 582"/>
                <a:gd name="T15" fmla="*/ 2147483647 h 653"/>
                <a:gd name="T16" fmla="*/ 0 w 582"/>
                <a:gd name="T17" fmla="*/ 2147483647 h 653"/>
                <a:gd name="T18" fmla="*/ 0 w 582"/>
                <a:gd name="T19" fmla="*/ 2147483647 h 653"/>
                <a:gd name="T20" fmla="*/ 0 w 582"/>
                <a:gd name="T21" fmla="*/ 2147483647 h 653"/>
                <a:gd name="T22" fmla="*/ 0 w 582"/>
                <a:gd name="T23" fmla="*/ 2147483647 h 653"/>
                <a:gd name="T24" fmla="*/ 0 w 582"/>
                <a:gd name="T25" fmla="*/ 2147483647 h 653"/>
                <a:gd name="T26" fmla="*/ 0 w 582"/>
                <a:gd name="T27" fmla="*/ 2147483647 h 653"/>
                <a:gd name="T28" fmla="*/ 0 w 582"/>
                <a:gd name="T29" fmla="*/ 2147483647 h 653"/>
                <a:gd name="T30" fmla="*/ 0 w 582"/>
                <a:gd name="T31" fmla="*/ 2147483647 h 653"/>
                <a:gd name="T32" fmla="*/ 0 w 582"/>
                <a:gd name="T33" fmla="*/ 2147483647 h 653"/>
                <a:gd name="T34" fmla="*/ 0 w 582"/>
                <a:gd name="T35" fmla="*/ 2147483647 h 653"/>
                <a:gd name="T36" fmla="*/ 0 w 582"/>
                <a:gd name="T37" fmla="*/ 2147483647 h 653"/>
                <a:gd name="T38" fmla="*/ 0 w 582"/>
                <a:gd name="T39" fmla="*/ 2147483647 h 653"/>
                <a:gd name="T40" fmla="*/ 0 w 582"/>
                <a:gd name="T41" fmla="*/ 2147483647 h 653"/>
                <a:gd name="T42" fmla="*/ 0 w 582"/>
                <a:gd name="T43" fmla="*/ 2147483647 h 653"/>
                <a:gd name="T44" fmla="*/ 0 w 582"/>
                <a:gd name="T45" fmla="*/ 2147483647 h 653"/>
                <a:gd name="T46" fmla="*/ 0 w 582"/>
                <a:gd name="T47" fmla="*/ 2147483647 h 653"/>
                <a:gd name="T48" fmla="*/ 0 w 582"/>
                <a:gd name="T49" fmla="*/ 2147483647 h 653"/>
                <a:gd name="T50" fmla="*/ 0 w 582"/>
                <a:gd name="T51" fmla="*/ 2147483647 h 653"/>
                <a:gd name="T52" fmla="*/ 0 w 582"/>
                <a:gd name="T53" fmla="*/ 2147483647 h 653"/>
                <a:gd name="T54" fmla="*/ 0 w 582"/>
                <a:gd name="T55" fmla="*/ 2147483647 h 653"/>
                <a:gd name="T56" fmla="*/ 0 w 582"/>
                <a:gd name="T57" fmla="*/ 2147483647 h 653"/>
                <a:gd name="T58" fmla="*/ 0 w 582"/>
                <a:gd name="T59" fmla="*/ 2147483647 h 653"/>
                <a:gd name="T60" fmla="*/ 0 w 582"/>
                <a:gd name="T61" fmla="*/ 2147483647 h 653"/>
                <a:gd name="T62" fmla="*/ 2147483647 w 582"/>
                <a:gd name="T63" fmla="*/ 2147483647 h 653"/>
                <a:gd name="T64" fmla="*/ 2147483647 w 582"/>
                <a:gd name="T65" fmla="*/ 2147483647 h 653"/>
                <a:gd name="T66" fmla="*/ 2147483647 w 582"/>
                <a:gd name="T67" fmla="*/ 2147483647 h 653"/>
                <a:gd name="T68" fmla="*/ 2147483647 w 582"/>
                <a:gd name="T69" fmla="*/ 2147483647 h 653"/>
                <a:gd name="T70" fmla="*/ 2147483647 w 582"/>
                <a:gd name="T71" fmla="*/ 2147483647 h 653"/>
                <a:gd name="T72" fmla="*/ 2147483647 w 582"/>
                <a:gd name="T73" fmla="*/ 0 h 653"/>
                <a:gd name="T74" fmla="*/ 2147483647 w 582"/>
                <a:gd name="T75" fmla="*/ 0 h 653"/>
                <a:gd name="T76" fmla="*/ 2147483647 w 582"/>
                <a:gd name="T77" fmla="*/ 0 h 653"/>
                <a:gd name="T78" fmla="*/ 2147483647 w 582"/>
                <a:gd name="T79" fmla="*/ 0 h 653"/>
                <a:gd name="T80" fmla="*/ 2147483647 w 582"/>
                <a:gd name="T81" fmla="*/ 0 h 653"/>
                <a:gd name="T82" fmla="*/ 2147483647 w 582"/>
                <a:gd name="T83" fmla="*/ 0 h 653"/>
                <a:gd name="T84" fmla="*/ 2147483647 w 582"/>
                <a:gd name="T85" fmla="*/ 0 h 653"/>
                <a:gd name="T86" fmla="*/ 2147483647 w 582"/>
                <a:gd name="T87" fmla="*/ 0 h 653"/>
                <a:gd name="T88" fmla="*/ 2147483647 w 582"/>
                <a:gd name="T89" fmla="*/ 0 h 653"/>
                <a:gd name="T90" fmla="*/ 2147483647 w 582"/>
                <a:gd name="T91" fmla="*/ 0 h 653"/>
                <a:gd name="T92" fmla="*/ 2147483647 w 582"/>
                <a:gd name="T93" fmla="*/ 0 h 653"/>
                <a:gd name="T94" fmla="*/ 2147483647 w 582"/>
                <a:gd name="T95" fmla="*/ 0 h 653"/>
                <a:gd name="T96" fmla="*/ 0 w 582"/>
                <a:gd name="T97" fmla="*/ 0 h 653"/>
                <a:gd name="T98" fmla="*/ 0 w 582"/>
                <a:gd name="T99" fmla="*/ 0 h 653"/>
                <a:gd name="T100" fmla="*/ 0 w 582"/>
                <a:gd name="T101" fmla="*/ 0 h 653"/>
                <a:gd name="T102" fmla="*/ 0 w 582"/>
                <a:gd name="T103" fmla="*/ 0 h 653"/>
                <a:gd name="T104" fmla="*/ 0 w 582"/>
                <a:gd name="T105" fmla="*/ 0 h 653"/>
                <a:gd name="T106" fmla="*/ 0 w 582"/>
                <a:gd name="T107" fmla="*/ 0 h 653"/>
                <a:gd name="T108" fmla="*/ 0 w 582"/>
                <a:gd name="T109" fmla="*/ 0 h 653"/>
                <a:gd name="T110" fmla="*/ 0 w 582"/>
                <a:gd name="T111" fmla="*/ 0 h 653"/>
                <a:gd name="T112" fmla="*/ 0 w 582"/>
                <a:gd name="T113" fmla="*/ 0 h 653"/>
                <a:gd name="T114" fmla="*/ 0 w 582"/>
                <a:gd name="T115" fmla="*/ 0 h 653"/>
                <a:gd name="T116" fmla="*/ 0 w 582"/>
                <a:gd name="T117" fmla="*/ 0 h 6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82"/>
                <a:gd name="T178" fmla="*/ 0 h 653"/>
                <a:gd name="T179" fmla="*/ 582 w 582"/>
                <a:gd name="T180" fmla="*/ 653 h 6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59" name="Freeform 284">
              <a:extLst>
                <a:ext uri="{FF2B5EF4-FFF2-40B4-BE49-F238E27FC236}">
                  <a16:creationId xmlns:a16="http://schemas.microsoft.com/office/drawing/2014/main" id="{A3AAD033-598F-70FD-FEF9-1F44EAD211AD}"/>
                </a:ext>
              </a:extLst>
            </p:cNvPr>
            <p:cNvSpPr>
              <a:spLocks noChangeAspect="1"/>
            </p:cNvSpPr>
            <p:nvPr userDrawn="1"/>
          </p:nvSpPr>
          <p:spPr bwMode="gray">
            <a:xfrm>
              <a:off x="2287062" y="917603"/>
              <a:ext cx="532766" cy="466411"/>
            </a:xfrm>
            <a:custGeom>
              <a:avLst/>
              <a:gdLst>
                <a:gd name="T0" fmla="*/ 0 w 999"/>
                <a:gd name="T1" fmla="*/ 2147483647 h 819"/>
                <a:gd name="T2" fmla="*/ 0 w 999"/>
                <a:gd name="T3" fmla="*/ 2147483647 h 819"/>
                <a:gd name="T4" fmla="*/ 2147483647 w 999"/>
                <a:gd name="T5" fmla="*/ 2147483647 h 819"/>
                <a:gd name="T6" fmla="*/ 2147483647 w 999"/>
                <a:gd name="T7" fmla="*/ 2147483647 h 819"/>
                <a:gd name="T8" fmla="*/ 0 w 999"/>
                <a:gd name="T9" fmla="*/ 2147483647 h 819"/>
                <a:gd name="T10" fmla="*/ 0 w 999"/>
                <a:gd name="T11" fmla="*/ 2147483647 h 819"/>
                <a:gd name="T12" fmla="*/ 0 w 999"/>
                <a:gd name="T13" fmla="*/ 2147483647 h 819"/>
                <a:gd name="T14" fmla="*/ 0 w 999"/>
                <a:gd name="T15" fmla="*/ 2147483647 h 819"/>
                <a:gd name="T16" fmla="*/ 0 w 999"/>
                <a:gd name="T17" fmla="*/ 2147483647 h 819"/>
                <a:gd name="T18" fmla="*/ 0 w 999"/>
                <a:gd name="T19" fmla="*/ 2147483647 h 819"/>
                <a:gd name="T20" fmla="*/ 0 w 999"/>
                <a:gd name="T21" fmla="*/ 2147483647 h 819"/>
                <a:gd name="T22" fmla="*/ 0 w 999"/>
                <a:gd name="T23" fmla="*/ 0 h 819"/>
                <a:gd name="T24" fmla="*/ 0 w 999"/>
                <a:gd name="T25" fmla="*/ 0 h 819"/>
                <a:gd name="T26" fmla="*/ 0 w 999"/>
                <a:gd name="T27" fmla="*/ 0 h 819"/>
                <a:gd name="T28" fmla="*/ 0 w 999"/>
                <a:gd name="T29" fmla="*/ 0 h 819"/>
                <a:gd name="T30" fmla="*/ 0 w 999"/>
                <a:gd name="T31" fmla="*/ 0 h 819"/>
                <a:gd name="T32" fmla="*/ 0 w 999"/>
                <a:gd name="T33" fmla="*/ 0 h 819"/>
                <a:gd name="T34" fmla="*/ 0 w 999"/>
                <a:gd name="T35" fmla="*/ 0 h 819"/>
                <a:gd name="T36" fmla="*/ 2147483647 w 999"/>
                <a:gd name="T37" fmla="*/ 0 h 819"/>
                <a:gd name="T38" fmla="*/ 2147483647 w 999"/>
                <a:gd name="T39" fmla="*/ 0 h 819"/>
                <a:gd name="T40" fmla="*/ 2147483647 w 999"/>
                <a:gd name="T41" fmla="*/ 0 h 819"/>
                <a:gd name="T42" fmla="*/ 2147483647 w 999"/>
                <a:gd name="T43" fmla="*/ 0 h 819"/>
                <a:gd name="T44" fmla="*/ 2147483647 w 999"/>
                <a:gd name="T45" fmla="*/ 0 h 819"/>
                <a:gd name="T46" fmla="*/ 2147483647 w 999"/>
                <a:gd name="T47" fmla="*/ 0 h 819"/>
                <a:gd name="T48" fmla="*/ 2147483647 w 999"/>
                <a:gd name="T49" fmla="*/ 0 h 819"/>
                <a:gd name="T50" fmla="*/ 2147483647 w 999"/>
                <a:gd name="T51" fmla="*/ 0 h 819"/>
                <a:gd name="T52" fmla="*/ 2147483647 w 999"/>
                <a:gd name="T53" fmla="*/ 0 h 819"/>
                <a:gd name="T54" fmla="*/ 2147483647 w 999"/>
                <a:gd name="T55" fmla="*/ 0 h 819"/>
                <a:gd name="T56" fmla="*/ 2147483647 w 999"/>
                <a:gd name="T57" fmla="*/ 0 h 819"/>
                <a:gd name="T58" fmla="*/ 2147483647 w 999"/>
                <a:gd name="T59" fmla="*/ 0 h 819"/>
                <a:gd name="T60" fmla="*/ 2147483647 w 999"/>
                <a:gd name="T61" fmla="*/ 0 h 819"/>
                <a:gd name="T62" fmla="*/ 2147483647 w 999"/>
                <a:gd name="T63" fmla="*/ 0 h 819"/>
                <a:gd name="T64" fmla="*/ 2147483647 w 999"/>
                <a:gd name="T65" fmla="*/ 0 h 819"/>
                <a:gd name="T66" fmla="*/ 2147483647 w 999"/>
                <a:gd name="T67" fmla="*/ 0 h 819"/>
                <a:gd name="T68" fmla="*/ 2147483647 w 999"/>
                <a:gd name="T69" fmla="*/ 0 h 819"/>
                <a:gd name="T70" fmla="*/ 2147483647 w 999"/>
                <a:gd name="T71" fmla="*/ 2147483647 h 819"/>
                <a:gd name="T72" fmla="*/ 2147483647 w 999"/>
                <a:gd name="T73" fmla="*/ 2147483647 h 819"/>
                <a:gd name="T74" fmla="*/ 2147483647 w 999"/>
                <a:gd name="T75" fmla="*/ 2147483647 h 819"/>
                <a:gd name="T76" fmla="*/ 2147483647 w 999"/>
                <a:gd name="T77" fmla="*/ 2147483647 h 819"/>
                <a:gd name="T78" fmla="*/ 2147483647 w 999"/>
                <a:gd name="T79" fmla="*/ 2147483647 h 819"/>
                <a:gd name="T80" fmla="*/ 2147483647 w 999"/>
                <a:gd name="T81" fmla="*/ 2147483647 h 819"/>
                <a:gd name="T82" fmla="*/ 2147483647 w 999"/>
                <a:gd name="T83" fmla="*/ 2147483647 h 819"/>
                <a:gd name="T84" fmla="*/ 2147483647 w 999"/>
                <a:gd name="T85" fmla="*/ 2147483647 h 819"/>
                <a:gd name="T86" fmla="*/ 2147483647 w 999"/>
                <a:gd name="T87" fmla="*/ 2147483647 h 819"/>
                <a:gd name="T88" fmla="*/ 2147483647 w 999"/>
                <a:gd name="T89" fmla="*/ 2147483647 h 819"/>
                <a:gd name="T90" fmla="*/ 2147483647 w 999"/>
                <a:gd name="T91" fmla="*/ 2147483647 h 819"/>
                <a:gd name="T92" fmla="*/ 2147483647 w 999"/>
                <a:gd name="T93" fmla="*/ 2147483647 h 819"/>
                <a:gd name="T94" fmla="*/ 2147483647 w 999"/>
                <a:gd name="T95" fmla="*/ 2147483647 h 819"/>
                <a:gd name="T96" fmla="*/ 2147483647 w 999"/>
                <a:gd name="T97" fmla="*/ 2147483647 h 819"/>
                <a:gd name="T98" fmla="*/ 2147483647 w 999"/>
                <a:gd name="T99" fmla="*/ 2147483647 h 819"/>
                <a:gd name="T100" fmla="*/ 2147483647 w 999"/>
                <a:gd name="T101" fmla="*/ 2147483647 h 819"/>
                <a:gd name="T102" fmla="*/ 2147483647 w 999"/>
                <a:gd name="T103" fmla="*/ 2147483647 h 819"/>
                <a:gd name="T104" fmla="*/ 2147483647 w 999"/>
                <a:gd name="T105" fmla="*/ 2147483647 h 819"/>
                <a:gd name="T106" fmla="*/ 2147483647 w 999"/>
                <a:gd name="T107" fmla="*/ 2147483647 h 819"/>
                <a:gd name="T108" fmla="*/ 2147483647 w 999"/>
                <a:gd name="T109" fmla="*/ 2147483647 h 819"/>
                <a:gd name="T110" fmla="*/ 0 w 999"/>
                <a:gd name="T111" fmla="*/ 2147483647 h 819"/>
                <a:gd name="T112" fmla="*/ 0 w 999"/>
                <a:gd name="T113" fmla="*/ 2147483647 h 81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99"/>
                <a:gd name="T172" fmla="*/ 0 h 819"/>
                <a:gd name="T173" fmla="*/ 999 w 999"/>
                <a:gd name="T174" fmla="*/ 819 h 81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0" name="Freeform 285">
              <a:extLst>
                <a:ext uri="{FF2B5EF4-FFF2-40B4-BE49-F238E27FC236}">
                  <a16:creationId xmlns:a16="http://schemas.microsoft.com/office/drawing/2014/main" id="{DE49C59B-7D4F-6819-7BE4-4DBD842A4990}"/>
                </a:ext>
              </a:extLst>
            </p:cNvPr>
            <p:cNvSpPr>
              <a:spLocks noChangeAspect="1"/>
            </p:cNvSpPr>
            <p:nvPr userDrawn="1"/>
          </p:nvSpPr>
          <p:spPr bwMode="gray">
            <a:xfrm>
              <a:off x="2637762" y="873400"/>
              <a:ext cx="74617" cy="96026"/>
            </a:xfrm>
            <a:custGeom>
              <a:avLst/>
              <a:gdLst>
                <a:gd name="T0" fmla="*/ 0 w 137"/>
                <a:gd name="T1" fmla="*/ 0 h 167"/>
                <a:gd name="T2" fmla="*/ 0 w 137"/>
                <a:gd name="T3" fmla="*/ 0 h 167"/>
                <a:gd name="T4" fmla="*/ 0 w 137"/>
                <a:gd name="T5" fmla="*/ 0 h 167"/>
                <a:gd name="T6" fmla="*/ 0 w 137"/>
                <a:gd name="T7" fmla="*/ 0 h 167"/>
                <a:gd name="T8" fmla="*/ 0 w 137"/>
                <a:gd name="T9" fmla="*/ 0 h 167"/>
                <a:gd name="T10" fmla="*/ 0 w 137"/>
                <a:gd name="T11" fmla="*/ 0 h 167"/>
                <a:gd name="T12" fmla="*/ 0 w 137"/>
                <a:gd name="T13" fmla="*/ 0 h 167"/>
                <a:gd name="T14" fmla="*/ 0 w 137"/>
                <a:gd name="T15" fmla="*/ 0 h 167"/>
                <a:gd name="T16" fmla="*/ 0 w 137"/>
                <a:gd name="T17" fmla="*/ 0 h 167"/>
                <a:gd name="T18" fmla="*/ 0 w 137"/>
                <a:gd name="T19" fmla="*/ 0 h 167"/>
                <a:gd name="T20" fmla="*/ 0 w 137"/>
                <a:gd name="T21" fmla="*/ 0 h 167"/>
                <a:gd name="T22" fmla="*/ 0 w 137"/>
                <a:gd name="T23" fmla="*/ 0 h 167"/>
                <a:gd name="T24" fmla="*/ 0 w 137"/>
                <a:gd name="T25" fmla="*/ 0 h 167"/>
                <a:gd name="T26" fmla="*/ 0 w 137"/>
                <a:gd name="T27" fmla="*/ 0 h 167"/>
                <a:gd name="T28" fmla="*/ 0 w 137"/>
                <a:gd name="T29" fmla="*/ 0 h 167"/>
                <a:gd name="T30" fmla="*/ 0 w 137"/>
                <a:gd name="T31" fmla="*/ 0 h 167"/>
                <a:gd name="T32" fmla="*/ 0 w 137"/>
                <a:gd name="T33" fmla="*/ 0 h 167"/>
                <a:gd name="T34" fmla="*/ 0 w 137"/>
                <a:gd name="T35" fmla="*/ 0 h 167"/>
                <a:gd name="T36" fmla="*/ 0 w 137"/>
                <a:gd name="T37" fmla="*/ 0 h 167"/>
                <a:gd name="T38" fmla="*/ 0 w 137"/>
                <a:gd name="T39" fmla="*/ 0 h 167"/>
                <a:gd name="T40" fmla="*/ 0 w 137"/>
                <a:gd name="T41" fmla="*/ 0 h 167"/>
                <a:gd name="T42" fmla="*/ 0 w 137"/>
                <a:gd name="T43" fmla="*/ 0 h 167"/>
                <a:gd name="T44" fmla="*/ 0 w 137"/>
                <a:gd name="T45" fmla="*/ 0 h 167"/>
                <a:gd name="T46" fmla="*/ 0 w 137"/>
                <a:gd name="T47" fmla="*/ 0 h 167"/>
                <a:gd name="T48" fmla="*/ 0 w 137"/>
                <a:gd name="T49" fmla="*/ 0 h 167"/>
                <a:gd name="T50" fmla="*/ 0 w 137"/>
                <a:gd name="T51" fmla="*/ 0 h 167"/>
                <a:gd name="T52" fmla="*/ 0 w 137"/>
                <a:gd name="T53" fmla="*/ 0 h 167"/>
                <a:gd name="T54" fmla="*/ 0 w 137"/>
                <a:gd name="T55" fmla="*/ 0 h 167"/>
                <a:gd name="T56" fmla="*/ 0 w 137"/>
                <a:gd name="T57" fmla="*/ 0 h 167"/>
                <a:gd name="T58" fmla="*/ 0 w 137"/>
                <a:gd name="T59" fmla="*/ 0 h 167"/>
                <a:gd name="T60" fmla="*/ 0 w 137"/>
                <a:gd name="T61" fmla="*/ 0 h 167"/>
                <a:gd name="T62" fmla="*/ 0 w 137"/>
                <a:gd name="T63" fmla="*/ 0 h 167"/>
                <a:gd name="T64" fmla="*/ 0 w 137"/>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7"/>
                <a:gd name="T100" fmla="*/ 0 h 167"/>
                <a:gd name="T101" fmla="*/ 137 w 137"/>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1" name="Freeform 286">
              <a:extLst>
                <a:ext uri="{FF2B5EF4-FFF2-40B4-BE49-F238E27FC236}">
                  <a16:creationId xmlns:a16="http://schemas.microsoft.com/office/drawing/2014/main" id="{C01A06FA-B056-A88E-DDB4-B2A41BF8A368}"/>
                </a:ext>
              </a:extLst>
            </p:cNvPr>
            <p:cNvSpPr>
              <a:spLocks noChangeAspect="1"/>
            </p:cNvSpPr>
            <p:nvPr userDrawn="1"/>
          </p:nvSpPr>
          <p:spPr bwMode="gray">
            <a:xfrm>
              <a:off x="2773566" y="859683"/>
              <a:ext cx="177588" cy="274359"/>
            </a:xfrm>
            <a:custGeom>
              <a:avLst/>
              <a:gdLst>
                <a:gd name="T0" fmla="*/ 0 w 331"/>
                <a:gd name="T1" fmla="*/ 2147483647 h 484"/>
                <a:gd name="T2" fmla="*/ 0 w 331"/>
                <a:gd name="T3" fmla="*/ 2147483647 h 484"/>
                <a:gd name="T4" fmla="*/ 0 w 331"/>
                <a:gd name="T5" fmla="*/ 2147483647 h 484"/>
                <a:gd name="T6" fmla="*/ 0 w 331"/>
                <a:gd name="T7" fmla="*/ 2147483647 h 484"/>
                <a:gd name="T8" fmla="*/ 0 w 331"/>
                <a:gd name="T9" fmla="*/ 0 h 484"/>
                <a:gd name="T10" fmla="*/ 0 w 331"/>
                <a:gd name="T11" fmla="*/ 0 h 484"/>
                <a:gd name="T12" fmla="*/ 0 w 331"/>
                <a:gd name="T13" fmla="*/ 0 h 484"/>
                <a:gd name="T14" fmla="*/ 0 w 331"/>
                <a:gd name="T15" fmla="*/ 0 h 484"/>
                <a:gd name="T16" fmla="*/ 0 w 331"/>
                <a:gd name="T17" fmla="*/ 0 h 484"/>
                <a:gd name="T18" fmla="*/ 0 w 331"/>
                <a:gd name="T19" fmla="*/ 0 h 484"/>
                <a:gd name="T20" fmla="*/ 0 w 331"/>
                <a:gd name="T21" fmla="*/ 0 h 484"/>
                <a:gd name="T22" fmla="*/ 0 w 331"/>
                <a:gd name="T23" fmla="*/ 0 h 484"/>
                <a:gd name="T24" fmla="*/ 0 w 331"/>
                <a:gd name="T25" fmla="*/ 0 h 484"/>
                <a:gd name="T26" fmla="*/ 0 w 331"/>
                <a:gd name="T27" fmla="*/ 0 h 484"/>
                <a:gd name="T28" fmla="*/ 0 w 331"/>
                <a:gd name="T29" fmla="*/ 0 h 484"/>
                <a:gd name="T30" fmla="*/ 0 w 331"/>
                <a:gd name="T31" fmla="*/ 0 h 484"/>
                <a:gd name="T32" fmla="*/ 0 w 331"/>
                <a:gd name="T33" fmla="*/ 0 h 484"/>
                <a:gd name="T34" fmla="*/ 0 w 331"/>
                <a:gd name="T35" fmla="*/ 0 h 484"/>
                <a:gd name="T36" fmla="*/ 0 w 331"/>
                <a:gd name="T37" fmla="*/ 0 h 484"/>
                <a:gd name="T38" fmla="*/ 0 w 331"/>
                <a:gd name="T39" fmla="*/ 0 h 484"/>
                <a:gd name="T40" fmla="*/ 0 w 331"/>
                <a:gd name="T41" fmla="*/ 0 h 484"/>
                <a:gd name="T42" fmla="*/ 0 w 331"/>
                <a:gd name="T43" fmla="*/ 0 h 484"/>
                <a:gd name="T44" fmla="*/ 0 w 331"/>
                <a:gd name="T45" fmla="*/ 0 h 484"/>
                <a:gd name="T46" fmla="*/ 0 w 331"/>
                <a:gd name="T47" fmla="*/ 0 h 484"/>
                <a:gd name="T48" fmla="*/ 0 w 331"/>
                <a:gd name="T49" fmla="*/ 0 h 484"/>
                <a:gd name="T50" fmla="*/ 0 w 331"/>
                <a:gd name="T51" fmla="*/ 0 h 484"/>
                <a:gd name="T52" fmla="*/ 0 w 331"/>
                <a:gd name="T53" fmla="*/ 0 h 484"/>
                <a:gd name="T54" fmla="*/ 0 w 331"/>
                <a:gd name="T55" fmla="*/ 0 h 484"/>
                <a:gd name="T56" fmla="*/ 0 w 331"/>
                <a:gd name="T57" fmla="*/ 0 h 484"/>
                <a:gd name="T58" fmla="*/ 0 w 331"/>
                <a:gd name="T59" fmla="*/ 0 h 484"/>
                <a:gd name="T60" fmla="*/ 0 w 331"/>
                <a:gd name="T61" fmla="*/ 0 h 484"/>
                <a:gd name="T62" fmla="*/ 0 w 331"/>
                <a:gd name="T63" fmla="*/ 0 h 484"/>
                <a:gd name="T64" fmla="*/ 0 w 331"/>
                <a:gd name="T65" fmla="*/ 0 h 484"/>
                <a:gd name="T66" fmla="*/ 0 w 331"/>
                <a:gd name="T67" fmla="*/ 0 h 484"/>
                <a:gd name="T68" fmla="*/ 0 w 331"/>
                <a:gd name="T69" fmla="*/ 0 h 484"/>
                <a:gd name="T70" fmla="*/ 0 w 331"/>
                <a:gd name="T71" fmla="*/ 0 h 484"/>
                <a:gd name="T72" fmla="*/ 0 w 331"/>
                <a:gd name="T73" fmla="*/ 0 h 484"/>
                <a:gd name="T74" fmla="*/ 0 w 331"/>
                <a:gd name="T75" fmla="*/ 0 h 484"/>
                <a:gd name="T76" fmla="*/ 0 w 331"/>
                <a:gd name="T77" fmla="*/ 0 h 484"/>
                <a:gd name="T78" fmla="*/ 0 w 331"/>
                <a:gd name="T79" fmla="*/ 0 h 484"/>
                <a:gd name="T80" fmla="*/ 0 w 331"/>
                <a:gd name="T81" fmla="*/ 0 h 484"/>
                <a:gd name="T82" fmla="*/ 0 w 331"/>
                <a:gd name="T83" fmla="*/ 0 h 484"/>
                <a:gd name="T84" fmla="*/ 0 w 331"/>
                <a:gd name="T85" fmla="*/ 0 h 484"/>
                <a:gd name="T86" fmla="*/ 2147483647 w 331"/>
                <a:gd name="T87" fmla="*/ 0 h 484"/>
                <a:gd name="T88" fmla="*/ 2147483647 w 331"/>
                <a:gd name="T89" fmla="*/ 0 h 484"/>
                <a:gd name="T90" fmla="*/ 2147483647 w 331"/>
                <a:gd name="T91" fmla="*/ 0 h 484"/>
                <a:gd name="T92" fmla="*/ 2147483647 w 331"/>
                <a:gd name="T93" fmla="*/ 2147483647 h 484"/>
                <a:gd name="T94" fmla="*/ 2147483647 w 331"/>
                <a:gd name="T95" fmla="*/ 2147483647 h 484"/>
                <a:gd name="T96" fmla="*/ 2147483647 w 331"/>
                <a:gd name="T97" fmla="*/ 2147483647 h 484"/>
                <a:gd name="T98" fmla="*/ 2147483647 w 331"/>
                <a:gd name="T99" fmla="*/ 2147483647 h 484"/>
                <a:gd name="T100" fmla="*/ 0 w 331"/>
                <a:gd name="T101" fmla="*/ 2147483647 h 484"/>
                <a:gd name="T102" fmla="*/ 0 w 331"/>
                <a:gd name="T103" fmla="*/ 2147483647 h 484"/>
                <a:gd name="T104" fmla="*/ 0 w 331"/>
                <a:gd name="T105" fmla="*/ 2147483647 h 484"/>
                <a:gd name="T106" fmla="*/ 0 w 331"/>
                <a:gd name="T107" fmla="*/ 2147483647 h 484"/>
                <a:gd name="T108" fmla="*/ 0 w 331"/>
                <a:gd name="T109" fmla="*/ 2147483647 h 484"/>
                <a:gd name="T110" fmla="*/ 0 w 331"/>
                <a:gd name="T111" fmla="*/ 2147483647 h 484"/>
                <a:gd name="T112" fmla="*/ 0 w 331"/>
                <a:gd name="T113" fmla="*/ 2147483647 h 484"/>
                <a:gd name="T114" fmla="*/ 0 w 331"/>
                <a:gd name="T115" fmla="*/ 2147483647 h 4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31"/>
                <a:gd name="T175" fmla="*/ 0 h 484"/>
                <a:gd name="T176" fmla="*/ 331 w 331"/>
                <a:gd name="T177" fmla="*/ 484 h 4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2" name="Freeform 287">
              <a:extLst>
                <a:ext uri="{FF2B5EF4-FFF2-40B4-BE49-F238E27FC236}">
                  <a16:creationId xmlns:a16="http://schemas.microsoft.com/office/drawing/2014/main" id="{B1ECF21C-41D9-D838-8D24-9BB4963F19F8}"/>
                </a:ext>
              </a:extLst>
            </p:cNvPr>
            <p:cNvSpPr>
              <a:spLocks noChangeAspect="1"/>
            </p:cNvSpPr>
            <p:nvPr userDrawn="1"/>
          </p:nvSpPr>
          <p:spPr bwMode="gray">
            <a:xfrm>
              <a:off x="2763119" y="515209"/>
              <a:ext cx="156696" cy="214914"/>
            </a:xfrm>
            <a:custGeom>
              <a:avLst/>
              <a:gdLst>
                <a:gd name="T0" fmla="*/ 0 w 292"/>
                <a:gd name="T1" fmla="*/ 0 h 380"/>
                <a:gd name="T2" fmla="*/ 0 w 292"/>
                <a:gd name="T3" fmla="*/ 0 h 380"/>
                <a:gd name="T4" fmla="*/ 0 w 292"/>
                <a:gd name="T5" fmla="*/ 0 h 380"/>
                <a:gd name="T6" fmla="*/ 0 w 292"/>
                <a:gd name="T7" fmla="*/ 0 h 380"/>
                <a:gd name="T8" fmla="*/ 0 w 292"/>
                <a:gd name="T9" fmla="*/ 0 h 380"/>
                <a:gd name="T10" fmla="*/ 0 w 292"/>
                <a:gd name="T11" fmla="*/ 0 h 380"/>
                <a:gd name="T12" fmla="*/ 0 w 292"/>
                <a:gd name="T13" fmla="*/ 0 h 380"/>
                <a:gd name="T14" fmla="*/ 0 w 292"/>
                <a:gd name="T15" fmla="*/ 0 h 380"/>
                <a:gd name="T16" fmla="*/ 0 w 292"/>
                <a:gd name="T17" fmla="*/ 2147483647 h 380"/>
                <a:gd name="T18" fmla="*/ 0 w 292"/>
                <a:gd name="T19" fmla="*/ 2147483647 h 380"/>
                <a:gd name="T20" fmla="*/ 0 w 292"/>
                <a:gd name="T21" fmla="*/ 2147483647 h 380"/>
                <a:gd name="T22" fmla="*/ 0 w 292"/>
                <a:gd name="T23" fmla="*/ 2147483647 h 380"/>
                <a:gd name="T24" fmla="*/ 0 w 292"/>
                <a:gd name="T25" fmla="*/ 2147483647 h 380"/>
                <a:gd name="T26" fmla="*/ 0 w 292"/>
                <a:gd name="T27" fmla="*/ 2147483647 h 380"/>
                <a:gd name="T28" fmla="*/ 0 w 292"/>
                <a:gd name="T29" fmla="*/ 2147483647 h 380"/>
                <a:gd name="T30" fmla="*/ 0 w 292"/>
                <a:gd name="T31" fmla="*/ 2147483647 h 380"/>
                <a:gd name="T32" fmla="*/ 0 w 292"/>
                <a:gd name="T33" fmla="*/ 2147483647 h 380"/>
                <a:gd name="T34" fmla="*/ 0 w 292"/>
                <a:gd name="T35" fmla="*/ 0 h 380"/>
                <a:gd name="T36" fmla="*/ 0 w 292"/>
                <a:gd name="T37" fmla="*/ 0 h 380"/>
                <a:gd name="T38" fmla="*/ 0 w 292"/>
                <a:gd name="T39" fmla="*/ 0 h 380"/>
                <a:gd name="T40" fmla="*/ 0 w 292"/>
                <a:gd name="T41" fmla="*/ 0 h 380"/>
                <a:gd name="T42" fmla="*/ 0 w 292"/>
                <a:gd name="T43" fmla="*/ 0 h 380"/>
                <a:gd name="T44" fmla="*/ 0 w 292"/>
                <a:gd name="T45" fmla="*/ 0 h 380"/>
                <a:gd name="T46" fmla="*/ 0 w 292"/>
                <a:gd name="T47" fmla="*/ 0 h 380"/>
                <a:gd name="T48" fmla="*/ 0 w 292"/>
                <a:gd name="T49" fmla="*/ 0 h 380"/>
                <a:gd name="T50" fmla="*/ 0 w 292"/>
                <a:gd name="T51" fmla="*/ 0 h 380"/>
                <a:gd name="T52" fmla="*/ 0 w 292"/>
                <a:gd name="T53" fmla="*/ 0 h 380"/>
                <a:gd name="T54" fmla="*/ 0 w 292"/>
                <a:gd name="T55" fmla="*/ 0 h 380"/>
                <a:gd name="T56" fmla="*/ 0 w 292"/>
                <a:gd name="T57" fmla="*/ 0 h 380"/>
                <a:gd name="T58" fmla="*/ 0 w 292"/>
                <a:gd name="T59" fmla="*/ 0 h 380"/>
                <a:gd name="T60" fmla="*/ 0 w 292"/>
                <a:gd name="T61" fmla="*/ 0 h 380"/>
                <a:gd name="T62" fmla="*/ 0 w 292"/>
                <a:gd name="T63" fmla="*/ 0 h 380"/>
                <a:gd name="T64" fmla="*/ 0 w 292"/>
                <a:gd name="T65" fmla="*/ 0 h 380"/>
                <a:gd name="T66" fmla="*/ 0 w 292"/>
                <a:gd name="T67" fmla="*/ 0 h 380"/>
                <a:gd name="T68" fmla="*/ 0 w 292"/>
                <a:gd name="T69" fmla="*/ 0 h 380"/>
                <a:gd name="T70" fmla="*/ 0 w 292"/>
                <a:gd name="T71" fmla="*/ 0 h 380"/>
                <a:gd name="T72" fmla="*/ 0 w 292"/>
                <a:gd name="T73" fmla="*/ 0 h 380"/>
                <a:gd name="T74" fmla="*/ 0 w 292"/>
                <a:gd name="T75" fmla="*/ 0 h 380"/>
                <a:gd name="T76" fmla="*/ 0 w 292"/>
                <a:gd name="T77" fmla="*/ 0 h 380"/>
                <a:gd name="T78" fmla="*/ 0 w 292"/>
                <a:gd name="T79" fmla="*/ 0 h 380"/>
                <a:gd name="T80" fmla="*/ 0 w 292"/>
                <a:gd name="T81" fmla="*/ 0 h 380"/>
                <a:gd name="T82" fmla="*/ 0 w 292"/>
                <a:gd name="T83" fmla="*/ 0 h 380"/>
                <a:gd name="T84" fmla="*/ 0 w 292"/>
                <a:gd name="T85" fmla="*/ 0 h 380"/>
                <a:gd name="T86" fmla="*/ 0 w 292"/>
                <a:gd name="T87" fmla="*/ 0 h 380"/>
                <a:gd name="T88" fmla="*/ 0 w 292"/>
                <a:gd name="T89" fmla="*/ 0 h 380"/>
                <a:gd name="T90" fmla="*/ 0 w 292"/>
                <a:gd name="T91" fmla="*/ 0 h 380"/>
                <a:gd name="T92" fmla="*/ 0 w 292"/>
                <a:gd name="T93" fmla="*/ 0 h 380"/>
                <a:gd name="T94" fmla="*/ 0 w 292"/>
                <a:gd name="T95" fmla="*/ 0 h 380"/>
                <a:gd name="T96" fmla="*/ 0 w 292"/>
                <a:gd name="T97" fmla="*/ 0 h 380"/>
                <a:gd name="T98" fmla="*/ 0 w 292"/>
                <a:gd name="T99" fmla="*/ 0 h 380"/>
                <a:gd name="T100" fmla="*/ 0 w 292"/>
                <a:gd name="T101" fmla="*/ 0 h 380"/>
                <a:gd name="T102" fmla="*/ 0 w 292"/>
                <a:gd name="T103" fmla="*/ 0 h 3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92"/>
                <a:gd name="T157" fmla="*/ 0 h 380"/>
                <a:gd name="T158" fmla="*/ 292 w 292"/>
                <a:gd name="T159" fmla="*/ 380 h 38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3" name="Freeform 288">
              <a:extLst>
                <a:ext uri="{FF2B5EF4-FFF2-40B4-BE49-F238E27FC236}">
                  <a16:creationId xmlns:a16="http://schemas.microsoft.com/office/drawing/2014/main" id="{EAD81BB7-1579-14AA-3C08-EBE5FF601984}"/>
                </a:ext>
              </a:extLst>
            </p:cNvPr>
            <p:cNvSpPr>
              <a:spLocks noChangeAspect="1"/>
            </p:cNvSpPr>
            <p:nvPr userDrawn="1"/>
          </p:nvSpPr>
          <p:spPr bwMode="gray">
            <a:xfrm>
              <a:off x="2327355" y="490822"/>
              <a:ext cx="356670" cy="304844"/>
            </a:xfrm>
            <a:custGeom>
              <a:avLst/>
              <a:gdLst>
                <a:gd name="T0" fmla="*/ 2147483647 w 672"/>
                <a:gd name="T1" fmla="*/ 0 h 534"/>
                <a:gd name="T2" fmla="*/ 2147483647 w 672"/>
                <a:gd name="T3" fmla="*/ 0 h 534"/>
                <a:gd name="T4" fmla="*/ 2147483647 w 672"/>
                <a:gd name="T5" fmla="*/ 0 h 534"/>
                <a:gd name="T6" fmla="*/ 2147483647 w 672"/>
                <a:gd name="T7" fmla="*/ 0 h 534"/>
                <a:gd name="T8" fmla="*/ 2147483647 w 672"/>
                <a:gd name="T9" fmla="*/ 0 h 534"/>
                <a:gd name="T10" fmla="*/ 2147483647 w 672"/>
                <a:gd name="T11" fmla="*/ 0 h 534"/>
                <a:gd name="T12" fmla="*/ 2147483647 w 672"/>
                <a:gd name="T13" fmla="*/ 0 h 534"/>
                <a:gd name="T14" fmla="*/ 2147483647 w 672"/>
                <a:gd name="T15" fmla="*/ 0 h 534"/>
                <a:gd name="T16" fmla="*/ 2147483647 w 672"/>
                <a:gd name="T17" fmla="*/ 0 h 534"/>
                <a:gd name="T18" fmla="*/ 2147483647 w 672"/>
                <a:gd name="T19" fmla="*/ 0 h 534"/>
                <a:gd name="T20" fmla="*/ 2147483647 w 672"/>
                <a:gd name="T21" fmla="*/ 2147483647 h 534"/>
                <a:gd name="T22" fmla="*/ 2147483647 w 672"/>
                <a:gd name="T23" fmla="*/ 2147483647 h 534"/>
                <a:gd name="T24" fmla="*/ 2147483647 w 672"/>
                <a:gd name="T25" fmla="*/ 2147483647 h 534"/>
                <a:gd name="T26" fmla="*/ 2147483647 w 672"/>
                <a:gd name="T27" fmla="*/ 2147483647 h 534"/>
                <a:gd name="T28" fmla="*/ 2147483647 w 672"/>
                <a:gd name="T29" fmla="*/ 2147483647 h 534"/>
                <a:gd name="T30" fmla="*/ 2147483647 w 672"/>
                <a:gd name="T31" fmla="*/ 2147483647 h 534"/>
                <a:gd name="T32" fmla="*/ 2147483647 w 672"/>
                <a:gd name="T33" fmla="*/ 2147483647 h 534"/>
                <a:gd name="T34" fmla="*/ 0 w 672"/>
                <a:gd name="T35" fmla="*/ 2147483647 h 534"/>
                <a:gd name="T36" fmla="*/ 0 w 672"/>
                <a:gd name="T37" fmla="*/ 2147483647 h 534"/>
                <a:gd name="T38" fmla="*/ 0 w 672"/>
                <a:gd name="T39" fmla="*/ 2147483647 h 534"/>
                <a:gd name="T40" fmla="*/ 0 w 672"/>
                <a:gd name="T41" fmla="*/ 2147483647 h 534"/>
                <a:gd name="T42" fmla="*/ 2147483647 w 672"/>
                <a:gd name="T43" fmla="*/ 2147483647 h 534"/>
                <a:gd name="T44" fmla="*/ 2147483647 w 672"/>
                <a:gd name="T45" fmla="*/ 2147483647 h 534"/>
                <a:gd name="T46" fmla="*/ 0 w 672"/>
                <a:gd name="T47" fmla="*/ 2147483647 h 534"/>
                <a:gd name="T48" fmla="*/ 0 w 672"/>
                <a:gd name="T49" fmla="*/ 2147483647 h 534"/>
                <a:gd name="T50" fmla="*/ 0 w 672"/>
                <a:gd name="T51" fmla="*/ 2147483647 h 534"/>
                <a:gd name="T52" fmla="*/ 0 w 672"/>
                <a:gd name="T53" fmla="*/ 2147483647 h 534"/>
                <a:gd name="T54" fmla="*/ 0 w 672"/>
                <a:gd name="T55" fmla="*/ 2147483647 h 534"/>
                <a:gd name="T56" fmla="*/ 0 w 672"/>
                <a:gd name="T57" fmla="*/ 2147483647 h 534"/>
                <a:gd name="T58" fmla="*/ 0 w 672"/>
                <a:gd name="T59" fmla="*/ 2147483647 h 534"/>
                <a:gd name="T60" fmla="*/ 0 w 672"/>
                <a:gd name="T61" fmla="*/ 2147483647 h 534"/>
                <a:gd name="T62" fmla="*/ 0 w 672"/>
                <a:gd name="T63" fmla="*/ 2147483647 h 534"/>
                <a:gd name="T64" fmla="*/ 0 w 672"/>
                <a:gd name="T65" fmla="*/ 2147483647 h 534"/>
                <a:gd name="T66" fmla="*/ 0 w 672"/>
                <a:gd name="T67" fmla="*/ 0 h 534"/>
                <a:gd name="T68" fmla="*/ 0 w 672"/>
                <a:gd name="T69" fmla="*/ 0 h 534"/>
                <a:gd name="T70" fmla="*/ 0 w 672"/>
                <a:gd name="T71" fmla="*/ 0 h 534"/>
                <a:gd name="T72" fmla="*/ 0 w 672"/>
                <a:gd name="T73" fmla="*/ 0 h 534"/>
                <a:gd name="T74" fmla="*/ 0 w 672"/>
                <a:gd name="T75" fmla="*/ 0 h 534"/>
                <a:gd name="T76" fmla="*/ 0 w 672"/>
                <a:gd name="T77" fmla="*/ 0 h 534"/>
                <a:gd name="T78" fmla="*/ 0 w 672"/>
                <a:gd name="T79" fmla="*/ 0 h 534"/>
                <a:gd name="T80" fmla="*/ 0 w 672"/>
                <a:gd name="T81" fmla="*/ 0 h 534"/>
                <a:gd name="T82" fmla="*/ 0 w 672"/>
                <a:gd name="T83" fmla="*/ 0 h 534"/>
                <a:gd name="T84" fmla="*/ 0 w 672"/>
                <a:gd name="T85" fmla="*/ 0 h 534"/>
                <a:gd name="T86" fmla="*/ 0 w 672"/>
                <a:gd name="T87" fmla="*/ 0 h 534"/>
                <a:gd name="T88" fmla="*/ 0 w 672"/>
                <a:gd name="T89" fmla="*/ 0 h 534"/>
                <a:gd name="T90" fmla="*/ 2147483647 w 672"/>
                <a:gd name="T91" fmla="*/ 0 h 534"/>
                <a:gd name="T92" fmla="*/ 2147483647 w 672"/>
                <a:gd name="T93" fmla="*/ 0 h 534"/>
                <a:gd name="T94" fmla="*/ 2147483647 w 672"/>
                <a:gd name="T95" fmla="*/ 0 h 534"/>
                <a:gd name="T96" fmla="*/ 2147483647 w 672"/>
                <a:gd name="T97" fmla="*/ 0 h 534"/>
                <a:gd name="T98" fmla="*/ 2147483647 w 672"/>
                <a:gd name="T99" fmla="*/ 0 h 534"/>
                <a:gd name="T100" fmla="*/ 2147483647 w 672"/>
                <a:gd name="T101" fmla="*/ 0 h 534"/>
                <a:gd name="T102" fmla="*/ 2147483647 w 672"/>
                <a:gd name="T103" fmla="*/ 0 h 534"/>
                <a:gd name="T104" fmla="*/ 2147483647 w 672"/>
                <a:gd name="T105" fmla="*/ 0 h 5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2"/>
                <a:gd name="T160" fmla="*/ 0 h 534"/>
                <a:gd name="T161" fmla="*/ 672 w 672"/>
                <a:gd name="T162" fmla="*/ 534 h 53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4" name="Freeform 289">
              <a:extLst>
                <a:ext uri="{FF2B5EF4-FFF2-40B4-BE49-F238E27FC236}">
                  <a16:creationId xmlns:a16="http://schemas.microsoft.com/office/drawing/2014/main" id="{76DED15D-5EBF-37D2-95F9-B07F22B01424}"/>
                </a:ext>
              </a:extLst>
            </p:cNvPr>
            <p:cNvSpPr>
              <a:spLocks noChangeAspect="1"/>
            </p:cNvSpPr>
            <p:nvPr userDrawn="1"/>
          </p:nvSpPr>
          <p:spPr bwMode="gray">
            <a:xfrm>
              <a:off x="2175136" y="394796"/>
              <a:ext cx="213405" cy="234730"/>
            </a:xfrm>
            <a:custGeom>
              <a:avLst/>
              <a:gdLst>
                <a:gd name="T0" fmla="*/ 0 w 399"/>
                <a:gd name="T1" fmla="*/ 0 h 411"/>
                <a:gd name="T2" fmla="*/ 0 w 399"/>
                <a:gd name="T3" fmla="*/ 0 h 411"/>
                <a:gd name="T4" fmla="*/ 0 w 399"/>
                <a:gd name="T5" fmla="*/ 0 h 411"/>
                <a:gd name="T6" fmla="*/ 0 w 399"/>
                <a:gd name="T7" fmla="*/ 0 h 411"/>
                <a:gd name="T8" fmla="*/ 0 w 399"/>
                <a:gd name="T9" fmla="*/ 0 h 411"/>
                <a:gd name="T10" fmla="*/ 0 w 399"/>
                <a:gd name="T11" fmla="*/ 0 h 411"/>
                <a:gd name="T12" fmla="*/ 0 w 399"/>
                <a:gd name="T13" fmla="*/ 0 h 411"/>
                <a:gd name="T14" fmla="*/ 0 w 399"/>
                <a:gd name="T15" fmla="*/ 0 h 411"/>
                <a:gd name="T16" fmla="*/ 0 w 399"/>
                <a:gd name="T17" fmla="*/ 0 h 411"/>
                <a:gd name="T18" fmla="*/ 2147483647 w 399"/>
                <a:gd name="T19" fmla="*/ 0 h 411"/>
                <a:gd name="T20" fmla="*/ 0 w 399"/>
                <a:gd name="T21" fmla="*/ 0 h 411"/>
                <a:gd name="T22" fmla="*/ 2147483647 w 399"/>
                <a:gd name="T23" fmla="*/ 0 h 411"/>
                <a:gd name="T24" fmla="*/ 2147483647 w 399"/>
                <a:gd name="T25" fmla="*/ 0 h 411"/>
                <a:gd name="T26" fmla="*/ 2147483647 w 399"/>
                <a:gd name="T27" fmla="*/ 0 h 411"/>
                <a:gd name="T28" fmla="*/ 2147483647 w 399"/>
                <a:gd name="T29" fmla="*/ 0 h 411"/>
                <a:gd name="T30" fmla="*/ 2147483647 w 399"/>
                <a:gd name="T31" fmla="*/ 0 h 411"/>
                <a:gd name="T32" fmla="*/ 2147483647 w 399"/>
                <a:gd name="T33" fmla="*/ 0 h 411"/>
                <a:gd name="T34" fmla="*/ 2147483647 w 399"/>
                <a:gd name="T35" fmla="*/ 0 h 411"/>
                <a:gd name="T36" fmla="*/ 2147483647 w 399"/>
                <a:gd name="T37" fmla="*/ 0 h 411"/>
                <a:gd name="T38" fmla="*/ 2147483647 w 399"/>
                <a:gd name="T39" fmla="*/ 0 h 411"/>
                <a:gd name="T40" fmla="*/ 2147483647 w 399"/>
                <a:gd name="T41" fmla="*/ 0 h 411"/>
                <a:gd name="T42" fmla="*/ 0 w 399"/>
                <a:gd name="T43" fmla="*/ 0 h 411"/>
                <a:gd name="T44" fmla="*/ 0 w 399"/>
                <a:gd name="T45" fmla="*/ 0 h 411"/>
                <a:gd name="T46" fmla="*/ 0 w 399"/>
                <a:gd name="T47" fmla="*/ 0 h 411"/>
                <a:gd name="T48" fmla="*/ 0 w 399"/>
                <a:gd name="T49" fmla="*/ 0 h 411"/>
                <a:gd name="T50" fmla="*/ 0 w 399"/>
                <a:gd name="T51" fmla="*/ 0 h 411"/>
                <a:gd name="T52" fmla="*/ 0 w 399"/>
                <a:gd name="T53" fmla="*/ 0 h 411"/>
                <a:gd name="T54" fmla="*/ 0 w 399"/>
                <a:gd name="T55" fmla="*/ 0 h 411"/>
                <a:gd name="T56" fmla="*/ 0 w 399"/>
                <a:gd name="T57" fmla="*/ 0 h 411"/>
                <a:gd name="T58" fmla="*/ 0 w 399"/>
                <a:gd name="T59" fmla="*/ 0 h 411"/>
                <a:gd name="T60" fmla="*/ 0 w 399"/>
                <a:gd name="T61" fmla="*/ 2147483647 h 411"/>
                <a:gd name="T62" fmla="*/ 0 w 399"/>
                <a:gd name="T63" fmla="*/ 2147483647 h 411"/>
                <a:gd name="T64" fmla="*/ 0 w 399"/>
                <a:gd name="T65" fmla="*/ 0 h 411"/>
                <a:gd name="T66" fmla="*/ 0 w 399"/>
                <a:gd name="T67" fmla="*/ 2147483647 h 411"/>
                <a:gd name="T68" fmla="*/ 0 w 399"/>
                <a:gd name="T69" fmla="*/ 2147483647 h 411"/>
                <a:gd name="T70" fmla="*/ 0 w 399"/>
                <a:gd name="T71" fmla="*/ 2147483647 h 411"/>
                <a:gd name="T72" fmla="*/ 0 w 399"/>
                <a:gd name="T73" fmla="*/ 2147483647 h 411"/>
                <a:gd name="T74" fmla="*/ 0 w 399"/>
                <a:gd name="T75" fmla="*/ 2147483647 h 411"/>
                <a:gd name="T76" fmla="*/ 0 w 399"/>
                <a:gd name="T77" fmla="*/ 2147483647 h 411"/>
                <a:gd name="T78" fmla="*/ 0 w 399"/>
                <a:gd name="T79" fmla="*/ 2147483647 h 411"/>
                <a:gd name="T80" fmla="*/ 0 w 399"/>
                <a:gd name="T81" fmla="*/ 2147483647 h 411"/>
                <a:gd name="T82" fmla="*/ 0 w 399"/>
                <a:gd name="T83" fmla="*/ 2147483647 h 411"/>
                <a:gd name="T84" fmla="*/ 0 w 399"/>
                <a:gd name="T85" fmla="*/ 2147483647 h 411"/>
                <a:gd name="T86" fmla="*/ 0 w 399"/>
                <a:gd name="T87" fmla="*/ 2147483647 h 411"/>
                <a:gd name="T88" fmla="*/ 0 w 399"/>
                <a:gd name="T89" fmla="*/ 2147483647 h 411"/>
                <a:gd name="T90" fmla="*/ 0 w 399"/>
                <a:gd name="T91" fmla="*/ 2147483647 h 411"/>
                <a:gd name="T92" fmla="*/ 0 w 399"/>
                <a:gd name="T93" fmla="*/ 2147483647 h 411"/>
                <a:gd name="T94" fmla="*/ 0 w 399"/>
                <a:gd name="T95" fmla="*/ 0 h 411"/>
                <a:gd name="T96" fmla="*/ 0 w 399"/>
                <a:gd name="T97" fmla="*/ 0 h 411"/>
                <a:gd name="T98" fmla="*/ 0 w 399"/>
                <a:gd name="T99" fmla="*/ 0 h 411"/>
                <a:gd name="T100" fmla="*/ 0 w 399"/>
                <a:gd name="T101" fmla="*/ 0 h 411"/>
                <a:gd name="T102" fmla="*/ 0 w 399"/>
                <a:gd name="T103" fmla="*/ 0 h 411"/>
                <a:gd name="T104" fmla="*/ 0 w 399"/>
                <a:gd name="T105" fmla="*/ 0 h 411"/>
                <a:gd name="T106" fmla="*/ 0 w 399"/>
                <a:gd name="T107" fmla="*/ 0 h 411"/>
                <a:gd name="T108" fmla="*/ 0 w 399"/>
                <a:gd name="T109" fmla="*/ 0 h 41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99"/>
                <a:gd name="T166" fmla="*/ 0 h 411"/>
                <a:gd name="T167" fmla="*/ 399 w 399"/>
                <a:gd name="T168" fmla="*/ 411 h 41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5" name="Freeform 290">
              <a:extLst>
                <a:ext uri="{FF2B5EF4-FFF2-40B4-BE49-F238E27FC236}">
                  <a16:creationId xmlns:a16="http://schemas.microsoft.com/office/drawing/2014/main" id="{E9C5C632-5BEE-9FF6-8C25-CA5C64588C19}"/>
                </a:ext>
              </a:extLst>
            </p:cNvPr>
            <p:cNvSpPr>
              <a:spLocks noChangeAspect="1"/>
            </p:cNvSpPr>
            <p:nvPr userDrawn="1"/>
          </p:nvSpPr>
          <p:spPr bwMode="gray">
            <a:xfrm>
              <a:off x="2449727" y="314013"/>
              <a:ext cx="105957" cy="109743"/>
            </a:xfrm>
            <a:custGeom>
              <a:avLst/>
              <a:gdLst>
                <a:gd name="T0" fmla="*/ 0 w 200"/>
                <a:gd name="T1" fmla="*/ 0 h 195"/>
                <a:gd name="T2" fmla="*/ 0 w 200"/>
                <a:gd name="T3" fmla="*/ 0 h 195"/>
                <a:gd name="T4" fmla="*/ 0 w 200"/>
                <a:gd name="T5" fmla="*/ 0 h 195"/>
                <a:gd name="T6" fmla="*/ 0 w 200"/>
                <a:gd name="T7" fmla="*/ 0 h 195"/>
                <a:gd name="T8" fmla="*/ 0 w 200"/>
                <a:gd name="T9" fmla="*/ 0 h 195"/>
                <a:gd name="T10" fmla="*/ 0 w 200"/>
                <a:gd name="T11" fmla="*/ 0 h 195"/>
                <a:gd name="T12" fmla="*/ 0 w 200"/>
                <a:gd name="T13" fmla="*/ 0 h 195"/>
                <a:gd name="T14" fmla="*/ 0 w 200"/>
                <a:gd name="T15" fmla="*/ 0 h 195"/>
                <a:gd name="T16" fmla="*/ 0 w 200"/>
                <a:gd name="T17" fmla="*/ 0 h 195"/>
                <a:gd name="T18" fmla="*/ 0 w 200"/>
                <a:gd name="T19" fmla="*/ 0 h 195"/>
                <a:gd name="T20" fmla="*/ 0 w 200"/>
                <a:gd name="T21" fmla="*/ 0 h 195"/>
                <a:gd name="T22" fmla="*/ 0 w 200"/>
                <a:gd name="T23" fmla="*/ 0 h 195"/>
                <a:gd name="T24" fmla="*/ 0 w 200"/>
                <a:gd name="T25" fmla="*/ 0 h 195"/>
                <a:gd name="T26" fmla="*/ 0 w 200"/>
                <a:gd name="T27" fmla="*/ 0 h 195"/>
                <a:gd name="T28" fmla="*/ 0 w 200"/>
                <a:gd name="T29" fmla="*/ 0 h 195"/>
                <a:gd name="T30" fmla="*/ 0 w 200"/>
                <a:gd name="T31" fmla="*/ 0 h 195"/>
                <a:gd name="T32" fmla="*/ 0 w 200"/>
                <a:gd name="T33" fmla="*/ 0 h 195"/>
                <a:gd name="T34" fmla="*/ 0 w 200"/>
                <a:gd name="T35" fmla="*/ 0 h 195"/>
                <a:gd name="T36" fmla="*/ 0 w 200"/>
                <a:gd name="T37" fmla="*/ 0 h 195"/>
                <a:gd name="T38" fmla="*/ 0 w 200"/>
                <a:gd name="T39" fmla="*/ 0 h 195"/>
                <a:gd name="T40" fmla="*/ 0 w 200"/>
                <a:gd name="T41" fmla="*/ 0 h 195"/>
                <a:gd name="T42" fmla="*/ 0 w 200"/>
                <a:gd name="T43" fmla="*/ 0 h 195"/>
                <a:gd name="T44" fmla="*/ 0 w 200"/>
                <a:gd name="T45" fmla="*/ 0 h 195"/>
                <a:gd name="T46" fmla="*/ 0 w 200"/>
                <a:gd name="T47" fmla="*/ 0 h 195"/>
                <a:gd name="T48" fmla="*/ 0 w 200"/>
                <a:gd name="T49" fmla="*/ 0 h 195"/>
                <a:gd name="T50" fmla="*/ 0 w 200"/>
                <a:gd name="T51" fmla="*/ 0 h 195"/>
                <a:gd name="T52" fmla="*/ 0 w 200"/>
                <a:gd name="T53" fmla="*/ 0 h 195"/>
                <a:gd name="T54" fmla="*/ 0 w 200"/>
                <a:gd name="T55" fmla="*/ 0 h 195"/>
                <a:gd name="T56" fmla="*/ 0 w 200"/>
                <a:gd name="T57" fmla="*/ 0 h 195"/>
                <a:gd name="T58" fmla="*/ 0 w 200"/>
                <a:gd name="T59" fmla="*/ 0 h 195"/>
                <a:gd name="T60" fmla="*/ 0 w 200"/>
                <a:gd name="T61" fmla="*/ 0 h 195"/>
                <a:gd name="T62" fmla="*/ 0 w 200"/>
                <a:gd name="T63" fmla="*/ 0 h 195"/>
                <a:gd name="T64" fmla="*/ 0 w 200"/>
                <a:gd name="T65" fmla="*/ 0 h 195"/>
                <a:gd name="T66" fmla="*/ 0 w 200"/>
                <a:gd name="T67" fmla="*/ 0 h 195"/>
                <a:gd name="T68" fmla="*/ 0 w 200"/>
                <a:gd name="T69" fmla="*/ 0 h 195"/>
                <a:gd name="T70" fmla="*/ 0 w 200"/>
                <a:gd name="T71" fmla="*/ 0 h 195"/>
                <a:gd name="T72" fmla="*/ 0 w 200"/>
                <a:gd name="T73" fmla="*/ 0 h 195"/>
                <a:gd name="T74" fmla="*/ 0 w 200"/>
                <a:gd name="T75" fmla="*/ 0 h 195"/>
                <a:gd name="T76" fmla="*/ 0 w 200"/>
                <a:gd name="T77" fmla="*/ 0 h 195"/>
                <a:gd name="T78" fmla="*/ 0 w 200"/>
                <a:gd name="T79" fmla="*/ 0 h 195"/>
                <a:gd name="T80" fmla="*/ 0 w 200"/>
                <a:gd name="T81" fmla="*/ 0 h 195"/>
                <a:gd name="T82" fmla="*/ 0 w 200"/>
                <a:gd name="T83" fmla="*/ 0 h 195"/>
                <a:gd name="T84" fmla="*/ 0 w 200"/>
                <a:gd name="T85" fmla="*/ 0 h 195"/>
                <a:gd name="T86" fmla="*/ 0 w 200"/>
                <a:gd name="T87" fmla="*/ 0 h 195"/>
                <a:gd name="T88" fmla="*/ 0 w 200"/>
                <a:gd name="T89" fmla="*/ 0 h 195"/>
                <a:gd name="T90" fmla="*/ 0 w 200"/>
                <a:gd name="T91" fmla="*/ 0 h 195"/>
                <a:gd name="T92" fmla="*/ 0 w 200"/>
                <a:gd name="T93" fmla="*/ 0 h 195"/>
                <a:gd name="T94" fmla="*/ 0 w 200"/>
                <a:gd name="T95" fmla="*/ 0 h 195"/>
                <a:gd name="T96" fmla="*/ 0 w 200"/>
                <a:gd name="T97" fmla="*/ 0 h 195"/>
                <a:gd name="T98" fmla="*/ 0 w 200"/>
                <a:gd name="T99" fmla="*/ 0 h 195"/>
                <a:gd name="T100" fmla="*/ 0 w 200"/>
                <a:gd name="T101" fmla="*/ 0 h 195"/>
                <a:gd name="T102" fmla="*/ 0 w 200"/>
                <a:gd name="T103" fmla="*/ 0 h 195"/>
                <a:gd name="T104" fmla="*/ 0 w 200"/>
                <a:gd name="T105" fmla="*/ 0 h 195"/>
                <a:gd name="T106" fmla="*/ 0 w 200"/>
                <a:gd name="T107" fmla="*/ 0 h 195"/>
                <a:gd name="T108" fmla="*/ 0 w 200"/>
                <a:gd name="T109" fmla="*/ 0 h 195"/>
                <a:gd name="T110" fmla="*/ 0 w 200"/>
                <a:gd name="T111" fmla="*/ 0 h 195"/>
                <a:gd name="T112" fmla="*/ 0 w 200"/>
                <a:gd name="T113" fmla="*/ 0 h 195"/>
                <a:gd name="T114" fmla="*/ 0 w 200"/>
                <a:gd name="T115" fmla="*/ 0 h 195"/>
                <a:gd name="T116" fmla="*/ 0 w 200"/>
                <a:gd name="T117" fmla="*/ 0 h 195"/>
                <a:gd name="T118" fmla="*/ 0 w 200"/>
                <a:gd name="T119" fmla="*/ 0 h 195"/>
                <a:gd name="T120" fmla="*/ 0 w 200"/>
                <a:gd name="T121" fmla="*/ 0 h 1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0"/>
                <a:gd name="T184" fmla="*/ 0 h 195"/>
                <a:gd name="T185" fmla="*/ 200 w 200"/>
                <a:gd name="T186" fmla="*/ 195 h 1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6" name="Freeform 291">
              <a:extLst>
                <a:ext uri="{FF2B5EF4-FFF2-40B4-BE49-F238E27FC236}">
                  <a16:creationId xmlns:a16="http://schemas.microsoft.com/office/drawing/2014/main" id="{DA9E7D72-0AEF-AE05-123B-D4A214E25EC9}"/>
                </a:ext>
              </a:extLst>
            </p:cNvPr>
            <p:cNvSpPr>
              <a:spLocks noChangeAspect="1"/>
            </p:cNvSpPr>
            <p:nvPr userDrawn="1"/>
          </p:nvSpPr>
          <p:spPr bwMode="gray">
            <a:xfrm>
              <a:off x="2449727" y="213415"/>
              <a:ext cx="116403" cy="73163"/>
            </a:xfrm>
            <a:custGeom>
              <a:avLst/>
              <a:gdLst>
                <a:gd name="T0" fmla="*/ 0 w 219"/>
                <a:gd name="T1" fmla="*/ 0 h 133"/>
                <a:gd name="T2" fmla="*/ 0 w 219"/>
                <a:gd name="T3" fmla="*/ 0 h 133"/>
                <a:gd name="T4" fmla="*/ 0 w 219"/>
                <a:gd name="T5" fmla="*/ 0 h 133"/>
                <a:gd name="T6" fmla="*/ 0 w 219"/>
                <a:gd name="T7" fmla="*/ 0 h 133"/>
                <a:gd name="T8" fmla="*/ 0 w 219"/>
                <a:gd name="T9" fmla="*/ 0 h 133"/>
                <a:gd name="T10" fmla="*/ 0 w 219"/>
                <a:gd name="T11" fmla="*/ 0 h 133"/>
                <a:gd name="T12" fmla="*/ 0 w 219"/>
                <a:gd name="T13" fmla="*/ 0 h 133"/>
                <a:gd name="T14" fmla="*/ 0 w 219"/>
                <a:gd name="T15" fmla="*/ 0 h 133"/>
                <a:gd name="T16" fmla="*/ 0 w 219"/>
                <a:gd name="T17" fmla="*/ 0 h 133"/>
                <a:gd name="T18" fmla="*/ 0 w 219"/>
                <a:gd name="T19" fmla="*/ 0 h 133"/>
                <a:gd name="T20" fmla="*/ 0 w 219"/>
                <a:gd name="T21" fmla="*/ 0 h 133"/>
                <a:gd name="T22" fmla="*/ 0 w 219"/>
                <a:gd name="T23" fmla="*/ 0 h 133"/>
                <a:gd name="T24" fmla="*/ 0 w 219"/>
                <a:gd name="T25" fmla="*/ 0 h 133"/>
                <a:gd name="T26" fmla="*/ 0 w 219"/>
                <a:gd name="T27" fmla="*/ 0 h 133"/>
                <a:gd name="T28" fmla="*/ 0 w 219"/>
                <a:gd name="T29" fmla="*/ 0 h 133"/>
                <a:gd name="T30" fmla="*/ 0 w 219"/>
                <a:gd name="T31" fmla="*/ 0 h 133"/>
                <a:gd name="T32" fmla="*/ 0 w 219"/>
                <a:gd name="T33" fmla="*/ 0 h 133"/>
                <a:gd name="T34" fmla="*/ 0 w 219"/>
                <a:gd name="T35" fmla="*/ 0 h 133"/>
                <a:gd name="T36" fmla="*/ 0 w 219"/>
                <a:gd name="T37" fmla="*/ 0 h 133"/>
                <a:gd name="T38" fmla="*/ 0 w 219"/>
                <a:gd name="T39" fmla="*/ 0 h 133"/>
                <a:gd name="T40" fmla="*/ 0 w 219"/>
                <a:gd name="T41" fmla="*/ 0 h 133"/>
                <a:gd name="T42" fmla="*/ 0 w 219"/>
                <a:gd name="T43" fmla="*/ 0 h 133"/>
                <a:gd name="T44" fmla="*/ 0 w 219"/>
                <a:gd name="T45" fmla="*/ 0 h 133"/>
                <a:gd name="T46" fmla="*/ 0 w 219"/>
                <a:gd name="T47" fmla="*/ 0 h 133"/>
                <a:gd name="T48" fmla="*/ 0 w 219"/>
                <a:gd name="T49" fmla="*/ 0 h 133"/>
                <a:gd name="T50" fmla="*/ 0 w 219"/>
                <a:gd name="T51" fmla="*/ 0 h 133"/>
                <a:gd name="T52" fmla="*/ 0 w 219"/>
                <a:gd name="T53" fmla="*/ 0 h 133"/>
                <a:gd name="T54" fmla="*/ 0 w 219"/>
                <a:gd name="T55" fmla="*/ 0 h 133"/>
                <a:gd name="T56" fmla="*/ 0 w 219"/>
                <a:gd name="T57" fmla="*/ 0 h 133"/>
                <a:gd name="T58" fmla="*/ 0 w 219"/>
                <a:gd name="T59" fmla="*/ 0 h 133"/>
                <a:gd name="T60" fmla="*/ 0 w 219"/>
                <a:gd name="T61" fmla="*/ 0 h 133"/>
                <a:gd name="T62" fmla="*/ 0 w 219"/>
                <a:gd name="T63" fmla="*/ 0 h 133"/>
                <a:gd name="T64" fmla="*/ 0 w 219"/>
                <a:gd name="T65" fmla="*/ 0 h 133"/>
                <a:gd name="T66" fmla="*/ 0 w 219"/>
                <a:gd name="T67" fmla="*/ 0 h 133"/>
                <a:gd name="T68" fmla="*/ 0 w 219"/>
                <a:gd name="T69" fmla="*/ 0 h 133"/>
                <a:gd name="T70" fmla="*/ 0 w 219"/>
                <a:gd name="T71" fmla="*/ 0 h 133"/>
                <a:gd name="T72" fmla="*/ 0 w 219"/>
                <a:gd name="T73" fmla="*/ 0 h 133"/>
                <a:gd name="T74" fmla="*/ 0 w 219"/>
                <a:gd name="T75" fmla="*/ 0 h 133"/>
                <a:gd name="T76" fmla="*/ 0 w 219"/>
                <a:gd name="T77" fmla="*/ 0 h 133"/>
                <a:gd name="T78" fmla="*/ 0 w 219"/>
                <a:gd name="T79" fmla="*/ 0 h 133"/>
                <a:gd name="T80" fmla="*/ 0 w 219"/>
                <a:gd name="T81" fmla="*/ 0 h 133"/>
                <a:gd name="T82" fmla="*/ 0 w 219"/>
                <a:gd name="T83" fmla="*/ 0 h 133"/>
                <a:gd name="T84" fmla="*/ 0 w 219"/>
                <a:gd name="T85" fmla="*/ 0 h 133"/>
                <a:gd name="T86" fmla="*/ 0 w 219"/>
                <a:gd name="T87" fmla="*/ 0 h 133"/>
                <a:gd name="T88" fmla="*/ 0 w 219"/>
                <a:gd name="T89" fmla="*/ 0 h 133"/>
                <a:gd name="T90" fmla="*/ 0 w 219"/>
                <a:gd name="T91" fmla="*/ 0 h 133"/>
                <a:gd name="T92" fmla="*/ 0 w 219"/>
                <a:gd name="T93" fmla="*/ 0 h 133"/>
                <a:gd name="T94" fmla="*/ 0 w 219"/>
                <a:gd name="T95" fmla="*/ 0 h 133"/>
                <a:gd name="T96" fmla="*/ 0 w 219"/>
                <a:gd name="T97" fmla="*/ 0 h 133"/>
                <a:gd name="T98" fmla="*/ 0 w 219"/>
                <a:gd name="T99" fmla="*/ 0 h 133"/>
                <a:gd name="T100" fmla="*/ 0 w 219"/>
                <a:gd name="T101" fmla="*/ 0 h 133"/>
                <a:gd name="T102" fmla="*/ 0 w 219"/>
                <a:gd name="T103" fmla="*/ 0 h 133"/>
                <a:gd name="T104" fmla="*/ 0 w 219"/>
                <a:gd name="T105" fmla="*/ 0 h 133"/>
                <a:gd name="T106" fmla="*/ 0 w 219"/>
                <a:gd name="T107" fmla="*/ 0 h 133"/>
                <a:gd name="T108" fmla="*/ 0 w 219"/>
                <a:gd name="T109" fmla="*/ 0 h 133"/>
                <a:gd name="T110" fmla="*/ 0 w 219"/>
                <a:gd name="T111" fmla="*/ 0 h 133"/>
                <a:gd name="T112" fmla="*/ 0 w 219"/>
                <a:gd name="T113" fmla="*/ 0 h 133"/>
                <a:gd name="T114" fmla="*/ 0 w 219"/>
                <a:gd name="T115" fmla="*/ 0 h 1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9"/>
                <a:gd name="T175" fmla="*/ 0 h 133"/>
                <a:gd name="T176" fmla="*/ 219 w 219"/>
                <a:gd name="T177" fmla="*/ 133 h 1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7" name="Freeform 292">
              <a:extLst>
                <a:ext uri="{FF2B5EF4-FFF2-40B4-BE49-F238E27FC236}">
                  <a16:creationId xmlns:a16="http://schemas.microsoft.com/office/drawing/2014/main" id="{BF8A7E2C-ADA6-0441-BECC-015B486C5255}"/>
                </a:ext>
              </a:extLst>
            </p:cNvPr>
            <p:cNvSpPr>
              <a:spLocks noChangeAspect="1"/>
            </p:cNvSpPr>
            <p:nvPr userDrawn="1"/>
          </p:nvSpPr>
          <p:spPr bwMode="gray">
            <a:xfrm>
              <a:off x="2957123" y="358215"/>
              <a:ext cx="86556" cy="59445"/>
            </a:xfrm>
            <a:custGeom>
              <a:avLst/>
              <a:gdLst>
                <a:gd name="T0" fmla="*/ 0 w 164"/>
                <a:gd name="T1" fmla="*/ 0 h 103"/>
                <a:gd name="T2" fmla="*/ 0 w 164"/>
                <a:gd name="T3" fmla="*/ 0 h 103"/>
                <a:gd name="T4" fmla="*/ 0 w 164"/>
                <a:gd name="T5" fmla="*/ 0 h 103"/>
                <a:gd name="T6" fmla="*/ 0 w 164"/>
                <a:gd name="T7" fmla="*/ 0 h 103"/>
                <a:gd name="T8" fmla="*/ 0 w 164"/>
                <a:gd name="T9" fmla="*/ 0 h 103"/>
                <a:gd name="T10" fmla="*/ 0 w 164"/>
                <a:gd name="T11" fmla="*/ 0 h 103"/>
                <a:gd name="T12" fmla="*/ 0 w 164"/>
                <a:gd name="T13" fmla="*/ 0 h 103"/>
                <a:gd name="T14" fmla="*/ 0 w 164"/>
                <a:gd name="T15" fmla="*/ 0 h 103"/>
                <a:gd name="T16" fmla="*/ 0 w 164"/>
                <a:gd name="T17" fmla="*/ 0 h 103"/>
                <a:gd name="T18" fmla="*/ 0 w 164"/>
                <a:gd name="T19" fmla="*/ 0 h 103"/>
                <a:gd name="T20" fmla="*/ 0 w 164"/>
                <a:gd name="T21" fmla="*/ 0 h 103"/>
                <a:gd name="T22" fmla="*/ 0 w 164"/>
                <a:gd name="T23" fmla="*/ 0 h 103"/>
                <a:gd name="T24" fmla="*/ 0 w 164"/>
                <a:gd name="T25" fmla="*/ 0 h 103"/>
                <a:gd name="T26" fmla="*/ 0 w 164"/>
                <a:gd name="T27" fmla="*/ 0 h 103"/>
                <a:gd name="T28" fmla="*/ 0 w 164"/>
                <a:gd name="T29" fmla="*/ 0 h 103"/>
                <a:gd name="T30" fmla="*/ 0 w 164"/>
                <a:gd name="T31" fmla="*/ 0 h 103"/>
                <a:gd name="T32" fmla="*/ 0 w 164"/>
                <a:gd name="T33" fmla="*/ 0 h 103"/>
                <a:gd name="T34" fmla="*/ 0 w 164"/>
                <a:gd name="T35" fmla="*/ 0 h 103"/>
                <a:gd name="T36" fmla="*/ 0 w 164"/>
                <a:gd name="T37" fmla="*/ 0 h 103"/>
                <a:gd name="T38" fmla="*/ 0 w 164"/>
                <a:gd name="T39" fmla="*/ 0 h 103"/>
                <a:gd name="T40" fmla="*/ 0 w 164"/>
                <a:gd name="T41" fmla="*/ 0 h 103"/>
                <a:gd name="T42" fmla="*/ 0 w 164"/>
                <a:gd name="T43" fmla="*/ 0 h 103"/>
                <a:gd name="T44" fmla="*/ 0 w 164"/>
                <a:gd name="T45" fmla="*/ 0 h 103"/>
                <a:gd name="T46" fmla="*/ 0 w 164"/>
                <a:gd name="T47" fmla="*/ 0 h 103"/>
                <a:gd name="T48" fmla="*/ 0 w 164"/>
                <a:gd name="T49" fmla="*/ 0 h 103"/>
                <a:gd name="T50" fmla="*/ 0 w 164"/>
                <a:gd name="T51" fmla="*/ 0 h 103"/>
                <a:gd name="T52" fmla="*/ 0 w 164"/>
                <a:gd name="T53" fmla="*/ 0 h 103"/>
                <a:gd name="T54" fmla="*/ 0 w 164"/>
                <a:gd name="T55" fmla="*/ 0 h 103"/>
                <a:gd name="T56" fmla="*/ 0 w 164"/>
                <a:gd name="T57" fmla="*/ 0 h 103"/>
                <a:gd name="T58" fmla="*/ 0 w 164"/>
                <a:gd name="T59" fmla="*/ 0 h 103"/>
                <a:gd name="T60" fmla="*/ 0 w 164"/>
                <a:gd name="T61" fmla="*/ 0 h 103"/>
                <a:gd name="T62" fmla="*/ 0 w 164"/>
                <a:gd name="T63" fmla="*/ 0 h 103"/>
                <a:gd name="T64" fmla="*/ 0 w 164"/>
                <a:gd name="T65" fmla="*/ 0 h 103"/>
                <a:gd name="T66" fmla="*/ 0 w 164"/>
                <a:gd name="T67" fmla="*/ 0 h 103"/>
                <a:gd name="T68" fmla="*/ 0 w 164"/>
                <a:gd name="T69" fmla="*/ 0 h 103"/>
                <a:gd name="T70" fmla="*/ 0 w 164"/>
                <a:gd name="T71" fmla="*/ 0 h 103"/>
                <a:gd name="T72" fmla="*/ 0 w 164"/>
                <a:gd name="T73" fmla="*/ 0 h 103"/>
                <a:gd name="T74" fmla="*/ 0 w 164"/>
                <a:gd name="T75" fmla="*/ 0 h 103"/>
                <a:gd name="T76" fmla="*/ 0 w 164"/>
                <a:gd name="T77" fmla="*/ 0 h 103"/>
                <a:gd name="T78" fmla="*/ 0 w 164"/>
                <a:gd name="T79" fmla="*/ 0 h 103"/>
                <a:gd name="T80" fmla="*/ 0 w 164"/>
                <a:gd name="T81" fmla="*/ 0 h 103"/>
                <a:gd name="T82" fmla="*/ 0 w 164"/>
                <a:gd name="T83" fmla="*/ 0 h 103"/>
                <a:gd name="T84" fmla="*/ 0 w 164"/>
                <a:gd name="T85" fmla="*/ 0 h 103"/>
                <a:gd name="T86" fmla="*/ 0 w 164"/>
                <a:gd name="T87" fmla="*/ 0 h 103"/>
                <a:gd name="T88" fmla="*/ 0 w 164"/>
                <a:gd name="T89" fmla="*/ 0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4"/>
                <a:gd name="T136" fmla="*/ 0 h 103"/>
                <a:gd name="T137" fmla="*/ 164 w 164"/>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8" name="Freeform 293">
              <a:extLst>
                <a:ext uri="{FF2B5EF4-FFF2-40B4-BE49-F238E27FC236}">
                  <a16:creationId xmlns:a16="http://schemas.microsoft.com/office/drawing/2014/main" id="{18540911-9DC1-CE61-83E3-41143AD8CF87}"/>
                </a:ext>
              </a:extLst>
            </p:cNvPr>
            <p:cNvSpPr>
              <a:spLocks noChangeAspect="1"/>
            </p:cNvSpPr>
            <p:nvPr userDrawn="1"/>
          </p:nvSpPr>
          <p:spPr bwMode="gray">
            <a:xfrm>
              <a:off x="2931754" y="457289"/>
              <a:ext cx="505903" cy="338377"/>
            </a:xfrm>
            <a:custGeom>
              <a:avLst/>
              <a:gdLst>
                <a:gd name="T0" fmla="*/ 0 w 946"/>
                <a:gd name="T1" fmla="*/ 0 h 593"/>
                <a:gd name="T2" fmla="*/ 0 w 946"/>
                <a:gd name="T3" fmla="*/ 0 h 593"/>
                <a:gd name="T4" fmla="*/ 0 w 946"/>
                <a:gd name="T5" fmla="*/ 0 h 593"/>
                <a:gd name="T6" fmla="*/ 0 w 946"/>
                <a:gd name="T7" fmla="*/ 0 h 593"/>
                <a:gd name="T8" fmla="*/ 0 w 946"/>
                <a:gd name="T9" fmla="*/ 0 h 593"/>
                <a:gd name="T10" fmla="*/ 0 w 946"/>
                <a:gd name="T11" fmla="*/ 0 h 593"/>
                <a:gd name="T12" fmla="*/ 0 w 946"/>
                <a:gd name="T13" fmla="*/ 0 h 593"/>
                <a:gd name="T14" fmla="*/ 0 w 946"/>
                <a:gd name="T15" fmla="*/ 0 h 593"/>
                <a:gd name="T16" fmla="*/ 0 w 946"/>
                <a:gd name="T17" fmla="*/ 2147483647 h 593"/>
                <a:gd name="T18" fmla="*/ 0 w 946"/>
                <a:gd name="T19" fmla="*/ 2147483647 h 593"/>
                <a:gd name="T20" fmla="*/ 0 w 946"/>
                <a:gd name="T21" fmla="*/ 2147483647 h 593"/>
                <a:gd name="T22" fmla="*/ 0 w 946"/>
                <a:gd name="T23" fmla="*/ 2147483647 h 593"/>
                <a:gd name="T24" fmla="*/ 2147483647 w 946"/>
                <a:gd name="T25" fmla="*/ 2147483647 h 593"/>
                <a:gd name="T26" fmla="*/ 2147483647 w 946"/>
                <a:gd name="T27" fmla="*/ 2147483647 h 593"/>
                <a:gd name="T28" fmla="*/ 2147483647 w 946"/>
                <a:gd name="T29" fmla="*/ 2147483647 h 593"/>
                <a:gd name="T30" fmla="*/ 2147483647 w 946"/>
                <a:gd name="T31" fmla="*/ 2147483647 h 593"/>
                <a:gd name="T32" fmla="*/ 2147483647 w 946"/>
                <a:gd name="T33" fmla="*/ 2147483647 h 593"/>
                <a:gd name="T34" fmla="*/ 2147483647 w 946"/>
                <a:gd name="T35" fmla="*/ 2147483647 h 593"/>
                <a:gd name="T36" fmla="*/ 2147483647 w 946"/>
                <a:gd name="T37" fmla="*/ 2147483647 h 593"/>
                <a:gd name="T38" fmla="*/ 2147483647 w 946"/>
                <a:gd name="T39" fmla="*/ 2147483647 h 593"/>
                <a:gd name="T40" fmla="*/ 2147483647 w 946"/>
                <a:gd name="T41" fmla="*/ 2147483647 h 593"/>
                <a:gd name="T42" fmla="*/ 2147483647 w 946"/>
                <a:gd name="T43" fmla="*/ 2147483647 h 593"/>
                <a:gd name="T44" fmla="*/ 2147483647 w 946"/>
                <a:gd name="T45" fmla="*/ 2147483647 h 593"/>
                <a:gd name="T46" fmla="*/ 2147483647 w 946"/>
                <a:gd name="T47" fmla="*/ 2147483647 h 593"/>
                <a:gd name="T48" fmla="*/ 2147483647 w 946"/>
                <a:gd name="T49" fmla="*/ 2147483647 h 593"/>
                <a:gd name="T50" fmla="*/ 2147483647 w 946"/>
                <a:gd name="T51" fmla="*/ 2147483647 h 593"/>
                <a:gd name="T52" fmla="*/ 2147483647 w 946"/>
                <a:gd name="T53" fmla="*/ 2147483647 h 593"/>
                <a:gd name="T54" fmla="*/ 2147483647 w 946"/>
                <a:gd name="T55" fmla="*/ 2147483647 h 593"/>
                <a:gd name="T56" fmla="*/ 2147483647 w 946"/>
                <a:gd name="T57" fmla="*/ 2147483647 h 593"/>
                <a:gd name="T58" fmla="*/ 2147483647 w 946"/>
                <a:gd name="T59" fmla="*/ 0 h 593"/>
                <a:gd name="T60" fmla="*/ 2147483647 w 946"/>
                <a:gd name="T61" fmla="*/ 0 h 593"/>
                <a:gd name="T62" fmla="*/ 2147483647 w 946"/>
                <a:gd name="T63" fmla="*/ 2147483647 h 593"/>
                <a:gd name="T64" fmla="*/ 2147483647 w 946"/>
                <a:gd name="T65" fmla="*/ 2147483647 h 593"/>
                <a:gd name="T66" fmla="*/ 2147483647 w 946"/>
                <a:gd name="T67" fmla="*/ 2147483647 h 593"/>
                <a:gd name="T68" fmla="*/ 2147483647 w 946"/>
                <a:gd name="T69" fmla="*/ 2147483647 h 593"/>
                <a:gd name="T70" fmla="*/ 2147483647 w 946"/>
                <a:gd name="T71" fmla="*/ 2147483647 h 593"/>
                <a:gd name="T72" fmla="*/ 2147483647 w 946"/>
                <a:gd name="T73" fmla="*/ 2147483647 h 593"/>
                <a:gd name="T74" fmla="*/ 2147483647 w 946"/>
                <a:gd name="T75" fmla="*/ 2147483647 h 593"/>
                <a:gd name="T76" fmla="*/ 2147483647 w 946"/>
                <a:gd name="T77" fmla="*/ 2147483647 h 593"/>
                <a:gd name="T78" fmla="*/ 2147483647 w 946"/>
                <a:gd name="T79" fmla="*/ 2147483647 h 593"/>
                <a:gd name="T80" fmla="*/ 2147483647 w 946"/>
                <a:gd name="T81" fmla="*/ 2147483647 h 593"/>
                <a:gd name="T82" fmla="*/ 2147483647 w 946"/>
                <a:gd name="T83" fmla="*/ 0 h 593"/>
                <a:gd name="T84" fmla="*/ 2147483647 w 946"/>
                <a:gd name="T85" fmla="*/ 0 h 593"/>
                <a:gd name="T86" fmla="*/ 2147483647 w 946"/>
                <a:gd name="T87" fmla="*/ 0 h 593"/>
                <a:gd name="T88" fmla="*/ 2147483647 w 946"/>
                <a:gd name="T89" fmla="*/ 0 h 593"/>
                <a:gd name="T90" fmla="*/ 2147483647 w 946"/>
                <a:gd name="T91" fmla="*/ 0 h 593"/>
                <a:gd name="T92" fmla="*/ 0 w 946"/>
                <a:gd name="T93" fmla="*/ 0 h 593"/>
                <a:gd name="T94" fmla="*/ 2147483647 w 946"/>
                <a:gd name="T95" fmla="*/ 0 h 593"/>
                <a:gd name="T96" fmla="*/ 2147483647 w 946"/>
                <a:gd name="T97" fmla="*/ 0 h 593"/>
                <a:gd name="T98" fmla="*/ 2147483647 w 946"/>
                <a:gd name="T99" fmla="*/ 0 h 593"/>
                <a:gd name="T100" fmla="*/ 2147483647 w 946"/>
                <a:gd name="T101" fmla="*/ 0 h 593"/>
                <a:gd name="T102" fmla="*/ 2147483647 w 946"/>
                <a:gd name="T103" fmla="*/ 0 h 593"/>
                <a:gd name="T104" fmla="*/ 0 w 946"/>
                <a:gd name="T105" fmla="*/ 0 h 593"/>
                <a:gd name="T106" fmla="*/ 0 w 946"/>
                <a:gd name="T107" fmla="*/ 0 h 593"/>
                <a:gd name="T108" fmla="*/ 0 w 946"/>
                <a:gd name="T109" fmla="*/ 0 h 593"/>
                <a:gd name="T110" fmla="*/ 0 w 946"/>
                <a:gd name="T111" fmla="*/ 0 h 593"/>
                <a:gd name="T112" fmla="*/ 0 w 946"/>
                <a:gd name="T113" fmla="*/ 0 h 5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46"/>
                <a:gd name="T172" fmla="*/ 0 h 593"/>
                <a:gd name="T173" fmla="*/ 946 w 946"/>
                <a:gd name="T174" fmla="*/ 593 h 59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69" name="Freeform 294">
              <a:extLst>
                <a:ext uri="{FF2B5EF4-FFF2-40B4-BE49-F238E27FC236}">
                  <a16:creationId xmlns:a16="http://schemas.microsoft.com/office/drawing/2014/main" id="{69E32849-3438-CE5C-A311-85F6AFAC5E32}"/>
                </a:ext>
              </a:extLst>
            </p:cNvPr>
            <p:cNvSpPr>
              <a:spLocks noChangeAspect="1"/>
            </p:cNvSpPr>
            <p:nvPr userDrawn="1"/>
          </p:nvSpPr>
          <p:spPr bwMode="gray">
            <a:xfrm>
              <a:off x="2946677" y="644768"/>
              <a:ext cx="86556" cy="131083"/>
            </a:xfrm>
            <a:custGeom>
              <a:avLst/>
              <a:gdLst>
                <a:gd name="T0" fmla="*/ 0 w 163"/>
                <a:gd name="T1" fmla="*/ 0 h 229"/>
                <a:gd name="T2" fmla="*/ 0 w 163"/>
                <a:gd name="T3" fmla="*/ 0 h 229"/>
                <a:gd name="T4" fmla="*/ 0 w 163"/>
                <a:gd name="T5" fmla="*/ 0 h 229"/>
                <a:gd name="T6" fmla="*/ 0 w 163"/>
                <a:gd name="T7" fmla="*/ 0 h 229"/>
                <a:gd name="T8" fmla="*/ 0 w 163"/>
                <a:gd name="T9" fmla="*/ 0 h 229"/>
                <a:gd name="T10" fmla="*/ 0 w 163"/>
                <a:gd name="T11" fmla="*/ 0 h 229"/>
                <a:gd name="T12" fmla="*/ 0 w 163"/>
                <a:gd name="T13" fmla="*/ 0 h 229"/>
                <a:gd name="T14" fmla="*/ 0 w 163"/>
                <a:gd name="T15" fmla="*/ 0 h 229"/>
                <a:gd name="T16" fmla="*/ 0 w 163"/>
                <a:gd name="T17" fmla="*/ 0 h 229"/>
                <a:gd name="T18" fmla="*/ 0 w 163"/>
                <a:gd name="T19" fmla="*/ 0 h 229"/>
                <a:gd name="T20" fmla="*/ 0 w 163"/>
                <a:gd name="T21" fmla="*/ 0 h 229"/>
                <a:gd name="T22" fmla="*/ 0 w 163"/>
                <a:gd name="T23" fmla="*/ 0 h 229"/>
                <a:gd name="T24" fmla="*/ 0 w 163"/>
                <a:gd name="T25" fmla="*/ 0 h 229"/>
                <a:gd name="T26" fmla="*/ 0 w 163"/>
                <a:gd name="T27" fmla="*/ 0 h 229"/>
                <a:gd name="T28" fmla="*/ 0 w 163"/>
                <a:gd name="T29" fmla="*/ 0 h 229"/>
                <a:gd name="T30" fmla="*/ 0 w 163"/>
                <a:gd name="T31" fmla="*/ 0 h 229"/>
                <a:gd name="T32" fmla="*/ 0 w 163"/>
                <a:gd name="T33" fmla="*/ 0 h 229"/>
                <a:gd name="T34" fmla="*/ 0 w 163"/>
                <a:gd name="T35" fmla="*/ 0 h 229"/>
                <a:gd name="T36" fmla="*/ 0 w 163"/>
                <a:gd name="T37" fmla="*/ 0 h 229"/>
                <a:gd name="T38" fmla="*/ 0 w 163"/>
                <a:gd name="T39" fmla="*/ 0 h 229"/>
                <a:gd name="T40" fmla="*/ 0 w 163"/>
                <a:gd name="T41" fmla="*/ 0 h 229"/>
                <a:gd name="T42" fmla="*/ 0 w 163"/>
                <a:gd name="T43" fmla="*/ 0 h 229"/>
                <a:gd name="T44" fmla="*/ 0 w 163"/>
                <a:gd name="T45" fmla="*/ 0 h 229"/>
                <a:gd name="T46" fmla="*/ 0 w 163"/>
                <a:gd name="T47" fmla="*/ 0 h 229"/>
                <a:gd name="T48" fmla="*/ 0 w 163"/>
                <a:gd name="T49" fmla="*/ 0 h 229"/>
                <a:gd name="T50" fmla="*/ 0 w 163"/>
                <a:gd name="T51" fmla="*/ 0 h 229"/>
                <a:gd name="T52" fmla="*/ 0 w 163"/>
                <a:gd name="T53" fmla="*/ 0 h 229"/>
                <a:gd name="T54" fmla="*/ 0 w 163"/>
                <a:gd name="T55" fmla="*/ 0 h 229"/>
                <a:gd name="T56" fmla="*/ 0 w 163"/>
                <a:gd name="T57" fmla="*/ 0 h 229"/>
                <a:gd name="T58" fmla="*/ 0 w 163"/>
                <a:gd name="T59" fmla="*/ 0 h 229"/>
                <a:gd name="T60" fmla="*/ 0 w 163"/>
                <a:gd name="T61" fmla="*/ 0 h 229"/>
                <a:gd name="T62" fmla="*/ 0 w 163"/>
                <a:gd name="T63" fmla="*/ 0 h 229"/>
                <a:gd name="T64" fmla="*/ 0 w 163"/>
                <a:gd name="T65" fmla="*/ 0 h 229"/>
                <a:gd name="T66" fmla="*/ 0 w 163"/>
                <a:gd name="T67" fmla="*/ 0 h 229"/>
                <a:gd name="T68" fmla="*/ 0 w 163"/>
                <a:gd name="T69" fmla="*/ 0 h 229"/>
                <a:gd name="T70" fmla="*/ 0 w 163"/>
                <a:gd name="T71" fmla="*/ 0 h 229"/>
                <a:gd name="T72" fmla="*/ 0 w 163"/>
                <a:gd name="T73" fmla="*/ 0 h 229"/>
                <a:gd name="T74" fmla="*/ 0 w 163"/>
                <a:gd name="T75" fmla="*/ 0 h 2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229"/>
                <a:gd name="T116" fmla="*/ 163 w 163"/>
                <a:gd name="T117" fmla="*/ 229 h 22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0" name="Freeform 295">
              <a:extLst>
                <a:ext uri="{FF2B5EF4-FFF2-40B4-BE49-F238E27FC236}">
                  <a16:creationId xmlns:a16="http://schemas.microsoft.com/office/drawing/2014/main" id="{6360C2D8-6CB1-CF98-0629-0099328FA28D}"/>
                </a:ext>
              </a:extLst>
            </p:cNvPr>
            <p:cNvSpPr>
              <a:spLocks noChangeAspect="1"/>
            </p:cNvSpPr>
            <p:nvPr userDrawn="1"/>
          </p:nvSpPr>
          <p:spPr bwMode="gray">
            <a:xfrm>
              <a:off x="3218284" y="1591308"/>
              <a:ext cx="205943" cy="198148"/>
            </a:xfrm>
            <a:custGeom>
              <a:avLst/>
              <a:gdLst>
                <a:gd name="T0" fmla="*/ 0 w 384"/>
                <a:gd name="T1" fmla="*/ 0 h 349"/>
                <a:gd name="T2" fmla="*/ 0 w 384"/>
                <a:gd name="T3" fmla="*/ 0 h 349"/>
                <a:gd name="T4" fmla="*/ 0 w 384"/>
                <a:gd name="T5" fmla="*/ 0 h 349"/>
                <a:gd name="T6" fmla="*/ 0 w 384"/>
                <a:gd name="T7" fmla="*/ 0 h 349"/>
                <a:gd name="T8" fmla="*/ 0 w 384"/>
                <a:gd name="T9" fmla="*/ 0 h 349"/>
                <a:gd name="T10" fmla="*/ 0 w 384"/>
                <a:gd name="T11" fmla="*/ 0 h 349"/>
                <a:gd name="T12" fmla="*/ 0 w 384"/>
                <a:gd name="T13" fmla="*/ 0 h 349"/>
                <a:gd name="T14" fmla="*/ 0 w 384"/>
                <a:gd name="T15" fmla="*/ 0 h 349"/>
                <a:gd name="T16" fmla="*/ 0 w 384"/>
                <a:gd name="T17" fmla="*/ 0 h 349"/>
                <a:gd name="T18" fmla="*/ 0 w 384"/>
                <a:gd name="T19" fmla="*/ 0 h 349"/>
                <a:gd name="T20" fmla="*/ 0 w 384"/>
                <a:gd name="T21" fmla="*/ 0 h 349"/>
                <a:gd name="T22" fmla="*/ 2147483647 w 384"/>
                <a:gd name="T23" fmla="*/ 0 h 349"/>
                <a:gd name="T24" fmla="*/ 2147483647 w 384"/>
                <a:gd name="T25" fmla="*/ 0 h 349"/>
                <a:gd name="T26" fmla="*/ 2147483647 w 384"/>
                <a:gd name="T27" fmla="*/ 0 h 349"/>
                <a:gd name="T28" fmla="*/ 2147483647 w 384"/>
                <a:gd name="T29" fmla="*/ 0 h 349"/>
                <a:gd name="T30" fmla="*/ 2147483647 w 384"/>
                <a:gd name="T31" fmla="*/ 0 h 349"/>
                <a:gd name="T32" fmla="*/ 2147483647 w 384"/>
                <a:gd name="T33" fmla="*/ 0 h 349"/>
                <a:gd name="T34" fmla="*/ 0 w 384"/>
                <a:gd name="T35" fmla="*/ 0 h 349"/>
                <a:gd name="T36" fmla="*/ 0 w 384"/>
                <a:gd name="T37" fmla="*/ 0 h 349"/>
                <a:gd name="T38" fmla="*/ 0 w 384"/>
                <a:gd name="T39" fmla="*/ 0 h 349"/>
                <a:gd name="T40" fmla="*/ 0 w 384"/>
                <a:gd name="T41" fmla="*/ 0 h 349"/>
                <a:gd name="T42" fmla="*/ 0 w 384"/>
                <a:gd name="T43" fmla="*/ 0 h 349"/>
                <a:gd name="T44" fmla="*/ 0 w 384"/>
                <a:gd name="T45" fmla="*/ 0 h 349"/>
                <a:gd name="T46" fmla="*/ 0 w 384"/>
                <a:gd name="T47" fmla="*/ 0 h 349"/>
                <a:gd name="T48" fmla="*/ 0 w 384"/>
                <a:gd name="T49" fmla="*/ 0 h 349"/>
                <a:gd name="T50" fmla="*/ 0 w 384"/>
                <a:gd name="T51" fmla="*/ 0 h 349"/>
                <a:gd name="T52" fmla="*/ 0 w 384"/>
                <a:gd name="T53" fmla="*/ 0 h 349"/>
                <a:gd name="T54" fmla="*/ 0 w 384"/>
                <a:gd name="T55" fmla="*/ 0 h 349"/>
                <a:gd name="T56" fmla="*/ 0 w 384"/>
                <a:gd name="T57" fmla="*/ 2147483647 h 349"/>
                <a:gd name="T58" fmla="*/ 0 w 384"/>
                <a:gd name="T59" fmla="*/ 2147483647 h 349"/>
                <a:gd name="T60" fmla="*/ 0 w 384"/>
                <a:gd name="T61" fmla="*/ 2147483647 h 349"/>
                <a:gd name="T62" fmla="*/ 0 w 384"/>
                <a:gd name="T63" fmla="*/ 0 h 349"/>
                <a:gd name="T64" fmla="*/ 0 w 384"/>
                <a:gd name="T65" fmla="*/ 0 h 349"/>
                <a:gd name="T66" fmla="*/ 0 w 384"/>
                <a:gd name="T67" fmla="*/ 0 h 349"/>
                <a:gd name="T68" fmla="*/ 0 w 384"/>
                <a:gd name="T69" fmla="*/ 0 h 349"/>
                <a:gd name="T70" fmla="*/ 0 w 384"/>
                <a:gd name="T71" fmla="*/ 0 h 349"/>
                <a:gd name="T72" fmla="*/ 0 w 384"/>
                <a:gd name="T73" fmla="*/ 0 h 349"/>
                <a:gd name="T74" fmla="*/ 0 w 384"/>
                <a:gd name="T75" fmla="*/ 0 h 349"/>
                <a:gd name="T76" fmla="*/ 0 w 384"/>
                <a:gd name="T77" fmla="*/ 0 h 349"/>
                <a:gd name="T78" fmla="*/ 0 w 384"/>
                <a:gd name="T79" fmla="*/ 0 h 349"/>
                <a:gd name="T80" fmla="*/ 0 w 384"/>
                <a:gd name="T81" fmla="*/ 0 h 349"/>
                <a:gd name="T82" fmla="*/ 0 w 384"/>
                <a:gd name="T83" fmla="*/ 0 h 34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4"/>
                <a:gd name="T127" fmla="*/ 0 h 349"/>
                <a:gd name="T128" fmla="*/ 384 w 384"/>
                <a:gd name="T129" fmla="*/ 349 h 34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1" name="Freeform 296">
              <a:extLst>
                <a:ext uri="{FF2B5EF4-FFF2-40B4-BE49-F238E27FC236}">
                  <a16:creationId xmlns:a16="http://schemas.microsoft.com/office/drawing/2014/main" id="{77762006-4421-28FA-6DDE-F95416469AB5}"/>
                </a:ext>
              </a:extLst>
            </p:cNvPr>
            <p:cNvSpPr>
              <a:spLocks noChangeAspect="1"/>
            </p:cNvSpPr>
            <p:nvPr userDrawn="1"/>
          </p:nvSpPr>
          <p:spPr bwMode="gray">
            <a:xfrm>
              <a:off x="3509290" y="1399256"/>
              <a:ext cx="64171" cy="91453"/>
            </a:xfrm>
            <a:custGeom>
              <a:avLst/>
              <a:gdLst>
                <a:gd name="T0" fmla="*/ 0 w 122"/>
                <a:gd name="T1" fmla="*/ 0 h 161"/>
                <a:gd name="T2" fmla="*/ 0 w 122"/>
                <a:gd name="T3" fmla="*/ 0 h 161"/>
                <a:gd name="T4" fmla="*/ 0 w 122"/>
                <a:gd name="T5" fmla="*/ 0 h 161"/>
                <a:gd name="T6" fmla="*/ 0 w 122"/>
                <a:gd name="T7" fmla="*/ 0 h 161"/>
                <a:gd name="T8" fmla="*/ 0 w 122"/>
                <a:gd name="T9" fmla="*/ 0 h 161"/>
                <a:gd name="T10" fmla="*/ 0 w 122"/>
                <a:gd name="T11" fmla="*/ 0 h 161"/>
                <a:gd name="T12" fmla="*/ 0 w 122"/>
                <a:gd name="T13" fmla="*/ 0 h 161"/>
                <a:gd name="T14" fmla="*/ 0 w 122"/>
                <a:gd name="T15" fmla="*/ 0 h 161"/>
                <a:gd name="T16" fmla="*/ 0 w 122"/>
                <a:gd name="T17" fmla="*/ 0 h 161"/>
                <a:gd name="T18" fmla="*/ 0 w 122"/>
                <a:gd name="T19" fmla="*/ 0 h 161"/>
                <a:gd name="T20" fmla="*/ 0 w 122"/>
                <a:gd name="T21" fmla="*/ 0 h 161"/>
                <a:gd name="T22" fmla="*/ 0 w 122"/>
                <a:gd name="T23" fmla="*/ 0 h 161"/>
                <a:gd name="T24" fmla="*/ 0 w 122"/>
                <a:gd name="T25" fmla="*/ 0 h 161"/>
                <a:gd name="T26" fmla="*/ 0 w 122"/>
                <a:gd name="T27" fmla="*/ 0 h 161"/>
                <a:gd name="T28" fmla="*/ 0 w 122"/>
                <a:gd name="T29" fmla="*/ 0 h 161"/>
                <a:gd name="T30" fmla="*/ 0 w 122"/>
                <a:gd name="T31" fmla="*/ 0 h 161"/>
                <a:gd name="T32" fmla="*/ 0 w 122"/>
                <a:gd name="T33" fmla="*/ 0 h 161"/>
                <a:gd name="T34" fmla="*/ 0 w 122"/>
                <a:gd name="T35" fmla="*/ 0 h 161"/>
                <a:gd name="T36" fmla="*/ 0 w 122"/>
                <a:gd name="T37" fmla="*/ 0 h 161"/>
                <a:gd name="T38" fmla="*/ 0 w 122"/>
                <a:gd name="T39" fmla="*/ 0 h 161"/>
                <a:gd name="T40" fmla="*/ 0 w 122"/>
                <a:gd name="T41" fmla="*/ 0 h 161"/>
                <a:gd name="T42" fmla="*/ 0 w 122"/>
                <a:gd name="T43" fmla="*/ 0 h 161"/>
                <a:gd name="T44" fmla="*/ 0 w 122"/>
                <a:gd name="T45" fmla="*/ 0 h 161"/>
                <a:gd name="T46" fmla="*/ 0 w 122"/>
                <a:gd name="T47" fmla="*/ 0 h 161"/>
                <a:gd name="T48" fmla="*/ 0 w 122"/>
                <a:gd name="T49" fmla="*/ 0 h 161"/>
                <a:gd name="T50" fmla="*/ 0 w 122"/>
                <a:gd name="T51" fmla="*/ 0 h 161"/>
                <a:gd name="T52" fmla="*/ 0 w 122"/>
                <a:gd name="T53" fmla="*/ 0 h 161"/>
                <a:gd name="T54" fmla="*/ 0 w 122"/>
                <a:gd name="T55" fmla="*/ 0 h 161"/>
                <a:gd name="T56" fmla="*/ 0 w 122"/>
                <a:gd name="T57" fmla="*/ 0 h 1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2"/>
                <a:gd name="T88" fmla="*/ 0 h 161"/>
                <a:gd name="T89" fmla="*/ 122 w 122"/>
                <a:gd name="T90" fmla="*/ 161 h 1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2" name="Freeform 297">
              <a:extLst>
                <a:ext uri="{FF2B5EF4-FFF2-40B4-BE49-F238E27FC236}">
                  <a16:creationId xmlns:a16="http://schemas.microsoft.com/office/drawing/2014/main" id="{12CC81E2-98DA-8ECB-DFD6-6E34DE122B59}"/>
                </a:ext>
              </a:extLst>
            </p:cNvPr>
            <p:cNvSpPr>
              <a:spLocks noChangeAspect="1"/>
            </p:cNvSpPr>
            <p:nvPr userDrawn="1"/>
          </p:nvSpPr>
          <p:spPr bwMode="gray">
            <a:xfrm>
              <a:off x="3401841" y="881021"/>
              <a:ext cx="141773" cy="108219"/>
            </a:xfrm>
            <a:custGeom>
              <a:avLst/>
              <a:gdLst>
                <a:gd name="T0" fmla="*/ 0 w 265"/>
                <a:gd name="T1" fmla="*/ 0 h 190"/>
                <a:gd name="T2" fmla="*/ 0 w 265"/>
                <a:gd name="T3" fmla="*/ 0 h 190"/>
                <a:gd name="T4" fmla="*/ 0 w 265"/>
                <a:gd name="T5" fmla="*/ 0 h 190"/>
                <a:gd name="T6" fmla="*/ 0 w 265"/>
                <a:gd name="T7" fmla="*/ 0 h 190"/>
                <a:gd name="T8" fmla="*/ 0 w 265"/>
                <a:gd name="T9" fmla="*/ 0 h 190"/>
                <a:gd name="T10" fmla="*/ 0 w 265"/>
                <a:gd name="T11" fmla="*/ 0 h 190"/>
                <a:gd name="T12" fmla="*/ 0 w 265"/>
                <a:gd name="T13" fmla="*/ 0 h 190"/>
                <a:gd name="T14" fmla="*/ 0 w 265"/>
                <a:gd name="T15" fmla="*/ 0 h 190"/>
                <a:gd name="T16" fmla="*/ 0 w 265"/>
                <a:gd name="T17" fmla="*/ 0 h 190"/>
                <a:gd name="T18" fmla="*/ 0 w 265"/>
                <a:gd name="T19" fmla="*/ 0 h 190"/>
                <a:gd name="T20" fmla="*/ 0 w 265"/>
                <a:gd name="T21" fmla="*/ 0 h 190"/>
                <a:gd name="T22" fmla="*/ 0 w 265"/>
                <a:gd name="T23" fmla="*/ 0 h 190"/>
                <a:gd name="T24" fmla="*/ 0 w 265"/>
                <a:gd name="T25" fmla="*/ 0 h 190"/>
                <a:gd name="T26" fmla="*/ 0 w 265"/>
                <a:gd name="T27" fmla="*/ 0 h 190"/>
                <a:gd name="T28" fmla="*/ 0 w 265"/>
                <a:gd name="T29" fmla="*/ 0 h 190"/>
                <a:gd name="T30" fmla="*/ 0 w 265"/>
                <a:gd name="T31" fmla="*/ 0 h 190"/>
                <a:gd name="T32" fmla="*/ 0 w 265"/>
                <a:gd name="T33" fmla="*/ 0 h 190"/>
                <a:gd name="T34" fmla="*/ 0 w 265"/>
                <a:gd name="T35" fmla="*/ 0 h 190"/>
                <a:gd name="T36" fmla="*/ 0 w 265"/>
                <a:gd name="T37" fmla="*/ 0 h 190"/>
                <a:gd name="T38" fmla="*/ 0 w 265"/>
                <a:gd name="T39" fmla="*/ 0 h 190"/>
                <a:gd name="T40" fmla="*/ 0 w 265"/>
                <a:gd name="T41" fmla="*/ 0 h 190"/>
                <a:gd name="T42" fmla="*/ 0 w 265"/>
                <a:gd name="T43" fmla="*/ 0 h 190"/>
                <a:gd name="T44" fmla="*/ 0 w 265"/>
                <a:gd name="T45" fmla="*/ 0 h 190"/>
                <a:gd name="T46" fmla="*/ 0 w 265"/>
                <a:gd name="T47" fmla="*/ 0 h 190"/>
                <a:gd name="T48" fmla="*/ 0 w 265"/>
                <a:gd name="T49" fmla="*/ 0 h 190"/>
                <a:gd name="T50" fmla="*/ 0 w 265"/>
                <a:gd name="T51" fmla="*/ 0 h 190"/>
                <a:gd name="T52" fmla="*/ 0 w 265"/>
                <a:gd name="T53" fmla="*/ 0 h 190"/>
                <a:gd name="T54" fmla="*/ 0 w 265"/>
                <a:gd name="T55" fmla="*/ 0 h 190"/>
                <a:gd name="T56" fmla="*/ 0 w 265"/>
                <a:gd name="T57" fmla="*/ 0 h 190"/>
                <a:gd name="T58" fmla="*/ 0 w 265"/>
                <a:gd name="T59" fmla="*/ 0 h 190"/>
                <a:gd name="T60" fmla="*/ 0 w 265"/>
                <a:gd name="T61" fmla="*/ 0 h 190"/>
                <a:gd name="T62" fmla="*/ 0 w 265"/>
                <a:gd name="T63" fmla="*/ 0 h 190"/>
                <a:gd name="T64" fmla="*/ 0 w 265"/>
                <a:gd name="T65" fmla="*/ 0 h 190"/>
                <a:gd name="T66" fmla="*/ 0 w 265"/>
                <a:gd name="T67" fmla="*/ 0 h 190"/>
                <a:gd name="T68" fmla="*/ 0 w 265"/>
                <a:gd name="T69" fmla="*/ 0 h 190"/>
                <a:gd name="T70" fmla="*/ 0 w 265"/>
                <a:gd name="T71" fmla="*/ 0 h 19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5"/>
                <a:gd name="T109" fmla="*/ 0 h 190"/>
                <a:gd name="T110" fmla="*/ 265 w 265"/>
                <a:gd name="T111" fmla="*/ 190 h 19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3" name="Freeform 298">
              <a:extLst>
                <a:ext uri="{FF2B5EF4-FFF2-40B4-BE49-F238E27FC236}">
                  <a16:creationId xmlns:a16="http://schemas.microsoft.com/office/drawing/2014/main" id="{7DF71A10-C8B1-1040-4DD7-E44E560B953D}"/>
                </a:ext>
              </a:extLst>
            </p:cNvPr>
            <p:cNvSpPr>
              <a:spLocks noChangeAspect="1"/>
            </p:cNvSpPr>
            <p:nvPr userDrawn="1"/>
          </p:nvSpPr>
          <p:spPr bwMode="gray">
            <a:xfrm>
              <a:off x="3133220" y="867303"/>
              <a:ext cx="843174" cy="1012081"/>
            </a:xfrm>
            <a:custGeom>
              <a:avLst/>
              <a:gdLst>
                <a:gd name="T0" fmla="*/ 2147483647 w 1581"/>
                <a:gd name="T1" fmla="*/ 2147483647 h 1779"/>
                <a:gd name="T2" fmla="*/ 2147483647 w 1581"/>
                <a:gd name="T3" fmla="*/ 2147483647 h 1779"/>
                <a:gd name="T4" fmla="*/ 2147483647 w 1581"/>
                <a:gd name="T5" fmla="*/ 2147483647 h 1779"/>
                <a:gd name="T6" fmla="*/ 2147483647 w 1581"/>
                <a:gd name="T7" fmla="*/ 2147483647 h 1779"/>
                <a:gd name="T8" fmla="*/ 2147483647 w 1581"/>
                <a:gd name="T9" fmla="*/ 2147483647 h 1779"/>
                <a:gd name="T10" fmla="*/ 2147483647 w 1581"/>
                <a:gd name="T11" fmla="*/ 2147483647 h 1779"/>
                <a:gd name="T12" fmla="*/ 2147483647 w 1581"/>
                <a:gd name="T13" fmla="*/ 2147483647 h 1779"/>
                <a:gd name="T14" fmla="*/ 2147483647 w 1581"/>
                <a:gd name="T15" fmla="*/ 2147483647 h 1779"/>
                <a:gd name="T16" fmla="*/ 2147483647 w 1581"/>
                <a:gd name="T17" fmla="*/ 2147483647 h 1779"/>
                <a:gd name="T18" fmla="*/ 2147483647 w 1581"/>
                <a:gd name="T19" fmla="*/ 2147483647 h 1779"/>
                <a:gd name="T20" fmla="*/ 2147483647 w 1581"/>
                <a:gd name="T21" fmla="*/ 2147483647 h 1779"/>
                <a:gd name="T22" fmla="*/ 2147483647 w 1581"/>
                <a:gd name="T23" fmla="*/ 2147483647 h 1779"/>
                <a:gd name="T24" fmla="*/ 2147483647 w 1581"/>
                <a:gd name="T25" fmla="*/ 2147483647 h 1779"/>
                <a:gd name="T26" fmla="*/ 2147483647 w 1581"/>
                <a:gd name="T27" fmla="*/ 2147483647 h 1779"/>
                <a:gd name="T28" fmla="*/ 2147483647 w 1581"/>
                <a:gd name="T29" fmla="*/ 2147483647 h 1779"/>
                <a:gd name="T30" fmla="*/ 2147483647 w 1581"/>
                <a:gd name="T31" fmla="*/ 2147483647 h 1779"/>
                <a:gd name="T32" fmla="*/ 2147483647 w 1581"/>
                <a:gd name="T33" fmla="*/ 2147483647 h 1779"/>
                <a:gd name="T34" fmla="*/ 2147483647 w 1581"/>
                <a:gd name="T35" fmla="*/ 2147483647 h 1779"/>
                <a:gd name="T36" fmla="*/ 2147483647 w 1581"/>
                <a:gd name="T37" fmla="*/ 2147483647 h 1779"/>
                <a:gd name="T38" fmla="*/ 2147483647 w 1581"/>
                <a:gd name="T39" fmla="*/ 2147483647 h 1779"/>
                <a:gd name="T40" fmla="*/ 2147483647 w 1581"/>
                <a:gd name="T41" fmla="*/ 2147483647 h 1779"/>
                <a:gd name="T42" fmla="*/ 2147483647 w 1581"/>
                <a:gd name="T43" fmla="*/ 2147483647 h 1779"/>
                <a:gd name="T44" fmla="*/ 2147483647 w 1581"/>
                <a:gd name="T45" fmla="*/ 2147483647 h 1779"/>
                <a:gd name="T46" fmla="*/ 2147483647 w 1581"/>
                <a:gd name="T47" fmla="*/ 2147483647 h 1779"/>
                <a:gd name="T48" fmla="*/ 2147483647 w 1581"/>
                <a:gd name="T49" fmla="*/ 2147483647 h 1779"/>
                <a:gd name="T50" fmla="*/ 2147483647 w 1581"/>
                <a:gd name="T51" fmla="*/ 2147483647 h 1779"/>
                <a:gd name="T52" fmla="*/ 2147483647 w 1581"/>
                <a:gd name="T53" fmla="*/ 2147483647 h 1779"/>
                <a:gd name="T54" fmla="*/ 2147483647 w 1581"/>
                <a:gd name="T55" fmla="*/ 2147483647 h 1779"/>
                <a:gd name="T56" fmla="*/ 2147483647 w 1581"/>
                <a:gd name="T57" fmla="*/ 2147483647 h 1779"/>
                <a:gd name="T58" fmla="*/ 2147483647 w 1581"/>
                <a:gd name="T59" fmla="*/ 0 h 1779"/>
                <a:gd name="T60" fmla="*/ 2147483647 w 1581"/>
                <a:gd name="T61" fmla="*/ 0 h 1779"/>
                <a:gd name="T62" fmla="*/ 2147483647 w 1581"/>
                <a:gd name="T63" fmla="*/ 2147483647 h 1779"/>
                <a:gd name="T64" fmla="*/ 2147483647 w 1581"/>
                <a:gd name="T65" fmla="*/ 0 h 1779"/>
                <a:gd name="T66" fmla="*/ 2147483647 w 1581"/>
                <a:gd name="T67" fmla="*/ 0 h 1779"/>
                <a:gd name="T68" fmla="*/ 0 w 1581"/>
                <a:gd name="T69" fmla="*/ 0 h 1779"/>
                <a:gd name="T70" fmla="*/ 0 w 1581"/>
                <a:gd name="T71" fmla="*/ 0 h 1779"/>
                <a:gd name="T72" fmla="*/ 0 w 1581"/>
                <a:gd name="T73" fmla="*/ 0 h 1779"/>
                <a:gd name="T74" fmla="*/ 0 w 1581"/>
                <a:gd name="T75" fmla="*/ 2147483647 h 1779"/>
                <a:gd name="T76" fmla="*/ 0 w 1581"/>
                <a:gd name="T77" fmla="*/ 2147483647 h 1779"/>
                <a:gd name="T78" fmla="*/ 0 w 1581"/>
                <a:gd name="T79" fmla="*/ 2147483647 h 1779"/>
                <a:gd name="T80" fmla="*/ 0 w 1581"/>
                <a:gd name="T81" fmla="*/ 0 h 1779"/>
                <a:gd name="T82" fmla="*/ 0 w 1581"/>
                <a:gd name="T83" fmla="*/ 0 h 1779"/>
                <a:gd name="T84" fmla="*/ 0 w 1581"/>
                <a:gd name="T85" fmla="*/ 0 h 1779"/>
                <a:gd name="T86" fmla="*/ 0 w 1581"/>
                <a:gd name="T87" fmla="*/ 2147483647 h 1779"/>
                <a:gd name="T88" fmla="*/ 0 w 1581"/>
                <a:gd name="T89" fmla="*/ 2147483647 h 1779"/>
                <a:gd name="T90" fmla="*/ 0 w 1581"/>
                <a:gd name="T91" fmla="*/ 2147483647 h 1779"/>
                <a:gd name="T92" fmla="*/ 2147483647 w 1581"/>
                <a:gd name="T93" fmla="*/ 2147483647 h 1779"/>
                <a:gd name="T94" fmla="*/ 2147483647 w 1581"/>
                <a:gd name="T95" fmla="*/ 2147483647 h 1779"/>
                <a:gd name="T96" fmla="*/ 2147483647 w 1581"/>
                <a:gd name="T97" fmla="*/ 2147483647 h 1779"/>
                <a:gd name="T98" fmla="*/ 2147483647 w 1581"/>
                <a:gd name="T99" fmla="*/ 2147483647 h 1779"/>
                <a:gd name="T100" fmla="*/ 2147483647 w 1581"/>
                <a:gd name="T101" fmla="*/ 2147483647 h 1779"/>
                <a:gd name="T102" fmla="*/ 2147483647 w 1581"/>
                <a:gd name="T103" fmla="*/ 2147483647 h 1779"/>
                <a:gd name="T104" fmla="*/ 2147483647 w 1581"/>
                <a:gd name="T105" fmla="*/ 2147483647 h 1779"/>
                <a:gd name="T106" fmla="*/ 2147483647 w 1581"/>
                <a:gd name="T107" fmla="*/ 2147483647 h 1779"/>
                <a:gd name="T108" fmla="*/ 2147483647 w 1581"/>
                <a:gd name="T109" fmla="*/ 2147483647 h 1779"/>
                <a:gd name="T110" fmla="*/ 2147483647 w 1581"/>
                <a:gd name="T111" fmla="*/ 2147483647 h 1779"/>
                <a:gd name="T112" fmla="*/ 2147483647 w 1581"/>
                <a:gd name="T113" fmla="*/ 2147483647 h 1779"/>
                <a:gd name="T114" fmla="*/ 2147483647 w 1581"/>
                <a:gd name="T115" fmla="*/ 2147483647 h 1779"/>
                <a:gd name="T116" fmla="*/ 2147483647 w 1581"/>
                <a:gd name="T117" fmla="*/ 2147483647 h 1779"/>
                <a:gd name="T118" fmla="*/ 2147483647 w 1581"/>
                <a:gd name="T119" fmla="*/ 2147483647 h 1779"/>
                <a:gd name="T120" fmla="*/ 2147483647 w 1581"/>
                <a:gd name="T121" fmla="*/ 2147483647 h 177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81"/>
                <a:gd name="T184" fmla="*/ 0 h 1779"/>
                <a:gd name="T185" fmla="*/ 1581 w 1581"/>
                <a:gd name="T186" fmla="*/ 1779 h 177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4" name="Freeform 299">
              <a:extLst>
                <a:ext uri="{FF2B5EF4-FFF2-40B4-BE49-F238E27FC236}">
                  <a16:creationId xmlns:a16="http://schemas.microsoft.com/office/drawing/2014/main" id="{4999C4A4-9849-519E-4DA1-EE08AFD25B4E}"/>
                </a:ext>
              </a:extLst>
            </p:cNvPr>
            <p:cNvSpPr>
              <a:spLocks noChangeAspect="1"/>
            </p:cNvSpPr>
            <p:nvPr userDrawn="1"/>
          </p:nvSpPr>
          <p:spPr bwMode="gray">
            <a:xfrm>
              <a:off x="1643862" y="1062404"/>
              <a:ext cx="2499673" cy="1842780"/>
            </a:xfrm>
            <a:custGeom>
              <a:avLst/>
              <a:gdLst>
                <a:gd name="T0" fmla="*/ 2147483647 w 4686"/>
                <a:gd name="T1" fmla="*/ 2147483647 h 3236"/>
                <a:gd name="T2" fmla="*/ 2147483647 w 4686"/>
                <a:gd name="T3" fmla="*/ 2147483647 h 3236"/>
                <a:gd name="T4" fmla="*/ 2147483647 w 4686"/>
                <a:gd name="T5" fmla="*/ 2147483647 h 3236"/>
                <a:gd name="T6" fmla="*/ 2147483647 w 4686"/>
                <a:gd name="T7" fmla="*/ 2147483647 h 3236"/>
                <a:gd name="T8" fmla="*/ 2147483647 w 4686"/>
                <a:gd name="T9" fmla="*/ 2147483647 h 3236"/>
                <a:gd name="T10" fmla="*/ 2147483647 w 4686"/>
                <a:gd name="T11" fmla="*/ 2147483647 h 3236"/>
                <a:gd name="T12" fmla="*/ 2147483647 w 4686"/>
                <a:gd name="T13" fmla="*/ 2147483647 h 3236"/>
                <a:gd name="T14" fmla="*/ 2147483647 w 4686"/>
                <a:gd name="T15" fmla="*/ 2147483647 h 3236"/>
                <a:gd name="T16" fmla="*/ 2147483647 w 4686"/>
                <a:gd name="T17" fmla="*/ 2147483647 h 3236"/>
                <a:gd name="T18" fmla="*/ 2147483647 w 4686"/>
                <a:gd name="T19" fmla="*/ 2147483647 h 3236"/>
                <a:gd name="T20" fmla="*/ 2147483647 w 4686"/>
                <a:gd name="T21" fmla="*/ 2147483647 h 3236"/>
                <a:gd name="T22" fmla="*/ 2147483647 w 4686"/>
                <a:gd name="T23" fmla="*/ 2147483647 h 3236"/>
                <a:gd name="T24" fmla="*/ 2147483647 w 4686"/>
                <a:gd name="T25" fmla="*/ 2147483647 h 3236"/>
                <a:gd name="T26" fmla="*/ 2147483647 w 4686"/>
                <a:gd name="T27" fmla="*/ 2147483647 h 3236"/>
                <a:gd name="T28" fmla="*/ 2147483647 w 4686"/>
                <a:gd name="T29" fmla="*/ 2147483647 h 3236"/>
                <a:gd name="T30" fmla="*/ 2147483647 w 4686"/>
                <a:gd name="T31" fmla="*/ 2147483647 h 3236"/>
                <a:gd name="T32" fmla="*/ 2147483647 w 4686"/>
                <a:gd name="T33" fmla="*/ 2147483647 h 3236"/>
                <a:gd name="T34" fmla="*/ 0 w 4686"/>
                <a:gd name="T35" fmla="*/ 2147483647 h 3236"/>
                <a:gd name="T36" fmla="*/ 0 w 4686"/>
                <a:gd name="T37" fmla="*/ 2147483647 h 3236"/>
                <a:gd name="T38" fmla="*/ 0 w 4686"/>
                <a:gd name="T39" fmla="*/ 2147483647 h 3236"/>
                <a:gd name="T40" fmla="*/ 2147483647 w 4686"/>
                <a:gd name="T41" fmla="*/ 2147483647 h 3236"/>
                <a:gd name="T42" fmla="*/ 2147483647 w 4686"/>
                <a:gd name="T43" fmla="*/ 2147483647 h 3236"/>
                <a:gd name="T44" fmla="*/ 2147483647 w 4686"/>
                <a:gd name="T45" fmla="*/ 2147483647 h 3236"/>
                <a:gd name="T46" fmla="*/ 2147483647 w 4686"/>
                <a:gd name="T47" fmla="*/ 0 h 3236"/>
                <a:gd name="T48" fmla="*/ 2147483647 w 4686"/>
                <a:gd name="T49" fmla="*/ 2147483647 h 3236"/>
                <a:gd name="T50" fmla="*/ 2147483647 w 4686"/>
                <a:gd name="T51" fmla="*/ 2147483647 h 3236"/>
                <a:gd name="T52" fmla="*/ 2147483647 w 4686"/>
                <a:gd name="T53" fmla="*/ 2147483647 h 3236"/>
                <a:gd name="T54" fmla="*/ 2147483647 w 4686"/>
                <a:gd name="T55" fmla="*/ 2147483647 h 3236"/>
                <a:gd name="T56" fmla="*/ 2147483647 w 4686"/>
                <a:gd name="T57" fmla="*/ 2147483647 h 3236"/>
                <a:gd name="T58" fmla="*/ 2147483647 w 4686"/>
                <a:gd name="T59" fmla="*/ 2147483647 h 3236"/>
                <a:gd name="T60" fmla="*/ 2147483647 w 4686"/>
                <a:gd name="T61" fmla="*/ 2147483647 h 3236"/>
                <a:gd name="T62" fmla="*/ 2147483647 w 4686"/>
                <a:gd name="T63" fmla="*/ 2147483647 h 3236"/>
                <a:gd name="T64" fmla="*/ 2147483647 w 4686"/>
                <a:gd name="T65" fmla="*/ 2147483647 h 3236"/>
                <a:gd name="T66" fmla="*/ 2147483647 w 4686"/>
                <a:gd name="T67" fmla="*/ 2147483647 h 3236"/>
                <a:gd name="T68" fmla="*/ 2147483647 w 4686"/>
                <a:gd name="T69" fmla="*/ 2147483647 h 3236"/>
                <a:gd name="T70" fmla="*/ 2147483647 w 4686"/>
                <a:gd name="T71" fmla="*/ 0 h 3236"/>
                <a:gd name="T72" fmla="*/ 2147483647 w 4686"/>
                <a:gd name="T73" fmla="*/ 0 h 3236"/>
                <a:gd name="T74" fmla="*/ 2147483647 w 4686"/>
                <a:gd name="T75" fmla="*/ 2147483647 h 3236"/>
                <a:gd name="T76" fmla="*/ 2147483647 w 4686"/>
                <a:gd name="T77" fmla="*/ 2147483647 h 3236"/>
                <a:gd name="T78" fmla="*/ 2147483647 w 4686"/>
                <a:gd name="T79" fmla="*/ 2147483647 h 3236"/>
                <a:gd name="T80" fmla="*/ 2147483647 w 4686"/>
                <a:gd name="T81" fmla="*/ 2147483647 h 3236"/>
                <a:gd name="T82" fmla="*/ 2147483647 w 4686"/>
                <a:gd name="T83" fmla="*/ 2147483647 h 3236"/>
                <a:gd name="T84" fmla="*/ 2147483647 w 4686"/>
                <a:gd name="T85" fmla="*/ 2147483647 h 3236"/>
                <a:gd name="T86" fmla="*/ 2147483647 w 4686"/>
                <a:gd name="T87" fmla="*/ 2147483647 h 3236"/>
                <a:gd name="T88" fmla="*/ 2147483647 w 4686"/>
                <a:gd name="T89" fmla="*/ 2147483647 h 3236"/>
                <a:gd name="T90" fmla="*/ 2147483647 w 4686"/>
                <a:gd name="T91" fmla="*/ 2147483647 h 3236"/>
                <a:gd name="T92" fmla="*/ 2147483647 w 4686"/>
                <a:gd name="T93" fmla="*/ 2147483647 h 3236"/>
                <a:gd name="T94" fmla="*/ 2147483647 w 4686"/>
                <a:gd name="T95" fmla="*/ 2147483647 h 3236"/>
                <a:gd name="T96" fmla="*/ 2147483647 w 4686"/>
                <a:gd name="T97" fmla="*/ 2147483647 h 3236"/>
                <a:gd name="T98" fmla="*/ 2147483647 w 4686"/>
                <a:gd name="T99" fmla="*/ 2147483647 h 3236"/>
                <a:gd name="T100" fmla="*/ 2147483647 w 4686"/>
                <a:gd name="T101" fmla="*/ 2147483647 h 3236"/>
                <a:gd name="T102" fmla="*/ 2147483647 w 4686"/>
                <a:gd name="T103" fmla="*/ 2147483647 h 3236"/>
                <a:gd name="T104" fmla="*/ 2147483647 w 4686"/>
                <a:gd name="T105" fmla="*/ 2147483647 h 3236"/>
                <a:gd name="T106" fmla="*/ 2147483647 w 4686"/>
                <a:gd name="T107" fmla="*/ 2147483647 h 3236"/>
                <a:gd name="T108" fmla="*/ 2147483647 w 4686"/>
                <a:gd name="T109" fmla="*/ 2147483647 h 3236"/>
                <a:gd name="T110" fmla="*/ 2147483647 w 4686"/>
                <a:gd name="T111" fmla="*/ 2147483647 h 3236"/>
                <a:gd name="T112" fmla="*/ 2147483647 w 4686"/>
                <a:gd name="T113" fmla="*/ 2147483647 h 3236"/>
                <a:gd name="T114" fmla="*/ 2147483647 w 4686"/>
                <a:gd name="T115" fmla="*/ 2147483647 h 3236"/>
                <a:gd name="T116" fmla="*/ 2147483647 w 4686"/>
                <a:gd name="T117" fmla="*/ 2147483647 h 3236"/>
                <a:gd name="T118" fmla="*/ 2147483647 w 4686"/>
                <a:gd name="T119" fmla="*/ 2147483647 h 3236"/>
                <a:gd name="T120" fmla="*/ 2147483647 w 4686"/>
                <a:gd name="T121" fmla="*/ 2147483647 h 3236"/>
                <a:gd name="T122" fmla="*/ 2147483647 w 4686"/>
                <a:gd name="T123" fmla="*/ 2147483647 h 3236"/>
                <a:gd name="T124" fmla="*/ 2147483647 w 4686"/>
                <a:gd name="T125" fmla="*/ 2147483647 h 32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86"/>
                <a:gd name="T190" fmla="*/ 0 h 3236"/>
                <a:gd name="T191" fmla="*/ 4686 w 4686"/>
                <a:gd name="T192" fmla="*/ 3236 h 32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5" name="Freeform 300">
              <a:extLst>
                <a:ext uri="{FF2B5EF4-FFF2-40B4-BE49-F238E27FC236}">
                  <a16:creationId xmlns:a16="http://schemas.microsoft.com/office/drawing/2014/main" id="{DDF43095-5281-C744-E2BB-9FB6CEDF97F5}"/>
                </a:ext>
              </a:extLst>
            </p:cNvPr>
            <p:cNvSpPr>
              <a:spLocks noChangeAspect="1"/>
            </p:cNvSpPr>
            <p:nvPr userDrawn="1"/>
          </p:nvSpPr>
          <p:spPr bwMode="gray">
            <a:xfrm>
              <a:off x="2891460" y="184453"/>
              <a:ext cx="105957" cy="179858"/>
            </a:xfrm>
            <a:custGeom>
              <a:avLst/>
              <a:gdLst>
                <a:gd name="T0" fmla="*/ 0 w 197"/>
                <a:gd name="T1" fmla="*/ 0 h 316"/>
                <a:gd name="T2" fmla="*/ 0 w 197"/>
                <a:gd name="T3" fmla="*/ 0 h 316"/>
                <a:gd name="T4" fmla="*/ 0 w 197"/>
                <a:gd name="T5" fmla="*/ 0 h 316"/>
                <a:gd name="T6" fmla="*/ 0 w 197"/>
                <a:gd name="T7" fmla="*/ 0 h 316"/>
                <a:gd name="T8" fmla="*/ 0 w 197"/>
                <a:gd name="T9" fmla="*/ 0 h 316"/>
                <a:gd name="T10" fmla="*/ 0 w 197"/>
                <a:gd name="T11" fmla="*/ 0 h 316"/>
                <a:gd name="T12" fmla="*/ 0 w 197"/>
                <a:gd name="T13" fmla="*/ 0 h 316"/>
                <a:gd name="T14" fmla="*/ 0 w 197"/>
                <a:gd name="T15" fmla="*/ 0 h 316"/>
                <a:gd name="T16" fmla="*/ 0 w 197"/>
                <a:gd name="T17" fmla="*/ 0 h 316"/>
                <a:gd name="T18" fmla="*/ 0 w 197"/>
                <a:gd name="T19" fmla="*/ 0 h 316"/>
                <a:gd name="T20" fmla="*/ 0 w 197"/>
                <a:gd name="T21" fmla="*/ 0 h 316"/>
                <a:gd name="T22" fmla="*/ 0 w 197"/>
                <a:gd name="T23" fmla="*/ 0 h 316"/>
                <a:gd name="T24" fmla="*/ 0 w 197"/>
                <a:gd name="T25" fmla="*/ 0 h 316"/>
                <a:gd name="T26" fmla="*/ 0 w 197"/>
                <a:gd name="T27" fmla="*/ 0 h 316"/>
                <a:gd name="T28" fmla="*/ 0 w 197"/>
                <a:gd name="T29" fmla="*/ 0 h 316"/>
                <a:gd name="T30" fmla="*/ 0 w 197"/>
                <a:gd name="T31" fmla="*/ 0 h 316"/>
                <a:gd name="T32" fmla="*/ 0 w 197"/>
                <a:gd name="T33" fmla="*/ 0 h 316"/>
                <a:gd name="T34" fmla="*/ 0 w 197"/>
                <a:gd name="T35" fmla="*/ 0 h 316"/>
                <a:gd name="T36" fmla="*/ 0 w 197"/>
                <a:gd name="T37" fmla="*/ 0 h 316"/>
                <a:gd name="T38" fmla="*/ 0 w 197"/>
                <a:gd name="T39" fmla="*/ 0 h 316"/>
                <a:gd name="T40" fmla="*/ 0 w 197"/>
                <a:gd name="T41" fmla="*/ 0 h 316"/>
                <a:gd name="T42" fmla="*/ 0 w 197"/>
                <a:gd name="T43" fmla="*/ 0 h 316"/>
                <a:gd name="T44" fmla="*/ 0 w 197"/>
                <a:gd name="T45" fmla="*/ 2147483647 h 316"/>
                <a:gd name="T46" fmla="*/ 0 w 197"/>
                <a:gd name="T47" fmla="*/ 0 h 316"/>
                <a:gd name="T48" fmla="*/ 0 w 197"/>
                <a:gd name="T49" fmla="*/ 0 h 316"/>
                <a:gd name="T50" fmla="*/ 0 w 197"/>
                <a:gd name="T51" fmla="*/ 0 h 316"/>
                <a:gd name="T52" fmla="*/ 0 w 197"/>
                <a:gd name="T53" fmla="*/ 0 h 316"/>
                <a:gd name="T54" fmla="*/ 0 w 197"/>
                <a:gd name="T55" fmla="*/ 0 h 316"/>
                <a:gd name="T56" fmla="*/ 0 w 197"/>
                <a:gd name="T57" fmla="*/ 0 h 316"/>
                <a:gd name="T58" fmla="*/ 0 w 197"/>
                <a:gd name="T59" fmla="*/ 0 h 316"/>
                <a:gd name="T60" fmla="*/ 0 w 197"/>
                <a:gd name="T61" fmla="*/ 0 h 316"/>
                <a:gd name="T62" fmla="*/ 0 w 197"/>
                <a:gd name="T63" fmla="*/ 0 h 316"/>
                <a:gd name="T64" fmla="*/ 0 w 197"/>
                <a:gd name="T65" fmla="*/ 0 h 3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7"/>
                <a:gd name="T100" fmla="*/ 0 h 316"/>
                <a:gd name="T101" fmla="*/ 197 w 197"/>
                <a:gd name="T102" fmla="*/ 316 h 3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6" name="Freeform 301">
              <a:extLst>
                <a:ext uri="{FF2B5EF4-FFF2-40B4-BE49-F238E27FC236}">
                  <a16:creationId xmlns:a16="http://schemas.microsoft.com/office/drawing/2014/main" id="{0E108A0A-668C-E33D-9A3F-E577A6E78AB6}"/>
                </a:ext>
              </a:extLst>
            </p:cNvPr>
            <p:cNvSpPr>
              <a:spLocks noChangeAspect="1"/>
            </p:cNvSpPr>
            <p:nvPr userDrawn="1"/>
          </p:nvSpPr>
          <p:spPr bwMode="gray">
            <a:xfrm>
              <a:off x="2676563" y="114340"/>
              <a:ext cx="198482" cy="243875"/>
            </a:xfrm>
            <a:custGeom>
              <a:avLst/>
              <a:gdLst>
                <a:gd name="T0" fmla="*/ 2147483647 w 368"/>
                <a:gd name="T1" fmla="*/ 0 h 430"/>
                <a:gd name="T2" fmla="*/ 2147483647 w 368"/>
                <a:gd name="T3" fmla="*/ 0 h 430"/>
                <a:gd name="T4" fmla="*/ 2147483647 w 368"/>
                <a:gd name="T5" fmla="*/ 0 h 430"/>
                <a:gd name="T6" fmla="*/ 2147483647 w 368"/>
                <a:gd name="T7" fmla="*/ 0 h 430"/>
                <a:gd name="T8" fmla="*/ 0 w 368"/>
                <a:gd name="T9" fmla="*/ 0 h 430"/>
                <a:gd name="T10" fmla="*/ 0 w 368"/>
                <a:gd name="T11" fmla="*/ 0 h 430"/>
                <a:gd name="T12" fmla="*/ 0 w 368"/>
                <a:gd name="T13" fmla="*/ 0 h 430"/>
                <a:gd name="T14" fmla="*/ 0 w 368"/>
                <a:gd name="T15" fmla="*/ 0 h 430"/>
                <a:gd name="T16" fmla="*/ 0 w 368"/>
                <a:gd name="T17" fmla="*/ 0 h 430"/>
                <a:gd name="T18" fmla="*/ 0 w 368"/>
                <a:gd name="T19" fmla="*/ 0 h 430"/>
                <a:gd name="T20" fmla="*/ 0 w 368"/>
                <a:gd name="T21" fmla="*/ 0 h 430"/>
                <a:gd name="T22" fmla="*/ 0 w 368"/>
                <a:gd name="T23" fmla="*/ 0 h 430"/>
                <a:gd name="T24" fmla="*/ 0 w 368"/>
                <a:gd name="T25" fmla="*/ 0 h 430"/>
                <a:gd name="T26" fmla="*/ 0 w 368"/>
                <a:gd name="T27" fmla="*/ 0 h 430"/>
                <a:gd name="T28" fmla="*/ 0 w 368"/>
                <a:gd name="T29" fmla="*/ 0 h 430"/>
                <a:gd name="T30" fmla="*/ 0 w 368"/>
                <a:gd name="T31" fmla="*/ 0 h 430"/>
                <a:gd name="T32" fmla="*/ 0 w 368"/>
                <a:gd name="T33" fmla="*/ 0 h 430"/>
                <a:gd name="T34" fmla="*/ 0 w 368"/>
                <a:gd name="T35" fmla="*/ 0 h 430"/>
                <a:gd name="T36" fmla="*/ 0 w 368"/>
                <a:gd name="T37" fmla="*/ 0 h 430"/>
                <a:gd name="T38" fmla="*/ 0 w 368"/>
                <a:gd name="T39" fmla="*/ 0 h 430"/>
                <a:gd name="T40" fmla="*/ 0 w 368"/>
                <a:gd name="T41" fmla="*/ 0 h 430"/>
                <a:gd name="T42" fmla="*/ 0 w 368"/>
                <a:gd name="T43" fmla="*/ 0 h 430"/>
                <a:gd name="T44" fmla="*/ 0 w 368"/>
                <a:gd name="T45" fmla="*/ 0 h 430"/>
                <a:gd name="T46" fmla="*/ 0 w 368"/>
                <a:gd name="T47" fmla="*/ 0 h 430"/>
                <a:gd name="T48" fmla="*/ 0 w 368"/>
                <a:gd name="T49" fmla="*/ 0 h 430"/>
                <a:gd name="T50" fmla="*/ 0 w 368"/>
                <a:gd name="T51" fmla="*/ 0 h 430"/>
                <a:gd name="T52" fmla="*/ 0 w 368"/>
                <a:gd name="T53" fmla="*/ 0 h 430"/>
                <a:gd name="T54" fmla="*/ 0 w 368"/>
                <a:gd name="T55" fmla="*/ 0 h 430"/>
                <a:gd name="T56" fmla="*/ 0 w 368"/>
                <a:gd name="T57" fmla="*/ 0 h 430"/>
                <a:gd name="T58" fmla="*/ 0 w 368"/>
                <a:gd name="T59" fmla="*/ 0 h 430"/>
                <a:gd name="T60" fmla="*/ 0 w 368"/>
                <a:gd name="T61" fmla="*/ 0 h 430"/>
                <a:gd name="T62" fmla="*/ 0 w 368"/>
                <a:gd name="T63" fmla="*/ 0 h 430"/>
                <a:gd name="T64" fmla="*/ 0 w 368"/>
                <a:gd name="T65" fmla="*/ 0 h 430"/>
                <a:gd name="T66" fmla="*/ 0 w 368"/>
                <a:gd name="T67" fmla="*/ 0 h 430"/>
                <a:gd name="T68" fmla="*/ 0 w 368"/>
                <a:gd name="T69" fmla="*/ 0 h 430"/>
                <a:gd name="T70" fmla="*/ 0 w 368"/>
                <a:gd name="T71" fmla="*/ 0 h 430"/>
                <a:gd name="T72" fmla="*/ 0 w 368"/>
                <a:gd name="T73" fmla="*/ 2147483647 h 430"/>
                <a:gd name="T74" fmla="*/ 0 w 368"/>
                <a:gd name="T75" fmla="*/ 2147483647 h 430"/>
                <a:gd name="T76" fmla="*/ 0 w 368"/>
                <a:gd name="T77" fmla="*/ 2147483647 h 430"/>
                <a:gd name="T78" fmla="*/ 0 w 368"/>
                <a:gd name="T79" fmla="*/ 2147483647 h 430"/>
                <a:gd name="T80" fmla="*/ 2147483647 w 368"/>
                <a:gd name="T81" fmla="*/ 2147483647 h 430"/>
                <a:gd name="T82" fmla="*/ 2147483647 w 368"/>
                <a:gd name="T83" fmla="*/ 2147483647 h 430"/>
                <a:gd name="T84" fmla="*/ 2147483647 w 368"/>
                <a:gd name="T85" fmla="*/ 0 h 4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8"/>
                <a:gd name="T130" fmla="*/ 0 h 430"/>
                <a:gd name="T131" fmla="*/ 368 w 368"/>
                <a:gd name="T132" fmla="*/ 430 h 43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7" name="Freeform 302">
              <a:extLst>
                <a:ext uri="{FF2B5EF4-FFF2-40B4-BE49-F238E27FC236}">
                  <a16:creationId xmlns:a16="http://schemas.microsoft.com/office/drawing/2014/main" id="{713B436F-68CE-095B-9D94-400D6DC839AC}"/>
                </a:ext>
              </a:extLst>
            </p:cNvPr>
            <p:cNvSpPr>
              <a:spLocks noChangeAspect="1"/>
            </p:cNvSpPr>
            <p:nvPr userDrawn="1"/>
          </p:nvSpPr>
          <p:spPr bwMode="gray">
            <a:xfrm>
              <a:off x="2958616" y="24"/>
              <a:ext cx="323838" cy="317037"/>
            </a:xfrm>
            <a:custGeom>
              <a:avLst/>
              <a:gdLst>
                <a:gd name="T0" fmla="*/ 0 w 603"/>
                <a:gd name="T1" fmla="*/ 0 h 558"/>
                <a:gd name="T2" fmla="*/ 0 w 603"/>
                <a:gd name="T3" fmla="*/ 0 h 558"/>
                <a:gd name="T4" fmla="*/ 0 w 603"/>
                <a:gd name="T5" fmla="*/ 0 h 558"/>
                <a:gd name="T6" fmla="*/ 0 w 603"/>
                <a:gd name="T7" fmla="*/ 0 h 558"/>
                <a:gd name="T8" fmla="*/ 0 w 603"/>
                <a:gd name="T9" fmla="*/ 0 h 558"/>
                <a:gd name="T10" fmla="*/ 0 w 603"/>
                <a:gd name="T11" fmla="*/ 0 h 558"/>
                <a:gd name="T12" fmla="*/ 0 w 603"/>
                <a:gd name="T13" fmla="*/ 0 h 558"/>
                <a:gd name="T14" fmla="*/ 0 w 603"/>
                <a:gd name="T15" fmla="*/ 0 h 558"/>
                <a:gd name="T16" fmla="*/ 0 w 603"/>
                <a:gd name="T17" fmla="*/ 0 h 558"/>
                <a:gd name="T18" fmla="*/ 0 w 603"/>
                <a:gd name="T19" fmla="*/ 0 h 558"/>
                <a:gd name="T20" fmla="*/ 0 w 603"/>
                <a:gd name="T21" fmla="*/ 0 h 558"/>
                <a:gd name="T22" fmla="*/ 0 w 603"/>
                <a:gd name="T23" fmla="*/ 0 h 558"/>
                <a:gd name="T24" fmla="*/ 0 w 603"/>
                <a:gd name="T25" fmla="*/ 0 h 558"/>
                <a:gd name="T26" fmla="*/ 0 w 603"/>
                <a:gd name="T27" fmla="*/ 0 h 558"/>
                <a:gd name="T28" fmla="*/ 0 w 603"/>
                <a:gd name="T29" fmla="*/ 0 h 558"/>
                <a:gd name="T30" fmla="*/ 0 w 603"/>
                <a:gd name="T31" fmla="*/ 0 h 558"/>
                <a:gd name="T32" fmla="*/ 0 w 603"/>
                <a:gd name="T33" fmla="*/ 0 h 558"/>
                <a:gd name="T34" fmla="*/ 0 w 603"/>
                <a:gd name="T35" fmla="*/ 0 h 558"/>
                <a:gd name="T36" fmla="*/ 2147483647 w 603"/>
                <a:gd name="T37" fmla="*/ 0 h 558"/>
                <a:gd name="T38" fmla="*/ 0 w 603"/>
                <a:gd name="T39" fmla="*/ 0 h 558"/>
                <a:gd name="T40" fmla="*/ 0 w 603"/>
                <a:gd name="T41" fmla="*/ 2147483647 h 558"/>
                <a:gd name="T42" fmla="*/ 0 w 603"/>
                <a:gd name="T43" fmla="*/ 2147483647 h 558"/>
                <a:gd name="T44" fmla="*/ 0 w 603"/>
                <a:gd name="T45" fmla="*/ 2147483647 h 558"/>
                <a:gd name="T46" fmla="*/ 0 w 603"/>
                <a:gd name="T47" fmla="*/ 2147483647 h 558"/>
                <a:gd name="T48" fmla="*/ 0 w 603"/>
                <a:gd name="T49" fmla="*/ 2147483647 h 558"/>
                <a:gd name="T50" fmla="*/ 0 w 603"/>
                <a:gd name="T51" fmla="*/ 2147483647 h 558"/>
                <a:gd name="T52" fmla="*/ 0 w 603"/>
                <a:gd name="T53" fmla="*/ 2147483647 h 558"/>
                <a:gd name="T54" fmla="*/ 0 w 603"/>
                <a:gd name="T55" fmla="*/ 2147483647 h 558"/>
                <a:gd name="T56" fmla="*/ 0 w 603"/>
                <a:gd name="T57" fmla="*/ 2147483647 h 558"/>
                <a:gd name="T58" fmla="*/ 2147483647 w 603"/>
                <a:gd name="T59" fmla="*/ 2147483647 h 558"/>
                <a:gd name="T60" fmla="*/ 2147483647 w 603"/>
                <a:gd name="T61" fmla="*/ 2147483647 h 558"/>
                <a:gd name="T62" fmla="*/ 2147483647 w 603"/>
                <a:gd name="T63" fmla="*/ 2147483647 h 558"/>
                <a:gd name="T64" fmla="*/ 2147483647 w 603"/>
                <a:gd name="T65" fmla="*/ 2147483647 h 558"/>
                <a:gd name="T66" fmla="*/ 2147483647 w 603"/>
                <a:gd name="T67" fmla="*/ 2147483647 h 558"/>
                <a:gd name="T68" fmla="*/ 2147483647 w 603"/>
                <a:gd name="T69" fmla="*/ 2147483647 h 558"/>
                <a:gd name="T70" fmla="*/ 2147483647 w 603"/>
                <a:gd name="T71" fmla="*/ 2147483647 h 558"/>
                <a:gd name="T72" fmla="*/ 2147483647 w 603"/>
                <a:gd name="T73" fmla="*/ 2147483647 h 558"/>
                <a:gd name="T74" fmla="*/ 2147483647 w 603"/>
                <a:gd name="T75" fmla="*/ 2147483647 h 558"/>
                <a:gd name="T76" fmla="*/ 2147483647 w 603"/>
                <a:gd name="T77" fmla="*/ 2147483647 h 558"/>
                <a:gd name="T78" fmla="*/ 2147483647 w 603"/>
                <a:gd name="T79" fmla="*/ 2147483647 h 558"/>
                <a:gd name="T80" fmla="*/ 2147483647 w 603"/>
                <a:gd name="T81" fmla="*/ 0 h 558"/>
                <a:gd name="T82" fmla="*/ 2147483647 w 603"/>
                <a:gd name="T83" fmla="*/ 2147483647 h 558"/>
                <a:gd name="T84" fmla="*/ 2147483647 w 603"/>
                <a:gd name="T85" fmla="*/ 2147483647 h 558"/>
                <a:gd name="T86" fmla="*/ 2147483647 w 603"/>
                <a:gd name="T87" fmla="*/ 0 h 558"/>
                <a:gd name="T88" fmla="*/ 2147483647 w 603"/>
                <a:gd name="T89" fmla="*/ 0 h 558"/>
                <a:gd name="T90" fmla="*/ 2147483647 w 603"/>
                <a:gd name="T91" fmla="*/ 0 h 558"/>
                <a:gd name="T92" fmla="*/ 2147483647 w 603"/>
                <a:gd name="T93" fmla="*/ 0 h 558"/>
                <a:gd name="T94" fmla="*/ 2147483647 w 603"/>
                <a:gd name="T95" fmla="*/ 0 h 558"/>
                <a:gd name="T96" fmla="*/ 2147483647 w 603"/>
                <a:gd name="T97" fmla="*/ 0 h 558"/>
                <a:gd name="T98" fmla="*/ 2147483647 w 603"/>
                <a:gd name="T99" fmla="*/ 0 h 558"/>
                <a:gd name="T100" fmla="*/ 2147483647 w 603"/>
                <a:gd name="T101" fmla="*/ 0 h 558"/>
                <a:gd name="T102" fmla="*/ 2147483647 w 603"/>
                <a:gd name="T103" fmla="*/ 0 h 558"/>
                <a:gd name="T104" fmla="*/ 2147483647 w 603"/>
                <a:gd name="T105" fmla="*/ 0 h 558"/>
                <a:gd name="T106" fmla="*/ 2147483647 w 603"/>
                <a:gd name="T107" fmla="*/ 0 h 558"/>
                <a:gd name="T108" fmla="*/ 0 w 603"/>
                <a:gd name="T109" fmla="*/ 0 h 558"/>
                <a:gd name="T110" fmla="*/ 0 w 603"/>
                <a:gd name="T111" fmla="*/ 0 h 558"/>
                <a:gd name="T112" fmla="*/ 0 w 603"/>
                <a:gd name="T113" fmla="*/ 0 h 5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03"/>
                <a:gd name="T172" fmla="*/ 0 h 558"/>
                <a:gd name="T173" fmla="*/ 603 w 603"/>
                <a:gd name="T174" fmla="*/ 558 h 55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8" name="Freeform 303">
              <a:extLst>
                <a:ext uri="{FF2B5EF4-FFF2-40B4-BE49-F238E27FC236}">
                  <a16:creationId xmlns:a16="http://schemas.microsoft.com/office/drawing/2014/main" id="{331D543A-6E28-2FA1-E465-8F44D69DDB43}"/>
                </a:ext>
              </a:extLst>
            </p:cNvPr>
            <p:cNvSpPr>
              <a:spLocks noChangeAspect="1"/>
            </p:cNvSpPr>
            <p:nvPr userDrawn="1"/>
          </p:nvSpPr>
          <p:spPr bwMode="gray">
            <a:xfrm>
              <a:off x="3145158" y="24"/>
              <a:ext cx="550675" cy="588349"/>
            </a:xfrm>
            <a:custGeom>
              <a:avLst/>
              <a:gdLst>
                <a:gd name="T0" fmla="*/ 0 w 1028"/>
                <a:gd name="T1" fmla="*/ 0 h 1037"/>
                <a:gd name="T2" fmla="*/ 0 w 1028"/>
                <a:gd name="T3" fmla="*/ 0 h 1037"/>
                <a:gd name="T4" fmla="*/ 2147483647 w 1028"/>
                <a:gd name="T5" fmla="*/ 0 h 1037"/>
                <a:gd name="T6" fmla="*/ 0 w 1028"/>
                <a:gd name="T7" fmla="*/ 0 h 1037"/>
                <a:gd name="T8" fmla="*/ 2147483647 w 1028"/>
                <a:gd name="T9" fmla="*/ 2147483647 h 1037"/>
                <a:gd name="T10" fmla="*/ 2147483647 w 1028"/>
                <a:gd name="T11" fmla="*/ 2147483647 h 1037"/>
                <a:gd name="T12" fmla="*/ 2147483647 w 1028"/>
                <a:gd name="T13" fmla="*/ 2147483647 h 1037"/>
                <a:gd name="T14" fmla="*/ 0 w 1028"/>
                <a:gd name="T15" fmla="*/ 2147483647 h 1037"/>
                <a:gd name="T16" fmla="*/ 0 w 1028"/>
                <a:gd name="T17" fmla="*/ 2147483647 h 1037"/>
                <a:gd name="T18" fmla="*/ 0 w 1028"/>
                <a:gd name="T19" fmla="*/ 2147483647 h 1037"/>
                <a:gd name="T20" fmla="*/ 0 w 1028"/>
                <a:gd name="T21" fmla="*/ 2147483647 h 1037"/>
                <a:gd name="T22" fmla="*/ 0 w 1028"/>
                <a:gd name="T23" fmla="*/ 2147483647 h 1037"/>
                <a:gd name="T24" fmla="*/ 0 w 1028"/>
                <a:gd name="T25" fmla="*/ 2147483647 h 1037"/>
                <a:gd name="T26" fmla="*/ 0 w 1028"/>
                <a:gd name="T27" fmla="*/ 2147483647 h 1037"/>
                <a:gd name="T28" fmla="*/ 0 w 1028"/>
                <a:gd name="T29" fmla="*/ 2147483647 h 1037"/>
                <a:gd name="T30" fmla="*/ 0 w 1028"/>
                <a:gd name="T31" fmla="*/ 2147483647 h 1037"/>
                <a:gd name="T32" fmla="*/ 0 w 1028"/>
                <a:gd name="T33" fmla="*/ 2147483647 h 1037"/>
                <a:gd name="T34" fmla="*/ 0 w 1028"/>
                <a:gd name="T35" fmla="*/ 2147483647 h 1037"/>
                <a:gd name="T36" fmla="*/ 2147483647 w 1028"/>
                <a:gd name="T37" fmla="*/ 2147483647 h 1037"/>
                <a:gd name="T38" fmla="*/ 2147483647 w 1028"/>
                <a:gd name="T39" fmla="*/ 2147483647 h 1037"/>
                <a:gd name="T40" fmla="*/ 2147483647 w 1028"/>
                <a:gd name="T41" fmla="*/ 2147483647 h 1037"/>
                <a:gd name="T42" fmla="*/ 0 w 1028"/>
                <a:gd name="T43" fmla="*/ 2147483647 h 1037"/>
                <a:gd name="T44" fmla="*/ 0 w 1028"/>
                <a:gd name="T45" fmla="*/ 2147483647 h 1037"/>
                <a:gd name="T46" fmla="*/ 0 w 1028"/>
                <a:gd name="T47" fmla="*/ 2147483647 h 1037"/>
                <a:gd name="T48" fmla="*/ 0 w 1028"/>
                <a:gd name="T49" fmla="*/ 2147483647 h 1037"/>
                <a:gd name="T50" fmla="*/ 0 w 1028"/>
                <a:gd name="T51" fmla="*/ 2147483647 h 1037"/>
                <a:gd name="T52" fmla="*/ 0 w 1028"/>
                <a:gd name="T53" fmla="*/ 2147483647 h 1037"/>
                <a:gd name="T54" fmla="*/ 0 w 1028"/>
                <a:gd name="T55" fmla="*/ 2147483647 h 1037"/>
                <a:gd name="T56" fmla="*/ 0 w 1028"/>
                <a:gd name="T57" fmla="*/ 2147483647 h 1037"/>
                <a:gd name="T58" fmla="*/ 0 w 1028"/>
                <a:gd name="T59" fmla="*/ 2147483647 h 1037"/>
                <a:gd name="T60" fmla="*/ 0 w 1028"/>
                <a:gd name="T61" fmla="*/ 2147483647 h 1037"/>
                <a:gd name="T62" fmla="*/ 0 w 1028"/>
                <a:gd name="T63" fmla="*/ 2147483647 h 1037"/>
                <a:gd name="T64" fmla="*/ 2147483647 w 1028"/>
                <a:gd name="T65" fmla="*/ 2147483647 h 1037"/>
                <a:gd name="T66" fmla="*/ 2147483647 w 1028"/>
                <a:gd name="T67" fmla="*/ 2147483647 h 1037"/>
                <a:gd name="T68" fmla="*/ 2147483647 w 1028"/>
                <a:gd name="T69" fmla="*/ 2147483647 h 1037"/>
                <a:gd name="T70" fmla="*/ 2147483647 w 1028"/>
                <a:gd name="T71" fmla="*/ 2147483647 h 1037"/>
                <a:gd name="T72" fmla="*/ 2147483647 w 1028"/>
                <a:gd name="T73" fmla="*/ 2147483647 h 1037"/>
                <a:gd name="T74" fmla="*/ 2147483647 w 1028"/>
                <a:gd name="T75" fmla="*/ 2147483647 h 1037"/>
                <a:gd name="T76" fmla="*/ 2147483647 w 1028"/>
                <a:gd name="T77" fmla="*/ 2147483647 h 1037"/>
                <a:gd name="T78" fmla="*/ 2147483647 w 1028"/>
                <a:gd name="T79" fmla="*/ 2147483647 h 1037"/>
                <a:gd name="T80" fmla="*/ 2147483647 w 1028"/>
                <a:gd name="T81" fmla="*/ 2147483647 h 1037"/>
                <a:gd name="T82" fmla="*/ 2147483647 w 1028"/>
                <a:gd name="T83" fmla="*/ 2147483647 h 1037"/>
                <a:gd name="T84" fmla="*/ 2147483647 w 1028"/>
                <a:gd name="T85" fmla="*/ 2147483647 h 1037"/>
                <a:gd name="T86" fmla="*/ 2147483647 w 1028"/>
                <a:gd name="T87" fmla="*/ 2147483647 h 1037"/>
                <a:gd name="T88" fmla="*/ 2147483647 w 1028"/>
                <a:gd name="T89" fmla="*/ 2147483647 h 1037"/>
                <a:gd name="T90" fmla="*/ 2147483647 w 1028"/>
                <a:gd name="T91" fmla="*/ 0 h 1037"/>
                <a:gd name="T92" fmla="*/ 2147483647 w 1028"/>
                <a:gd name="T93" fmla="*/ 0 h 1037"/>
                <a:gd name="T94" fmla="*/ 2147483647 w 1028"/>
                <a:gd name="T95" fmla="*/ 0 h 1037"/>
                <a:gd name="T96" fmla="*/ 2147483647 w 1028"/>
                <a:gd name="T97" fmla="*/ 0 h 1037"/>
                <a:gd name="T98" fmla="*/ 2147483647 w 1028"/>
                <a:gd name="T99" fmla="*/ 0 h 1037"/>
                <a:gd name="T100" fmla="*/ 2147483647 w 1028"/>
                <a:gd name="T101" fmla="*/ 0 h 1037"/>
                <a:gd name="T102" fmla="*/ 2147483647 w 1028"/>
                <a:gd name="T103" fmla="*/ 0 h 1037"/>
                <a:gd name="T104" fmla="*/ 2147483647 w 1028"/>
                <a:gd name="T105" fmla="*/ 0 h 1037"/>
                <a:gd name="T106" fmla="*/ 2147483647 w 1028"/>
                <a:gd name="T107" fmla="*/ 0 h 1037"/>
                <a:gd name="T108" fmla="*/ 2147483647 w 1028"/>
                <a:gd name="T109" fmla="*/ 0 h 1037"/>
                <a:gd name="T110" fmla="*/ 2147483647 w 1028"/>
                <a:gd name="T111" fmla="*/ 0 h 1037"/>
                <a:gd name="T112" fmla="*/ 2147483647 w 1028"/>
                <a:gd name="T113" fmla="*/ 0 h 1037"/>
                <a:gd name="T114" fmla="*/ 0 w 1028"/>
                <a:gd name="T115" fmla="*/ 0 h 10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28"/>
                <a:gd name="T175" fmla="*/ 0 h 1037"/>
                <a:gd name="T176" fmla="*/ 1028 w 1028"/>
                <a:gd name="T177" fmla="*/ 1037 h 10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79" name="Freeform 304">
              <a:extLst>
                <a:ext uri="{FF2B5EF4-FFF2-40B4-BE49-F238E27FC236}">
                  <a16:creationId xmlns:a16="http://schemas.microsoft.com/office/drawing/2014/main" id="{20365DB9-3B13-7966-2D6F-DBD57B8032CD}"/>
                </a:ext>
              </a:extLst>
            </p:cNvPr>
            <p:cNvSpPr>
              <a:spLocks noChangeAspect="1"/>
            </p:cNvSpPr>
            <p:nvPr userDrawn="1"/>
          </p:nvSpPr>
          <p:spPr bwMode="gray">
            <a:xfrm>
              <a:off x="3231714" y="547218"/>
              <a:ext cx="14923" cy="18291"/>
            </a:xfrm>
            <a:custGeom>
              <a:avLst/>
              <a:gdLst>
                <a:gd name="T0" fmla="*/ 0 w 30"/>
                <a:gd name="T1" fmla="*/ 0 h 30"/>
                <a:gd name="T2" fmla="*/ 0 w 30"/>
                <a:gd name="T3" fmla="*/ 0 h 30"/>
                <a:gd name="T4" fmla="*/ 0 w 30"/>
                <a:gd name="T5" fmla="*/ 0 h 30"/>
                <a:gd name="T6" fmla="*/ 0 w 30"/>
                <a:gd name="T7" fmla="*/ 0 h 30"/>
                <a:gd name="T8" fmla="*/ 0 w 30"/>
                <a:gd name="T9" fmla="*/ 0 h 30"/>
                <a:gd name="T10" fmla="*/ 0 60000 65536"/>
                <a:gd name="T11" fmla="*/ 0 60000 65536"/>
                <a:gd name="T12" fmla="*/ 0 60000 65536"/>
                <a:gd name="T13" fmla="*/ 0 60000 65536"/>
                <a:gd name="T14" fmla="*/ 0 60000 65536"/>
                <a:gd name="T15" fmla="*/ 0 w 30"/>
                <a:gd name="T16" fmla="*/ 0 h 30"/>
                <a:gd name="T17" fmla="*/ 30 w 30"/>
                <a:gd name="T18" fmla="*/ 30 h 30"/>
              </a:gdLst>
              <a:ahLst/>
              <a:cxnLst>
                <a:cxn ang="T10">
                  <a:pos x="T0" y="T1"/>
                </a:cxn>
                <a:cxn ang="T11">
                  <a:pos x="T2" y="T3"/>
                </a:cxn>
                <a:cxn ang="T12">
                  <a:pos x="T4" y="T5"/>
                </a:cxn>
                <a:cxn ang="T13">
                  <a:pos x="T6" y="T7"/>
                </a:cxn>
                <a:cxn ang="T14">
                  <a:pos x="T8" y="T9"/>
                </a:cxn>
              </a:cxnLst>
              <a:rect l="T15" t="T16" r="T17" b="T18"/>
              <a:pathLst>
                <a:path w="30" h="30">
                  <a:moveTo>
                    <a:pt x="0" y="16"/>
                  </a:moveTo>
                  <a:lnTo>
                    <a:pt x="0" y="21"/>
                  </a:lnTo>
                  <a:lnTo>
                    <a:pt x="30" y="30"/>
                  </a:lnTo>
                  <a:lnTo>
                    <a:pt x="3" y="0"/>
                  </a:lnTo>
                  <a:lnTo>
                    <a:pt x="0"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0" name="Freeform 305">
              <a:extLst>
                <a:ext uri="{FF2B5EF4-FFF2-40B4-BE49-F238E27FC236}">
                  <a16:creationId xmlns:a16="http://schemas.microsoft.com/office/drawing/2014/main" id="{05BEBAE0-71F9-677E-1C8E-B06BAD05287F}"/>
                </a:ext>
              </a:extLst>
            </p:cNvPr>
            <p:cNvSpPr>
              <a:spLocks noChangeAspect="1"/>
            </p:cNvSpPr>
            <p:nvPr userDrawn="1"/>
          </p:nvSpPr>
          <p:spPr bwMode="gray">
            <a:xfrm>
              <a:off x="3231714" y="531975"/>
              <a:ext cx="2985" cy="15242"/>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60000 65536"/>
                <a:gd name="T13" fmla="*/ 0 60000 65536"/>
                <a:gd name="T14" fmla="*/ 0 60000 65536"/>
                <a:gd name="T15" fmla="*/ 0 60000 65536"/>
                <a:gd name="T16" fmla="*/ 0 60000 65536"/>
                <a:gd name="T17" fmla="*/ 0 60000 65536"/>
                <a:gd name="T18" fmla="*/ 0 w 7"/>
                <a:gd name="T19" fmla="*/ 0 h 31"/>
                <a:gd name="T20" fmla="*/ 7 w 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7" h="31">
                  <a:moveTo>
                    <a:pt x="5" y="11"/>
                  </a:moveTo>
                  <a:lnTo>
                    <a:pt x="0" y="0"/>
                  </a:lnTo>
                  <a:lnTo>
                    <a:pt x="0" y="24"/>
                  </a:lnTo>
                  <a:lnTo>
                    <a:pt x="5" y="31"/>
                  </a:lnTo>
                  <a:lnTo>
                    <a:pt x="7" y="27"/>
                  </a:lnTo>
                  <a:lnTo>
                    <a:pt x="5" y="1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1" name="Freeform 306">
              <a:extLst>
                <a:ext uri="{FF2B5EF4-FFF2-40B4-BE49-F238E27FC236}">
                  <a16:creationId xmlns:a16="http://schemas.microsoft.com/office/drawing/2014/main" id="{42C87AF5-D08A-7763-8675-9729D243B553}"/>
                </a:ext>
              </a:extLst>
            </p:cNvPr>
            <p:cNvSpPr>
              <a:spLocks noChangeAspect="1"/>
            </p:cNvSpPr>
            <p:nvPr userDrawn="1"/>
          </p:nvSpPr>
          <p:spPr bwMode="gray">
            <a:xfrm>
              <a:off x="1809513" y="1272746"/>
              <a:ext cx="44770" cy="67066"/>
            </a:xfrm>
            <a:custGeom>
              <a:avLst/>
              <a:gdLst>
                <a:gd name="T0" fmla="*/ 0 w 81"/>
                <a:gd name="T1" fmla="*/ 0 h 113"/>
                <a:gd name="T2" fmla="*/ 0 w 81"/>
                <a:gd name="T3" fmla="*/ 0 h 113"/>
                <a:gd name="T4" fmla="*/ 0 w 81"/>
                <a:gd name="T5" fmla="*/ 0 h 113"/>
                <a:gd name="T6" fmla="*/ 0 w 81"/>
                <a:gd name="T7" fmla="*/ 0 h 113"/>
                <a:gd name="T8" fmla="*/ 0 w 81"/>
                <a:gd name="T9" fmla="*/ 0 h 113"/>
                <a:gd name="T10" fmla="*/ 0 w 81"/>
                <a:gd name="T11" fmla="*/ 0 h 113"/>
                <a:gd name="T12" fmla="*/ 0 w 81"/>
                <a:gd name="T13" fmla="*/ 0 h 113"/>
                <a:gd name="T14" fmla="*/ 0 w 81"/>
                <a:gd name="T15" fmla="*/ 0 h 113"/>
                <a:gd name="T16" fmla="*/ 0 w 81"/>
                <a:gd name="T17" fmla="*/ 0 h 113"/>
                <a:gd name="T18" fmla="*/ 0 w 81"/>
                <a:gd name="T19" fmla="*/ 0 h 113"/>
                <a:gd name="T20" fmla="*/ 0 w 81"/>
                <a:gd name="T21" fmla="*/ 0 h 113"/>
                <a:gd name="T22" fmla="*/ 0 w 81"/>
                <a:gd name="T23" fmla="*/ 0 h 113"/>
                <a:gd name="T24" fmla="*/ 0 w 81"/>
                <a:gd name="T25" fmla="*/ 0 h 113"/>
                <a:gd name="T26" fmla="*/ 0 w 81"/>
                <a:gd name="T27" fmla="*/ 0 h 113"/>
                <a:gd name="T28" fmla="*/ 0 w 81"/>
                <a:gd name="T29" fmla="*/ 0 h 113"/>
                <a:gd name="T30" fmla="*/ 0 w 81"/>
                <a:gd name="T31" fmla="*/ 0 h 113"/>
                <a:gd name="T32" fmla="*/ 0 w 81"/>
                <a:gd name="T33" fmla="*/ 0 h 113"/>
                <a:gd name="T34" fmla="*/ 0 w 81"/>
                <a:gd name="T35" fmla="*/ 0 h 113"/>
                <a:gd name="T36" fmla="*/ 0 w 81"/>
                <a:gd name="T37" fmla="*/ 0 h 113"/>
                <a:gd name="T38" fmla="*/ 0 w 81"/>
                <a:gd name="T39" fmla="*/ 0 h 113"/>
                <a:gd name="T40" fmla="*/ 0 w 81"/>
                <a:gd name="T41" fmla="*/ 0 h 113"/>
                <a:gd name="T42" fmla="*/ 0 w 81"/>
                <a:gd name="T43" fmla="*/ 0 h 113"/>
                <a:gd name="T44" fmla="*/ 0 w 81"/>
                <a:gd name="T45" fmla="*/ 0 h 113"/>
                <a:gd name="T46" fmla="*/ 0 w 81"/>
                <a:gd name="T47" fmla="*/ 0 h 113"/>
                <a:gd name="T48" fmla="*/ 0 w 81"/>
                <a:gd name="T49" fmla="*/ 0 h 113"/>
                <a:gd name="T50" fmla="*/ 0 w 81"/>
                <a:gd name="T51" fmla="*/ 0 h 113"/>
                <a:gd name="T52" fmla="*/ 0 w 81"/>
                <a:gd name="T53" fmla="*/ 0 h 113"/>
                <a:gd name="T54" fmla="*/ 0 w 81"/>
                <a:gd name="T55" fmla="*/ 0 h 113"/>
                <a:gd name="T56" fmla="*/ 0 w 81"/>
                <a:gd name="T57" fmla="*/ 0 h 113"/>
                <a:gd name="T58" fmla="*/ 0 w 81"/>
                <a:gd name="T59" fmla="*/ 0 h 113"/>
                <a:gd name="T60" fmla="*/ 0 w 81"/>
                <a:gd name="T61" fmla="*/ 0 h 113"/>
                <a:gd name="T62" fmla="*/ 0 w 81"/>
                <a:gd name="T63" fmla="*/ 0 h 113"/>
                <a:gd name="T64" fmla="*/ 0 w 81"/>
                <a:gd name="T65" fmla="*/ 0 h 113"/>
                <a:gd name="T66" fmla="*/ 0 w 81"/>
                <a:gd name="T67" fmla="*/ 0 h 113"/>
                <a:gd name="T68" fmla="*/ 0 w 81"/>
                <a:gd name="T69" fmla="*/ 0 h 113"/>
                <a:gd name="T70" fmla="*/ 0 w 81"/>
                <a:gd name="T71" fmla="*/ 0 h 113"/>
                <a:gd name="T72" fmla="*/ 0 w 81"/>
                <a:gd name="T73" fmla="*/ 0 h 113"/>
                <a:gd name="T74" fmla="*/ 0 w 81"/>
                <a:gd name="T75" fmla="*/ 0 h 113"/>
                <a:gd name="T76" fmla="*/ 0 w 81"/>
                <a:gd name="T77" fmla="*/ 0 h 113"/>
                <a:gd name="T78" fmla="*/ 0 w 81"/>
                <a:gd name="T79" fmla="*/ 0 h 113"/>
                <a:gd name="T80" fmla="*/ 0 w 81"/>
                <a:gd name="T81" fmla="*/ 0 h 113"/>
                <a:gd name="T82" fmla="*/ 0 w 81"/>
                <a:gd name="T83" fmla="*/ 0 h 113"/>
                <a:gd name="T84" fmla="*/ 0 w 81"/>
                <a:gd name="T85" fmla="*/ 0 h 113"/>
                <a:gd name="T86" fmla="*/ 0 w 81"/>
                <a:gd name="T87" fmla="*/ 0 h 113"/>
                <a:gd name="T88" fmla="*/ 0 w 81"/>
                <a:gd name="T89" fmla="*/ 0 h 113"/>
                <a:gd name="T90" fmla="*/ 0 w 81"/>
                <a:gd name="T91" fmla="*/ 0 h 11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1"/>
                <a:gd name="T139" fmla="*/ 0 h 113"/>
                <a:gd name="T140" fmla="*/ 81 w 81"/>
                <a:gd name="T141" fmla="*/ 113 h 11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2" name="Freeform 307">
              <a:extLst>
                <a:ext uri="{FF2B5EF4-FFF2-40B4-BE49-F238E27FC236}">
                  <a16:creationId xmlns:a16="http://schemas.microsoft.com/office/drawing/2014/main" id="{89C8D7F8-9B60-D80B-5A0A-75AB4A1D618F}"/>
                </a:ext>
              </a:extLst>
            </p:cNvPr>
            <p:cNvSpPr>
              <a:spLocks noChangeAspect="1"/>
            </p:cNvSpPr>
            <p:nvPr userDrawn="1"/>
          </p:nvSpPr>
          <p:spPr bwMode="gray">
            <a:xfrm>
              <a:off x="1790112" y="1315423"/>
              <a:ext cx="29847" cy="32009"/>
            </a:xfrm>
            <a:custGeom>
              <a:avLst/>
              <a:gdLst>
                <a:gd name="T0" fmla="*/ 0 w 54"/>
                <a:gd name="T1" fmla="*/ 0 h 58"/>
                <a:gd name="T2" fmla="*/ 0 w 54"/>
                <a:gd name="T3" fmla="*/ 0 h 58"/>
                <a:gd name="T4" fmla="*/ 0 w 54"/>
                <a:gd name="T5" fmla="*/ 0 h 58"/>
                <a:gd name="T6" fmla="*/ 0 w 54"/>
                <a:gd name="T7" fmla="*/ 0 h 58"/>
                <a:gd name="T8" fmla="*/ 0 w 54"/>
                <a:gd name="T9" fmla="*/ 0 h 58"/>
                <a:gd name="T10" fmla="*/ 0 w 54"/>
                <a:gd name="T11" fmla="*/ 0 h 58"/>
                <a:gd name="T12" fmla="*/ 0 w 54"/>
                <a:gd name="T13" fmla="*/ 0 h 58"/>
                <a:gd name="T14" fmla="*/ 0 w 54"/>
                <a:gd name="T15" fmla="*/ 0 h 58"/>
                <a:gd name="T16" fmla="*/ 0 w 54"/>
                <a:gd name="T17" fmla="*/ 0 h 58"/>
                <a:gd name="T18" fmla="*/ 0 w 54"/>
                <a:gd name="T19" fmla="*/ 0 h 58"/>
                <a:gd name="T20" fmla="*/ 0 w 54"/>
                <a:gd name="T21" fmla="*/ 0 h 58"/>
                <a:gd name="T22" fmla="*/ 0 w 54"/>
                <a:gd name="T23" fmla="*/ 0 h 58"/>
                <a:gd name="T24" fmla="*/ 0 w 54"/>
                <a:gd name="T25" fmla="*/ 0 h 58"/>
                <a:gd name="T26" fmla="*/ 0 w 54"/>
                <a:gd name="T27" fmla="*/ 0 h 58"/>
                <a:gd name="T28" fmla="*/ 0 w 54"/>
                <a:gd name="T29" fmla="*/ 0 h 58"/>
                <a:gd name="T30" fmla="*/ 0 w 54"/>
                <a:gd name="T31" fmla="*/ 0 h 58"/>
                <a:gd name="T32" fmla="*/ 0 w 54"/>
                <a:gd name="T33" fmla="*/ 0 h 58"/>
                <a:gd name="T34" fmla="*/ 0 w 54"/>
                <a:gd name="T35" fmla="*/ 0 h 58"/>
                <a:gd name="T36" fmla="*/ 0 w 54"/>
                <a:gd name="T37" fmla="*/ 0 h 58"/>
                <a:gd name="T38" fmla="*/ 0 w 54"/>
                <a:gd name="T39" fmla="*/ 0 h 58"/>
                <a:gd name="T40" fmla="*/ 0 w 54"/>
                <a:gd name="T41" fmla="*/ 0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58"/>
                <a:gd name="T65" fmla="*/ 54 w 54"/>
                <a:gd name="T66" fmla="*/ 58 h 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3" name="Freeform 308">
              <a:extLst>
                <a:ext uri="{FF2B5EF4-FFF2-40B4-BE49-F238E27FC236}">
                  <a16:creationId xmlns:a16="http://schemas.microsoft.com/office/drawing/2014/main" id="{9BADF487-01A6-62C6-14A7-A068945E3498}"/>
                </a:ext>
              </a:extLst>
            </p:cNvPr>
            <p:cNvSpPr>
              <a:spLocks noChangeAspect="1"/>
            </p:cNvSpPr>
            <p:nvPr userDrawn="1"/>
          </p:nvSpPr>
          <p:spPr bwMode="gray">
            <a:xfrm rot="21085610">
              <a:off x="3485412" y="3434087"/>
              <a:ext cx="20893" cy="10670"/>
            </a:xfrm>
            <a:custGeom>
              <a:avLst/>
              <a:gdLst>
                <a:gd name="T0" fmla="*/ 0 w 336"/>
                <a:gd name="T1" fmla="*/ 0 h 96"/>
                <a:gd name="T2" fmla="*/ 0 w 336"/>
                <a:gd name="T3" fmla="*/ 0 h 96"/>
                <a:gd name="T4" fmla="*/ 0 w 336"/>
                <a:gd name="T5" fmla="*/ 0 h 96"/>
                <a:gd name="T6" fmla="*/ 0 w 336"/>
                <a:gd name="T7" fmla="*/ 0 h 96"/>
                <a:gd name="T8" fmla="*/ 0 w 336"/>
                <a:gd name="T9" fmla="*/ 0 h 96"/>
                <a:gd name="T10" fmla="*/ 0 w 336"/>
                <a:gd name="T11" fmla="*/ 0 h 96"/>
                <a:gd name="T12" fmla="*/ 0 w 336"/>
                <a:gd name="T13" fmla="*/ 0 h 96"/>
                <a:gd name="T14" fmla="*/ 0 w 336"/>
                <a:gd name="T15" fmla="*/ 0 h 96"/>
                <a:gd name="T16" fmla="*/ 0 w 336"/>
                <a:gd name="T17" fmla="*/ 0 h 96"/>
                <a:gd name="T18" fmla="*/ 0 w 336"/>
                <a:gd name="T19" fmla="*/ 0 h 96"/>
                <a:gd name="T20" fmla="*/ 0 w 336"/>
                <a:gd name="T21" fmla="*/ 0 h 96"/>
                <a:gd name="T22" fmla="*/ 0 w 336"/>
                <a:gd name="T23" fmla="*/ 0 h 96"/>
                <a:gd name="T24" fmla="*/ 0 w 336"/>
                <a:gd name="T25" fmla="*/ 0 h 96"/>
                <a:gd name="T26" fmla="*/ 0 w 336"/>
                <a:gd name="T27" fmla="*/ 0 h 96"/>
                <a:gd name="T28" fmla="*/ 0 w 336"/>
                <a:gd name="T29" fmla="*/ 0 h 96"/>
                <a:gd name="T30" fmla="*/ 0 w 336"/>
                <a:gd name="T31" fmla="*/ 0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6"/>
                <a:gd name="T49" fmla="*/ 0 h 96"/>
                <a:gd name="T50" fmla="*/ 336 w 336"/>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4" name="Freeform 309">
              <a:extLst>
                <a:ext uri="{FF2B5EF4-FFF2-40B4-BE49-F238E27FC236}">
                  <a16:creationId xmlns:a16="http://schemas.microsoft.com/office/drawing/2014/main" id="{C1D194A9-AE32-D4CB-FC73-D6A23BEBB377}"/>
                </a:ext>
              </a:extLst>
            </p:cNvPr>
            <p:cNvSpPr>
              <a:spLocks noChangeAspect="1"/>
            </p:cNvSpPr>
            <p:nvPr userDrawn="1"/>
          </p:nvSpPr>
          <p:spPr bwMode="gray">
            <a:xfrm rot="21085610">
              <a:off x="3519737" y="3437134"/>
              <a:ext cx="1492" cy="28960"/>
            </a:xfrm>
            <a:custGeom>
              <a:avLst/>
              <a:gdLst>
                <a:gd name="T0" fmla="*/ 0 w 86"/>
                <a:gd name="T1" fmla="*/ 0 h 232"/>
                <a:gd name="T2" fmla="*/ 0 w 86"/>
                <a:gd name="T3" fmla="*/ 0 h 232"/>
                <a:gd name="T4" fmla="*/ 0 w 86"/>
                <a:gd name="T5" fmla="*/ 0 h 232"/>
                <a:gd name="T6" fmla="*/ 0 w 86"/>
                <a:gd name="T7" fmla="*/ 0 h 232"/>
                <a:gd name="T8" fmla="*/ 0 w 86"/>
                <a:gd name="T9" fmla="*/ 0 h 232"/>
                <a:gd name="T10" fmla="*/ 0 w 86"/>
                <a:gd name="T11" fmla="*/ 0 h 232"/>
                <a:gd name="T12" fmla="*/ 0 w 86"/>
                <a:gd name="T13" fmla="*/ 0 h 232"/>
                <a:gd name="T14" fmla="*/ 0 w 86"/>
                <a:gd name="T15" fmla="*/ 0 h 232"/>
                <a:gd name="T16" fmla="*/ 0 w 86"/>
                <a:gd name="T17" fmla="*/ 0 h 232"/>
                <a:gd name="T18" fmla="*/ 0 w 86"/>
                <a:gd name="T19" fmla="*/ 0 h 232"/>
                <a:gd name="T20" fmla="*/ 0 w 86"/>
                <a:gd name="T21" fmla="*/ 0 h 232"/>
                <a:gd name="T22" fmla="*/ 0 w 86"/>
                <a:gd name="T23" fmla="*/ 0 h 232"/>
                <a:gd name="T24" fmla="*/ 0 w 86"/>
                <a:gd name="T25" fmla="*/ 0 h 2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232"/>
                <a:gd name="T41" fmla="*/ 86 w 86"/>
                <a:gd name="T42" fmla="*/ 232 h 2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5" name="Freeform 310">
              <a:extLst>
                <a:ext uri="{FF2B5EF4-FFF2-40B4-BE49-F238E27FC236}">
                  <a16:creationId xmlns:a16="http://schemas.microsoft.com/office/drawing/2014/main" id="{E51A9ECC-7370-4B54-58CA-ECC2017F75DC}"/>
                </a:ext>
              </a:extLst>
            </p:cNvPr>
            <p:cNvSpPr>
              <a:spLocks noChangeAspect="1"/>
            </p:cNvSpPr>
            <p:nvPr userDrawn="1"/>
          </p:nvSpPr>
          <p:spPr bwMode="gray">
            <a:xfrm rot="21085610">
              <a:off x="3519737" y="3502676"/>
              <a:ext cx="5969" cy="1524"/>
            </a:xfrm>
            <a:custGeom>
              <a:avLst/>
              <a:gdLst>
                <a:gd name="T0" fmla="*/ 0 w 73"/>
                <a:gd name="T1" fmla="*/ 0 h 28"/>
                <a:gd name="T2" fmla="*/ 0 w 73"/>
                <a:gd name="T3" fmla="*/ 0 h 28"/>
                <a:gd name="T4" fmla="*/ 0 w 73"/>
                <a:gd name="T5" fmla="*/ 0 h 28"/>
                <a:gd name="T6" fmla="*/ 0 w 73"/>
                <a:gd name="T7" fmla="*/ 0 h 28"/>
                <a:gd name="T8" fmla="*/ 0 w 73"/>
                <a:gd name="T9" fmla="*/ 0 h 28"/>
                <a:gd name="T10" fmla="*/ 0 w 73"/>
                <a:gd name="T11" fmla="*/ 0 h 28"/>
                <a:gd name="T12" fmla="*/ 0 w 73"/>
                <a:gd name="T13" fmla="*/ 0 h 28"/>
                <a:gd name="T14" fmla="*/ 0 60000 65536"/>
                <a:gd name="T15" fmla="*/ 0 60000 65536"/>
                <a:gd name="T16" fmla="*/ 0 60000 65536"/>
                <a:gd name="T17" fmla="*/ 0 60000 65536"/>
                <a:gd name="T18" fmla="*/ 0 60000 65536"/>
                <a:gd name="T19" fmla="*/ 0 60000 65536"/>
                <a:gd name="T20" fmla="*/ 0 60000 65536"/>
                <a:gd name="T21" fmla="*/ 0 w 73"/>
                <a:gd name="T22" fmla="*/ 0 h 28"/>
                <a:gd name="T23" fmla="*/ 73 w 73"/>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28">
                  <a:moveTo>
                    <a:pt x="55" y="25"/>
                  </a:moveTo>
                  <a:lnTo>
                    <a:pt x="73" y="7"/>
                  </a:lnTo>
                  <a:lnTo>
                    <a:pt x="73" y="0"/>
                  </a:lnTo>
                  <a:lnTo>
                    <a:pt x="48" y="0"/>
                  </a:lnTo>
                  <a:lnTo>
                    <a:pt x="8" y="4"/>
                  </a:lnTo>
                  <a:lnTo>
                    <a:pt x="0" y="28"/>
                  </a:lnTo>
                  <a:lnTo>
                    <a:pt x="55" y="2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6" name="Freeform 311">
              <a:extLst>
                <a:ext uri="{FF2B5EF4-FFF2-40B4-BE49-F238E27FC236}">
                  <a16:creationId xmlns:a16="http://schemas.microsoft.com/office/drawing/2014/main" id="{849CCC17-32A3-A148-156D-D590C4C5DE6B}"/>
                </a:ext>
              </a:extLst>
            </p:cNvPr>
            <p:cNvSpPr>
              <a:spLocks noChangeAspect="1"/>
            </p:cNvSpPr>
            <p:nvPr userDrawn="1"/>
          </p:nvSpPr>
          <p:spPr bwMode="gray">
            <a:xfrm rot="21085610">
              <a:off x="3506305" y="3501152"/>
              <a:ext cx="10447" cy="35058"/>
            </a:xfrm>
            <a:custGeom>
              <a:avLst/>
              <a:gdLst>
                <a:gd name="T0" fmla="*/ 0 w 175"/>
                <a:gd name="T1" fmla="*/ 0 h 291"/>
                <a:gd name="T2" fmla="*/ 0 w 175"/>
                <a:gd name="T3" fmla="*/ 0 h 291"/>
                <a:gd name="T4" fmla="*/ 0 w 175"/>
                <a:gd name="T5" fmla="*/ 0 h 291"/>
                <a:gd name="T6" fmla="*/ 0 w 175"/>
                <a:gd name="T7" fmla="*/ 0 h 291"/>
                <a:gd name="T8" fmla="*/ 0 w 175"/>
                <a:gd name="T9" fmla="*/ 0 h 291"/>
                <a:gd name="T10" fmla="*/ 0 w 175"/>
                <a:gd name="T11" fmla="*/ 0 h 291"/>
                <a:gd name="T12" fmla="*/ 0 w 175"/>
                <a:gd name="T13" fmla="*/ 0 h 291"/>
                <a:gd name="T14" fmla="*/ 0 w 175"/>
                <a:gd name="T15" fmla="*/ 0 h 291"/>
                <a:gd name="T16" fmla="*/ 0 w 175"/>
                <a:gd name="T17" fmla="*/ 0 h 291"/>
                <a:gd name="T18" fmla="*/ 0 w 175"/>
                <a:gd name="T19" fmla="*/ 0 h 291"/>
                <a:gd name="T20" fmla="*/ 0 w 175"/>
                <a:gd name="T21" fmla="*/ 0 h 291"/>
                <a:gd name="T22" fmla="*/ 0 w 175"/>
                <a:gd name="T23" fmla="*/ 0 h 291"/>
                <a:gd name="T24" fmla="*/ 0 w 175"/>
                <a:gd name="T25" fmla="*/ 0 h 291"/>
                <a:gd name="T26" fmla="*/ 0 w 175"/>
                <a:gd name="T27" fmla="*/ 0 h 291"/>
                <a:gd name="T28" fmla="*/ 0 w 175"/>
                <a:gd name="T29" fmla="*/ 0 h 291"/>
                <a:gd name="T30" fmla="*/ 0 w 175"/>
                <a:gd name="T31" fmla="*/ 0 h 2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5"/>
                <a:gd name="T49" fmla="*/ 0 h 291"/>
                <a:gd name="T50" fmla="*/ 175 w 175"/>
                <a:gd name="T51" fmla="*/ 291 h 2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7" name="Freeform 312">
              <a:extLst>
                <a:ext uri="{FF2B5EF4-FFF2-40B4-BE49-F238E27FC236}">
                  <a16:creationId xmlns:a16="http://schemas.microsoft.com/office/drawing/2014/main" id="{6C8933F2-24AE-41AC-E255-5AAC6C8F4F11}"/>
                </a:ext>
              </a:extLst>
            </p:cNvPr>
            <p:cNvSpPr>
              <a:spLocks noChangeAspect="1"/>
            </p:cNvSpPr>
            <p:nvPr userDrawn="1"/>
          </p:nvSpPr>
          <p:spPr bwMode="gray">
            <a:xfrm rot="21085610">
              <a:off x="3519737" y="3539258"/>
              <a:ext cx="1492" cy="16766"/>
            </a:xfrm>
            <a:custGeom>
              <a:avLst/>
              <a:gdLst>
                <a:gd name="T0" fmla="*/ 0 w 69"/>
                <a:gd name="T1" fmla="*/ 0 h 144"/>
                <a:gd name="T2" fmla="*/ 0 w 69"/>
                <a:gd name="T3" fmla="*/ 0 h 144"/>
                <a:gd name="T4" fmla="*/ 0 w 69"/>
                <a:gd name="T5" fmla="*/ 0 h 144"/>
                <a:gd name="T6" fmla="*/ 0 w 69"/>
                <a:gd name="T7" fmla="*/ 0 h 144"/>
                <a:gd name="T8" fmla="*/ 0 w 69"/>
                <a:gd name="T9" fmla="*/ 0 h 144"/>
                <a:gd name="T10" fmla="*/ 0 w 69"/>
                <a:gd name="T11" fmla="*/ 0 h 144"/>
                <a:gd name="T12" fmla="*/ 0 60000 65536"/>
                <a:gd name="T13" fmla="*/ 0 60000 65536"/>
                <a:gd name="T14" fmla="*/ 0 60000 65536"/>
                <a:gd name="T15" fmla="*/ 0 60000 65536"/>
                <a:gd name="T16" fmla="*/ 0 60000 65536"/>
                <a:gd name="T17" fmla="*/ 0 60000 65536"/>
                <a:gd name="T18" fmla="*/ 0 w 69"/>
                <a:gd name="T19" fmla="*/ 0 h 144"/>
                <a:gd name="T20" fmla="*/ 69 w 69"/>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69" h="144">
                  <a:moveTo>
                    <a:pt x="0" y="70"/>
                  </a:moveTo>
                  <a:lnTo>
                    <a:pt x="47" y="0"/>
                  </a:lnTo>
                  <a:lnTo>
                    <a:pt x="69" y="118"/>
                  </a:lnTo>
                  <a:lnTo>
                    <a:pt x="59" y="144"/>
                  </a:lnTo>
                  <a:lnTo>
                    <a:pt x="17" y="128"/>
                  </a:lnTo>
                  <a:lnTo>
                    <a:pt x="0" y="7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8" name="Freeform 313">
              <a:extLst>
                <a:ext uri="{FF2B5EF4-FFF2-40B4-BE49-F238E27FC236}">
                  <a16:creationId xmlns:a16="http://schemas.microsoft.com/office/drawing/2014/main" id="{0DC93192-CE0F-753A-920D-834135EAFEF1}"/>
                </a:ext>
              </a:extLst>
            </p:cNvPr>
            <p:cNvSpPr>
              <a:spLocks noChangeAspect="1"/>
            </p:cNvSpPr>
            <p:nvPr userDrawn="1"/>
          </p:nvSpPr>
          <p:spPr bwMode="gray">
            <a:xfrm rot="21085610">
              <a:off x="3543614" y="3493531"/>
              <a:ext cx="2985" cy="21339"/>
            </a:xfrm>
            <a:custGeom>
              <a:avLst/>
              <a:gdLst>
                <a:gd name="T0" fmla="*/ 0 w 52"/>
                <a:gd name="T1" fmla="*/ 0 h 192"/>
                <a:gd name="T2" fmla="*/ 0 w 52"/>
                <a:gd name="T3" fmla="*/ 0 h 192"/>
                <a:gd name="T4" fmla="*/ 0 w 52"/>
                <a:gd name="T5" fmla="*/ 0 h 192"/>
                <a:gd name="T6" fmla="*/ 0 w 52"/>
                <a:gd name="T7" fmla="*/ 0 h 192"/>
                <a:gd name="T8" fmla="*/ 0 w 52"/>
                <a:gd name="T9" fmla="*/ 0 h 192"/>
                <a:gd name="T10" fmla="*/ 0 w 52"/>
                <a:gd name="T11" fmla="*/ 0 h 192"/>
                <a:gd name="T12" fmla="*/ 0 w 52"/>
                <a:gd name="T13" fmla="*/ 0 h 192"/>
                <a:gd name="T14" fmla="*/ 0 w 52"/>
                <a:gd name="T15" fmla="*/ 0 h 192"/>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92"/>
                <a:gd name="T26" fmla="*/ 52 w 52"/>
                <a:gd name="T27" fmla="*/ 192 h 1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92">
                  <a:moveTo>
                    <a:pt x="37" y="20"/>
                  </a:moveTo>
                  <a:lnTo>
                    <a:pt x="37" y="0"/>
                  </a:lnTo>
                  <a:lnTo>
                    <a:pt x="52" y="45"/>
                  </a:lnTo>
                  <a:lnTo>
                    <a:pt x="47" y="192"/>
                  </a:lnTo>
                  <a:lnTo>
                    <a:pt x="10" y="160"/>
                  </a:lnTo>
                  <a:lnTo>
                    <a:pt x="0" y="120"/>
                  </a:lnTo>
                  <a:lnTo>
                    <a:pt x="20" y="99"/>
                  </a:lnTo>
                  <a:lnTo>
                    <a:pt x="37"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89" name="Freeform 314">
              <a:extLst>
                <a:ext uri="{FF2B5EF4-FFF2-40B4-BE49-F238E27FC236}">
                  <a16:creationId xmlns:a16="http://schemas.microsoft.com/office/drawing/2014/main" id="{9733437B-3198-D5D6-630C-F2C39552635C}"/>
                </a:ext>
              </a:extLst>
            </p:cNvPr>
            <p:cNvSpPr>
              <a:spLocks noChangeAspect="1"/>
            </p:cNvSpPr>
            <p:nvPr userDrawn="1"/>
          </p:nvSpPr>
          <p:spPr bwMode="gray">
            <a:xfrm rot="21085610">
              <a:off x="3557045" y="3511822"/>
              <a:ext cx="7462" cy="25911"/>
            </a:xfrm>
            <a:custGeom>
              <a:avLst/>
              <a:gdLst>
                <a:gd name="T0" fmla="*/ 0 w 146"/>
                <a:gd name="T1" fmla="*/ 0 h 212"/>
                <a:gd name="T2" fmla="*/ 0 w 146"/>
                <a:gd name="T3" fmla="*/ 0 h 212"/>
                <a:gd name="T4" fmla="*/ 0 w 146"/>
                <a:gd name="T5" fmla="*/ 0 h 212"/>
                <a:gd name="T6" fmla="*/ 0 w 146"/>
                <a:gd name="T7" fmla="*/ 0 h 212"/>
                <a:gd name="T8" fmla="*/ 0 w 146"/>
                <a:gd name="T9" fmla="*/ 0 h 212"/>
                <a:gd name="T10" fmla="*/ 0 w 146"/>
                <a:gd name="T11" fmla="*/ 0 h 212"/>
                <a:gd name="T12" fmla="*/ 0 w 146"/>
                <a:gd name="T13" fmla="*/ 0 h 212"/>
                <a:gd name="T14" fmla="*/ 0 w 146"/>
                <a:gd name="T15" fmla="*/ 0 h 212"/>
                <a:gd name="T16" fmla="*/ 0 w 146"/>
                <a:gd name="T17" fmla="*/ 0 h 212"/>
                <a:gd name="T18" fmla="*/ 0 w 146"/>
                <a:gd name="T19" fmla="*/ 0 h 212"/>
                <a:gd name="T20" fmla="*/ 0 w 146"/>
                <a:gd name="T21" fmla="*/ 0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6"/>
                <a:gd name="T34" fmla="*/ 0 h 212"/>
                <a:gd name="T35" fmla="*/ 146 w 146"/>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0" name="Freeform 315">
              <a:extLst>
                <a:ext uri="{FF2B5EF4-FFF2-40B4-BE49-F238E27FC236}">
                  <a16:creationId xmlns:a16="http://schemas.microsoft.com/office/drawing/2014/main" id="{7DC4A340-0472-86CF-6280-8AF67B66AA6B}"/>
                </a:ext>
              </a:extLst>
            </p:cNvPr>
            <p:cNvSpPr>
              <a:spLocks noChangeAspect="1"/>
            </p:cNvSpPr>
            <p:nvPr userDrawn="1"/>
          </p:nvSpPr>
          <p:spPr bwMode="gray">
            <a:xfrm rot="21085610">
              <a:off x="3580922" y="3531637"/>
              <a:ext cx="5969" cy="6097"/>
            </a:xfrm>
            <a:custGeom>
              <a:avLst/>
              <a:gdLst>
                <a:gd name="T0" fmla="*/ 0 w 52"/>
                <a:gd name="T1" fmla="*/ 0 h 55"/>
                <a:gd name="T2" fmla="*/ 0 w 52"/>
                <a:gd name="T3" fmla="*/ 0 h 55"/>
                <a:gd name="T4" fmla="*/ 0 w 52"/>
                <a:gd name="T5" fmla="*/ 0 h 55"/>
                <a:gd name="T6" fmla="*/ 0 w 52"/>
                <a:gd name="T7" fmla="*/ 0 h 55"/>
                <a:gd name="T8" fmla="*/ 0 w 52"/>
                <a:gd name="T9" fmla="*/ 0 h 55"/>
                <a:gd name="T10" fmla="*/ 0 w 52"/>
                <a:gd name="T11" fmla="*/ 0 h 55"/>
                <a:gd name="T12" fmla="*/ 0 60000 65536"/>
                <a:gd name="T13" fmla="*/ 0 60000 65536"/>
                <a:gd name="T14" fmla="*/ 0 60000 65536"/>
                <a:gd name="T15" fmla="*/ 0 60000 65536"/>
                <a:gd name="T16" fmla="*/ 0 60000 65536"/>
                <a:gd name="T17" fmla="*/ 0 60000 65536"/>
                <a:gd name="T18" fmla="*/ 0 w 52"/>
                <a:gd name="T19" fmla="*/ 0 h 55"/>
                <a:gd name="T20" fmla="*/ 52 w 52"/>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52" h="55">
                  <a:moveTo>
                    <a:pt x="20" y="0"/>
                  </a:moveTo>
                  <a:lnTo>
                    <a:pt x="3" y="28"/>
                  </a:lnTo>
                  <a:lnTo>
                    <a:pt x="0" y="55"/>
                  </a:lnTo>
                  <a:lnTo>
                    <a:pt x="35" y="52"/>
                  </a:lnTo>
                  <a:lnTo>
                    <a:pt x="52" y="0"/>
                  </a:lnTo>
                  <a:lnTo>
                    <a:pt x="2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1" name="Freeform 316">
              <a:extLst>
                <a:ext uri="{FF2B5EF4-FFF2-40B4-BE49-F238E27FC236}">
                  <a16:creationId xmlns:a16="http://schemas.microsoft.com/office/drawing/2014/main" id="{F4E1CD3B-FEDF-FF3D-5AFD-7641F0A33B69}"/>
                </a:ext>
              </a:extLst>
            </p:cNvPr>
            <p:cNvSpPr>
              <a:spLocks noChangeAspect="1"/>
            </p:cNvSpPr>
            <p:nvPr userDrawn="1"/>
          </p:nvSpPr>
          <p:spPr bwMode="gray">
            <a:xfrm rot="21085610">
              <a:off x="3570476" y="3556023"/>
              <a:ext cx="7461" cy="30484"/>
            </a:xfrm>
            <a:custGeom>
              <a:avLst/>
              <a:gdLst>
                <a:gd name="T0" fmla="*/ 0 w 117"/>
                <a:gd name="T1" fmla="*/ 0 h 232"/>
                <a:gd name="T2" fmla="*/ 0 w 117"/>
                <a:gd name="T3" fmla="*/ 0 h 232"/>
                <a:gd name="T4" fmla="*/ 0 w 117"/>
                <a:gd name="T5" fmla="*/ 0 h 232"/>
                <a:gd name="T6" fmla="*/ 0 w 117"/>
                <a:gd name="T7" fmla="*/ 0 h 232"/>
                <a:gd name="T8" fmla="*/ 0 w 117"/>
                <a:gd name="T9" fmla="*/ 0 h 232"/>
                <a:gd name="T10" fmla="*/ 0 w 117"/>
                <a:gd name="T11" fmla="*/ 0 h 232"/>
                <a:gd name="T12" fmla="*/ 0 w 117"/>
                <a:gd name="T13" fmla="*/ 0 h 232"/>
                <a:gd name="T14" fmla="*/ 0 w 117"/>
                <a:gd name="T15" fmla="*/ 0 h 232"/>
                <a:gd name="T16" fmla="*/ 0 w 117"/>
                <a:gd name="T17" fmla="*/ 0 h 232"/>
                <a:gd name="T18" fmla="*/ 0 w 117"/>
                <a:gd name="T19" fmla="*/ 0 h 232"/>
                <a:gd name="T20" fmla="*/ 0 w 117"/>
                <a:gd name="T21" fmla="*/ 0 h 232"/>
                <a:gd name="T22" fmla="*/ 0 w 117"/>
                <a:gd name="T23" fmla="*/ 0 h 2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7"/>
                <a:gd name="T37" fmla="*/ 0 h 232"/>
                <a:gd name="T38" fmla="*/ 117 w 117"/>
                <a:gd name="T39" fmla="*/ 232 h 2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2" name="Freeform 317">
              <a:extLst>
                <a:ext uri="{FF2B5EF4-FFF2-40B4-BE49-F238E27FC236}">
                  <a16:creationId xmlns:a16="http://schemas.microsoft.com/office/drawing/2014/main" id="{30AB456A-F42D-FD75-3673-4A71F772AD44}"/>
                </a:ext>
              </a:extLst>
            </p:cNvPr>
            <p:cNvSpPr>
              <a:spLocks noChangeAspect="1"/>
            </p:cNvSpPr>
            <p:nvPr userDrawn="1"/>
          </p:nvSpPr>
          <p:spPr bwMode="gray">
            <a:xfrm rot="21085610">
              <a:off x="3594354" y="3581936"/>
              <a:ext cx="7461" cy="24388"/>
            </a:xfrm>
            <a:custGeom>
              <a:avLst/>
              <a:gdLst>
                <a:gd name="T0" fmla="*/ 0 w 149"/>
                <a:gd name="T1" fmla="*/ 0 h 218"/>
                <a:gd name="T2" fmla="*/ 0 w 149"/>
                <a:gd name="T3" fmla="*/ 0 h 218"/>
                <a:gd name="T4" fmla="*/ 0 w 149"/>
                <a:gd name="T5" fmla="*/ 0 h 218"/>
                <a:gd name="T6" fmla="*/ 0 w 149"/>
                <a:gd name="T7" fmla="*/ 0 h 218"/>
                <a:gd name="T8" fmla="*/ 0 w 149"/>
                <a:gd name="T9" fmla="*/ 0 h 218"/>
                <a:gd name="T10" fmla="*/ 0 w 149"/>
                <a:gd name="T11" fmla="*/ 0 h 218"/>
                <a:gd name="T12" fmla="*/ 0 w 149"/>
                <a:gd name="T13" fmla="*/ 0 h 218"/>
                <a:gd name="T14" fmla="*/ 0 w 149"/>
                <a:gd name="T15" fmla="*/ 0 h 218"/>
                <a:gd name="T16" fmla="*/ 0 w 149"/>
                <a:gd name="T17" fmla="*/ 0 h 218"/>
                <a:gd name="T18" fmla="*/ 0 w 149"/>
                <a:gd name="T19" fmla="*/ 0 h 218"/>
                <a:gd name="T20" fmla="*/ 0 w 149"/>
                <a:gd name="T21" fmla="*/ 0 h 218"/>
                <a:gd name="T22" fmla="*/ 0 w 149"/>
                <a:gd name="T23" fmla="*/ 0 h 218"/>
                <a:gd name="T24" fmla="*/ 0 w 149"/>
                <a:gd name="T25" fmla="*/ 0 h 218"/>
                <a:gd name="T26" fmla="*/ 0 w 149"/>
                <a:gd name="T27" fmla="*/ 0 h 218"/>
                <a:gd name="T28" fmla="*/ 0 w 149"/>
                <a:gd name="T29" fmla="*/ 0 h 218"/>
                <a:gd name="T30" fmla="*/ 0 w 149"/>
                <a:gd name="T31" fmla="*/ 0 h 218"/>
                <a:gd name="T32" fmla="*/ 0 w 149"/>
                <a:gd name="T33" fmla="*/ 0 h 218"/>
                <a:gd name="T34" fmla="*/ 0 w 149"/>
                <a:gd name="T35" fmla="*/ 0 h 2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9"/>
                <a:gd name="T55" fmla="*/ 0 h 218"/>
                <a:gd name="T56" fmla="*/ 149 w 149"/>
                <a:gd name="T57" fmla="*/ 218 h 2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3" name="Freeform 318">
              <a:extLst>
                <a:ext uri="{FF2B5EF4-FFF2-40B4-BE49-F238E27FC236}">
                  <a16:creationId xmlns:a16="http://schemas.microsoft.com/office/drawing/2014/main" id="{9C2FD4B0-51A8-50A8-DA3C-9D5E16A82C36}"/>
                </a:ext>
              </a:extLst>
            </p:cNvPr>
            <p:cNvSpPr>
              <a:spLocks noChangeAspect="1"/>
            </p:cNvSpPr>
            <p:nvPr userDrawn="1"/>
          </p:nvSpPr>
          <p:spPr bwMode="gray">
            <a:xfrm rot="21085610">
              <a:off x="3615246" y="3598702"/>
              <a:ext cx="7461" cy="4573"/>
            </a:xfrm>
            <a:custGeom>
              <a:avLst/>
              <a:gdLst>
                <a:gd name="T0" fmla="*/ 0 w 118"/>
                <a:gd name="T1" fmla="*/ 0 h 34"/>
                <a:gd name="T2" fmla="*/ 0 w 118"/>
                <a:gd name="T3" fmla="*/ 0 h 34"/>
                <a:gd name="T4" fmla="*/ 0 w 118"/>
                <a:gd name="T5" fmla="*/ 0 h 34"/>
                <a:gd name="T6" fmla="*/ 0 w 118"/>
                <a:gd name="T7" fmla="*/ 0 h 34"/>
                <a:gd name="T8" fmla="*/ 0 w 118"/>
                <a:gd name="T9" fmla="*/ 0 h 34"/>
                <a:gd name="T10" fmla="*/ 0 w 118"/>
                <a:gd name="T11" fmla="*/ 0 h 34"/>
                <a:gd name="T12" fmla="*/ 0 w 118"/>
                <a:gd name="T13" fmla="*/ 0 h 34"/>
                <a:gd name="T14" fmla="*/ 0 60000 65536"/>
                <a:gd name="T15" fmla="*/ 0 60000 65536"/>
                <a:gd name="T16" fmla="*/ 0 60000 65536"/>
                <a:gd name="T17" fmla="*/ 0 60000 65536"/>
                <a:gd name="T18" fmla="*/ 0 60000 65536"/>
                <a:gd name="T19" fmla="*/ 0 60000 65536"/>
                <a:gd name="T20" fmla="*/ 0 60000 65536"/>
                <a:gd name="T21" fmla="*/ 0 w 118"/>
                <a:gd name="T22" fmla="*/ 0 h 34"/>
                <a:gd name="T23" fmla="*/ 118 w 118"/>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34">
                  <a:moveTo>
                    <a:pt x="118" y="34"/>
                  </a:moveTo>
                  <a:lnTo>
                    <a:pt x="100" y="3"/>
                  </a:lnTo>
                  <a:lnTo>
                    <a:pt x="56" y="0"/>
                  </a:lnTo>
                  <a:lnTo>
                    <a:pt x="0" y="24"/>
                  </a:lnTo>
                  <a:lnTo>
                    <a:pt x="52" y="17"/>
                  </a:lnTo>
                  <a:lnTo>
                    <a:pt x="90" y="34"/>
                  </a:lnTo>
                  <a:lnTo>
                    <a:pt x="118" y="3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4" name="Freeform 319">
              <a:extLst>
                <a:ext uri="{FF2B5EF4-FFF2-40B4-BE49-F238E27FC236}">
                  <a16:creationId xmlns:a16="http://schemas.microsoft.com/office/drawing/2014/main" id="{EA0BE7D1-FC37-A4CD-D74D-F9114BE1E572}"/>
                </a:ext>
              </a:extLst>
            </p:cNvPr>
            <p:cNvSpPr>
              <a:spLocks noChangeAspect="1"/>
            </p:cNvSpPr>
            <p:nvPr userDrawn="1"/>
          </p:nvSpPr>
          <p:spPr bwMode="gray">
            <a:xfrm rot="21085610">
              <a:off x="3633155" y="3610896"/>
              <a:ext cx="17908" cy="12193"/>
            </a:xfrm>
            <a:custGeom>
              <a:avLst/>
              <a:gdLst>
                <a:gd name="T0" fmla="*/ 0 w 248"/>
                <a:gd name="T1" fmla="*/ 0 h 103"/>
                <a:gd name="T2" fmla="*/ 0 w 248"/>
                <a:gd name="T3" fmla="*/ 0 h 103"/>
                <a:gd name="T4" fmla="*/ 0 w 248"/>
                <a:gd name="T5" fmla="*/ 0 h 103"/>
                <a:gd name="T6" fmla="*/ 0 w 248"/>
                <a:gd name="T7" fmla="*/ 0 h 103"/>
                <a:gd name="T8" fmla="*/ 0 w 248"/>
                <a:gd name="T9" fmla="*/ 0 h 103"/>
                <a:gd name="T10" fmla="*/ 0 w 248"/>
                <a:gd name="T11" fmla="*/ 0 h 103"/>
                <a:gd name="T12" fmla="*/ 0 w 248"/>
                <a:gd name="T13" fmla="*/ 0 h 103"/>
                <a:gd name="T14" fmla="*/ 0 w 248"/>
                <a:gd name="T15" fmla="*/ 0 h 103"/>
                <a:gd name="T16" fmla="*/ 0 w 248"/>
                <a:gd name="T17" fmla="*/ 0 h 103"/>
                <a:gd name="T18" fmla="*/ 0 w 248"/>
                <a:gd name="T19" fmla="*/ 0 h 103"/>
                <a:gd name="T20" fmla="*/ 0 w 248"/>
                <a:gd name="T21" fmla="*/ 0 h 103"/>
                <a:gd name="T22" fmla="*/ 0 w 248"/>
                <a:gd name="T23" fmla="*/ 0 h 103"/>
                <a:gd name="T24" fmla="*/ 0 w 248"/>
                <a:gd name="T25" fmla="*/ 0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8"/>
                <a:gd name="T40" fmla="*/ 0 h 103"/>
                <a:gd name="T41" fmla="*/ 248 w 248"/>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5" name="Freeform 320">
              <a:extLst>
                <a:ext uri="{FF2B5EF4-FFF2-40B4-BE49-F238E27FC236}">
                  <a16:creationId xmlns:a16="http://schemas.microsoft.com/office/drawing/2014/main" id="{74995F0B-8CF0-E8AE-87BE-FE53B18736AF}"/>
                </a:ext>
              </a:extLst>
            </p:cNvPr>
            <p:cNvSpPr>
              <a:spLocks noChangeAspect="1"/>
            </p:cNvSpPr>
            <p:nvPr userDrawn="1"/>
          </p:nvSpPr>
          <p:spPr bwMode="gray">
            <a:xfrm rot="21085610">
              <a:off x="3612262" y="3641380"/>
              <a:ext cx="10446" cy="18291"/>
            </a:xfrm>
            <a:custGeom>
              <a:avLst/>
              <a:gdLst>
                <a:gd name="T0" fmla="*/ 0 w 192"/>
                <a:gd name="T1" fmla="*/ 0 h 146"/>
                <a:gd name="T2" fmla="*/ 0 w 192"/>
                <a:gd name="T3" fmla="*/ 0 h 146"/>
                <a:gd name="T4" fmla="*/ 0 w 192"/>
                <a:gd name="T5" fmla="*/ 0 h 146"/>
                <a:gd name="T6" fmla="*/ 0 w 192"/>
                <a:gd name="T7" fmla="*/ 0 h 146"/>
                <a:gd name="T8" fmla="*/ 0 w 192"/>
                <a:gd name="T9" fmla="*/ 0 h 146"/>
                <a:gd name="T10" fmla="*/ 0 w 192"/>
                <a:gd name="T11" fmla="*/ 0 h 146"/>
                <a:gd name="T12" fmla="*/ 0 w 192"/>
                <a:gd name="T13" fmla="*/ 0 h 146"/>
                <a:gd name="T14" fmla="*/ 0 w 192"/>
                <a:gd name="T15" fmla="*/ 0 h 146"/>
                <a:gd name="T16" fmla="*/ 0 w 192"/>
                <a:gd name="T17" fmla="*/ 0 h 146"/>
                <a:gd name="T18" fmla="*/ 0 w 192"/>
                <a:gd name="T19" fmla="*/ 0 h 1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2"/>
                <a:gd name="T31" fmla="*/ 0 h 146"/>
                <a:gd name="T32" fmla="*/ 192 w 192"/>
                <a:gd name="T33" fmla="*/ 146 h 1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6" name="Freeform 321">
              <a:extLst>
                <a:ext uri="{FF2B5EF4-FFF2-40B4-BE49-F238E27FC236}">
                  <a16:creationId xmlns:a16="http://schemas.microsoft.com/office/drawing/2014/main" id="{CD01F70A-A2BC-9A6D-CD07-A45AB60967E3}"/>
                </a:ext>
              </a:extLst>
            </p:cNvPr>
            <p:cNvSpPr>
              <a:spLocks noChangeAspect="1"/>
            </p:cNvSpPr>
            <p:nvPr userDrawn="1"/>
          </p:nvSpPr>
          <p:spPr bwMode="gray">
            <a:xfrm rot="21085610">
              <a:off x="3516752" y="3537733"/>
              <a:ext cx="4477" cy="7622"/>
            </a:xfrm>
            <a:custGeom>
              <a:avLst/>
              <a:gdLst>
                <a:gd name="T0" fmla="*/ 0 w 70"/>
                <a:gd name="T1" fmla="*/ 0 h 80"/>
                <a:gd name="T2" fmla="*/ 0 w 70"/>
                <a:gd name="T3" fmla="*/ 0 h 80"/>
                <a:gd name="T4" fmla="*/ 0 w 70"/>
                <a:gd name="T5" fmla="*/ 0 h 80"/>
                <a:gd name="T6" fmla="*/ 0 w 70"/>
                <a:gd name="T7" fmla="*/ 0 h 80"/>
                <a:gd name="T8" fmla="*/ 0 w 70"/>
                <a:gd name="T9" fmla="*/ 0 h 80"/>
                <a:gd name="T10" fmla="*/ 0 w 70"/>
                <a:gd name="T11" fmla="*/ 0 h 80"/>
                <a:gd name="T12" fmla="*/ 0 60000 65536"/>
                <a:gd name="T13" fmla="*/ 0 60000 65536"/>
                <a:gd name="T14" fmla="*/ 0 60000 65536"/>
                <a:gd name="T15" fmla="*/ 0 60000 65536"/>
                <a:gd name="T16" fmla="*/ 0 60000 65536"/>
                <a:gd name="T17" fmla="*/ 0 60000 65536"/>
                <a:gd name="T18" fmla="*/ 0 w 70"/>
                <a:gd name="T19" fmla="*/ 0 h 80"/>
                <a:gd name="T20" fmla="*/ 70 w 7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70" h="80">
                  <a:moveTo>
                    <a:pt x="42" y="0"/>
                  </a:moveTo>
                  <a:lnTo>
                    <a:pt x="0" y="55"/>
                  </a:lnTo>
                  <a:lnTo>
                    <a:pt x="4" y="80"/>
                  </a:lnTo>
                  <a:lnTo>
                    <a:pt x="42" y="57"/>
                  </a:lnTo>
                  <a:lnTo>
                    <a:pt x="70" y="9"/>
                  </a:lnTo>
                  <a:lnTo>
                    <a:pt x="4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7" name="Freeform 322">
              <a:extLst>
                <a:ext uri="{FF2B5EF4-FFF2-40B4-BE49-F238E27FC236}">
                  <a16:creationId xmlns:a16="http://schemas.microsoft.com/office/drawing/2014/main" id="{7EB9B275-6A47-A77A-8A44-6C2A440C08FA}"/>
                </a:ext>
              </a:extLst>
            </p:cNvPr>
            <p:cNvSpPr>
              <a:spLocks noChangeAspect="1"/>
            </p:cNvSpPr>
            <p:nvPr userDrawn="1"/>
          </p:nvSpPr>
          <p:spPr bwMode="gray">
            <a:xfrm rot="21085610">
              <a:off x="3463028" y="3510297"/>
              <a:ext cx="2985" cy="9145"/>
            </a:xfrm>
            <a:custGeom>
              <a:avLst/>
              <a:gdLst>
                <a:gd name="T0" fmla="*/ 0 w 72"/>
                <a:gd name="T1" fmla="*/ 0 h 93"/>
                <a:gd name="T2" fmla="*/ 0 w 72"/>
                <a:gd name="T3" fmla="*/ 0 h 93"/>
                <a:gd name="T4" fmla="*/ 0 w 72"/>
                <a:gd name="T5" fmla="*/ 0 h 93"/>
                <a:gd name="T6" fmla="*/ 0 w 72"/>
                <a:gd name="T7" fmla="*/ 0 h 93"/>
                <a:gd name="T8" fmla="*/ 0 w 72"/>
                <a:gd name="T9" fmla="*/ 0 h 93"/>
                <a:gd name="T10" fmla="*/ 0 60000 65536"/>
                <a:gd name="T11" fmla="*/ 0 60000 65536"/>
                <a:gd name="T12" fmla="*/ 0 60000 65536"/>
                <a:gd name="T13" fmla="*/ 0 60000 65536"/>
                <a:gd name="T14" fmla="*/ 0 60000 65536"/>
                <a:gd name="T15" fmla="*/ 0 w 72"/>
                <a:gd name="T16" fmla="*/ 0 h 93"/>
                <a:gd name="T17" fmla="*/ 72 w 72"/>
                <a:gd name="T18" fmla="*/ 93 h 93"/>
              </a:gdLst>
              <a:ahLst/>
              <a:cxnLst>
                <a:cxn ang="T10">
                  <a:pos x="T0" y="T1"/>
                </a:cxn>
                <a:cxn ang="T11">
                  <a:pos x="T2" y="T3"/>
                </a:cxn>
                <a:cxn ang="T12">
                  <a:pos x="T4" y="T5"/>
                </a:cxn>
                <a:cxn ang="T13">
                  <a:pos x="T6" y="T7"/>
                </a:cxn>
                <a:cxn ang="T14">
                  <a:pos x="T8" y="T9"/>
                </a:cxn>
              </a:cxnLst>
              <a:rect l="T15" t="T16" r="T17" b="T18"/>
              <a:pathLst>
                <a:path w="72" h="93">
                  <a:moveTo>
                    <a:pt x="72" y="7"/>
                  </a:moveTo>
                  <a:lnTo>
                    <a:pt x="57" y="0"/>
                  </a:lnTo>
                  <a:lnTo>
                    <a:pt x="0" y="79"/>
                  </a:lnTo>
                  <a:lnTo>
                    <a:pt x="7" y="93"/>
                  </a:lnTo>
                  <a:lnTo>
                    <a:pt x="72"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8" name="Freeform 323">
              <a:extLst>
                <a:ext uri="{FF2B5EF4-FFF2-40B4-BE49-F238E27FC236}">
                  <a16:creationId xmlns:a16="http://schemas.microsoft.com/office/drawing/2014/main" id="{D62ACC89-D60C-8E1E-DB30-0D1B27893504}"/>
                </a:ext>
              </a:extLst>
            </p:cNvPr>
            <p:cNvSpPr>
              <a:spLocks noChangeAspect="1"/>
            </p:cNvSpPr>
            <p:nvPr userDrawn="1"/>
          </p:nvSpPr>
          <p:spPr bwMode="gray">
            <a:xfrm rot="21085610">
              <a:off x="3458550" y="3522491"/>
              <a:ext cx="4477" cy="4573"/>
            </a:xfrm>
            <a:custGeom>
              <a:avLst/>
              <a:gdLst>
                <a:gd name="T0" fmla="*/ 0 w 56"/>
                <a:gd name="T1" fmla="*/ 0 h 36"/>
                <a:gd name="T2" fmla="*/ 0 w 56"/>
                <a:gd name="T3" fmla="*/ 0 h 36"/>
                <a:gd name="T4" fmla="*/ 0 w 56"/>
                <a:gd name="T5" fmla="*/ 0 h 36"/>
                <a:gd name="T6" fmla="*/ 0 w 56"/>
                <a:gd name="T7" fmla="*/ 0 h 36"/>
                <a:gd name="T8" fmla="*/ 0 w 56"/>
                <a:gd name="T9" fmla="*/ 0 h 36"/>
                <a:gd name="T10" fmla="*/ 0 60000 65536"/>
                <a:gd name="T11" fmla="*/ 0 60000 65536"/>
                <a:gd name="T12" fmla="*/ 0 60000 65536"/>
                <a:gd name="T13" fmla="*/ 0 60000 65536"/>
                <a:gd name="T14" fmla="*/ 0 60000 65536"/>
                <a:gd name="T15" fmla="*/ 0 w 56"/>
                <a:gd name="T16" fmla="*/ 0 h 36"/>
                <a:gd name="T17" fmla="*/ 56 w 56"/>
                <a:gd name="T18" fmla="*/ 36 h 36"/>
              </a:gdLst>
              <a:ahLst/>
              <a:cxnLst>
                <a:cxn ang="T10">
                  <a:pos x="T0" y="T1"/>
                </a:cxn>
                <a:cxn ang="T11">
                  <a:pos x="T2" y="T3"/>
                </a:cxn>
                <a:cxn ang="T12">
                  <a:pos x="T4" y="T5"/>
                </a:cxn>
                <a:cxn ang="T13">
                  <a:pos x="T6" y="T7"/>
                </a:cxn>
                <a:cxn ang="T14">
                  <a:pos x="T8" y="T9"/>
                </a:cxn>
              </a:cxnLst>
              <a:rect l="T15" t="T16" r="T17" b="T18"/>
              <a:pathLst>
                <a:path w="56" h="36">
                  <a:moveTo>
                    <a:pt x="56" y="0"/>
                  </a:moveTo>
                  <a:lnTo>
                    <a:pt x="0" y="26"/>
                  </a:lnTo>
                  <a:lnTo>
                    <a:pt x="4" y="36"/>
                  </a:lnTo>
                  <a:lnTo>
                    <a:pt x="53" y="18"/>
                  </a:lnTo>
                  <a:lnTo>
                    <a:pt x="5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299" name="Freeform 324">
              <a:extLst>
                <a:ext uri="{FF2B5EF4-FFF2-40B4-BE49-F238E27FC236}">
                  <a16:creationId xmlns:a16="http://schemas.microsoft.com/office/drawing/2014/main" id="{B79B579E-C5B3-6FB1-DA33-B5DF6265087F}"/>
                </a:ext>
              </a:extLst>
            </p:cNvPr>
            <p:cNvSpPr>
              <a:spLocks noChangeAspect="1"/>
            </p:cNvSpPr>
            <p:nvPr userDrawn="1"/>
          </p:nvSpPr>
          <p:spPr bwMode="gray">
            <a:xfrm rot="21085610">
              <a:off x="3442135" y="3527064"/>
              <a:ext cx="10446" cy="12193"/>
            </a:xfrm>
            <a:custGeom>
              <a:avLst/>
              <a:gdLst>
                <a:gd name="T0" fmla="*/ 0 w 155"/>
                <a:gd name="T1" fmla="*/ 0 h 70"/>
                <a:gd name="T2" fmla="*/ 0 w 155"/>
                <a:gd name="T3" fmla="*/ 0 h 70"/>
                <a:gd name="T4" fmla="*/ 0 w 155"/>
                <a:gd name="T5" fmla="*/ 0 h 70"/>
                <a:gd name="T6" fmla="*/ 0 w 155"/>
                <a:gd name="T7" fmla="*/ 0 h 70"/>
                <a:gd name="T8" fmla="*/ 0 w 155"/>
                <a:gd name="T9" fmla="*/ 0 h 70"/>
                <a:gd name="T10" fmla="*/ 0 w 155"/>
                <a:gd name="T11" fmla="*/ 0 h 70"/>
                <a:gd name="T12" fmla="*/ 0 w 155"/>
                <a:gd name="T13" fmla="*/ 0 h 70"/>
                <a:gd name="T14" fmla="*/ 0 w 155"/>
                <a:gd name="T15" fmla="*/ 0 h 70"/>
                <a:gd name="T16" fmla="*/ 0 w 155"/>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70"/>
                <a:gd name="T29" fmla="*/ 155 w 155"/>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0" name="Freeform 325">
              <a:extLst>
                <a:ext uri="{FF2B5EF4-FFF2-40B4-BE49-F238E27FC236}">
                  <a16:creationId xmlns:a16="http://schemas.microsoft.com/office/drawing/2014/main" id="{F92FAEAD-D07C-A14E-B2E3-27FA6CA51315}"/>
                </a:ext>
              </a:extLst>
            </p:cNvPr>
            <p:cNvSpPr>
              <a:spLocks noChangeAspect="1"/>
            </p:cNvSpPr>
            <p:nvPr userDrawn="1"/>
          </p:nvSpPr>
          <p:spPr bwMode="gray">
            <a:xfrm rot="20552049">
              <a:off x="3513767" y="3773987"/>
              <a:ext cx="40293" cy="30484"/>
            </a:xfrm>
            <a:custGeom>
              <a:avLst/>
              <a:gdLst>
                <a:gd name="T0" fmla="*/ 0 w 642"/>
                <a:gd name="T1" fmla="*/ 0 h 260"/>
                <a:gd name="T2" fmla="*/ 0 w 642"/>
                <a:gd name="T3" fmla="*/ 0 h 260"/>
                <a:gd name="T4" fmla="*/ 0 w 642"/>
                <a:gd name="T5" fmla="*/ 0 h 260"/>
                <a:gd name="T6" fmla="*/ 0 w 642"/>
                <a:gd name="T7" fmla="*/ 0 h 260"/>
                <a:gd name="T8" fmla="*/ 0 w 642"/>
                <a:gd name="T9" fmla="*/ 0 h 260"/>
                <a:gd name="T10" fmla="*/ 0 w 642"/>
                <a:gd name="T11" fmla="*/ 0 h 260"/>
                <a:gd name="T12" fmla="*/ 0 w 642"/>
                <a:gd name="T13" fmla="*/ 0 h 260"/>
                <a:gd name="T14" fmla="*/ 0 w 642"/>
                <a:gd name="T15" fmla="*/ 0 h 260"/>
                <a:gd name="T16" fmla="*/ 0 w 642"/>
                <a:gd name="T17" fmla="*/ 0 h 260"/>
                <a:gd name="T18" fmla="*/ 0 w 642"/>
                <a:gd name="T19" fmla="*/ 0 h 260"/>
                <a:gd name="T20" fmla="*/ 0 w 642"/>
                <a:gd name="T21" fmla="*/ 0 h 260"/>
                <a:gd name="T22" fmla="*/ 0 w 642"/>
                <a:gd name="T23" fmla="*/ 0 h 260"/>
                <a:gd name="T24" fmla="*/ 0 w 642"/>
                <a:gd name="T25" fmla="*/ 0 h 260"/>
                <a:gd name="T26" fmla="*/ 0 w 642"/>
                <a:gd name="T27" fmla="*/ 0 h 260"/>
                <a:gd name="T28" fmla="*/ 0 w 642"/>
                <a:gd name="T29" fmla="*/ 0 h 260"/>
                <a:gd name="T30" fmla="*/ 0 w 642"/>
                <a:gd name="T31" fmla="*/ 0 h 260"/>
                <a:gd name="T32" fmla="*/ 0 w 642"/>
                <a:gd name="T33" fmla="*/ 0 h 260"/>
                <a:gd name="T34" fmla="*/ 0 w 642"/>
                <a:gd name="T35" fmla="*/ 0 h 260"/>
                <a:gd name="T36" fmla="*/ 0 w 642"/>
                <a:gd name="T37" fmla="*/ 0 h 260"/>
                <a:gd name="T38" fmla="*/ 0 w 642"/>
                <a:gd name="T39" fmla="*/ 0 h 260"/>
                <a:gd name="T40" fmla="*/ 0 w 642"/>
                <a:gd name="T41" fmla="*/ 0 h 260"/>
                <a:gd name="T42" fmla="*/ 0 w 642"/>
                <a:gd name="T43" fmla="*/ 0 h 26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42"/>
                <a:gd name="T67" fmla="*/ 0 h 260"/>
                <a:gd name="T68" fmla="*/ 642 w 642"/>
                <a:gd name="T69" fmla="*/ 260 h 26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1" name="Freeform 326">
              <a:extLst>
                <a:ext uri="{FF2B5EF4-FFF2-40B4-BE49-F238E27FC236}">
                  <a16:creationId xmlns:a16="http://schemas.microsoft.com/office/drawing/2014/main" id="{BCA9D672-FAB0-70BA-DB47-5F9FA0979C5E}"/>
                </a:ext>
              </a:extLst>
            </p:cNvPr>
            <p:cNvSpPr>
              <a:spLocks noChangeAspect="1"/>
            </p:cNvSpPr>
            <p:nvPr userDrawn="1"/>
          </p:nvSpPr>
          <p:spPr bwMode="gray">
            <a:xfrm rot="20552049">
              <a:off x="3622708" y="3670340"/>
              <a:ext cx="64171" cy="96025"/>
            </a:xfrm>
            <a:custGeom>
              <a:avLst/>
              <a:gdLst>
                <a:gd name="T0" fmla="*/ 0 w 1080"/>
                <a:gd name="T1" fmla="*/ 0 h 745"/>
                <a:gd name="T2" fmla="*/ 0 w 1080"/>
                <a:gd name="T3" fmla="*/ 0 h 745"/>
                <a:gd name="T4" fmla="*/ 0 w 1080"/>
                <a:gd name="T5" fmla="*/ 0 h 745"/>
                <a:gd name="T6" fmla="*/ 0 w 1080"/>
                <a:gd name="T7" fmla="*/ 0 h 745"/>
                <a:gd name="T8" fmla="*/ 0 w 1080"/>
                <a:gd name="T9" fmla="*/ 0 h 745"/>
                <a:gd name="T10" fmla="*/ 0 w 1080"/>
                <a:gd name="T11" fmla="*/ 0 h 745"/>
                <a:gd name="T12" fmla="*/ 0 w 1080"/>
                <a:gd name="T13" fmla="*/ 0 h 745"/>
                <a:gd name="T14" fmla="*/ 0 w 1080"/>
                <a:gd name="T15" fmla="*/ 0 h 745"/>
                <a:gd name="T16" fmla="*/ 0 w 1080"/>
                <a:gd name="T17" fmla="*/ 0 h 745"/>
                <a:gd name="T18" fmla="*/ 0 w 1080"/>
                <a:gd name="T19" fmla="*/ 0 h 745"/>
                <a:gd name="T20" fmla="*/ 0 w 1080"/>
                <a:gd name="T21" fmla="*/ 0 h 745"/>
                <a:gd name="T22" fmla="*/ 0 w 1080"/>
                <a:gd name="T23" fmla="*/ 0 h 745"/>
                <a:gd name="T24" fmla="*/ 0 w 1080"/>
                <a:gd name="T25" fmla="*/ 0 h 745"/>
                <a:gd name="T26" fmla="*/ 0 w 1080"/>
                <a:gd name="T27" fmla="*/ 0 h 745"/>
                <a:gd name="T28" fmla="*/ 0 w 1080"/>
                <a:gd name="T29" fmla="*/ 0 h 745"/>
                <a:gd name="T30" fmla="*/ 0 w 1080"/>
                <a:gd name="T31" fmla="*/ 0 h 745"/>
                <a:gd name="T32" fmla="*/ 0 w 1080"/>
                <a:gd name="T33" fmla="*/ 0 h 745"/>
                <a:gd name="T34" fmla="*/ 0 w 1080"/>
                <a:gd name="T35" fmla="*/ 0 h 745"/>
                <a:gd name="T36" fmla="*/ 0 w 1080"/>
                <a:gd name="T37" fmla="*/ 0 h 745"/>
                <a:gd name="T38" fmla="*/ 0 w 1080"/>
                <a:gd name="T39" fmla="*/ 0 h 745"/>
                <a:gd name="T40" fmla="*/ 0 w 1080"/>
                <a:gd name="T41" fmla="*/ 0 h 745"/>
                <a:gd name="T42" fmla="*/ 0 w 1080"/>
                <a:gd name="T43" fmla="*/ 0 h 745"/>
                <a:gd name="T44" fmla="*/ 0 w 1080"/>
                <a:gd name="T45" fmla="*/ 0 h 745"/>
                <a:gd name="T46" fmla="*/ 0 w 1080"/>
                <a:gd name="T47" fmla="*/ 0 h 745"/>
                <a:gd name="T48" fmla="*/ 0 w 1080"/>
                <a:gd name="T49" fmla="*/ 0 h 745"/>
                <a:gd name="T50" fmla="*/ 0 w 1080"/>
                <a:gd name="T51" fmla="*/ 0 h 745"/>
                <a:gd name="T52" fmla="*/ 0 w 1080"/>
                <a:gd name="T53" fmla="*/ 0 h 745"/>
                <a:gd name="T54" fmla="*/ 0 w 1080"/>
                <a:gd name="T55" fmla="*/ 0 h 745"/>
                <a:gd name="T56" fmla="*/ 0 w 1080"/>
                <a:gd name="T57" fmla="*/ 0 h 745"/>
                <a:gd name="T58" fmla="*/ 0 w 1080"/>
                <a:gd name="T59" fmla="*/ 0 h 745"/>
                <a:gd name="T60" fmla="*/ 0 w 1080"/>
                <a:gd name="T61" fmla="*/ 0 h 745"/>
                <a:gd name="T62" fmla="*/ 0 w 1080"/>
                <a:gd name="T63" fmla="*/ 0 h 745"/>
                <a:gd name="T64" fmla="*/ 0 w 1080"/>
                <a:gd name="T65" fmla="*/ 0 h 745"/>
                <a:gd name="T66" fmla="*/ 0 w 1080"/>
                <a:gd name="T67" fmla="*/ 0 h 7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80"/>
                <a:gd name="T103" fmla="*/ 0 h 745"/>
                <a:gd name="T104" fmla="*/ 1080 w 1080"/>
                <a:gd name="T105" fmla="*/ 745 h 74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2" name="Freeform 327">
              <a:extLst>
                <a:ext uri="{FF2B5EF4-FFF2-40B4-BE49-F238E27FC236}">
                  <a16:creationId xmlns:a16="http://schemas.microsoft.com/office/drawing/2014/main" id="{CB6F4A21-43CD-1705-CEC9-4561221E8C7B}"/>
                </a:ext>
              </a:extLst>
            </p:cNvPr>
            <p:cNvSpPr>
              <a:spLocks noChangeAspect="1"/>
            </p:cNvSpPr>
            <p:nvPr userDrawn="1"/>
          </p:nvSpPr>
          <p:spPr bwMode="gray">
            <a:xfrm rot="20552049">
              <a:off x="3815220" y="3726736"/>
              <a:ext cx="2985" cy="4573"/>
            </a:xfrm>
            <a:custGeom>
              <a:avLst/>
              <a:gdLst>
                <a:gd name="T0" fmla="*/ 0 w 56"/>
                <a:gd name="T1" fmla="*/ 0 h 53"/>
                <a:gd name="T2" fmla="*/ 0 w 56"/>
                <a:gd name="T3" fmla="*/ 0 h 53"/>
                <a:gd name="T4" fmla="*/ 0 w 56"/>
                <a:gd name="T5" fmla="*/ 0 h 53"/>
                <a:gd name="T6" fmla="*/ 0 w 56"/>
                <a:gd name="T7" fmla="*/ 0 h 53"/>
                <a:gd name="T8" fmla="*/ 0 w 56"/>
                <a:gd name="T9" fmla="*/ 0 h 53"/>
                <a:gd name="T10" fmla="*/ 0 w 56"/>
                <a:gd name="T11" fmla="*/ 0 h 53"/>
                <a:gd name="T12" fmla="*/ 0 w 56"/>
                <a:gd name="T13" fmla="*/ 0 h 53"/>
                <a:gd name="T14" fmla="*/ 0 w 56"/>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3"/>
                <a:gd name="T26" fmla="*/ 56 w 56"/>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3">
                  <a:moveTo>
                    <a:pt x="18" y="0"/>
                  </a:moveTo>
                  <a:lnTo>
                    <a:pt x="11" y="4"/>
                  </a:lnTo>
                  <a:lnTo>
                    <a:pt x="0" y="28"/>
                  </a:lnTo>
                  <a:lnTo>
                    <a:pt x="4" y="48"/>
                  </a:lnTo>
                  <a:lnTo>
                    <a:pt x="24" y="53"/>
                  </a:lnTo>
                  <a:lnTo>
                    <a:pt x="52" y="34"/>
                  </a:lnTo>
                  <a:lnTo>
                    <a:pt x="56" y="22"/>
                  </a:lnTo>
                  <a:lnTo>
                    <a:pt x="1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3" name="Freeform 328">
              <a:extLst>
                <a:ext uri="{FF2B5EF4-FFF2-40B4-BE49-F238E27FC236}">
                  <a16:creationId xmlns:a16="http://schemas.microsoft.com/office/drawing/2014/main" id="{780A9D84-2B67-CC59-F846-B51551451968}"/>
                </a:ext>
              </a:extLst>
            </p:cNvPr>
            <p:cNvSpPr>
              <a:spLocks noChangeAspect="1"/>
            </p:cNvSpPr>
            <p:nvPr userDrawn="1"/>
          </p:nvSpPr>
          <p:spPr bwMode="gray">
            <a:xfrm rot="20552049">
              <a:off x="3854021" y="3804471"/>
              <a:ext cx="4477" cy="21339"/>
            </a:xfrm>
            <a:custGeom>
              <a:avLst/>
              <a:gdLst>
                <a:gd name="T0" fmla="*/ 0 w 111"/>
                <a:gd name="T1" fmla="*/ 0 h 152"/>
                <a:gd name="T2" fmla="*/ 0 w 111"/>
                <a:gd name="T3" fmla="*/ 0 h 152"/>
                <a:gd name="T4" fmla="*/ 0 w 111"/>
                <a:gd name="T5" fmla="*/ 0 h 152"/>
                <a:gd name="T6" fmla="*/ 0 w 111"/>
                <a:gd name="T7" fmla="*/ 0 h 152"/>
                <a:gd name="T8" fmla="*/ 0 w 111"/>
                <a:gd name="T9" fmla="*/ 0 h 152"/>
                <a:gd name="T10" fmla="*/ 0 w 111"/>
                <a:gd name="T11" fmla="*/ 0 h 152"/>
                <a:gd name="T12" fmla="*/ 0 w 111"/>
                <a:gd name="T13" fmla="*/ 0 h 152"/>
                <a:gd name="T14" fmla="*/ 0 w 111"/>
                <a:gd name="T15" fmla="*/ 0 h 152"/>
                <a:gd name="T16" fmla="*/ 0 w 111"/>
                <a:gd name="T17" fmla="*/ 0 h 152"/>
                <a:gd name="T18" fmla="*/ 0 w 111"/>
                <a:gd name="T19" fmla="*/ 0 h 1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152"/>
                <a:gd name="T32" fmla="*/ 111 w 111"/>
                <a:gd name="T33" fmla="*/ 152 h 1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4" name="Freeform 329">
              <a:extLst>
                <a:ext uri="{FF2B5EF4-FFF2-40B4-BE49-F238E27FC236}">
                  <a16:creationId xmlns:a16="http://schemas.microsoft.com/office/drawing/2014/main" id="{E067F7CC-7529-0811-7FD4-761452FD242A}"/>
                </a:ext>
              </a:extLst>
            </p:cNvPr>
            <p:cNvSpPr>
              <a:spLocks noChangeAspect="1"/>
            </p:cNvSpPr>
            <p:nvPr userDrawn="1"/>
          </p:nvSpPr>
          <p:spPr bwMode="gray">
            <a:xfrm rot="20552049">
              <a:off x="3892822" y="3941651"/>
              <a:ext cx="4477" cy="9145"/>
            </a:xfrm>
            <a:custGeom>
              <a:avLst/>
              <a:gdLst>
                <a:gd name="T0" fmla="*/ 0 w 86"/>
                <a:gd name="T1" fmla="*/ 0 h 63"/>
                <a:gd name="T2" fmla="*/ 0 w 86"/>
                <a:gd name="T3" fmla="*/ 0 h 63"/>
                <a:gd name="T4" fmla="*/ 0 w 86"/>
                <a:gd name="T5" fmla="*/ 0 h 63"/>
                <a:gd name="T6" fmla="*/ 0 w 86"/>
                <a:gd name="T7" fmla="*/ 0 h 63"/>
                <a:gd name="T8" fmla="*/ 0 w 86"/>
                <a:gd name="T9" fmla="*/ 0 h 63"/>
                <a:gd name="T10" fmla="*/ 0 w 86"/>
                <a:gd name="T11" fmla="*/ 0 h 63"/>
                <a:gd name="T12" fmla="*/ 0 60000 65536"/>
                <a:gd name="T13" fmla="*/ 0 60000 65536"/>
                <a:gd name="T14" fmla="*/ 0 60000 65536"/>
                <a:gd name="T15" fmla="*/ 0 60000 65536"/>
                <a:gd name="T16" fmla="*/ 0 60000 65536"/>
                <a:gd name="T17" fmla="*/ 0 60000 65536"/>
                <a:gd name="T18" fmla="*/ 0 w 86"/>
                <a:gd name="T19" fmla="*/ 0 h 63"/>
                <a:gd name="T20" fmla="*/ 86 w 86"/>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86" h="63">
                  <a:moveTo>
                    <a:pt x="86" y="0"/>
                  </a:moveTo>
                  <a:lnTo>
                    <a:pt x="51" y="11"/>
                  </a:lnTo>
                  <a:lnTo>
                    <a:pt x="0" y="52"/>
                  </a:lnTo>
                  <a:lnTo>
                    <a:pt x="14" y="63"/>
                  </a:lnTo>
                  <a:lnTo>
                    <a:pt x="62" y="31"/>
                  </a:lnTo>
                  <a:lnTo>
                    <a:pt x="8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5" name="Freeform 330">
              <a:extLst>
                <a:ext uri="{FF2B5EF4-FFF2-40B4-BE49-F238E27FC236}">
                  <a16:creationId xmlns:a16="http://schemas.microsoft.com/office/drawing/2014/main" id="{1E23573D-1B1C-88DD-4057-FE55DB9D816D}"/>
                </a:ext>
              </a:extLst>
            </p:cNvPr>
            <p:cNvSpPr>
              <a:spLocks noChangeAspect="1"/>
            </p:cNvSpPr>
            <p:nvPr userDrawn="1"/>
          </p:nvSpPr>
          <p:spPr bwMode="gray">
            <a:xfrm rot="20552049">
              <a:off x="3882375" y="3969087"/>
              <a:ext cx="14923" cy="28959"/>
            </a:xfrm>
            <a:custGeom>
              <a:avLst/>
              <a:gdLst>
                <a:gd name="T0" fmla="*/ 0 w 287"/>
                <a:gd name="T1" fmla="*/ 0 h 245"/>
                <a:gd name="T2" fmla="*/ 0 w 287"/>
                <a:gd name="T3" fmla="*/ 0 h 245"/>
                <a:gd name="T4" fmla="*/ 0 w 287"/>
                <a:gd name="T5" fmla="*/ 0 h 245"/>
                <a:gd name="T6" fmla="*/ 0 w 287"/>
                <a:gd name="T7" fmla="*/ 0 h 245"/>
                <a:gd name="T8" fmla="*/ 0 w 287"/>
                <a:gd name="T9" fmla="*/ 0 h 245"/>
                <a:gd name="T10" fmla="*/ 0 w 287"/>
                <a:gd name="T11" fmla="*/ 0 h 245"/>
                <a:gd name="T12" fmla="*/ 0 w 287"/>
                <a:gd name="T13" fmla="*/ 0 h 245"/>
                <a:gd name="T14" fmla="*/ 0 w 287"/>
                <a:gd name="T15" fmla="*/ 0 h 245"/>
                <a:gd name="T16" fmla="*/ 0 w 287"/>
                <a:gd name="T17" fmla="*/ 0 h 245"/>
                <a:gd name="T18" fmla="*/ 0 w 287"/>
                <a:gd name="T19" fmla="*/ 0 h 245"/>
                <a:gd name="T20" fmla="*/ 0 w 287"/>
                <a:gd name="T21" fmla="*/ 0 h 245"/>
                <a:gd name="T22" fmla="*/ 0 w 287"/>
                <a:gd name="T23" fmla="*/ 0 h 245"/>
                <a:gd name="T24" fmla="*/ 0 w 287"/>
                <a:gd name="T25" fmla="*/ 0 h 245"/>
                <a:gd name="T26" fmla="*/ 0 w 287"/>
                <a:gd name="T27" fmla="*/ 0 h 245"/>
                <a:gd name="T28" fmla="*/ 0 w 287"/>
                <a:gd name="T29" fmla="*/ 0 h 245"/>
                <a:gd name="T30" fmla="*/ 0 w 287"/>
                <a:gd name="T31" fmla="*/ 0 h 245"/>
                <a:gd name="T32" fmla="*/ 0 w 287"/>
                <a:gd name="T33" fmla="*/ 0 h 245"/>
                <a:gd name="T34" fmla="*/ 0 w 287"/>
                <a:gd name="T35" fmla="*/ 0 h 245"/>
                <a:gd name="T36" fmla="*/ 0 w 287"/>
                <a:gd name="T37" fmla="*/ 0 h 245"/>
                <a:gd name="T38" fmla="*/ 0 w 287"/>
                <a:gd name="T39" fmla="*/ 0 h 245"/>
                <a:gd name="T40" fmla="*/ 0 w 287"/>
                <a:gd name="T41" fmla="*/ 0 h 245"/>
                <a:gd name="T42" fmla="*/ 0 w 287"/>
                <a:gd name="T43" fmla="*/ 0 h 245"/>
                <a:gd name="T44" fmla="*/ 0 w 287"/>
                <a:gd name="T45" fmla="*/ 0 h 2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7"/>
                <a:gd name="T70" fmla="*/ 0 h 245"/>
                <a:gd name="T71" fmla="*/ 287 w 287"/>
                <a:gd name="T72" fmla="*/ 245 h 2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6" name="Freeform 331">
              <a:extLst>
                <a:ext uri="{FF2B5EF4-FFF2-40B4-BE49-F238E27FC236}">
                  <a16:creationId xmlns:a16="http://schemas.microsoft.com/office/drawing/2014/main" id="{220115D5-4462-1FDE-BA8C-94B6F427EBD9}"/>
                </a:ext>
              </a:extLst>
            </p:cNvPr>
            <p:cNvSpPr>
              <a:spLocks noChangeAspect="1"/>
            </p:cNvSpPr>
            <p:nvPr userDrawn="1"/>
          </p:nvSpPr>
          <p:spPr bwMode="gray">
            <a:xfrm rot="20552049">
              <a:off x="3591369" y="3682535"/>
              <a:ext cx="2985" cy="6097"/>
            </a:xfrm>
            <a:custGeom>
              <a:avLst/>
              <a:gdLst>
                <a:gd name="T0" fmla="*/ 0 w 68"/>
                <a:gd name="T1" fmla="*/ 0 h 42"/>
                <a:gd name="T2" fmla="*/ 0 w 68"/>
                <a:gd name="T3" fmla="*/ 0 h 42"/>
                <a:gd name="T4" fmla="*/ 0 w 68"/>
                <a:gd name="T5" fmla="*/ 0 h 42"/>
                <a:gd name="T6" fmla="*/ 0 w 68"/>
                <a:gd name="T7" fmla="*/ 0 h 42"/>
                <a:gd name="T8" fmla="*/ 0 w 68"/>
                <a:gd name="T9" fmla="*/ 0 h 42"/>
                <a:gd name="T10" fmla="*/ 0 w 68"/>
                <a:gd name="T11" fmla="*/ 0 h 42"/>
                <a:gd name="T12" fmla="*/ 0 w 68"/>
                <a:gd name="T13" fmla="*/ 0 h 42"/>
                <a:gd name="T14" fmla="*/ 0 w 68"/>
                <a:gd name="T15" fmla="*/ 0 h 42"/>
                <a:gd name="T16" fmla="*/ 0 w 68"/>
                <a:gd name="T17" fmla="*/ 0 h 42"/>
                <a:gd name="T18" fmla="*/ 0 w 68"/>
                <a:gd name="T19" fmla="*/ 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42"/>
                <a:gd name="T32" fmla="*/ 68 w 68"/>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7" name="Freeform 333">
              <a:extLst>
                <a:ext uri="{FF2B5EF4-FFF2-40B4-BE49-F238E27FC236}">
                  <a16:creationId xmlns:a16="http://schemas.microsoft.com/office/drawing/2014/main" id="{3CEE21F2-729C-1CE5-4377-FB07E7882207}"/>
                </a:ext>
              </a:extLst>
            </p:cNvPr>
            <p:cNvSpPr>
              <a:spLocks noChangeAspect="1"/>
            </p:cNvSpPr>
            <p:nvPr userDrawn="1"/>
          </p:nvSpPr>
          <p:spPr bwMode="gray">
            <a:xfrm rot="20552049">
              <a:off x="3597338" y="3725212"/>
              <a:ext cx="7461" cy="12193"/>
            </a:xfrm>
            <a:custGeom>
              <a:avLst/>
              <a:gdLst>
                <a:gd name="T0" fmla="*/ 0 w 147"/>
                <a:gd name="T1" fmla="*/ 0 h 83"/>
                <a:gd name="T2" fmla="*/ 0 w 147"/>
                <a:gd name="T3" fmla="*/ 0 h 83"/>
                <a:gd name="T4" fmla="*/ 0 w 147"/>
                <a:gd name="T5" fmla="*/ 0 h 83"/>
                <a:gd name="T6" fmla="*/ 0 w 147"/>
                <a:gd name="T7" fmla="*/ 0 h 83"/>
                <a:gd name="T8" fmla="*/ 0 w 147"/>
                <a:gd name="T9" fmla="*/ 0 h 83"/>
                <a:gd name="T10" fmla="*/ 0 w 147"/>
                <a:gd name="T11" fmla="*/ 0 h 83"/>
                <a:gd name="T12" fmla="*/ 0 w 147"/>
                <a:gd name="T13" fmla="*/ 0 h 83"/>
                <a:gd name="T14" fmla="*/ 0 w 147"/>
                <a:gd name="T15" fmla="*/ 0 h 83"/>
                <a:gd name="T16" fmla="*/ 0 60000 65536"/>
                <a:gd name="T17" fmla="*/ 0 60000 65536"/>
                <a:gd name="T18" fmla="*/ 0 60000 65536"/>
                <a:gd name="T19" fmla="*/ 0 60000 65536"/>
                <a:gd name="T20" fmla="*/ 0 60000 65536"/>
                <a:gd name="T21" fmla="*/ 0 60000 65536"/>
                <a:gd name="T22" fmla="*/ 0 60000 65536"/>
                <a:gd name="T23" fmla="*/ 0 60000 65536"/>
                <a:gd name="T24" fmla="*/ 0 w 147"/>
                <a:gd name="T25" fmla="*/ 0 h 83"/>
                <a:gd name="T26" fmla="*/ 147 w 147"/>
                <a:gd name="T27" fmla="*/ 83 h 8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7" h="83">
                  <a:moveTo>
                    <a:pt x="89" y="8"/>
                  </a:moveTo>
                  <a:lnTo>
                    <a:pt x="138" y="32"/>
                  </a:lnTo>
                  <a:lnTo>
                    <a:pt x="147" y="83"/>
                  </a:lnTo>
                  <a:lnTo>
                    <a:pt x="105" y="62"/>
                  </a:lnTo>
                  <a:lnTo>
                    <a:pt x="29" y="56"/>
                  </a:lnTo>
                  <a:lnTo>
                    <a:pt x="0" y="14"/>
                  </a:lnTo>
                  <a:lnTo>
                    <a:pt x="32" y="0"/>
                  </a:lnTo>
                  <a:lnTo>
                    <a:pt x="89"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8" name="Freeform 334">
              <a:extLst>
                <a:ext uri="{FF2B5EF4-FFF2-40B4-BE49-F238E27FC236}">
                  <a16:creationId xmlns:a16="http://schemas.microsoft.com/office/drawing/2014/main" id="{D40F0379-3C97-D761-9727-E33E48BD3B2E}"/>
                </a:ext>
              </a:extLst>
            </p:cNvPr>
            <p:cNvSpPr>
              <a:spLocks noChangeAspect="1"/>
            </p:cNvSpPr>
            <p:nvPr userDrawn="1"/>
          </p:nvSpPr>
          <p:spPr bwMode="gray">
            <a:xfrm rot="20552049">
              <a:off x="3577937" y="3688631"/>
              <a:ext cx="47755" cy="79259"/>
            </a:xfrm>
            <a:custGeom>
              <a:avLst/>
              <a:gdLst>
                <a:gd name="T0" fmla="*/ 0 w 877"/>
                <a:gd name="T1" fmla="*/ 0 h 627"/>
                <a:gd name="T2" fmla="*/ 0 w 877"/>
                <a:gd name="T3" fmla="*/ 0 h 627"/>
                <a:gd name="T4" fmla="*/ 0 w 877"/>
                <a:gd name="T5" fmla="*/ 0 h 627"/>
                <a:gd name="T6" fmla="*/ 0 w 877"/>
                <a:gd name="T7" fmla="*/ 0 h 627"/>
                <a:gd name="T8" fmla="*/ 0 w 877"/>
                <a:gd name="T9" fmla="*/ 0 h 627"/>
                <a:gd name="T10" fmla="*/ 0 w 877"/>
                <a:gd name="T11" fmla="*/ 0 h 627"/>
                <a:gd name="T12" fmla="*/ 0 w 877"/>
                <a:gd name="T13" fmla="*/ 0 h 627"/>
                <a:gd name="T14" fmla="*/ 0 w 877"/>
                <a:gd name="T15" fmla="*/ 0 h 627"/>
                <a:gd name="T16" fmla="*/ 0 w 877"/>
                <a:gd name="T17" fmla="*/ 0 h 627"/>
                <a:gd name="T18" fmla="*/ 0 w 877"/>
                <a:gd name="T19" fmla="*/ 0 h 627"/>
                <a:gd name="T20" fmla="*/ 0 w 877"/>
                <a:gd name="T21" fmla="*/ 0 h 627"/>
                <a:gd name="T22" fmla="*/ 0 w 877"/>
                <a:gd name="T23" fmla="*/ 0 h 627"/>
                <a:gd name="T24" fmla="*/ 0 w 877"/>
                <a:gd name="T25" fmla="*/ 0 h 627"/>
                <a:gd name="T26" fmla="*/ 0 w 877"/>
                <a:gd name="T27" fmla="*/ 0 h 627"/>
                <a:gd name="T28" fmla="*/ 0 w 877"/>
                <a:gd name="T29" fmla="*/ 0 h 627"/>
                <a:gd name="T30" fmla="*/ 0 w 877"/>
                <a:gd name="T31" fmla="*/ 0 h 627"/>
                <a:gd name="T32" fmla="*/ 0 w 877"/>
                <a:gd name="T33" fmla="*/ 0 h 627"/>
                <a:gd name="T34" fmla="*/ 0 w 877"/>
                <a:gd name="T35" fmla="*/ 0 h 627"/>
                <a:gd name="T36" fmla="*/ 0 w 877"/>
                <a:gd name="T37" fmla="*/ 0 h 627"/>
                <a:gd name="T38" fmla="*/ 0 w 877"/>
                <a:gd name="T39" fmla="*/ 0 h 627"/>
                <a:gd name="T40" fmla="*/ 0 w 877"/>
                <a:gd name="T41" fmla="*/ 0 h 627"/>
                <a:gd name="T42" fmla="*/ 0 w 877"/>
                <a:gd name="T43" fmla="*/ 0 h 627"/>
                <a:gd name="T44" fmla="*/ 0 w 877"/>
                <a:gd name="T45" fmla="*/ 0 h 627"/>
                <a:gd name="T46" fmla="*/ 0 w 877"/>
                <a:gd name="T47" fmla="*/ 0 h 627"/>
                <a:gd name="T48" fmla="*/ 0 w 877"/>
                <a:gd name="T49" fmla="*/ 0 h 627"/>
                <a:gd name="T50" fmla="*/ 0 w 877"/>
                <a:gd name="T51" fmla="*/ 0 h 627"/>
                <a:gd name="T52" fmla="*/ 0 w 877"/>
                <a:gd name="T53" fmla="*/ 0 h 627"/>
                <a:gd name="T54" fmla="*/ 0 w 877"/>
                <a:gd name="T55" fmla="*/ 0 h 627"/>
                <a:gd name="T56" fmla="*/ 0 w 877"/>
                <a:gd name="T57" fmla="*/ 0 h 627"/>
                <a:gd name="T58" fmla="*/ 0 w 877"/>
                <a:gd name="T59" fmla="*/ 0 h 627"/>
                <a:gd name="T60" fmla="*/ 0 w 877"/>
                <a:gd name="T61" fmla="*/ 0 h 627"/>
                <a:gd name="T62" fmla="*/ 0 w 877"/>
                <a:gd name="T63" fmla="*/ 0 h 627"/>
                <a:gd name="T64" fmla="*/ 0 w 877"/>
                <a:gd name="T65" fmla="*/ 0 h 627"/>
                <a:gd name="T66" fmla="*/ 0 w 877"/>
                <a:gd name="T67" fmla="*/ 0 h 627"/>
                <a:gd name="T68" fmla="*/ 0 w 877"/>
                <a:gd name="T69" fmla="*/ 0 h 627"/>
                <a:gd name="T70" fmla="*/ 0 w 877"/>
                <a:gd name="T71" fmla="*/ 0 h 627"/>
                <a:gd name="T72" fmla="*/ 0 w 877"/>
                <a:gd name="T73" fmla="*/ 0 h 627"/>
                <a:gd name="T74" fmla="*/ 0 w 877"/>
                <a:gd name="T75" fmla="*/ 0 h 627"/>
                <a:gd name="T76" fmla="*/ 0 w 877"/>
                <a:gd name="T77" fmla="*/ 0 h 627"/>
                <a:gd name="T78" fmla="*/ 0 w 877"/>
                <a:gd name="T79" fmla="*/ 0 h 627"/>
                <a:gd name="T80" fmla="*/ 0 w 877"/>
                <a:gd name="T81" fmla="*/ 0 h 627"/>
                <a:gd name="T82" fmla="*/ 0 w 877"/>
                <a:gd name="T83" fmla="*/ 0 h 627"/>
                <a:gd name="T84" fmla="*/ 0 w 877"/>
                <a:gd name="T85" fmla="*/ 0 h 627"/>
                <a:gd name="T86" fmla="*/ 0 w 877"/>
                <a:gd name="T87" fmla="*/ 0 h 627"/>
                <a:gd name="T88" fmla="*/ 0 w 877"/>
                <a:gd name="T89" fmla="*/ 0 h 627"/>
                <a:gd name="T90" fmla="*/ 0 w 877"/>
                <a:gd name="T91" fmla="*/ 0 h 627"/>
                <a:gd name="T92" fmla="*/ 0 w 877"/>
                <a:gd name="T93" fmla="*/ 0 h 627"/>
                <a:gd name="T94" fmla="*/ 0 w 877"/>
                <a:gd name="T95" fmla="*/ 0 h 627"/>
                <a:gd name="T96" fmla="*/ 0 w 877"/>
                <a:gd name="T97" fmla="*/ 0 h 627"/>
                <a:gd name="T98" fmla="*/ 0 w 877"/>
                <a:gd name="T99" fmla="*/ 0 h 627"/>
                <a:gd name="T100" fmla="*/ 0 w 877"/>
                <a:gd name="T101" fmla="*/ 0 h 627"/>
                <a:gd name="T102" fmla="*/ 0 w 877"/>
                <a:gd name="T103" fmla="*/ 0 h 627"/>
                <a:gd name="T104" fmla="*/ 0 w 877"/>
                <a:gd name="T105" fmla="*/ 0 h 627"/>
                <a:gd name="T106" fmla="*/ 0 w 877"/>
                <a:gd name="T107" fmla="*/ 0 h 627"/>
                <a:gd name="T108" fmla="*/ 0 w 877"/>
                <a:gd name="T109" fmla="*/ 0 h 627"/>
                <a:gd name="T110" fmla="*/ 0 w 877"/>
                <a:gd name="T111" fmla="*/ 0 h 627"/>
                <a:gd name="T112" fmla="*/ 0 w 877"/>
                <a:gd name="T113" fmla="*/ 0 h 627"/>
                <a:gd name="T114" fmla="*/ 0 w 877"/>
                <a:gd name="T115" fmla="*/ 0 h 627"/>
                <a:gd name="T116" fmla="*/ 0 w 877"/>
                <a:gd name="T117" fmla="*/ 0 h 627"/>
                <a:gd name="T118" fmla="*/ 0 w 877"/>
                <a:gd name="T119" fmla="*/ 0 h 627"/>
                <a:gd name="T120" fmla="*/ 0 w 877"/>
                <a:gd name="T121" fmla="*/ 0 h 627"/>
                <a:gd name="T122" fmla="*/ 0 w 877"/>
                <a:gd name="T123" fmla="*/ 0 h 627"/>
                <a:gd name="T124" fmla="*/ 0 w 877"/>
                <a:gd name="T125" fmla="*/ 0 h 62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77"/>
                <a:gd name="T190" fmla="*/ 0 h 627"/>
                <a:gd name="T191" fmla="*/ 877 w 877"/>
                <a:gd name="T192" fmla="*/ 627 h 62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09" name="Freeform 335">
              <a:extLst>
                <a:ext uri="{FF2B5EF4-FFF2-40B4-BE49-F238E27FC236}">
                  <a16:creationId xmlns:a16="http://schemas.microsoft.com/office/drawing/2014/main" id="{D418DC0E-EFEE-725E-182F-D51817746A62}"/>
                </a:ext>
              </a:extLst>
            </p:cNvPr>
            <p:cNvSpPr>
              <a:spLocks noChangeAspect="1"/>
            </p:cNvSpPr>
            <p:nvPr userDrawn="1"/>
          </p:nvSpPr>
          <p:spPr bwMode="gray">
            <a:xfrm rot="20552049">
              <a:off x="3709264" y="3705397"/>
              <a:ext cx="25370" cy="21339"/>
            </a:xfrm>
            <a:custGeom>
              <a:avLst/>
              <a:gdLst>
                <a:gd name="T0" fmla="*/ 0 w 471"/>
                <a:gd name="T1" fmla="*/ 0 h 180"/>
                <a:gd name="T2" fmla="*/ 0 w 471"/>
                <a:gd name="T3" fmla="*/ 0 h 180"/>
                <a:gd name="T4" fmla="*/ 0 w 471"/>
                <a:gd name="T5" fmla="*/ 0 h 180"/>
                <a:gd name="T6" fmla="*/ 0 w 471"/>
                <a:gd name="T7" fmla="*/ 0 h 180"/>
                <a:gd name="T8" fmla="*/ 0 w 471"/>
                <a:gd name="T9" fmla="*/ 0 h 180"/>
                <a:gd name="T10" fmla="*/ 0 w 471"/>
                <a:gd name="T11" fmla="*/ 0 h 180"/>
                <a:gd name="T12" fmla="*/ 0 w 471"/>
                <a:gd name="T13" fmla="*/ 0 h 180"/>
                <a:gd name="T14" fmla="*/ 0 w 471"/>
                <a:gd name="T15" fmla="*/ 0 h 180"/>
                <a:gd name="T16" fmla="*/ 0 w 471"/>
                <a:gd name="T17" fmla="*/ 0 h 180"/>
                <a:gd name="T18" fmla="*/ 0 w 471"/>
                <a:gd name="T19" fmla="*/ 0 h 180"/>
                <a:gd name="T20" fmla="*/ 0 w 471"/>
                <a:gd name="T21" fmla="*/ 0 h 180"/>
                <a:gd name="T22" fmla="*/ 0 w 471"/>
                <a:gd name="T23" fmla="*/ 0 h 180"/>
                <a:gd name="T24" fmla="*/ 0 w 471"/>
                <a:gd name="T25" fmla="*/ 0 h 180"/>
                <a:gd name="T26" fmla="*/ 0 w 471"/>
                <a:gd name="T27" fmla="*/ 0 h 180"/>
                <a:gd name="T28" fmla="*/ 0 w 471"/>
                <a:gd name="T29" fmla="*/ 0 h 180"/>
                <a:gd name="T30" fmla="*/ 0 w 471"/>
                <a:gd name="T31" fmla="*/ 0 h 180"/>
                <a:gd name="T32" fmla="*/ 0 w 471"/>
                <a:gd name="T33" fmla="*/ 0 h 180"/>
                <a:gd name="T34" fmla="*/ 0 w 471"/>
                <a:gd name="T35" fmla="*/ 0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1"/>
                <a:gd name="T55" fmla="*/ 0 h 180"/>
                <a:gd name="T56" fmla="*/ 471 w 471"/>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0" name="Freeform 336">
              <a:extLst>
                <a:ext uri="{FF2B5EF4-FFF2-40B4-BE49-F238E27FC236}">
                  <a16:creationId xmlns:a16="http://schemas.microsoft.com/office/drawing/2014/main" id="{71752832-FDC6-3B92-11BD-AD5252BD6094}"/>
                </a:ext>
              </a:extLst>
            </p:cNvPr>
            <p:cNvSpPr>
              <a:spLocks noChangeAspect="1"/>
            </p:cNvSpPr>
            <p:nvPr userDrawn="1"/>
          </p:nvSpPr>
          <p:spPr bwMode="gray">
            <a:xfrm rot="20552049">
              <a:off x="3871929" y="3870012"/>
              <a:ext cx="0" cy="7622"/>
            </a:xfrm>
            <a:custGeom>
              <a:avLst/>
              <a:gdLst>
                <a:gd name="T0" fmla="*/ 0 w 14"/>
                <a:gd name="T1" fmla="*/ 0 h 76"/>
                <a:gd name="T2" fmla="*/ 0 w 14"/>
                <a:gd name="T3" fmla="*/ 0 h 76"/>
                <a:gd name="T4" fmla="*/ 0 w 14"/>
                <a:gd name="T5" fmla="*/ 0 h 76"/>
                <a:gd name="T6" fmla="*/ 0 w 14"/>
                <a:gd name="T7" fmla="*/ 0 h 76"/>
                <a:gd name="T8" fmla="*/ 0 w 14"/>
                <a:gd name="T9" fmla="*/ 0 h 76"/>
                <a:gd name="T10" fmla="*/ 0 60000 65536"/>
                <a:gd name="T11" fmla="*/ 0 60000 65536"/>
                <a:gd name="T12" fmla="*/ 0 60000 65536"/>
                <a:gd name="T13" fmla="*/ 0 60000 65536"/>
                <a:gd name="T14" fmla="*/ 0 60000 65536"/>
                <a:gd name="T15" fmla="*/ 0 w 14"/>
                <a:gd name="T16" fmla="*/ 0 h 76"/>
                <a:gd name="T17" fmla="*/ 0 w 14"/>
                <a:gd name="T18" fmla="*/ 76 h 76"/>
              </a:gdLst>
              <a:ahLst/>
              <a:cxnLst>
                <a:cxn ang="T10">
                  <a:pos x="T0" y="T1"/>
                </a:cxn>
                <a:cxn ang="T11">
                  <a:pos x="T2" y="T3"/>
                </a:cxn>
                <a:cxn ang="T12">
                  <a:pos x="T4" y="T5"/>
                </a:cxn>
                <a:cxn ang="T13">
                  <a:pos x="T6" y="T7"/>
                </a:cxn>
                <a:cxn ang="T14">
                  <a:pos x="T8" y="T9"/>
                </a:cxn>
              </a:cxnLst>
              <a:rect l="T15" t="T16" r="T17" b="T18"/>
              <a:pathLst>
                <a:path w="14" h="76">
                  <a:moveTo>
                    <a:pt x="14" y="0"/>
                  </a:moveTo>
                  <a:lnTo>
                    <a:pt x="0" y="7"/>
                  </a:lnTo>
                  <a:lnTo>
                    <a:pt x="0" y="76"/>
                  </a:lnTo>
                  <a:lnTo>
                    <a:pt x="14" y="59"/>
                  </a:lnTo>
                  <a:lnTo>
                    <a:pt x="1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1" name="Freeform 337">
              <a:extLst>
                <a:ext uri="{FF2B5EF4-FFF2-40B4-BE49-F238E27FC236}">
                  <a16:creationId xmlns:a16="http://schemas.microsoft.com/office/drawing/2014/main" id="{7DB25277-FA6B-BDBF-2FF3-EECB0EE83A39}"/>
                </a:ext>
              </a:extLst>
            </p:cNvPr>
            <p:cNvSpPr>
              <a:spLocks noChangeAspect="1"/>
            </p:cNvSpPr>
            <p:nvPr userDrawn="1"/>
          </p:nvSpPr>
          <p:spPr bwMode="gray">
            <a:xfrm rot="20552049">
              <a:off x="3825666" y="3749600"/>
              <a:ext cx="8954" cy="19815"/>
            </a:xfrm>
            <a:custGeom>
              <a:avLst/>
              <a:gdLst>
                <a:gd name="T0" fmla="*/ 0 w 173"/>
                <a:gd name="T1" fmla="*/ 0 h 163"/>
                <a:gd name="T2" fmla="*/ 0 w 173"/>
                <a:gd name="T3" fmla="*/ 0 h 163"/>
                <a:gd name="T4" fmla="*/ 0 w 173"/>
                <a:gd name="T5" fmla="*/ 0 h 163"/>
                <a:gd name="T6" fmla="*/ 0 w 173"/>
                <a:gd name="T7" fmla="*/ 0 h 163"/>
                <a:gd name="T8" fmla="*/ 0 w 173"/>
                <a:gd name="T9" fmla="*/ 0 h 163"/>
                <a:gd name="T10" fmla="*/ 0 w 173"/>
                <a:gd name="T11" fmla="*/ 0 h 163"/>
                <a:gd name="T12" fmla="*/ 0 w 173"/>
                <a:gd name="T13" fmla="*/ 0 h 163"/>
                <a:gd name="T14" fmla="*/ 0 w 173"/>
                <a:gd name="T15" fmla="*/ 0 h 163"/>
                <a:gd name="T16" fmla="*/ 0 w 173"/>
                <a:gd name="T17" fmla="*/ 0 h 163"/>
                <a:gd name="T18" fmla="*/ 0 w 173"/>
                <a:gd name="T19" fmla="*/ 0 h 163"/>
                <a:gd name="T20" fmla="*/ 0 w 173"/>
                <a:gd name="T21" fmla="*/ 0 h 163"/>
                <a:gd name="T22" fmla="*/ 0 w 173"/>
                <a:gd name="T23" fmla="*/ 0 h 163"/>
                <a:gd name="T24" fmla="*/ 0 w 173"/>
                <a:gd name="T25" fmla="*/ 0 h 163"/>
                <a:gd name="T26" fmla="*/ 0 w 173"/>
                <a:gd name="T27" fmla="*/ 0 h 1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3"/>
                <a:gd name="T43" fmla="*/ 0 h 163"/>
                <a:gd name="T44" fmla="*/ 173 w 173"/>
                <a:gd name="T45" fmla="*/ 163 h 1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2" name="Freeform 338">
              <a:extLst>
                <a:ext uri="{FF2B5EF4-FFF2-40B4-BE49-F238E27FC236}">
                  <a16:creationId xmlns:a16="http://schemas.microsoft.com/office/drawing/2014/main" id="{021B3F1E-34CD-59FD-2684-C34417B04837}"/>
                </a:ext>
              </a:extLst>
            </p:cNvPr>
            <p:cNvSpPr>
              <a:spLocks noChangeAspect="1"/>
            </p:cNvSpPr>
            <p:nvPr userDrawn="1"/>
          </p:nvSpPr>
          <p:spPr bwMode="gray">
            <a:xfrm rot="20552049">
              <a:off x="3749557" y="3699301"/>
              <a:ext cx="0" cy="3049"/>
            </a:xfrm>
            <a:custGeom>
              <a:avLst/>
              <a:gdLst>
                <a:gd name="T0" fmla="*/ 0 w 28"/>
                <a:gd name="T1" fmla="*/ 0 h 39"/>
                <a:gd name="T2" fmla="*/ 0 w 28"/>
                <a:gd name="T3" fmla="*/ 0 h 39"/>
                <a:gd name="T4" fmla="*/ 0 w 28"/>
                <a:gd name="T5" fmla="*/ 0 h 39"/>
                <a:gd name="T6" fmla="*/ 0 w 28"/>
                <a:gd name="T7" fmla="*/ 0 h 39"/>
                <a:gd name="T8" fmla="*/ 0 w 28"/>
                <a:gd name="T9" fmla="*/ 0 h 39"/>
                <a:gd name="T10" fmla="*/ 0 60000 65536"/>
                <a:gd name="T11" fmla="*/ 0 60000 65536"/>
                <a:gd name="T12" fmla="*/ 0 60000 65536"/>
                <a:gd name="T13" fmla="*/ 0 60000 65536"/>
                <a:gd name="T14" fmla="*/ 0 60000 65536"/>
                <a:gd name="T15" fmla="*/ 0 w 28"/>
                <a:gd name="T16" fmla="*/ 0 h 39"/>
                <a:gd name="T17" fmla="*/ 0 w 28"/>
                <a:gd name="T18" fmla="*/ 39 h 39"/>
              </a:gdLst>
              <a:ahLst/>
              <a:cxnLst>
                <a:cxn ang="T10">
                  <a:pos x="T0" y="T1"/>
                </a:cxn>
                <a:cxn ang="T11">
                  <a:pos x="T2" y="T3"/>
                </a:cxn>
                <a:cxn ang="T12">
                  <a:pos x="T4" y="T5"/>
                </a:cxn>
                <a:cxn ang="T13">
                  <a:pos x="T6" y="T7"/>
                </a:cxn>
                <a:cxn ang="T14">
                  <a:pos x="T8" y="T9"/>
                </a:cxn>
              </a:cxnLst>
              <a:rect l="T15" t="T16" r="T17" b="T18"/>
              <a:pathLst>
                <a:path w="28" h="39">
                  <a:moveTo>
                    <a:pt x="28" y="0"/>
                  </a:moveTo>
                  <a:lnTo>
                    <a:pt x="0" y="21"/>
                  </a:lnTo>
                  <a:lnTo>
                    <a:pt x="3" y="39"/>
                  </a:lnTo>
                  <a:lnTo>
                    <a:pt x="28" y="32"/>
                  </a:lnTo>
                  <a:lnTo>
                    <a:pt x="2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3" name="Freeform 339">
              <a:extLst>
                <a:ext uri="{FF2B5EF4-FFF2-40B4-BE49-F238E27FC236}">
                  <a16:creationId xmlns:a16="http://schemas.microsoft.com/office/drawing/2014/main" id="{20F93EF1-09D8-1B56-1035-724C68AF3B36}"/>
                </a:ext>
              </a:extLst>
            </p:cNvPr>
            <p:cNvSpPr>
              <a:spLocks noChangeAspect="1"/>
            </p:cNvSpPr>
            <p:nvPr userDrawn="1"/>
          </p:nvSpPr>
          <p:spPr bwMode="gray">
            <a:xfrm rot="20552049">
              <a:off x="3754034" y="3723688"/>
              <a:ext cx="2985" cy="3049"/>
            </a:xfrm>
            <a:custGeom>
              <a:avLst/>
              <a:gdLst>
                <a:gd name="T0" fmla="*/ 0 w 42"/>
                <a:gd name="T1" fmla="*/ 0 h 34"/>
                <a:gd name="T2" fmla="*/ 0 w 42"/>
                <a:gd name="T3" fmla="*/ 0 h 34"/>
                <a:gd name="T4" fmla="*/ 0 w 42"/>
                <a:gd name="T5" fmla="*/ 0 h 34"/>
                <a:gd name="T6" fmla="*/ 0 w 42"/>
                <a:gd name="T7" fmla="*/ 0 h 34"/>
                <a:gd name="T8" fmla="*/ 0 w 42"/>
                <a:gd name="T9" fmla="*/ 0 h 34"/>
                <a:gd name="T10" fmla="*/ 0 60000 65536"/>
                <a:gd name="T11" fmla="*/ 0 60000 65536"/>
                <a:gd name="T12" fmla="*/ 0 60000 65536"/>
                <a:gd name="T13" fmla="*/ 0 60000 65536"/>
                <a:gd name="T14" fmla="*/ 0 60000 65536"/>
                <a:gd name="T15" fmla="*/ 0 w 42"/>
                <a:gd name="T16" fmla="*/ 0 h 34"/>
                <a:gd name="T17" fmla="*/ 42 w 42"/>
                <a:gd name="T18" fmla="*/ 34 h 34"/>
              </a:gdLst>
              <a:ahLst/>
              <a:cxnLst>
                <a:cxn ang="T10">
                  <a:pos x="T0" y="T1"/>
                </a:cxn>
                <a:cxn ang="T11">
                  <a:pos x="T2" y="T3"/>
                </a:cxn>
                <a:cxn ang="T12">
                  <a:pos x="T4" y="T5"/>
                </a:cxn>
                <a:cxn ang="T13">
                  <a:pos x="T6" y="T7"/>
                </a:cxn>
                <a:cxn ang="T14">
                  <a:pos x="T8" y="T9"/>
                </a:cxn>
              </a:cxnLst>
              <a:rect l="T15" t="T16" r="T17" b="T18"/>
              <a:pathLst>
                <a:path w="42" h="34">
                  <a:moveTo>
                    <a:pt x="6" y="8"/>
                  </a:moveTo>
                  <a:lnTo>
                    <a:pt x="0" y="17"/>
                  </a:lnTo>
                  <a:lnTo>
                    <a:pt x="6" y="34"/>
                  </a:lnTo>
                  <a:lnTo>
                    <a:pt x="42" y="0"/>
                  </a:lnTo>
                  <a:lnTo>
                    <a:pt x="6"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4" name="Freeform 340">
              <a:extLst>
                <a:ext uri="{FF2B5EF4-FFF2-40B4-BE49-F238E27FC236}">
                  <a16:creationId xmlns:a16="http://schemas.microsoft.com/office/drawing/2014/main" id="{BA2022D9-DE39-10C3-9CE2-16DB26EEAACA}"/>
                </a:ext>
              </a:extLst>
            </p:cNvPr>
            <p:cNvSpPr>
              <a:spLocks noChangeAspect="1"/>
            </p:cNvSpPr>
            <p:nvPr userDrawn="1"/>
          </p:nvSpPr>
          <p:spPr bwMode="gray">
            <a:xfrm rot="20552049">
              <a:off x="3839098" y="3783133"/>
              <a:ext cx="5969" cy="12193"/>
            </a:xfrm>
            <a:custGeom>
              <a:avLst/>
              <a:gdLst>
                <a:gd name="T0" fmla="*/ 0 w 52"/>
                <a:gd name="T1" fmla="*/ 0 h 124"/>
                <a:gd name="T2" fmla="*/ 0 w 52"/>
                <a:gd name="T3" fmla="*/ 0 h 124"/>
                <a:gd name="T4" fmla="*/ 0 w 52"/>
                <a:gd name="T5" fmla="*/ 0 h 124"/>
                <a:gd name="T6" fmla="*/ 0 w 52"/>
                <a:gd name="T7" fmla="*/ 0 h 124"/>
                <a:gd name="T8" fmla="*/ 0 w 52"/>
                <a:gd name="T9" fmla="*/ 0 h 124"/>
                <a:gd name="T10" fmla="*/ 0 w 52"/>
                <a:gd name="T11" fmla="*/ 0 h 124"/>
                <a:gd name="T12" fmla="*/ 0 w 52"/>
                <a:gd name="T13" fmla="*/ 0 h 124"/>
                <a:gd name="T14" fmla="*/ 0 w 52"/>
                <a:gd name="T15" fmla="*/ 0 h 124"/>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24"/>
                <a:gd name="T26" fmla="*/ 52 w 52"/>
                <a:gd name="T27" fmla="*/ 124 h 1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24">
                  <a:moveTo>
                    <a:pt x="18" y="0"/>
                  </a:moveTo>
                  <a:lnTo>
                    <a:pt x="0" y="0"/>
                  </a:lnTo>
                  <a:lnTo>
                    <a:pt x="0" y="86"/>
                  </a:lnTo>
                  <a:lnTo>
                    <a:pt x="14" y="124"/>
                  </a:lnTo>
                  <a:lnTo>
                    <a:pt x="42" y="124"/>
                  </a:lnTo>
                  <a:lnTo>
                    <a:pt x="52" y="90"/>
                  </a:lnTo>
                  <a:lnTo>
                    <a:pt x="49" y="20"/>
                  </a:lnTo>
                  <a:lnTo>
                    <a:pt x="1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5" name="Freeform 341">
              <a:extLst>
                <a:ext uri="{FF2B5EF4-FFF2-40B4-BE49-F238E27FC236}">
                  <a16:creationId xmlns:a16="http://schemas.microsoft.com/office/drawing/2014/main" id="{4C0CCB47-ACA5-5095-8B39-BD641D073CED}"/>
                </a:ext>
              </a:extLst>
            </p:cNvPr>
            <p:cNvSpPr>
              <a:spLocks noChangeAspect="1"/>
            </p:cNvSpPr>
            <p:nvPr userDrawn="1"/>
          </p:nvSpPr>
          <p:spPr bwMode="gray">
            <a:xfrm rot="20552049">
              <a:off x="3871929" y="3914216"/>
              <a:ext cx="2985" cy="10669"/>
            </a:xfrm>
            <a:custGeom>
              <a:avLst/>
              <a:gdLst>
                <a:gd name="T0" fmla="*/ 0 w 49"/>
                <a:gd name="T1" fmla="*/ 0 h 62"/>
                <a:gd name="T2" fmla="*/ 0 w 49"/>
                <a:gd name="T3" fmla="*/ 0 h 62"/>
                <a:gd name="T4" fmla="*/ 0 w 49"/>
                <a:gd name="T5" fmla="*/ 0 h 62"/>
                <a:gd name="T6" fmla="*/ 0 w 49"/>
                <a:gd name="T7" fmla="*/ 0 h 62"/>
                <a:gd name="T8" fmla="*/ 0 w 49"/>
                <a:gd name="T9" fmla="*/ 0 h 62"/>
                <a:gd name="T10" fmla="*/ 0 60000 65536"/>
                <a:gd name="T11" fmla="*/ 0 60000 65536"/>
                <a:gd name="T12" fmla="*/ 0 60000 65536"/>
                <a:gd name="T13" fmla="*/ 0 60000 65536"/>
                <a:gd name="T14" fmla="*/ 0 60000 65536"/>
                <a:gd name="T15" fmla="*/ 0 w 49"/>
                <a:gd name="T16" fmla="*/ 0 h 62"/>
                <a:gd name="T17" fmla="*/ 49 w 49"/>
                <a:gd name="T18" fmla="*/ 62 h 62"/>
              </a:gdLst>
              <a:ahLst/>
              <a:cxnLst>
                <a:cxn ang="T10">
                  <a:pos x="T0" y="T1"/>
                </a:cxn>
                <a:cxn ang="T11">
                  <a:pos x="T2" y="T3"/>
                </a:cxn>
                <a:cxn ang="T12">
                  <a:pos x="T4" y="T5"/>
                </a:cxn>
                <a:cxn ang="T13">
                  <a:pos x="T6" y="T7"/>
                </a:cxn>
                <a:cxn ang="T14">
                  <a:pos x="T8" y="T9"/>
                </a:cxn>
              </a:cxnLst>
              <a:rect l="T15" t="T16" r="T17" b="T18"/>
              <a:pathLst>
                <a:path w="49" h="62">
                  <a:moveTo>
                    <a:pt x="49" y="0"/>
                  </a:moveTo>
                  <a:lnTo>
                    <a:pt x="17" y="14"/>
                  </a:lnTo>
                  <a:lnTo>
                    <a:pt x="0" y="62"/>
                  </a:lnTo>
                  <a:lnTo>
                    <a:pt x="38" y="41"/>
                  </a:lnTo>
                  <a:lnTo>
                    <a:pt x="4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6" name="Freeform 342">
              <a:extLst>
                <a:ext uri="{FF2B5EF4-FFF2-40B4-BE49-F238E27FC236}">
                  <a16:creationId xmlns:a16="http://schemas.microsoft.com/office/drawing/2014/main" id="{D3AB7557-9450-1D82-D5BC-71FED6BBA73C}"/>
                </a:ext>
              </a:extLst>
            </p:cNvPr>
            <p:cNvSpPr>
              <a:spLocks noChangeAspect="1"/>
            </p:cNvSpPr>
            <p:nvPr userDrawn="1"/>
          </p:nvSpPr>
          <p:spPr bwMode="gray">
            <a:xfrm rot="20552049">
              <a:off x="3358564" y="3603275"/>
              <a:ext cx="198481" cy="138704"/>
            </a:xfrm>
            <a:custGeom>
              <a:avLst/>
              <a:gdLst>
                <a:gd name="T0" fmla="*/ 0 w 3347"/>
                <a:gd name="T1" fmla="*/ 0 h 1123"/>
                <a:gd name="T2" fmla="*/ 0 w 3347"/>
                <a:gd name="T3" fmla="*/ 0 h 1123"/>
                <a:gd name="T4" fmla="*/ 0 w 3347"/>
                <a:gd name="T5" fmla="*/ 0 h 1123"/>
                <a:gd name="T6" fmla="*/ 0 w 3347"/>
                <a:gd name="T7" fmla="*/ 0 h 1123"/>
                <a:gd name="T8" fmla="*/ 0 w 3347"/>
                <a:gd name="T9" fmla="*/ 0 h 1123"/>
                <a:gd name="T10" fmla="*/ 0 w 3347"/>
                <a:gd name="T11" fmla="*/ 0 h 1123"/>
                <a:gd name="T12" fmla="*/ 0 w 3347"/>
                <a:gd name="T13" fmla="*/ 0 h 1123"/>
                <a:gd name="T14" fmla="*/ 0 w 3347"/>
                <a:gd name="T15" fmla="*/ 0 h 1123"/>
                <a:gd name="T16" fmla="*/ 0 w 3347"/>
                <a:gd name="T17" fmla="*/ 0 h 1123"/>
                <a:gd name="T18" fmla="*/ 0 w 3347"/>
                <a:gd name="T19" fmla="*/ 0 h 1123"/>
                <a:gd name="T20" fmla="*/ 0 w 3347"/>
                <a:gd name="T21" fmla="*/ 0 h 1123"/>
                <a:gd name="T22" fmla="*/ 0 w 3347"/>
                <a:gd name="T23" fmla="*/ 0 h 1123"/>
                <a:gd name="T24" fmla="*/ 0 w 3347"/>
                <a:gd name="T25" fmla="*/ 0 h 1123"/>
                <a:gd name="T26" fmla="*/ 0 w 3347"/>
                <a:gd name="T27" fmla="*/ 0 h 1123"/>
                <a:gd name="T28" fmla="*/ 0 w 3347"/>
                <a:gd name="T29" fmla="*/ 0 h 1123"/>
                <a:gd name="T30" fmla="*/ 0 w 3347"/>
                <a:gd name="T31" fmla="*/ 0 h 1123"/>
                <a:gd name="T32" fmla="*/ 0 w 3347"/>
                <a:gd name="T33" fmla="*/ 0 h 1123"/>
                <a:gd name="T34" fmla="*/ 0 w 3347"/>
                <a:gd name="T35" fmla="*/ 0 h 1123"/>
                <a:gd name="T36" fmla="*/ 0 w 3347"/>
                <a:gd name="T37" fmla="*/ 0 h 1123"/>
                <a:gd name="T38" fmla="*/ 0 w 3347"/>
                <a:gd name="T39" fmla="*/ 0 h 1123"/>
                <a:gd name="T40" fmla="*/ 0 w 3347"/>
                <a:gd name="T41" fmla="*/ 0 h 1123"/>
                <a:gd name="T42" fmla="*/ 0 w 3347"/>
                <a:gd name="T43" fmla="*/ 0 h 1123"/>
                <a:gd name="T44" fmla="*/ 0 w 3347"/>
                <a:gd name="T45" fmla="*/ 0 h 1123"/>
                <a:gd name="T46" fmla="*/ 0 w 3347"/>
                <a:gd name="T47" fmla="*/ 0 h 1123"/>
                <a:gd name="T48" fmla="*/ 0 w 3347"/>
                <a:gd name="T49" fmla="*/ 0 h 1123"/>
                <a:gd name="T50" fmla="*/ 0 w 3347"/>
                <a:gd name="T51" fmla="*/ 0 h 1123"/>
                <a:gd name="T52" fmla="*/ 0 w 3347"/>
                <a:gd name="T53" fmla="*/ 0 h 1123"/>
                <a:gd name="T54" fmla="*/ 0 w 3347"/>
                <a:gd name="T55" fmla="*/ 0 h 1123"/>
                <a:gd name="T56" fmla="*/ 0 w 3347"/>
                <a:gd name="T57" fmla="*/ 0 h 1123"/>
                <a:gd name="T58" fmla="*/ 0 w 3347"/>
                <a:gd name="T59" fmla="*/ 0 h 1123"/>
                <a:gd name="T60" fmla="*/ 0 w 3347"/>
                <a:gd name="T61" fmla="*/ 0 h 1123"/>
                <a:gd name="T62" fmla="*/ 0 w 3347"/>
                <a:gd name="T63" fmla="*/ 0 h 1123"/>
                <a:gd name="T64" fmla="*/ 0 w 3347"/>
                <a:gd name="T65" fmla="*/ 0 h 1123"/>
                <a:gd name="T66" fmla="*/ 0 w 3347"/>
                <a:gd name="T67" fmla="*/ 0 h 1123"/>
                <a:gd name="T68" fmla="*/ 0 w 3347"/>
                <a:gd name="T69" fmla="*/ 0 h 1123"/>
                <a:gd name="T70" fmla="*/ 0 w 3347"/>
                <a:gd name="T71" fmla="*/ 0 h 1123"/>
                <a:gd name="T72" fmla="*/ 0 w 3347"/>
                <a:gd name="T73" fmla="*/ 0 h 1123"/>
                <a:gd name="T74" fmla="*/ 0 w 3347"/>
                <a:gd name="T75" fmla="*/ 0 h 1123"/>
                <a:gd name="T76" fmla="*/ 0 w 3347"/>
                <a:gd name="T77" fmla="*/ 0 h 1123"/>
                <a:gd name="T78" fmla="*/ 0 w 3347"/>
                <a:gd name="T79" fmla="*/ 0 h 1123"/>
                <a:gd name="T80" fmla="*/ 0 w 3347"/>
                <a:gd name="T81" fmla="*/ 0 h 1123"/>
                <a:gd name="T82" fmla="*/ 0 w 3347"/>
                <a:gd name="T83" fmla="*/ 0 h 1123"/>
                <a:gd name="T84" fmla="*/ 0 w 3347"/>
                <a:gd name="T85" fmla="*/ 0 h 1123"/>
                <a:gd name="T86" fmla="*/ 0 w 3347"/>
                <a:gd name="T87" fmla="*/ 0 h 1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347"/>
                <a:gd name="T133" fmla="*/ 0 h 1123"/>
                <a:gd name="T134" fmla="*/ 3347 w 3347"/>
                <a:gd name="T135" fmla="*/ 1123 h 1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7" name="Freeform 343">
              <a:extLst>
                <a:ext uri="{FF2B5EF4-FFF2-40B4-BE49-F238E27FC236}">
                  <a16:creationId xmlns:a16="http://schemas.microsoft.com/office/drawing/2014/main" id="{612029D8-340F-5446-E36D-D319B7C51554}"/>
                </a:ext>
              </a:extLst>
            </p:cNvPr>
            <p:cNvSpPr>
              <a:spLocks noChangeAspect="1"/>
            </p:cNvSpPr>
            <p:nvPr userDrawn="1"/>
          </p:nvSpPr>
          <p:spPr bwMode="gray">
            <a:xfrm rot="20552049">
              <a:off x="3391395" y="3676437"/>
              <a:ext cx="7461" cy="15242"/>
            </a:xfrm>
            <a:custGeom>
              <a:avLst/>
              <a:gdLst>
                <a:gd name="T0" fmla="*/ 0 w 165"/>
                <a:gd name="T1" fmla="*/ 0 h 156"/>
                <a:gd name="T2" fmla="*/ 0 w 165"/>
                <a:gd name="T3" fmla="*/ 0 h 156"/>
                <a:gd name="T4" fmla="*/ 0 w 165"/>
                <a:gd name="T5" fmla="*/ 0 h 156"/>
                <a:gd name="T6" fmla="*/ 0 w 165"/>
                <a:gd name="T7" fmla="*/ 0 h 156"/>
                <a:gd name="T8" fmla="*/ 0 w 165"/>
                <a:gd name="T9" fmla="*/ 0 h 156"/>
                <a:gd name="T10" fmla="*/ 0 w 165"/>
                <a:gd name="T11" fmla="*/ 0 h 156"/>
                <a:gd name="T12" fmla="*/ 0 w 165"/>
                <a:gd name="T13" fmla="*/ 0 h 156"/>
                <a:gd name="T14" fmla="*/ 0 w 165"/>
                <a:gd name="T15" fmla="*/ 0 h 156"/>
                <a:gd name="T16" fmla="*/ 0 w 165"/>
                <a:gd name="T17" fmla="*/ 0 h 156"/>
                <a:gd name="T18" fmla="*/ 0 w 165"/>
                <a:gd name="T19" fmla="*/ 0 h 156"/>
                <a:gd name="T20" fmla="*/ 0 w 165"/>
                <a:gd name="T21" fmla="*/ 0 h 156"/>
                <a:gd name="T22" fmla="*/ 0 w 165"/>
                <a:gd name="T23" fmla="*/ 0 h 156"/>
                <a:gd name="T24" fmla="*/ 0 w 165"/>
                <a:gd name="T25" fmla="*/ 0 h 156"/>
                <a:gd name="T26" fmla="*/ 0 w 165"/>
                <a:gd name="T27" fmla="*/ 0 h 156"/>
                <a:gd name="T28" fmla="*/ 0 w 165"/>
                <a:gd name="T29" fmla="*/ 0 h 156"/>
                <a:gd name="T30" fmla="*/ 0 w 165"/>
                <a:gd name="T31" fmla="*/ 0 h 156"/>
                <a:gd name="T32" fmla="*/ 0 w 165"/>
                <a:gd name="T33" fmla="*/ 0 h 156"/>
                <a:gd name="T34" fmla="*/ 0 w 165"/>
                <a:gd name="T35" fmla="*/ 0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156"/>
                <a:gd name="T56" fmla="*/ 165 w 165"/>
                <a:gd name="T57" fmla="*/ 156 h 1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8" name="Freeform 344">
              <a:extLst>
                <a:ext uri="{FF2B5EF4-FFF2-40B4-BE49-F238E27FC236}">
                  <a16:creationId xmlns:a16="http://schemas.microsoft.com/office/drawing/2014/main" id="{143462B3-4086-D4AC-C1C4-23D1937682AB}"/>
                </a:ext>
              </a:extLst>
            </p:cNvPr>
            <p:cNvSpPr>
              <a:spLocks noChangeAspect="1"/>
            </p:cNvSpPr>
            <p:nvPr userDrawn="1"/>
          </p:nvSpPr>
          <p:spPr bwMode="gray">
            <a:xfrm rot="20552049">
              <a:off x="3463028" y="3620041"/>
              <a:ext cx="17908" cy="25912"/>
            </a:xfrm>
            <a:custGeom>
              <a:avLst/>
              <a:gdLst>
                <a:gd name="T0" fmla="*/ 0 w 317"/>
                <a:gd name="T1" fmla="*/ 0 h 201"/>
                <a:gd name="T2" fmla="*/ 0 w 317"/>
                <a:gd name="T3" fmla="*/ 0 h 201"/>
                <a:gd name="T4" fmla="*/ 0 w 317"/>
                <a:gd name="T5" fmla="*/ 0 h 201"/>
                <a:gd name="T6" fmla="*/ 0 w 317"/>
                <a:gd name="T7" fmla="*/ 0 h 201"/>
                <a:gd name="T8" fmla="*/ 0 w 317"/>
                <a:gd name="T9" fmla="*/ 0 h 201"/>
                <a:gd name="T10" fmla="*/ 0 w 317"/>
                <a:gd name="T11" fmla="*/ 0 h 201"/>
                <a:gd name="T12" fmla="*/ 0 w 317"/>
                <a:gd name="T13" fmla="*/ 0 h 201"/>
                <a:gd name="T14" fmla="*/ 0 w 317"/>
                <a:gd name="T15" fmla="*/ 0 h 201"/>
                <a:gd name="T16" fmla="*/ 0 w 317"/>
                <a:gd name="T17" fmla="*/ 0 h 201"/>
                <a:gd name="T18" fmla="*/ 0 w 317"/>
                <a:gd name="T19" fmla="*/ 0 h 201"/>
                <a:gd name="T20" fmla="*/ 0 w 317"/>
                <a:gd name="T21" fmla="*/ 0 h 201"/>
                <a:gd name="T22" fmla="*/ 0 w 317"/>
                <a:gd name="T23" fmla="*/ 0 h 201"/>
                <a:gd name="T24" fmla="*/ 0 w 317"/>
                <a:gd name="T25" fmla="*/ 0 h 201"/>
                <a:gd name="T26" fmla="*/ 0 w 317"/>
                <a:gd name="T27" fmla="*/ 0 h 201"/>
                <a:gd name="T28" fmla="*/ 0 w 317"/>
                <a:gd name="T29" fmla="*/ 0 h 2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7"/>
                <a:gd name="T46" fmla="*/ 0 h 201"/>
                <a:gd name="T47" fmla="*/ 317 w 317"/>
                <a:gd name="T48" fmla="*/ 201 h 2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19" name="Freeform 345">
              <a:extLst>
                <a:ext uri="{FF2B5EF4-FFF2-40B4-BE49-F238E27FC236}">
                  <a16:creationId xmlns:a16="http://schemas.microsoft.com/office/drawing/2014/main" id="{428F9684-476B-03E8-8310-45190D48DBB5}"/>
                </a:ext>
              </a:extLst>
            </p:cNvPr>
            <p:cNvSpPr>
              <a:spLocks noChangeAspect="1"/>
            </p:cNvSpPr>
            <p:nvPr userDrawn="1"/>
          </p:nvSpPr>
          <p:spPr bwMode="gray">
            <a:xfrm rot="20552049">
              <a:off x="3797312" y="3723688"/>
              <a:ext cx="0" cy="7622"/>
            </a:xfrm>
            <a:custGeom>
              <a:avLst/>
              <a:gdLst>
                <a:gd name="T0" fmla="*/ 0 w 46"/>
                <a:gd name="T1" fmla="*/ 0 h 47"/>
                <a:gd name="T2" fmla="*/ 0 w 46"/>
                <a:gd name="T3" fmla="*/ 0 h 47"/>
                <a:gd name="T4" fmla="*/ 0 w 46"/>
                <a:gd name="T5" fmla="*/ 0 h 47"/>
                <a:gd name="T6" fmla="*/ 0 w 46"/>
                <a:gd name="T7" fmla="*/ 0 h 47"/>
                <a:gd name="T8" fmla="*/ 0 w 46"/>
                <a:gd name="T9" fmla="*/ 0 h 47"/>
                <a:gd name="T10" fmla="*/ 0 w 46"/>
                <a:gd name="T11" fmla="*/ 0 h 47"/>
                <a:gd name="T12" fmla="*/ 0 w 46"/>
                <a:gd name="T13" fmla="*/ 0 h 47"/>
                <a:gd name="T14" fmla="*/ 0 60000 65536"/>
                <a:gd name="T15" fmla="*/ 0 60000 65536"/>
                <a:gd name="T16" fmla="*/ 0 60000 65536"/>
                <a:gd name="T17" fmla="*/ 0 60000 65536"/>
                <a:gd name="T18" fmla="*/ 0 60000 65536"/>
                <a:gd name="T19" fmla="*/ 0 60000 65536"/>
                <a:gd name="T20" fmla="*/ 0 60000 65536"/>
                <a:gd name="T21" fmla="*/ 0 w 46"/>
                <a:gd name="T22" fmla="*/ 0 h 47"/>
                <a:gd name="T23" fmla="*/ 0 w 46"/>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47">
                  <a:moveTo>
                    <a:pt x="34" y="2"/>
                  </a:moveTo>
                  <a:lnTo>
                    <a:pt x="0" y="0"/>
                  </a:lnTo>
                  <a:lnTo>
                    <a:pt x="11" y="30"/>
                  </a:lnTo>
                  <a:lnTo>
                    <a:pt x="31" y="47"/>
                  </a:lnTo>
                  <a:lnTo>
                    <a:pt x="46" y="42"/>
                  </a:lnTo>
                  <a:lnTo>
                    <a:pt x="46" y="10"/>
                  </a:lnTo>
                  <a:lnTo>
                    <a:pt x="34"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20" name="Freeform 346">
              <a:extLst>
                <a:ext uri="{FF2B5EF4-FFF2-40B4-BE49-F238E27FC236}">
                  <a16:creationId xmlns:a16="http://schemas.microsoft.com/office/drawing/2014/main" id="{95267F77-EA3F-0337-D88C-06A2C2216D41}"/>
                </a:ext>
              </a:extLst>
            </p:cNvPr>
            <p:cNvSpPr>
              <a:spLocks noChangeAspect="1"/>
            </p:cNvSpPr>
            <p:nvPr userDrawn="1"/>
          </p:nvSpPr>
          <p:spPr bwMode="gray">
            <a:xfrm rot="20552049">
              <a:off x="3865960" y="3842577"/>
              <a:ext cx="2985" cy="10670"/>
            </a:xfrm>
            <a:custGeom>
              <a:avLst/>
              <a:gdLst>
                <a:gd name="T0" fmla="*/ 0 w 45"/>
                <a:gd name="T1" fmla="*/ 0 h 103"/>
                <a:gd name="T2" fmla="*/ 0 w 45"/>
                <a:gd name="T3" fmla="*/ 0 h 103"/>
                <a:gd name="T4" fmla="*/ 0 w 45"/>
                <a:gd name="T5" fmla="*/ 0 h 103"/>
                <a:gd name="T6" fmla="*/ 0 w 45"/>
                <a:gd name="T7" fmla="*/ 0 h 103"/>
                <a:gd name="T8" fmla="*/ 0 w 45"/>
                <a:gd name="T9" fmla="*/ 0 h 103"/>
                <a:gd name="T10" fmla="*/ 0 w 45"/>
                <a:gd name="T11" fmla="*/ 0 h 103"/>
                <a:gd name="T12" fmla="*/ 0 w 45"/>
                <a:gd name="T13" fmla="*/ 0 h 103"/>
                <a:gd name="T14" fmla="*/ 0 60000 65536"/>
                <a:gd name="T15" fmla="*/ 0 60000 65536"/>
                <a:gd name="T16" fmla="*/ 0 60000 65536"/>
                <a:gd name="T17" fmla="*/ 0 60000 65536"/>
                <a:gd name="T18" fmla="*/ 0 60000 65536"/>
                <a:gd name="T19" fmla="*/ 0 60000 65536"/>
                <a:gd name="T20" fmla="*/ 0 60000 65536"/>
                <a:gd name="T21" fmla="*/ 0 w 45"/>
                <a:gd name="T22" fmla="*/ 0 h 103"/>
                <a:gd name="T23" fmla="*/ 45 w 45"/>
                <a:gd name="T24" fmla="*/ 103 h 10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103">
                  <a:moveTo>
                    <a:pt x="25" y="0"/>
                  </a:moveTo>
                  <a:lnTo>
                    <a:pt x="0" y="97"/>
                  </a:lnTo>
                  <a:lnTo>
                    <a:pt x="25" y="103"/>
                  </a:lnTo>
                  <a:lnTo>
                    <a:pt x="45" y="94"/>
                  </a:lnTo>
                  <a:lnTo>
                    <a:pt x="45" y="62"/>
                  </a:lnTo>
                  <a:lnTo>
                    <a:pt x="39" y="20"/>
                  </a:lnTo>
                  <a:lnTo>
                    <a:pt x="2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sp>
          <p:nvSpPr>
            <p:cNvPr id="321" name="Freeform 54">
              <a:extLst>
                <a:ext uri="{FF2B5EF4-FFF2-40B4-BE49-F238E27FC236}">
                  <a16:creationId xmlns:a16="http://schemas.microsoft.com/office/drawing/2014/main" id="{AA32B0FB-FE5F-6EAE-80BA-877968CF1C48}"/>
                </a:ext>
              </a:extLst>
            </p:cNvPr>
            <p:cNvSpPr>
              <a:spLocks noChangeAspect="1"/>
            </p:cNvSpPr>
            <p:nvPr userDrawn="1"/>
          </p:nvSpPr>
          <p:spPr bwMode="gray">
            <a:xfrm>
              <a:off x="9081694" y="4674800"/>
              <a:ext cx="1183428" cy="984645"/>
            </a:xfrm>
            <a:custGeom>
              <a:avLst/>
              <a:gdLst>
                <a:gd name="T0" fmla="*/ 2147483647 w 2217"/>
                <a:gd name="T1" fmla="*/ 2147483647 h 1736"/>
                <a:gd name="T2" fmla="*/ 2147483647 w 2217"/>
                <a:gd name="T3" fmla="*/ 2147483647 h 1736"/>
                <a:gd name="T4" fmla="*/ 2147483647 w 2217"/>
                <a:gd name="T5" fmla="*/ 2147483647 h 1736"/>
                <a:gd name="T6" fmla="*/ 2147483647 w 2217"/>
                <a:gd name="T7" fmla="*/ 2147483647 h 1736"/>
                <a:gd name="T8" fmla="*/ 2147483647 w 2217"/>
                <a:gd name="T9" fmla="*/ 2147483647 h 1736"/>
                <a:gd name="T10" fmla="*/ 2147483647 w 2217"/>
                <a:gd name="T11" fmla="*/ 2147483647 h 1736"/>
                <a:gd name="T12" fmla="*/ 2147483647 w 2217"/>
                <a:gd name="T13" fmla="*/ 2147483647 h 1736"/>
                <a:gd name="T14" fmla="*/ 2147483647 w 2217"/>
                <a:gd name="T15" fmla="*/ 2147483647 h 1736"/>
                <a:gd name="T16" fmla="*/ 2147483647 w 2217"/>
                <a:gd name="T17" fmla="*/ 2147483647 h 1736"/>
                <a:gd name="T18" fmla="*/ 2147483647 w 2217"/>
                <a:gd name="T19" fmla="*/ 2147483647 h 1736"/>
                <a:gd name="T20" fmla="*/ 2147483647 w 2217"/>
                <a:gd name="T21" fmla="*/ 2147483647 h 1736"/>
                <a:gd name="T22" fmla="*/ 2147483647 w 2217"/>
                <a:gd name="T23" fmla="*/ 2147483647 h 1736"/>
                <a:gd name="T24" fmla="*/ 2147483647 w 2217"/>
                <a:gd name="T25" fmla="*/ 2147483647 h 1736"/>
                <a:gd name="T26" fmla="*/ 2147483647 w 2217"/>
                <a:gd name="T27" fmla="*/ 0 h 1736"/>
                <a:gd name="T28" fmla="*/ 2147483647 w 2217"/>
                <a:gd name="T29" fmla="*/ 0 h 1736"/>
                <a:gd name="T30" fmla="*/ 2147483647 w 2217"/>
                <a:gd name="T31" fmla="*/ 0 h 1736"/>
                <a:gd name="T32" fmla="*/ 2147483647 w 2217"/>
                <a:gd name="T33" fmla="*/ 2147483647 h 1736"/>
                <a:gd name="T34" fmla="*/ 2147483647 w 2217"/>
                <a:gd name="T35" fmla="*/ 2147483647 h 1736"/>
                <a:gd name="T36" fmla="*/ 2147483647 w 2217"/>
                <a:gd name="T37" fmla="*/ 2147483647 h 1736"/>
                <a:gd name="T38" fmla="*/ 2147483647 w 2217"/>
                <a:gd name="T39" fmla="*/ 2147483647 h 1736"/>
                <a:gd name="T40" fmla="*/ 2147483647 w 2217"/>
                <a:gd name="T41" fmla="*/ 2147483647 h 1736"/>
                <a:gd name="T42" fmla="*/ 2147483647 w 2217"/>
                <a:gd name="T43" fmla="*/ 2147483647 h 1736"/>
                <a:gd name="T44" fmla="*/ 2147483647 w 2217"/>
                <a:gd name="T45" fmla="*/ 2147483647 h 1736"/>
                <a:gd name="T46" fmla="*/ 2147483647 w 2217"/>
                <a:gd name="T47" fmla="*/ 0 h 1736"/>
                <a:gd name="T48" fmla="*/ 2147483647 w 2217"/>
                <a:gd name="T49" fmla="*/ 0 h 1736"/>
                <a:gd name="T50" fmla="*/ 2147483647 w 2217"/>
                <a:gd name="T51" fmla="*/ 2147483647 h 1736"/>
                <a:gd name="T52" fmla="*/ 2147483647 w 2217"/>
                <a:gd name="T53" fmla="*/ 2147483647 h 1736"/>
                <a:gd name="T54" fmla="*/ 2147483647 w 2217"/>
                <a:gd name="T55" fmla="*/ 2147483647 h 1736"/>
                <a:gd name="T56" fmla="*/ 2147483647 w 2217"/>
                <a:gd name="T57" fmla="*/ 2147483647 h 1736"/>
                <a:gd name="T58" fmla="*/ 2147483647 w 2217"/>
                <a:gd name="T59" fmla="*/ 2147483647 h 1736"/>
                <a:gd name="T60" fmla="*/ 2147483647 w 2217"/>
                <a:gd name="T61" fmla="*/ 2147483647 h 1736"/>
                <a:gd name="T62" fmla="*/ 2147483647 w 2217"/>
                <a:gd name="T63" fmla="*/ 2147483647 h 1736"/>
                <a:gd name="T64" fmla="*/ 2147483647 w 2217"/>
                <a:gd name="T65" fmla="*/ 2147483647 h 1736"/>
                <a:gd name="T66" fmla="*/ 2147483647 w 2217"/>
                <a:gd name="T67" fmla="*/ 2147483647 h 1736"/>
                <a:gd name="T68" fmla="*/ 2147483647 w 2217"/>
                <a:gd name="T69" fmla="*/ 2147483647 h 1736"/>
                <a:gd name="T70" fmla="*/ 2147483647 w 2217"/>
                <a:gd name="T71" fmla="*/ 2147483647 h 1736"/>
                <a:gd name="T72" fmla="*/ 2147483647 w 2217"/>
                <a:gd name="T73" fmla="*/ 2147483647 h 1736"/>
                <a:gd name="T74" fmla="*/ 2147483647 w 2217"/>
                <a:gd name="T75" fmla="*/ 2147483647 h 1736"/>
                <a:gd name="T76" fmla="*/ 2147483647 w 2217"/>
                <a:gd name="T77" fmla="*/ 2147483647 h 1736"/>
                <a:gd name="T78" fmla="*/ 2147483647 w 2217"/>
                <a:gd name="T79" fmla="*/ 2147483647 h 1736"/>
                <a:gd name="T80" fmla="*/ 2147483647 w 2217"/>
                <a:gd name="T81" fmla="*/ 2147483647 h 1736"/>
                <a:gd name="T82" fmla="*/ 2147483647 w 2217"/>
                <a:gd name="T83" fmla="*/ 2147483647 h 1736"/>
                <a:gd name="T84" fmla="*/ 2147483647 w 2217"/>
                <a:gd name="T85" fmla="*/ 2147483647 h 1736"/>
                <a:gd name="T86" fmla="*/ 2147483647 w 2217"/>
                <a:gd name="T87" fmla="*/ 2147483647 h 1736"/>
                <a:gd name="T88" fmla="*/ 2147483647 w 2217"/>
                <a:gd name="T89" fmla="*/ 2147483647 h 1736"/>
                <a:gd name="T90" fmla="*/ 2147483647 w 2217"/>
                <a:gd name="T91" fmla="*/ 2147483647 h 1736"/>
                <a:gd name="T92" fmla="*/ 2147483647 w 2217"/>
                <a:gd name="T93" fmla="*/ 2147483647 h 1736"/>
                <a:gd name="T94" fmla="*/ 2147483647 w 2217"/>
                <a:gd name="T95" fmla="*/ 2147483647 h 1736"/>
                <a:gd name="T96" fmla="*/ 2147483647 w 2217"/>
                <a:gd name="T97" fmla="*/ 2147483647 h 1736"/>
                <a:gd name="T98" fmla="*/ 2147483647 w 2217"/>
                <a:gd name="T99" fmla="*/ 2147483647 h 1736"/>
                <a:gd name="T100" fmla="*/ 2147483647 w 2217"/>
                <a:gd name="T101" fmla="*/ 2147483647 h 1736"/>
                <a:gd name="T102" fmla="*/ 2147483647 w 2217"/>
                <a:gd name="T103" fmla="*/ 2147483647 h 1736"/>
                <a:gd name="T104" fmla="*/ 2147483647 w 2217"/>
                <a:gd name="T105" fmla="*/ 2147483647 h 1736"/>
                <a:gd name="T106" fmla="*/ 2147483647 w 2217"/>
                <a:gd name="T107" fmla="*/ 2147483647 h 1736"/>
                <a:gd name="T108" fmla="*/ 2147483647 w 2217"/>
                <a:gd name="T109" fmla="*/ 2147483647 h 1736"/>
                <a:gd name="T110" fmla="*/ 2147483647 w 2217"/>
                <a:gd name="T111" fmla="*/ 2147483647 h 1736"/>
                <a:gd name="T112" fmla="*/ 2147483647 w 2217"/>
                <a:gd name="T113" fmla="*/ 2147483647 h 1736"/>
                <a:gd name="T114" fmla="*/ 2147483647 w 2217"/>
                <a:gd name="T115" fmla="*/ 2147483647 h 1736"/>
                <a:gd name="T116" fmla="*/ 0 w 2217"/>
                <a:gd name="T117" fmla="*/ 2147483647 h 1736"/>
                <a:gd name="T118" fmla="*/ 0 w 2217"/>
                <a:gd name="T119" fmla="*/ 2147483647 h 1736"/>
                <a:gd name="T120" fmla="*/ 0 w 2217"/>
                <a:gd name="T121" fmla="*/ 2147483647 h 17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17"/>
                <a:gd name="T184" fmla="*/ 0 h 1736"/>
                <a:gd name="T185" fmla="*/ 2217 w 2217"/>
                <a:gd name="T186" fmla="*/ 1736 h 17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a:solidFill>
                  <a:prstClr val="black"/>
                </a:solidFill>
                <a:latin typeface="Calibri"/>
                <a:cs typeface="+mn-cs"/>
              </a:endParaRPr>
            </a:p>
          </p:txBody>
        </p:sp>
        <p:cxnSp>
          <p:nvCxnSpPr>
            <p:cNvPr id="322" name="AutoShape 6">
              <a:extLst>
                <a:ext uri="{FF2B5EF4-FFF2-40B4-BE49-F238E27FC236}">
                  <a16:creationId xmlns:a16="http://schemas.microsoft.com/office/drawing/2014/main" id="{99003408-2D1E-5EAC-E36E-85214C080ACB}"/>
                </a:ext>
              </a:extLst>
            </p:cNvPr>
            <p:cNvCxnSpPr>
              <a:cxnSpLocks noChangeShapeType="1"/>
            </p:cNvCxnSpPr>
            <p:nvPr userDrawn="1"/>
          </p:nvCxnSpPr>
          <p:spPr bwMode="auto">
            <a:xfrm flipH="1">
              <a:off x="5861221" y="2339698"/>
              <a:ext cx="217882" cy="100598"/>
            </a:xfrm>
            <a:prstGeom prst="straightConnector1">
              <a:avLst/>
            </a:prstGeom>
            <a:solidFill>
              <a:schemeClr val="bg1">
                <a:lumMod val="50000"/>
              </a:schemeClr>
            </a:solidFill>
            <a:ln w="19080">
              <a:solidFill>
                <a:srgbClr val="FFFFFF"/>
              </a:solidFill>
              <a:round/>
              <a:headEnd type="triangle" w="med" len="med"/>
              <a:tailEnd/>
            </a:ln>
          </p:spPr>
        </p:cxnSp>
      </p:grpSp>
      <p:sp>
        <p:nvSpPr>
          <p:cNvPr id="4" name="Title 3">
            <a:extLst>
              <a:ext uri="{FF2B5EF4-FFF2-40B4-BE49-F238E27FC236}">
                <a16:creationId xmlns:a16="http://schemas.microsoft.com/office/drawing/2014/main" id="{54968733-400C-5979-E644-B56A408FA437}"/>
              </a:ext>
            </a:extLst>
          </p:cNvPr>
          <p:cNvSpPr>
            <a:spLocks noGrp="1"/>
          </p:cNvSpPr>
          <p:nvPr>
            <p:ph type="title"/>
          </p:nvPr>
        </p:nvSpPr>
        <p:spPr/>
        <p:txBody>
          <a:bodyPr>
            <a:noAutofit/>
          </a:bodyPr>
          <a:lstStyle/>
          <a:p>
            <a:r>
              <a:rPr lang="en-US"/>
              <a:t>Click to edit Master title style</a:t>
            </a:r>
          </a:p>
        </p:txBody>
      </p:sp>
      <p:sp>
        <p:nvSpPr>
          <p:cNvPr id="8" name="Text Placeholder 7">
            <a:extLst>
              <a:ext uri="{FF2B5EF4-FFF2-40B4-BE49-F238E27FC236}">
                <a16:creationId xmlns:a16="http://schemas.microsoft.com/office/drawing/2014/main" id="{22D4DD51-735A-7535-A95D-705BC060EA7D}"/>
              </a:ext>
            </a:extLst>
          </p:cNvPr>
          <p:cNvSpPr>
            <a:spLocks noGrp="1"/>
          </p:cNvSpPr>
          <p:nvPr>
            <p:ph type="body" sz="quarter" idx="13"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3" name="Date Placeholder 12">
            <a:extLst>
              <a:ext uri="{FF2B5EF4-FFF2-40B4-BE49-F238E27FC236}">
                <a16:creationId xmlns:a16="http://schemas.microsoft.com/office/drawing/2014/main" id="{799F83DB-AA7E-BB5E-7B33-972A27C7753A}"/>
              </a:ext>
            </a:extLst>
          </p:cNvPr>
          <p:cNvSpPr>
            <a:spLocks noGrp="1"/>
          </p:cNvSpPr>
          <p:nvPr>
            <p:ph type="dt" sz="half" idx="14"/>
          </p:nvPr>
        </p:nvSpPr>
        <p:spPr>
          <a:xfrm>
            <a:off x="10236555" y="136647"/>
            <a:ext cx="1345845" cy="153888"/>
          </a:xfrm>
        </p:spPr>
        <p:txBody>
          <a:bodyPr>
            <a:noAutofit/>
          </a:bodyPr>
          <a:lstStyle>
            <a:lvl1pPr>
              <a:defRPr>
                <a:solidFill>
                  <a:schemeClr val="tx1">
                    <a:lumMod val="75000"/>
                    <a:lumOff val="25000"/>
                  </a:schemeClr>
                </a:solidFill>
              </a:defRPr>
            </a:lvl1pPr>
          </a:lstStyle>
          <a:p>
            <a:fld id="{DBDD38F8-B076-4153-93C6-90795F887522}" type="datetime4">
              <a:rPr lang="en-US" smtClean="0"/>
              <a:t>May 17, 2025</a:t>
            </a:fld>
            <a:endParaRPr lang="en-US"/>
          </a:p>
        </p:txBody>
      </p:sp>
      <p:sp>
        <p:nvSpPr>
          <p:cNvPr id="14" name="Footer Placeholder 13">
            <a:extLst>
              <a:ext uri="{FF2B5EF4-FFF2-40B4-BE49-F238E27FC236}">
                <a16:creationId xmlns:a16="http://schemas.microsoft.com/office/drawing/2014/main" id="{1359ABA9-E719-0B1D-942C-C6EA5B5666DE}"/>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a:t>© 2024 Guidehouse</a:t>
            </a:r>
          </a:p>
        </p:txBody>
      </p:sp>
      <p:sp>
        <p:nvSpPr>
          <p:cNvPr id="15" name="Slide Number Placeholder 14">
            <a:extLst>
              <a:ext uri="{FF2B5EF4-FFF2-40B4-BE49-F238E27FC236}">
                <a16:creationId xmlns:a16="http://schemas.microsoft.com/office/drawing/2014/main" id="{C05DBC64-9732-7E1D-33A5-8C08DBE34CE1}"/>
              </a:ext>
            </a:extLst>
          </p:cNvPr>
          <p:cNvSpPr>
            <a:spLocks noGrp="1"/>
          </p:cNvSpPr>
          <p:nvPr>
            <p:ph type="sldNum" sz="quarter" idx="16"/>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a:p>
        </p:txBody>
      </p:sp>
      <p:pic>
        <p:nvPicPr>
          <p:cNvPr id="3" name="Graphic 2">
            <a:extLst>
              <a:ext uri="{FF2B5EF4-FFF2-40B4-BE49-F238E27FC236}">
                <a16:creationId xmlns:a16="http://schemas.microsoft.com/office/drawing/2014/main" id="{9EECC099-23FB-6B9B-8617-EE5036B15E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5" y="88565"/>
            <a:ext cx="984250" cy="250052"/>
          </a:xfrm>
          <a:prstGeom prst="rect">
            <a:avLst/>
          </a:prstGeom>
        </p:spPr>
      </p:pic>
      <p:cxnSp>
        <p:nvCxnSpPr>
          <p:cNvPr id="323" name="Straight Connector 322">
            <a:extLst>
              <a:ext uri="{FF2B5EF4-FFF2-40B4-BE49-F238E27FC236}">
                <a16:creationId xmlns:a16="http://schemas.microsoft.com/office/drawing/2014/main" id="{B678A9A4-7FD7-E1B9-4BE5-7A16BDAEA394}"/>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B1BDC16D-757D-CCF4-10B9-A6593882277F}"/>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10683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 Light">
    <p:bg>
      <p:bgPr>
        <a:solidFill>
          <a:srgbClr val="F3F3F3"/>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0C8FFF-896B-C00B-0DB5-47AE19F7A2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54968733-400C-5979-E644-B56A408FA437}"/>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22D4DD51-735A-7535-A95D-705BC060EA7D}"/>
              </a:ext>
            </a:extLst>
          </p:cNvPr>
          <p:cNvSpPr>
            <a:spLocks noGrp="1"/>
          </p:cNvSpPr>
          <p:nvPr>
            <p:ph type="body" sz="quarter" idx="13"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3" name="Date Placeholder 12">
            <a:extLst>
              <a:ext uri="{FF2B5EF4-FFF2-40B4-BE49-F238E27FC236}">
                <a16:creationId xmlns:a16="http://schemas.microsoft.com/office/drawing/2014/main" id="{799F83DB-AA7E-BB5E-7B33-972A27C7753A}"/>
              </a:ext>
            </a:extLst>
          </p:cNvPr>
          <p:cNvSpPr>
            <a:spLocks noGrp="1"/>
          </p:cNvSpPr>
          <p:nvPr>
            <p:ph type="dt" sz="half" idx="14"/>
          </p:nvPr>
        </p:nvSpPr>
        <p:spPr>
          <a:xfrm>
            <a:off x="10236555" y="136647"/>
            <a:ext cx="1345845" cy="153888"/>
          </a:xfrm>
        </p:spPr>
        <p:txBody>
          <a:bodyPr>
            <a:noAutofit/>
          </a:bodyPr>
          <a:lstStyle>
            <a:lvl1pPr>
              <a:defRPr>
                <a:solidFill>
                  <a:schemeClr val="tx1">
                    <a:lumMod val="75000"/>
                    <a:lumOff val="25000"/>
                  </a:schemeClr>
                </a:solidFill>
              </a:defRPr>
            </a:lvl1pPr>
          </a:lstStyle>
          <a:p>
            <a:fld id="{F3BBCB4A-96EC-42F1-B069-CFD71CA20D1D}" type="datetime4">
              <a:rPr lang="en-US" smtClean="0"/>
              <a:t>May 17, 2025</a:t>
            </a:fld>
            <a:endParaRPr lang="en-US" dirty="0"/>
          </a:p>
        </p:txBody>
      </p:sp>
      <p:sp>
        <p:nvSpPr>
          <p:cNvPr id="2" name="Footer Placeholder 13">
            <a:extLst>
              <a:ext uri="{FF2B5EF4-FFF2-40B4-BE49-F238E27FC236}">
                <a16:creationId xmlns:a16="http://schemas.microsoft.com/office/drawing/2014/main" id="{1359ABA9-E719-0B1D-942C-C6EA5B5666DE}"/>
              </a:ext>
            </a:extLst>
          </p:cNvPr>
          <p:cNvSpPr>
            <a:spLocks noGrp="1" noRot="1" noMove="1" noResize="1" noEditPoints="1" noAdjustHandles="1" noChangeArrowheads="1" noChangeShapeType="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5 Guidehouse Inc.</a:t>
            </a:r>
          </a:p>
        </p:txBody>
      </p:sp>
      <p:sp>
        <p:nvSpPr>
          <p:cNvPr id="5" name="Slide Number Placeholder 14">
            <a:extLst>
              <a:ext uri="{FF2B5EF4-FFF2-40B4-BE49-F238E27FC236}">
                <a16:creationId xmlns:a16="http://schemas.microsoft.com/office/drawing/2014/main" id="{C05DBC64-9732-7E1D-33A5-8C08DBE34CE1}"/>
              </a:ext>
            </a:extLst>
          </p:cNvPr>
          <p:cNvSpPr>
            <a:spLocks noGrp="1" noRot="1" noMove="1" noResize="1" noEditPoints="1" noAdjustHandles="1" noChangeArrowheads="1" noChangeShapeType="1"/>
          </p:cNvSpPr>
          <p:nvPr>
            <p:ph type="sldNum" sz="quarter" idx="16"/>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Tree>
    <p:extLst>
      <p:ext uri="{BB962C8B-B14F-4D97-AF65-F5344CB8AC3E}">
        <p14:creationId xmlns:p14="http://schemas.microsoft.com/office/powerpoint/2010/main" val="14231386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and Content - Dark">
    <p:bg>
      <p:bgPr>
        <a:solidFill>
          <a:schemeClr val="tx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0C8FFF-896B-C00B-0DB5-47AE19F7A2A3}"/>
              </a:ext>
            </a:extLst>
          </p:cNvPr>
          <p:cNvSpPr>
            <a:spLocks noGrp="1"/>
          </p:cNvSpPr>
          <p:nvPr>
            <p:ph idx="1"/>
          </p:nvPr>
        </p:nvSpPr>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54968733-400C-5979-E644-B56A408FA43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22D4DD51-735A-7535-A95D-705BC060EA7D}"/>
              </a:ext>
            </a:extLst>
          </p:cNvPr>
          <p:cNvSpPr>
            <a:spLocks noGrp="1"/>
          </p:cNvSpPr>
          <p:nvPr>
            <p:ph type="body" sz="quarter" idx="13"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13" name="Date Placeholder 12">
            <a:extLst>
              <a:ext uri="{FF2B5EF4-FFF2-40B4-BE49-F238E27FC236}">
                <a16:creationId xmlns:a16="http://schemas.microsoft.com/office/drawing/2014/main" id="{799F83DB-AA7E-BB5E-7B33-972A27C7753A}"/>
              </a:ext>
            </a:extLst>
          </p:cNvPr>
          <p:cNvSpPr>
            <a:spLocks noGrp="1"/>
          </p:cNvSpPr>
          <p:nvPr>
            <p:ph type="dt" sz="half" idx="14"/>
          </p:nvPr>
        </p:nvSpPr>
        <p:spPr>
          <a:xfrm>
            <a:off x="10236555" y="138027"/>
            <a:ext cx="1345845" cy="153888"/>
          </a:xfrm>
        </p:spPr>
        <p:txBody>
          <a:bodyPr>
            <a:noAutofit/>
          </a:bodyPr>
          <a:lstStyle>
            <a:lvl1pPr>
              <a:defRPr>
                <a:solidFill>
                  <a:schemeClr val="bg1">
                    <a:lumMod val="65000"/>
                  </a:schemeClr>
                </a:solidFill>
              </a:defRPr>
            </a:lvl1pPr>
          </a:lstStyle>
          <a:p>
            <a:fld id="{8C57FC58-AF68-4D48-A6BA-854FC596FD33}" type="datetime4">
              <a:rPr lang="en-US" smtClean="0"/>
              <a:t>May 17, 2025</a:t>
            </a:fld>
            <a:endParaRPr lang="en-US" dirty="0"/>
          </a:p>
        </p:txBody>
      </p:sp>
      <p:sp>
        <p:nvSpPr>
          <p:cNvPr id="14" name="Footer Placeholder 13">
            <a:extLst>
              <a:ext uri="{FF2B5EF4-FFF2-40B4-BE49-F238E27FC236}">
                <a16:creationId xmlns:a16="http://schemas.microsoft.com/office/drawing/2014/main" id="{1359ABA9-E719-0B1D-942C-C6EA5B5666DE}"/>
              </a:ext>
            </a:extLst>
          </p:cNvPr>
          <p:cNvSpPr>
            <a:spLocks noGrp="1"/>
          </p:cNvSpPr>
          <p:nvPr>
            <p:ph type="ftr" sz="quarter" idx="15"/>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sp>
        <p:nvSpPr>
          <p:cNvPr id="15" name="Slide Number Placeholder 14">
            <a:extLst>
              <a:ext uri="{FF2B5EF4-FFF2-40B4-BE49-F238E27FC236}">
                <a16:creationId xmlns:a16="http://schemas.microsoft.com/office/drawing/2014/main" id="{C05DBC64-9732-7E1D-33A5-8C08DBE34CE1}"/>
              </a:ext>
            </a:extLst>
          </p:cNvPr>
          <p:cNvSpPr>
            <a:spLocks noGrp="1"/>
          </p:cNvSpPr>
          <p:nvPr>
            <p:ph type="sldNum" sz="quarter" idx="16"/>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pic>
        <p:nvPicPr>
          <p:cNvPr id="2" name="Graphic 1">
            <a:extLst>
              <a:ext uri="{FF2B5EF4-FFF2-40B4-BE49-F238E27FC236}">
                <a16:creationId xmlns:a16="http://schemas.microsoft.com/office/drawing/2014/main" id="{E33F4F06-5D7C-327A-7908-6DE931CA6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6" name="Straight Connector 5">
            <a:extLst>
              <a:ext uri="{FF2B5EF4-FFF2-40B4-BE49-F238E27FC236}">
                <a16:creationId xmlns:a16="http://schemas.microsoft.com/office/drawing/2014/main" id="{AE5B9F64-B66D-E6EB-C8EC-A9824DAB4E8D}"/>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44C0331-4583-5CCE-84B1-9859951C2CDF}"/>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5450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title - Light">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5 Guidehouse Inc.</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5CED7064-E79D-96CC-BCD5-91C093F5AB7D}"/>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Date Placeholder 12">
            <a:extLst>
              <a:ext uri="{FF2B5EF4-FFF2-40B4-BE49-F238E27FC236}">
                <a16:creationId xmlns:a16="http://schemas.microsoft.com/office/drawing/2014/main" id="{59D8E57A-19A4-8130-A78B-E7988B8DA91F}"/>
              </a:ext>
            </a:extLst>
          </p:cNvPr>
          <p:cNvSpPr>
            <a:spLocks noGrp="1"/>
          </p:cNvSpPr>
          <p:nvPr>
            <p:ph type="dt" sz="half" idx="15"/>
          </p:nvPr>
        </p:nvSpPr>
        <p:spPr>
          <a:xfrm>
            <a:off x="10236555" y="136647"/>
            <a:ext cx="1345845" cy="153888"/>
          </a:xfrm>
        </p:spPr>
        <p:txBody>
          <a:bodyPr>
            <a:noAutofit/>
          </a:bodyPr>
          <a:lstStyle>
            <a:lvl1pPr>
              <a:defRPr>
                <a:solidFill>
                  <a:schemeClr val="tx1">
                    <a:lumMod val="75000"/>
                    <a:lumOff val="25000"/>
                  </a:schemeClr>
                </a:solidFill>
              </a:defRPr>
            </a:lvl1pPr>
          </a:lstStyle>
          <a:p>
            <a:fld id="{078FAA32-B910-4033-ACC0-2DF9C585C3FB}" type="datetime4">
              <a:rPr lang="en-US" smtClean="0"/>
              <a:t>May 17, 2025</a:t>
            </a:fld>
            <a:endParaRPr lang="en-US" dirty="0"/>
          </a:p>
        </p:txBody>
      </p:sp>
    </p:spTree>
    <p:extLst>
      <p:ext uri="{BB962C8B-B14F-4D97-AF65-F5344CB8AC3E}">
        <p14:creationId xmlns:p14="http://schemas.microsoft.com/office/powerpoint/2010/main" val="11079130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5 Guidehouse Inc.</a:t>
            </a:r>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6705600" cy="307777"/>
          </a:xfrm>
        </p:spPr>
        <p:txBody>
          <a:bodyPr wrap="square">
            <a:noAutofit/>
          </a:bodyPr>
          <a:lstStyle>
            <a:lvl1pPr>
              <a:defRPr>
                <a:solidFill>
                  <a:schemeClr val="tx1">
                    <a:lumMod val="50000"/>
                    <a:lumOff val="50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a:xfrm>
            <a:off x="609600" y="800754"/>
            <a:ext cx="6705600" cy="553998"/>
          </a:xfrm>
        </p:spPr>
        <p:txBody>
          <a:bodyPr/>
          <a:lstStyle/>
          <a:p>
            <a:r>
              <a:rPr lang="en-US"/>
              <a:t>Click to edit Master title style</a:t>
            </a:r>
          </a:p>
        </p:txBody>
      </p:sp>
      <p:sp>
        <p:nvSpPr>
          <p:cNvPr id="9" name="Text Placeholder 7">
            <a:extLst>
              <a:ext uri="{FF2B5EF4-FFF2-40B4-BE49-F238E27FC236}">
                <a16:creationId xmlns:a16="http://schemas.microsoft.com/office/drawing/2014/main" id="{5CED7064-E79D-96CC-BCD5-91C093F5AB7D}"/>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 name="Date Placeholder 12">
            <a:extLst>
              <a:ext uri="{FF2B5EF4-FFF2-40B4-BE49-F238E27FC236}">
                <a16:creationId xmlns:a16="http://schemas.microsoft.com/office/drawing/2014/main" id="{3BB0FB85-B250-7191-C62E-FCBF4D35D49F}"/>
              </a:ext>
            </a:extLst>
          </p:cNvPr>
          <p:cNvSpPr>
            <a:spLocks noGrp="1"/>
          </p:cNvSpPr>
          <p:nvPr>
            <p:ph type="dt" sz="half" idx="15"/>
          </p:nvPr>
        </p:nvSpPr>
        <p:spPr>
          <a:xfrm>
            <a:off x="10236555" y="136647"/>
            <a:ext cx="1345845" cy="153888"/>
          </a:xfrm>
        </p:spPr>
        <p:txBody>
          <a:bodyPr>
            <a:noAutofit/>
          </a:bodyPr>
          <a:lstStyle>
            <a:lvl1pPr>
              <a:defRPr>
                <a:solidFill>
                  <a:schemeClr val="tx1">
                    <a:lumMod val="75000"/>
                    <a:lumOff val="25000"/>
                  </a:schemeClr>
                </a:solidFill>
              </a:defRPr>
            </a:lvl1pPr>
          </a:lstStyle>
          <a:p>
            <a:fld id="{40A4C574-FC99-4BD6-93EA-66C88A52739F}" type="datetime4">
              <a:rPr lang="en-US" smtClean="0"/>
              <a:t>May 17, 2025</a:t>
            </a:fld>
            <a:endParaRPr lang="en-US" dirty="0"/>
          </a:p>
        </p:txBody>
      </p:sp>
    </p:spTree>
    <p:extLst>
      <p:ext uri="{BB962C8B-B14F-4D97-AF65-F5344CB8AC3E}">
        <p14:creationId xmlns:p14="http://schemas.microsoft.com/office/powerpoint/2010/main" val="3837435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Divider 1 - Dark">
    <p:bg>
      <p:bgPr>
        <a:solidFill>
          <a:schemeClr val="tx2"/>
        </a:solidFill>
        <a:effectLst/>
      </p:bgPr>
    </p:bg>
    <p:spTree>
      <p:nvGrpSpPr>
        <p:cNvPr id="1" name=""/>
        <p:cNvGrpSpPr/>
        <p:nvPr/>
      </p:nvGrpSpPr>
      <p:grpSpPr>
        <a:xfrm>
          <a:off x="0" y="0"/>
          <a:ext cx="0" cy="0"/>
          <a:chOff x="0" y="0"/>
          <a:chExt cx="0" cy="0"/>
        </a:xfrm>
      </p:grpSpPr>
      <p:grpSp>
        <p:nvGrpSpPr>
          <p:cNvPr id="3" name="Graphic 11">
            <a:extLst>
              <a:ext uri="{FF2B5EF4-FFF2-40B4-BE49-F238E27FC236}">
                <a16:creationId xmlns:a16="http://schemas.microsoft.com/office/drawing/2014/main" id="{248DABC0-B10B-ADFA-8C8B-A0111C99B2DE}"/>
              </a:ext>
            </a:extLst>
          </p:cNvPr>
          <p:cNvGrpSpPr/>
          <p:nvPr userDrawn="1"/>
        </p:nvGrpSpPr>
        <p:grpSpPr>
          <a:xfrm>
            <a:off x="714011" y="455159"/>
            <a:ext cx="2071862" cy="524230"/>
            <a:chOff x="609600" y="1268899"/>
            <a:chExt cx="2071862" cy="524230"/>
          </a:xfrm>
        </p:grpSpPr>
        <p:sp>
          <p:nvSpPr>
            <p:cNvPr id="4" name="Freeform: Shape 3">
              <a:extLst>
                <a:ext uri="{FF2B5EF4-FFF2-40B4-BE49-F238E27FC236}">
                  <a16:creationId xmlns:a16="http://schemas.microsoft.com/office/drawing/2014/main" id="{B3C4B9F6-530D-7134-4B8B-AC949109E499}"/>
                </a:ext>
              </a:extLst>
            </p:cNvPr>
            <p:cNvSpPr/>
            <p:nvPr/>
          </p:nvSpPr>
          <p:spPr>
            <a:xfrm>
              <a:off x="1053119" y="1450023"/>
              <a:ext cx="1628343" cy="220192"/>
            </a:xfrm>
            <a:custGeom>
              <a:avLst/>
              <a:gdLst>
                <a:gd name="connsiteX0" fmla="*/ 100525 w 1628343"/>
                <a:gd name="connsiteY0" fmla="*/ 220192 h 220192"/>
                <a:gd name="connsiteX1" fmla="*/ 59778 w 1628343"/>
                <a:gd name="connsiteY1" fmla="*/ 212468 h 220192"/>
                <a:gd name="connsiteX2" fmla="*/ 28434 w 1628343"/>
                <a:gd name="connsiteY2" fmla="*/ 190639 h 220192"/>
                <a:gd name="connsiteX3" fmla="*/ 7276 w 1628343"/>
                <a:gd name="connsiteY3" fmla="*/ 155153 h 220192"/>
                <a:gd name="connsiteX4" fmla="*/ 0 w 1628343"/>
                <a:gd name="connsiteY4" fmla="*/ 110488 h 220192"/>
                <a:gd name="connsiteX5" fmla="*/ 8172 w 1628343"/>
                <a:gd name="connsiteY5" fmla="*/ 64255 h 220192"/>
                <a:gd name="connsiteX6" fmla="*/ 31344 w 1628343"/>
                <a:gd name="connsiteY6" fmla="*/ 28098 h 220192"/>
                <a:gd name="connsiteX7" fmla="*/ 62688 w 1628343"/>
                <a:gd name="connsiteY7" fmla="*/ 7388 h 220192"/>
                <a:gd name="connsiteX8" fmla="*/ 103771 w 1628343"/>
                <a:gd name="connsiteY8" fmla="*/ 0 h 220192"/>
                <a:gd name="connsiteX9" fmla="*/ 140377 w 1628343"/>
                <a:gd name="connsiteY9" fmla="*/ 5149 h 220192"/>
                <a:gd name="connsiteX10" fmla="*/ 168475 w 1628343"/>
                <a:gd name="connsiteY10" fmla="*/ 19926 h 220192"/>
                <a:gd name="connsiteX11" fmla="*/ 187505 w 1628343"/>
                <a:gd name="connsiteY11" fmla="*/ 43098 h 220192"/>
                <a:gd name="connsiteX12" fmla="*/ 197356 w 1628343"/>
                <a:gd name="connsiteY12" fmla="*/ 73211 h 220192"/>
                <a:gd name="connsiteX13" fmla="*/ 146534 w 1628343"/>
                <a:gd name="connsiteY13" fmla="*/ 73211 h 220192"/>
                <a:gd name="connsiteX14" fmla="*/ 133213 w 1628343"/>
                <a:gd name="connsiteY14" fmla="*/ 51606 h 220192"/>
                <a:gd name="connsiteX15" fmla="*/ 105451 w 1628343"/>
                <a:gd name="connsiteY15" fmla="*/ 42986 h 220192"/>
                <a:gd name="connsiteX16" fmla="*/ 82502 w 1628343"/>
                <a:gd name="connsiteY16" fmla="*/ 48136 h 220192"/>
                <a:gd name="connsiteX17" fmla="*/ 66047 w 1628343"/>
                <a:gd name="connsiteY17" fmla="*/ 62352 h 220192"/>
                <a:gd name="connsiteX18" fmla="*/ 56308 w 1628343"/>
                <a:gd name="connsiteY18" fmla="*/ 83622 h 220192"/>
                <a:gd name="connsiteX19" fmla="*/ 53061 w 1628343"/>
                <a:gd name="connsiteY19" fmla="*/ 110376 h 220192"/>
                <a:gd name="connsiteX20" fmla="*/ 56755 w 1628343"/>
                <a:gd name="connsiteY20" fmla="*/ 137242 h 220192"/>
                <a:gd name="connsiteX21" fmla="*/ 67278 w 1628343"/>
                <a:gd name="connsiteY21" fmla="*/ 158624 h 220192"/>
                <a:gd name="connsiteX22" fmla="*/ 83957 w 1628343"/>
                <a:gd name="connsiteY22" fmla="*/ 172616 h 220192"/>
                <a:gd name="connsiteX23" fmla="*/ 106234 w 1628343"/>
                <a:gd name="connsiteY23" fmla="*/ 177654 h 220192"/>
                <a:gd name="connsiteX24" fmla="*/ 124705 w 1628343"/>
                <a:gd name="connsiteY24" fmla="*/ 174519 h 220192"/>
                <a:gd name="connsiteX25" fmla="*/ 138586 w 1628343"/>
                <a:gd name="connsiteY25" fmla="*/ 166236 h 220192"/>
                <a:gd name="connsiteX26" fmla="*/ 147765 w 1628343"/>
                <a:gd name="connsiteY26" fmla="*/ 154370 h 220192"/>
                <a:gd name="connsiteX27" fmla="*/ 152019 w 1628343"/>
                <a:gd name="connsiteY27" fmla="*/ 140601 h 220192"/>
                <a:gd name="connsiteX28" fmla="*/ 152019 w 1628343"/>
                <a:gd name="connsiteY28" fmla="*/ 140041 h 220192"/>
                <a:gd name="connsiteX29" fmla="*/ 112391 w 1628343"/>
                <a:gd name="connsiteY29" fmla="*/ 140041 h 220192"/>
                <a:gd name="connsiteX30" fmla="*/ 112391 w 1628343"/>
                <a:gd name="connsiteY30" fmla="*/ 101644 h 220192"/>
                <a:gd name="connsiteX31" fmla="*/ 200490 w 1628343"/>
                <a:gd name="connsiteY31" fmla="*/ 101644 h 220192"/>
                <a:gd name="connsiteX32" fmla="*/ 200490 w 1628343"/>
                <a:gd name="connsiteY32" fmla="*/ 215155 h 220192"/>
                <a:gd name="connsiteX33" fmla="*/ 163885 w 1628343"/>
                <a:gd name="connsiteY33" fmla="*/ 215155 h 220192"/>
                <a:gd name="connsiteX34" fmla="*/ 160974 w 1628343"/>
                <a:gd name="connsiteY34" fmla="*/ 189744 h 220192"/>
                <a:gd name="connsiteX35" fmla="*/ 160415 w 1628343"/>
                <a:gd name="connsiteY35" fmla="*/ 189744 h 220192"/>
                <a:gd name="connsiteX36" fmla="*/ 134892 w 1628343"/>
                <a:gd name="connsiteY36" fmla="*/ 212916 h 220192"/>
                <a:gd name="connsiteX37" fmla="*/ 100413 w 1628343"/>
                <a:gd name="connsiteY37" fmla="*/ 219856 h 220192"/>
                <a:gd name="connsiteX38" fmla="*/ 278067 w 1628343"/>
                <a:gd name="connsiteY38" fmla="*/ 219521 h 220192"/>
                <a:gd name="connsiteX39" fmla="*/ 238327 w 1628343"/>
                <a:gd name="connsiteY39" fmla="*/ 203961 h 220192"/>
                <a:gd name="connsiteX40" fmla="*/ 224894 w 1628343"/>
                <a:gd name="connsiteY40" fmla="*/ 162989 h 220192"/>
                <a:gd name="connsiteX41" fmla="*/ 224894 w 1628343"/>
                <a:gd name="connsiteY41" fmla="*/ 63696 h 220192"/>
                <a:gd name="connsiteX42" fmla="*/ 272806 w 1628343"/>
                <a:gd name="connsiteY42" fmla="*/ 63696 h 220192"/>
                <a:gd name="connsiteX43" fmla="*/ 272806 w 1628343"/>
                <a:gd name="connsiteY43" fmla="*/ 153026 h 220192"/>
                <a:gd name="connsiteX44" fmla="*/ 278403 w 1628343"/>
                <a:gd name="connsiteY44" fmla="*/ 172057 h 220192"/>
                <a:gd name="connsiteX45" fmla="*/ 295530 w 1628343"/>
                <a:gd name="connsiteY45" fmla="*/ 178661 h 220192"/>
                <a:gd name="connsiteX46" fmla="*/ 315008 w 1628343"/>
                <a:gd name="connsiteY46" fmla="*/ 170266 h 220192"/>
                <a:gd name="connsiteX47" fmla="*/ 322061 w 1628343"/>
                <a:gd name="connsiteY47" fmla="*/ 148213 h 220192"/>
                <a:gd name="connsiteX48" fmla="*/ 322061 w 1628343"/>
                <a:gd name="connsiteY48" fmla="*/ 63696 h 220192"/>
                <a:gd name="connsiteX49" fmla="*/ 370197 w 1628343"/>
                <a:gd name="connsiteY49" fmla="*/ 63696 h 220192"/>
                <a:gd name="connsiteX50" fmla="*/ 370197 w 1628343"/>
                <a:gd name="connsiteY50" fmla="*/ 215043 h 220192"/>
                <a:gd name="connsiteX51" fmla="*/ 324076 w 1628343"/>
                <a:gd name="connsiteY51" fmla="*/ 215043 h 220192"/>
                <a:gd name="connsiteX52" fmla="*/ 324076 w 1628343"/>
                <a:gd name="connsiteY52" fmla="*/ 196460 h 220192"/>
                <a:gd name="connsiteX53" fmla="*/ 323180 w 1628343"/>
                <a:gd name="connsiteY53" fmla="*/ 196460 h 220192"/>
                <a:gd name="connsiteX54" fmla="*/ 304374 w 1628343"/>
                <a:gd name="connsiteY54" fmla="*/ 213588 h 220192"/>
                <a:gd name="connsiteX55" fmla="*/ 277955 w 1628343"/>
                <a:gd name="connsiteY55" fmla="*/ 219521 h 220192"/>
                <a:gd name="connsiteX56" fmla="*/ 397623 w 1628343"/>
                <a:gd name="connsiteY56" fmla="*/ 1679 h 220192"/>
                <a:gd name="connsiteX57" fmla="*/ 445758 w 1628343"/>
                <a:gd name="connsiteY57" fmla="*/ 1679 h 220192"/>
                <a:gd name="connsiteX58" fmla="*/ 445758 w 1628343"/>
                <a:gd name="connsiteY58" fmla="*/ 42762 h 220192"/>
                <a:gd name="connsiteX59" fmla="*/ 397623 w 1628343"/>
                <a:gd name="connsiteY59" fmla="*/ 42762 h 220192"/>
                <a:gd name="connsiteX60" fmla="*/ 397623 w 1628343"/>
                <a:gd name="connsiteY60" fmla="*/ 1679 h 220192"/>
                <a:gd name="connsiteX61" fmla="*/ 397623 w 1628343"/>
                <a:gd name="connsiteY61" fmla="*/ 63696 h 220192"/>
                <a:gd name="connsiteX62" fmla="*/ 445758 w 1628343"/>
                <a:gd name="connsiteY62" fmla="*/ 63696 h 220192"/>
                <a:gd name="connsiteX63" fmla="*/ 445758 w 1628343"/>
                <a:gd name="connsiteY63" fmla="*/ 215043 h 220192"/>
                <a:gd name="connsiteX64" fmla="*/ 397623 w 1628343"/>
                <a:gd name="connsiteY64" fmla="*/ 215043 h 220192"/>
                <a:gd name="connsiteX65" fmla="*/ 397623 w 1628343"/>
                <a:gd name="connsiteY65" fmla="*/ 63696 h 220192"/>
                <a:gd name="connsiteX66" fmla="*/ 532738 w 1628343"/>
                <a:gd name="connsiteY66" fmla="*/ 219745 h 220192"/>
                <a:gd name="connsiteX67" fmla="*/ 506096 w 1628343"/>
                <a:gd name="connsiteY67" fmla="*/ 214259 h 220192"/>
                <a:gd name="connsiteX68" fmla="*/ 485162 w 1628343"/>
                <a:gd name="connsiteY68" fmla="*/ 198475 h 220192"/>
                <a:gd name="connsiteX69" fmla="*/ 471393 w 1628343"/>
                <a:gd name="connsiteY69" fmla="*/ 173176 h 220192"/>
                <a:gd name="connsiteX70" fmla="*/ 466468 w 1628343"/>
                <a:gd name="connsiteY70" fmla="*/ 139369 h 220192"/>
                <a:gd name="connsiteX71" fmla="*/ 471393 w 1628343"/>
                <a:gd name="connsiteY71" fmla="*/ 106794 h 220192"/>
                <a:gd name="connsiteX72" fmla="*/ 484938 w 1628343"/>
                <a:gd name="connsiteY72" fmla="*/ 81495 h 220192"/>
                <a:gd name="connsiteX73" fmla="*/ 505760 w 1628343"/>
                <a:gd name="connsiteY73" fmla="*/ 65039 h 220192"/>
                <a:gd name="connsiteX74" fmla="*/ 532626 w 1628343"/>
                <a:gd name="connsiteY74" fmla="*/ 59106 h 220192"/>
                <a:gd name="connsiteX75" fmla="*/ 558373 w 1628343"/>
                <a:gd name="connsiteY75" fmla="*/ 65151 h 220192"/>
                <a:gd name="connsiteX76" fmla="*/ 574941 w 1628343"/>
                <a:gd name="connsiteY76" fmla="*/ 80711 h 220192"/>
                <a:gd name="connsiteX77" fmla="*/ 575836 w 1628343"/>
                <a:gd name="connsiteY77" fmla="*/ 80711 h 220192"/>
                <a:gd name="connsiteX78" fmla="*/ 575836 w 1628343"/>
                <a:gd name="connsiteY78" fmla="*/ 1455 h 220192"/>
                <a:gd name="connsiteX79" fmla="*/ 623972 w 1628343"/>
                <a:gd name="connsiteY79" fmla="*/ 1455 h 220192"/>
                <a:gd name="connsiteX80" fmla="*/ 623972 w 1628343"/>
                <a:gd name="connsiteY80" fmla="*/ 214931 h 220192"/>
                <a:gd name="connsiteX81" fmla="*/ 577851 w 1628343"/>
                <a:gd name="connsiteY81" fmla="*/ 214931 h 220192"/>
                <a:gd name="connsiteX82" fmla="*/ 577851 w 1628343"/>
                <a:gd name="connsiteY82" fmla="*/ 194557 h 220192"/>
                <a:gd name="connsiteX83" fmla="*/ 577292 w 1628343"/>
                <a:gd name="connsiteY83" fmla="*/ 194557 h 220192"/>
                <a:gd name="connsiteX84" fmla="*/ 559157 w 1628343"/>
                <a:gd name="connsiteY84" fmla="*/ 213028 h 220192"/>
                <a:gd name="connsiteX85" fmla="*/ 532738 w 1628343"/>
                <a:gd name="connsiteY85" fmla="*/ 219633 h 220192"/>
                <a:gd name="connsiteX86" fmla="*/ 545164 w 1628343"/>
                <a:gd name="connsiteY86" fmla="*/ 181460 h 220192"/>
                <a:gd name="connsiteX87" fmla="*/ 568672 w 1628343"/>
                <a:gd name="connsiteY87" fmla="*/ 169594 h 220192"/>
                <a:gd name="connsiteX88" fmla="*/ 577068 w 1628343"/>
                <a:gd name="connsiteY88" fmla="*/ 139145 h 220192"/>
                <a:gd name="connsiteX89" fmla="*/ 575165 w 1628343"/>
                <a:gd name="connsiteY89" fmla="*/ 121570 h 220192"/>
                <a:gd name="connsiteX90" fmla="*/ 569232 w 1628343"/>
                <a:gd name="connsiteY90" fmla="*/ 107689 h 220192"/>
                <a:gd name="connsiteX91" fmla="*/ 559493 w 1628343"/>
                <a:gd name="connsiteY91" fmla="*/ 98622 h 220192"/>
                <a:gd name="connsiteX92" fmla="*/ 545724 w 1628343"/>
                <a:gd name="connsiteY92" fmla="*/ 95376 h 220192"/>
                <a:gd name="connsiteX93" fmla="*/ 523223 w 1628343"/>
                <a:gd name="connsiteY93" fmla="*/ 107354 h 220192"/>
                <a:gd name="connsiteX94" fmla="*/ 515275 w 1628343"/>
                <a:gd name="connsiteY94" fmla="*/ 138586 h 220192"/>
                <a:gd name="connsiteX95" fmla="*/ 523111 w 1628343"/>
                <a:gd name="connsiteY95" fmla="*/ 169930 h 220192"/>
                <a:gd name="connsiteX96" fmla="*/ 545164 w 1628343"/>
                <a:gd name="connsiteY96" fmla="*/ 181460 h 220192"/>
                <a:gd name="connsiteX97" fmla="*/ 722482 w 1628343"/>
                <a:gd name="connsiteY97" fmla="*/ 219297 h 220192"/>
                <a:gd name="connsiteX98" fmla="*/ 688787 w 1628343"/>
                <a:gd name="connsiteY98" fmla="*/ 213252 h 220192"/>
                <a:gd name="connsiteX99" fmla="*/ 663376 w 1628343"/>
                <a:gd name="connsiteY99" fmla="*/ 196348 h 220192"/>
                <a:gd name="connsiteX100" fmla="*/ 647368 w 1628343"/>
                <a:gd name="connsiteY100" fmla="*/ 170825 h 220192"/>
                <a:gd name="connsiteX101" fmla="*/ 641771 w 1628343"/>
                <a:gd name="connsiteY101" fmla="*/ 138922 h 220192"/>
                <a:gd name="connsiteX102" fmla="*/ 647368 w 1628343"/>
                <a:gd name="connsiteY102" fmla="*/ 107465 h 220192"/>
                <a:gd name="connsiteX103" fmla="*/ 663376 w 1628343"/>
                <a:gd name="connsiteY103" fmla="*/ 82054 h 220192"/>
                <a:gd name="connsiteX104" fmla="*/ 687892 w 1628343"/>
                <a:gd name="connsiteY104" fmla="*/ 65263 h 220192"/>
                <a:gd name="connsiteX105" fmla="*/ 719572 w 1628343"/>
                <a:gd name="connsiteY105" fmla="*/ 59218 h 220192"/>
                <a:gd name="connsiteX106" fmla="*/ 748677 w 1628343"/>
                <a:gd name="connsiteY106" fmla="*/ 64255 h 220192"/>
                <a:gd name="connsiteX107" fmla="*/ 771289 w 1628343"/>
                <a:gd name="connsiteY107" fmla="*/ 78136 h 220192"/>
                <a:gd name="connsiteX108" fmla="*/ 791551 w 1628343"/>
                <a:gd name="connsiteY108" fmla="*/ 109592 h 220192"/>
                <a:gd name="connsiteX109" fmla="*/ 797932 w 1628343"/>
                <a:gd name="connsiteY109" fmla="*/ 151683 h 220192"/>
                <a:gd name="connsiteX110" fmla="*/ 689123 w 1628343"/>
                <a:gd name="connsiteY110" fmla="*/ 151683 h 220192"/>
                <a:gd name="connsiteX111" fmla="*/ 699758 w 1628343"/>
                <a:gd name="connsiteY111" fmla="*/ 175975 h 220192"/>
                <a:gd name="connsiteX112" fmla="*/ 723154 w 1628343"/>
                <a:gd name="connsiteY112" fmla="*/ 184818 h 220192"/>
                <a:gd name="connsiteX113" fmla="*/ 738826 w 1628343"/>
                <a:gd name="connsiteY113" fmla="*/ 180788 h 220192"/>
                <a:gd name="connsiteX114" fmla="*/ 748229 w 1628343"/>
                <a:gd name="connsiteY114" fmla="*/ 169706 h 220192"/>
                <a:gd name="connsiteX115" fmla="*/ 795245 w 1628343"/>
                <a:gd name="connsiteY115" fmla="*/ 169706 h 220192"/>
                <a:gd name="connsiteX116" fmla="*/ 786402 w 1628343"/>
                <a:gd name="connsiteY116" fmla="*/ 189408 h 220192"/>
                <a:gd name="connsiteX117" fmla="*/ 769834 w 1628343"/>
                <a:gd name="connsiteY117" fmla="*/ 205528 h 220192"/>
                <a:gd name="connsiteX118" fmla="*/ 748677 w 1628343"/>
                <a:gd name="connsiteY118" fmla="*/ 215827 h 220192"/>
                <a:gd name="connsiteX119" fmla="*/ 722482 w 1628343"/>
                <a:gd name="connsiteY119" fmla="*/ 219409 h 220192"/>
                <a:gd name="connsiteX120" fmla="*/ 749125 w 1628343"/>
                <a:gd name="connsiteY120" fmla="*/ 123026 h 220192"/>
                <a:gd name="connsiteX121" fmla="*/ 739945 w 1628343"/>
                <a:gd name="connsiteY121" fmla="*/ 101421 h 220192"/>
                <a:gd name="connsiteX122" fmla="*/ 720467 w 1628343"/>
                <a:gd name="connsiteY122" fmla="*/ 93473 h 220192"/>
                <a:gd name="connsiteX123" fmla="*/ 699198 w 1628343"/>
                <a:gd name="connsiteY123" fmla="*/ 101421 h 220192"/>
                <a:gd name="connsiteX124" fmla="*/ 689459 w 1628343"/>
                <a:gd name="connsiteY124" fmla="*/ 123026 h 220192"/>
                <a:gd name="connsiteX125" fmla="*/ 749125 w 1628343"/>
                <a:gd name="connsiteY125" fmla="*/ 123026 h 220192"/>
                <a:gd name="connsiteX126" fmla="*/ 815619 w 1628343"/>
                <a:gd name="connsiteY126" fmla="*/ 1567 h 220192"/>
                <a:gd name="connsiteX127" fmla="*/ 863755 w 1628343"/>
                <a:gd name="connsiteY127" fmla="*/ 1567 h 220192"/>
                <a:gd name="connsiteX128" fmla="*/ 863755 w 1628343"/>
                <a:gd name="connsiteY128" fmla="*/ 82278 h 220192"/>
                <a:gd name="connsiteX129" fmla="*/ 864650 w 1628343"/>
                <a:gd name="connsiteY129" fmla="*/ 82278 h 220192"/>
                <a:gd name="connsiteX130" fmla="*/ 883233 w 1628343"/>
                <a:gd name="connsiteY130" fmla="*/ 65263 h 220192"/>
                <a:gd name="connsiteX131" fmla="*/ 909539 w 1628343"/>
                <a:gd name="connsiteY131" fmla="*/ 59218 h 220192"/>
                <a:gd name="connsiteX132" fmla="*/ 931704 w 1628343"/>
                <a:gd name="connsiteY132" fmla="*/ 63472 h 220192"/>
                <a:gd name="connsiteX133" fmla="*/ 948272 w 1628343"/>
                <a:gd name="connsiteY133" fmla="*/ 75338 h 220192"/>
                <a:gd name="connsiteX134" fmla="*/ 958682 w 1628343"/>
                <a:gd name="connsiteY134" fmla="*/ 93361 h 220192"/>
                <a:gd name="connsiteX135" fmla="*/ 962265 w 1628343"/>
                <a:gd name="connsiteY135" fmla="*/ 116533 h 220192"/>
                <a:gd name="connsiteX136" fmla="*/ 962265 w 1628343"/>
                <a:gd name="connsiteY136" fmla="*/ 214931 h 220192"/>
                <a:gd name="connsiteX137" fmla="*/ 914129 w 1628343"/>
                <a:gd name="connsiteY137" fmla="*/ 214931 h 220192"/>
                <a:gd name="connsiteX138" fmla="*/ 914129 w 1628343"/>
                <a:gd name="connsiteY138" fmla="*/ 126272 h 220192"/>
                <a:gd name="connsiteX139" fmla="*/ 908196 w 1628343"/>
                <a:gd name="connsiteY139" fmla="*/ 106794 h 220192"/>
                <a:gd name="connsiteX140" fmla="*/ 890509 w 1628343"/>
                <a:gd name="connsiteY140" fmla="*/ 99406 h 220192"/>
                <a:gd name="connsiteX141" fmla="*/ 871143 w 1628343"/>
                <a:gd name="connsiteY141" fmla="*/ 108249 h 220192"/>
                <a:gd name="connsiteX142" fmla="*/ 863866 w 1628343"/>
                <a:gd name="connsiteY142" fmla="*/ 131309 h 220192"/>
                <a:gd name="connsiteX143" fmla="*/ 863866 w 1628343"/>
                <a:gd name="connsiteY143" fmla="*/ 214931 h 220192"/>
                <a:gd name="connsiteX144" fmla="*/ 815731 w 1628343"/>
                <a:gd name="connsiteY144" fmla="*/ 214931 h 220192"/>
                <a:gd name="connsiteX145" fmla="*/ 815731 w 1628343"/>
                <a:gd name="connsiteY145" fmla="*/ 1455 h 220192"/>
                <a:gd name="connsiteX146" fmla="*/ 1058312 w 1628343"/>
                <a:gd name="connsiteY146" fmla="*/ 219745 h 220192"/>
                <a:gd name="connsiteX147" fmla="*/ 1025065 w 1628343"/>
                <a:gd name="connsiteY147" fmla="*/ 213700 h 220192"/>
                <a:gd name="connsiteX148" fmla="*/ 999430 w 1628343"/>
                <a:gd name="connsiteY148" fmla="*/ 196796 h 220192"/>
                <a:gd name="connsiteX149" fmla="*/ 983086 w 1628343"/>
                <a:gd name="connsiteY149" fmla="*/ 171385 h 220192"/>
                <a:gd name="connsiteX150" fmla="*/ 977265 w 1628343"/>
                <a:gd name="connsiteY150" fmla="*/ 139593 h 220192"/>
                <a:gd name="connsiteX151" fmla="*/ 983086 w 1628343"/>
                <a:gd name="connsiteY151" fmla="*/ 107801 h 220192"/>
                <a:gd name="connsiteX152" fmla="*/ 999430 w 1628343"/>
                <a:gd name="connsiteY152" fmla="*/ 82390 h 220192"/>
                <a:gd name="connsiteX153" fmla="*/ 1025065 w 1628343"/>
                <a:gd name="connsiteY153" fmla="*/ 65599 h 220192"/>
                <a:gd name="connsiteX154" fmla="*/ 1058312 w 1628343"/>
                <a:gd name="connsiteY154" fmla="*/ 59554 h 220192"/>
                <a:gd name="connsiteX155" fmla="*/ 1091559 w 1628343"/>
                <a:gd name="connsiteY155" fmla="*/ 65599 h 220192"/>
                <a:gd name="connsiteX156" fmla="*/ 1116970 w 1628343"/>
                <a:gd name="connsiteY156" fmla="*/ 82390 h 220192"/>
                <a:gd name="connsiteX157" fmla="*/ 1133202 w 1628343"/>
                <a:gd name="connsiteY157" fmla="*/ 107801 h 220192"/>
                <a:gd name="connsiteX158" fmla="*/ 1138911 w 1628343"/>
                <a:gd name="connsiteY158" fmla="*/ 139593 h 220192"/>
                <a:gd name="connsiteX159" fmla="*/ 1133202 w 1628343"/>
                <a:gd name="connsiteY159" fmla="*/ 171385 h 220192"/>
                <a:gd name="connsiteX160" fmla="*/ 1116970 w 1628343"/>
                <a:gd name="connsiteY160" fmla="*/ 196796 h 220192"/>
                <a:gd name="connsiteX161" fmla="*/ 1091559 w 1628343"/>
                <a:gd name="connsiteY161" fmla="*/ 213700 h 220192"/>
                <a:gd name="connsiteX162" fmla="*/ 1058312 w 1628343"/>
                <a:gd name="connsiteY162" fmla="*/ 219745 h 220192"/>
                <a:gd name="connsiteX163" fmla="*/ 1057976 w 1628343"/>
                <a:gd name="connsiteY163" fmla="*/ 185490 h 220192"/>
                <a:gd name="connsiteX164" fmla="*/ 1082044 w 1628343"/>
                <a:gd name="connsiteY164" fmla="*/ 172952 h 220192"/>
                <a:gd name="connsiteX165" fmla="*/ 1090216 w 1628343"/>
                <a:gd name="connsiteY165" fmla="*/ 139705 h 220192"/>
                <a:gd name="connsiteX166" fmla="*/ 1082044 w 1628343"/>
                <a:gd name="connsiteY166" fmla="*/ 106346 h 220192"/>
                <a:gd name="connsiteX167" fmla="*/ 1057976 w 1628343"/>
                <a:gd name="connsiteY167" fmla="*/ 93585 h 220192"/>
                <a:gd name="connsiteX168" fmla="*/ 1034020 w 1628343"/>
                <a:gd name="connsiteY168" fmla="*/ 106346 h 220192"/>
                <a:gd name="connsiteX169" fmla="*/ 1026072 w 1628343"/>
                <a:gd name="connsiteY169" fmla="*/ 139705 h 220192"/>
                <a:gd name="connsiteX170" fmla="*/ 1034020 w 1628343"/>
                <a:gd name="connsiteY170" fmla="*/ 172952 h 220192"/>
                <a:gd name="connsiteX171" fmla="*/ 1057976 w 1628343"/>
                <a:gd name="connsiteY171" fmla="*/ 185490 h 220192"/>
                <a:gd name="connsiteX172" fmla="*/ 1207309 w 1628343"/>
                <a:gd name="connsiteY172" fmla="*/ 219521 h 220192"/>
                <a:gd name="connsiteX173" fmla="*/ 1167569 w 1628343"/>
                <a:gd name="connsiteY173" fmla="*/ 203961 h 220192"/>
                <a:gd name="connsiteX174" fmla="*/ 1154136 w 1628343"/>
                <a:gd name="connsiteY174" fmla="*/ 162989 h 220192"/>
                <a:gd name="connsiteX175" fmla="*/ 1154136 w 1628343"/>
                <a:gd name="connsiteY175" fmla="*/ 63696 h 220192"/>
                <a:gd name="connsiteX176" fmla="*/ 1202047 w 1628343"/>
                <a:gd name="connsiteY176" fmla="*/ 63696 h 220192"/>
                <a:gd name="connsiteX177" fmla="*/ 1202047 w 1628343"/>
                <a:gd name="connsiteY177" fmla="*/ 153026 h 220192"/>
                <a:gd name="connsiteX178" fmla="*/ 1207644 w 1628343"/>
                <a:gd name="connsiteY178" fmla="*/ 172057 h 220192"/>
                <a:gd name="connsiteX179" fmla="*/ 1224772 w 1628343"/>
                <a:gd name="connsiteY179" fmla="*/ 178661 h 220192"/>
                <a:gd name="connsiteX180" fmla="*/ 1244250 w 1628343"/>
                <a:gd name="connsiteY180" fmla="*/ 170266 h 220192"/>
                <a:gd name="connsiteX181" fmla="*/ 1251302 w 1628343"/>
                <a:gd name="connsiteY181" fmla="*/ 148213 h 220192"/>
                <a:gd name="connsiteX182" fmla="*/ 1251302 w 1628343"/>
                <a:gd name="connsiteY182" fmla="*/ 63696 h 220192"/>
                <a:gd name="connsiteX183" fmla="*/ 1299438 w 1628343"/>
                <a:gd name="connsiteY183" fmla="*/ 63696 h 220192"/>
                <a:gd name="connsiteX184" fmla="*/ 1299438 w 1628343"/>
                <a:gd name="connsiteY184" fmla="*/ 215043 h 220192"/>
                <a:gd name="connsiteX185" fmla="*/ 1253317 w 1628343"/>
                <a:gd name="connsiteY185" fmla="*/ 215043 h 220192"/>
                <a:gd name="connsiteX186" fmla="*/ 1253317 w 1628343"/>
                <a:gd name="connsiteY186" fmla="*/ 196460 h 220192"/>
                <a:gd name="connsiteX187" fmla="*/ 1252422 w 1628343"/>
                <a:gd name="connsiteY187" fmla="*/ 196460 h 220192"/>
                <a:gd name="connsiteX188" fmla="*/ 1233615 w 1628343"/>
                <a:gd name="connsiteY188" fmla="*/ 213588 h 220192"/>
                <a:gd name="connsiteX189" fmla="*/ 1207197 w 1628343"/>
                <a:gd name="connsiteY189" fmla="*/ 219521 h 220192"/>
                <a:gd name="connsiteX190" fmla="*/ 1389888 w 1628343"/>
                <a:gd name="connsiteY190" fmla="*/ 219856 h 220192"/>
                <a:gd name="connsiteX191" fmla="*/ 1336939 w 1628343"/>
                <a:gd name="connsiteY191" fmla="*/ 205528 h 220192"/>
                <a:gd name="connsiteX192" fmla="*/ 1316229 w 1628343"/>
                <a:gd name="connsiteY192" fmla="*/ 166012 h 220192"/>
                <a:gd name="connsiteX193" fmla="*/ 1361790 w 1628343"/>
                <a:gd name="connsiteY193" fmla="*/ 166012 h 220192"/>
                <a:gd name="connsiteX194" fmla="*/ 1370410 w 1628343"/>
                <a:gd name="connsiteY194" fmla="*/ 182915 h 220192"/>
                <a:gd name="connsiteX195" fmla="*/ 1389664 w 1628343"/>
                <a:gd name="connsiteY195" fmla="*/ 188512 h 220192"/>
                <a:gd name="connsiteX196" fmla="*/ 1406903 w 1628343"/>
                <a:gd name="connsiteY196" fmla="*/ 184706 h 220192"/>
                <a:gd name="connsiteX197" fmla="*/ 1413284 w 1628343"/>
                <a:gd name="connsiteY197" fmla="*/ 173512 h 220192"/>
                <a:gd name="connsiteX198" fmla="*/ 1410038 w 1628343"/>
                <a:gd name="connsiteY198" fmla="*/ 165340 h 220192"/>
                <a:gd name="connsiteX199" fmla="*/ 1401418 w 1628343"/>
                <a:gd name="connsiteY199" fmla="*/ 160303 h 220192"/>
                <a:gd name="connsiteX200" fmla="*/ 1389105 w 1628343"/>
                <a:gd name="connsiteY200" fmla="*/ 157392 h 220192"/>
                <a:gd name="connsiteX201" fmla="*/ 1374776 w 1628343"/>
                <a:gd name="connsiteY201" fmla="*/ 154929 h 220192"/>
                <a:gd name="connsiteX202" fmla="*/ 1355298 w 1628343"/>
                <a:gd name="connsiteY202" fmla="*/ 150676 h 220192"/>
                <a:gd name="connsiteX203" fmla="*/ 1337722 w 1628343"/>
                <a:gd name="connsiteY203" fmla="*/ 143175 h 220192"/>
                <a:gd name="connsiteX204" fmla="*/ 1325185 w 1628343"/>
                <a:gd name="connsiteY204" fmla="*/ 129742 h 220192"/>
                <a:gd name="connsiteX205" fmla="*/ 1320483 w 1628343"/>
                <a:gd name="connsiteY205" fmla="*/ 108025 h 220192"/>
                <a:gd name="connsiteX206" fmla="*/ 1325633 w 1628343"/>
                <a:gd name="connsiteY206" fmla="*/ 86980 h 220192"/>
                <a:gd name="connsiteX207" fmla="*/ 1339738 w 1628343"/>
                <a:gd name="connsiteY207" fmla="*/ 71756 h 220192"/>
                <a:gd name="connsiteX208" fmla="*/ 1360559 w 1628343"/>
                <a:gd name="connsiteY208" fmla="*/ 62576 h 220192"/>
                <a:gd name="connsiteX209" fmla="*/ 1385858 w 1628343"/>
                <a:gd name="connsiteY209" fmla="*/ 59442 h 220192"/>
                <a:gd name="connsiteX210" fmla="*/ 1435225 w 1628343"/>
                <a:gd name="connsiteY210" fmla="*/ 72427 h 220192"/>
                <a:gd name="connsiteX211" fmla="*/ 1454144 w 1628343"/>
                <a:gd name="connsiteY211" fmla="*/ 107913 h 220192"/>
                <a:gd name="connsiteX212" fmla="*/ 1409814 w 1628343"/>
                <a:gd name="connsiteY212" fmla="*/ 107913 h 220192"/>
                <a:gd name="connsiteX213" fmla="*/ 1401978 w 1628343"/>
                <a:gd name="connsiteY213" fmla="*/ 93920 h 220192"/>
                <a:gd name="connsiteX214" fmla="*/ 1385522 w 1628343"/>
                <a:gd name="connsiteY214" fmla="*/ 90226 h 220192"/>
                <a:gd name="connsiteX215" fmla="*/ 1370634 w 1628343"/>
                <a:gd name="connsiteY215" fmla="*/ 93585 h 220192"/>
                <a:gd name="connsiteX216" fmla="*/ 1364589 w 1628343"/>
                <a:gd name="connsiteY216" fmla="*/ 104107 h 220192"/>
                <a:gd name="connsiteX217" fmla="*/ 1367499 w 1628343"/>
                <a:gd name="connsiteY217" fmla="*/ 110600 h 220192"/>
                <a:gd name="connsiteX218" fmla="*/ 1375447 w 1628343"/>
                <a:gd name="connsiteY218" fmla="*/ 114630 h 220192"/>
                <a:gd name="connsiteX219" fmla="*/ 1387089 w 1628343"/>
                <a:gd name="connsiteY219" fmla="*/ 117428 h 220192"/>
                <a:gd name="connsiteX220" fmla="*/ 1400858 w 1628343"/>
                <a:gd name="connsiteY220" fmla="*/ 119779 h 220192"/>
                <a:gd name="connsiteX221" fmla="*/ 1421120 w 1628343"/>
                <a:gd name="connsiteY221" fmla="*/ 124033 h 220192"/>
                <a:gd name="connsiteX222" fmla="*/ 1439703 w 1628343"/>
                <a:gd name="connsiteY222" fmla="*/ 131869 h 220192"/>
                <a:gd name="connsiteX223" fmla="*/ 1453472 w 1628343"/>
                <a:gd name="connsiteY223" fmla="*/ 146198 h 220192"/>
                <a:gd name="connsiteX224" fmla="*/ 1458845 w 1628343"/>
                <a:gd name="connsiteY224" fmla="*/ 169706 h 220192"/>
                <a:gd name="connsiteX225" fmla="*/ 1453696 w 1628343"/>
                <a:gd name="connsiteY225" fmla="*/ 191535 h 220192"/>
                <a:gd name="connsiteX226" fmla="*/ 1439367 w 1628343"/>
                <a:gd name="connsiteY226" fmla="*/ 207207 h 220192"/>
                <a:gd name="connsiteX227" fmla="*/ 1417538 w 1628343"/>
                <a:gd name="connsiteY227" fmla="*/ 216722 h 220192"/>
                <a:gd name="connsiteX228" fmla="*/ 1390000 w 1628343"/>
                <a:gd name="connsiteY228" fmla="*/ 219968 h 220192"/>
                <a:gd name="connsiteX229" fmla="*/ 1552877 w 1628343"/>
                <a:gd name="connsiteY229" fmla="*/ 219633 h 220192"/>
                <a:gd name="connsiteX230" fmla="*/ 1519183 w 1628343"/>
                <a:gd name="connsiteY230" fmla="*/ 213588 h 220192"/>
                <a:gd name="connsiteX231" fmla="*/ 1493771 w 1628343"/>
                <a:gd name="connsiteY231" fmla="*/ 196684 h 220192"/>
                <a:gd name="connsiteX232" fmla="*/ 1477764 w 1628343"/>
                <a:gd name="connsiteY232" fmla="*/ 171161 h 220192"/>
                <a:gd name="connsiteX233" fmla="*/ 1472166 w 1628343"/>
                <a:gd name="connsiteY233" fmla="*/ 139257 h 220192"/>
                <a:gd name="connsiteX234" fmla="*/ 1477764 w 1628343"/>
                <a:gd name="connsiteY234" fmla="*/ 107801 h 220192"/>
                <a:gd name="connsiteX235" fmla="*/ 1493771 w 1628343"/>
                <a:gd name="connsiteY235" fmla="*/ 82390 h 220192"/>
                <a:gd name="connsiteX236" fmla="*/ 1518287 w 1628343"/>
                <a:gd name="connsiteY236" fmla="*/ 65599 h 220192"/>
                <a:gd name="connsiteX237" fmla="*/ 1549967 w 1628343"/>
                <a:gd name="connsiteY237" fmla="*/ 59554 h 220192"/>
                <a:gd name="connsiteX238" fmla="*/ 1579072 w 1628343"/>
                <a:gd name="connsiteY238" fmla="*/ 64591 h 220192"/>
                <a:gd name="connsiteX239" fmla="*/ 1601685 w 1628343"/>
                <a:gd name="connsiteY239" fmla="*/ 78472 h 220192"/>
                <a:gd name="connsiteX240" fmla="*/ 1621946 w 1628343"/>
                <a:gd name="connsiteY240" fmla="*/ 109928 h 220192"/>
                <a:gd name="connsiteX241" fmla="*/ 1628327 w 1628343"/>
                <a:gd name="connsiteY241" fmla="*/ 152019 h 220192"/>
                <a:gd name="connsiteX242" fmla="*/ 1519518 w 1628343"/>
                <a:gd name="connsiteY242" fmla="*/ 152019 h 220192"/>
                <a:gd name="connsiteX243" fmla="*/ 1530153 w 1628343"/>
                <a:gd name="connsiteY243" fmla="*/ 176311 h 220192"/>
                <a:gd name="connsiteX244" fmla="*/ 1553549 w 1628343"/>
                <a:gd name="connsiteY244" fmla="*/ 185154 h 220192"/>
                <a:gd name="connsiteX245" fmla="*/ 1569221 w 1628343"/>
                <a:gd name="connsiteY245" fmla="*/ 181124 h 220192"/>
                <a:gd name="connsiteX246" fmla="*/ 1578736 w 1628343"/>
                <a:gd name="connsiteY246" fmla="*/ 170042 h 220192"/>
                <a:gd name="connsiteX247" fmla="*/ 1625753 w 1628343"/>
                <a:gd name="connsiteY247" fmla="*/ 170042 h 220192"/>
                <a:gd name="connsiteX248" fmla="*/ 1616909 w 1628343"/>
                <a:gd name="connsiteY248" fmla="*/ 189744 h 220192"/>
                <a:gd name="connsiteX249" fmla="*/ 1600341 w 1628343"/>
                <a:gd name="connsiteY249" fmla="*/ 205864 h 220192"/>
                <a:gd name="connsiteX250" fmla="*/ 1579184 w 1628343"/>
                <a:gd name="connsiteY250" fmla="*/ 216162 h 220192"/>
                <a:gd name="connsiteX251" fmla="*/ 1552990 w 1628343"/>
                <a:gd name="connsiteY251" fmla="*/ 219745 h 220192"/>
                <a:gd name="connsiteX252" fmla="*/ 1579632 w 1628343"/>
                <a:gd name="connsiteY252" fmla="*/ 123361 h 220192"/>
                <a:gd name="connsiteX253" fmla="*/ 1570453 w 1628343"/>
                <a:gd name="connsiteY253" fmla="*/ 101756 h 220192"/>
                <a:gd name="connsiteX254" fmla="*/ 1550974 w 1628343"/>
                <a:gd name="connsiteY254" fmla="*/ 93808 h 220192"/>
                <a:gd name="connsiteX255" fmla="*/ 1529705 w 1628343"/>
                <a:gd name="connsiteY255" fmla="*/ 101756 h 220192"/>
                <a:gd name="connsiteX256" fmla="*/ 1519966 w 1628343"/>
                <a:gd name="connsiteY256" fmla="*/ 123361 h 220192"/>
                <a:gd name="connsiteX257" fmla="*/ 1579632 w 1628343"/>
                <a:gd name="connsiteY257" fmla="*/ 123361 h 22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628343" h="220192">
                  <a:moveTo>
                    <a:pt x="100525" y="220192"/>
                  </a:moveTo>
                  <a:cubicBezTo>
                    <a:pt x="85301" y="220192"/>
                    <a:pt x="71756" y="217618"/>
                    <a:pt x="59778" y="212468"/>
                  </a:cubicBezTo>
                  <a:cubicBezTo>
                    <a:pt x="47800" y="207319"/>
                    <a:pt x="37277" y="200043"/>
                    <a:pt x="28434" y="190639"/>
                  </a:cubicBezTo>
                  <a:cubicBezTo>
                    <a:pt x="19142" y="180564"/>
                    <a:pt x="12090" y="168810"/>
                    <a:pt x="7276" y="155153"/>
                  </a:cubicBezTo>
                  <a:cubicBezTo>
                    <a:pt x="2463" y="141608"/>
                    <a:pt x="0" y="126720"/>
                    <a:pt x="0" y="110488"/>
                  </a:cubicBezTo>
                  <a:cubicBezTo>
                    <a:pt x="0" y="94256"/>
                    <a:pt x="2687" y="78360"/>
                    <a:pt x="8172" y="64255"/>
                  </a:cubicBezTo>
                  <a:cubicBezTo>
                    <a:pt x="13545" y="50151"/>
                    <a:pt x="21269" y="38061"/>
                    <a:pt x="31344" y="28098"/>
                  </a:cubicBezTo>
                  <a:cubicBezTo>
                    <a:pt x="40188" y="19254"/>
                    <a:pt x="50598" y="12314"/>
                    <a:pt x="62688" y="7388"/>
                  </a:cubicBezTo>
                  <a:cubicBezTo>
                    <a:pt x="74666" y="2463"/>
                    <a:pt x="88435" y="0"/>
                    <a:pt x="103771" y="0"/>
                  </a:cubicBezTo>
                  <a:cubicBezTo>
                    <a:pt x="117317" y="0"/>
                    <a:pt x="129630" y="1679"/>
                    <a:pt x="140377" y="5149"/>
                  </a:cubicBezTo>
                  <a:cubicBezTo>
                    <a:pt x="151235" y="8620"/>
                    <a:pt x="160639" y="13545"/>
                    <a:pt x="168475" y="19926"/>
                  </a:cubicBezTo>
                  <a:cubicBezTo>
                    <a:pt x="176311" y="26307"/>
                    <a:pt x="182691" y="34031"/>
                    <a:pt x="187505" y="43098"/>
                  </a:cubicBezTo>
                  <a:cubicBezTo>
                    <a:pt x="192319" y="52166"/>
                    <a:pt x="195677" y="62240"/>
                    <a:pt x="197356" y="73211"/>
                  </a:cubicBezTo>
                  <a:lnTo>
                    <a:pt x="146534" y="73211"/>
                  </a:lnTo>
                  <a:cubicBezTo>
                    <a:pt x="144519" y="64591"/>
                    <a:pt x="140153" y="57315"/>
                    <a:pt x="133213" y="51606"/>
                  </a:cubicBezTo>
                  <a:cubicBezTo>
                    <a:pt x="126272" y="45897"/>
                    <a:pt x="117093" y="42986"/>
                    <a:pt x="105451" y="42986"/>
                  </a:cubicBezTo>
                  <a:cubicBezTo>
                    <a:pt x="96719" y="42986"/>
                    <a:pt x="89107" y="44777"/>
                    <a:pt x="82502" y="48136"/>
                  </a:cubicBezTo>
                  <a:cubicBezTo>
                    <a:pt x="75898" y="51606"/>
                    <a:pt x="70412" y="56307"/>
                    <a:pt x="66047" y="62352"/>
                  </a:cubicBezTo>
                  <a:cubicBezTo>
                    <a:pt x="61681" y="68397"/>
                    <a:pt x="58434" y="75450"/>
                    <a:pt x="56308" y="83622"/>
                  </a:cubicBezTo>
                  <a:cubicBezTo>
                    <a:pt x="54181" y="91793"/>
                    <a:pt x="53061" y="100749"/>
                    <a:pt x="53061" y="110376"/>
                  </a:cubicBezTo>
                  <a:cubicBezTo>
                    <a:pt x="53061" y="120003"/>
                    <a:pt x="54293" y="128959"/>
                    <a:pt x="56755" y="137242"/>
                  </a:cubicBezTo>
                  <a:cubicBezTo>
                    <a:pt x="59218" y="145526"/>
                    <a:pt x="62688" y="152691"/>
                    <a:pt x="67278" y="158624"/>
                  </a:cubicBezTo>
                  <a:cubicBezTo>
                    <a:pt x="71868" y="164668"/>
                    <a:pt x="77353" y="169370"/>
                    <a:pt x="83957" y="172616"/>
                  </a:cubicBezTo>
                  <a:cubicBezTo>
                    <a:pt x="90562" y="175975"/>
                    <a:pt x="97950" y="177654"/>
                    <a:pt x="106234" y="177654"/>
                  </a:cubicBezTo>
                  <a:cubicBezTo>
                    <a:pt x="113063" y="177654"/>
                    <a:pt x="119332" y="176646"/>
                    <a:pt x="124705" y="174519"/>
                  </a:cubicBezTo>
                  <a:cubicBezTo>
                    <a:pt x="130078" y="172505"/>
                    <a:pt x="134780" y="169706"/>
                    <a:pt x="138586" y="166236"/>
                  </a:cubicBezTo>
                  <a:cubicBezTo>
                    <a:pt x="142392" y="162765"/>
                    <a:pt x="145526" y="158847"/>
                    <a:pt x="147765" y="154370"/>
                  </a:cubicBezTo>
                  <a:cubicBezTo>
                    <a:pt x="150004" y="150004"/>
                    <a:pt x="151459" y="145414"/>
                    <a:pt x="152019" y="140601"/>
                  </a:cubicBezTo>
                  <a:lnTo>
                    <a:pt x="152019" y="140041"/>
                  </a:lnTo>
                  <a:lnTo>
                    <a:pt x="112391" y="140041"/>
                  </a:lnTo>
                  <a:lnTo>
                    <a:pt x="112391" y="101644"/>
                  </a:lnTo>
                  <a:lnTo>
                    <a:pt x="200490" y="101644"/>
                  </a:lnTo>
                  <a:lnTo>
                    <a:pt x="200490" y="215155"/>
                  </a:lnTo>
                  <a:lnTo>
                    <a:pt x="163885" y="215155"/>
                  </a:lnTo>
                  <a:lnTo>
                    <a:pt x="160974" y="189744"/>
                  </a:lnTo>
                  <a:lnTo>
                    <a:pt x="160415" y="189744"/>
                  </a:lnTo>
                  <a:cubicBezTo>
                    <a:pt x="153474" y="200602"/>
                    <a:pt x="144967" y="208326"/>
                    <a:pt x="134892" y="212916"/>
                  </a:cubicBezTo>
                  <a:cubicBezTo>
                    <a:pt x="124705" y="217506"/>
                    <a:pt x="113287" y="219856"/>
                    <a:pt x="100413" y="219856"/>
                  </a:cubicBezTo>
                  <a:moveTo>
                    <a:pt x="278067" y="219521"/>
                  </a:moveTo>
                  <a:cubicBezTo>
                    <a:pt x="260492" y="219521"/>
                    <a:pt x="247283" y="214371"/>
                    <a:pt x="238327" y="203961"/>
                  </a:cubicBezTo>
                  <a:cubicBezTo>
                    <a:pt x="229372" y="193662"/>
                    <a:pt x="224894" y="180005"/>
                    <a:pt x="224894" y="162989"/>
                  </a:cubicBezTo>
                  <a:lnTo>
                    <a:pt x="224894" y="63696"/>
                  </a:lnTo>
                  <a:lnTo>
                    <a:pt x="272806" y="63696"/>
                  </a:lnTo>
                  <a:lnTo>
                    <a:pt x="272806" y="153026"/>
                  </a:lnTo>
                  <a:cubicBezTo>
                    <a:pt x="272806" y="161310"/>
                    <a:pt x="274709" y="167691"/>
                    <a:pt x="278403" y="172057"/>
                  </a:cubicBezTo>
                  <a:cubicBezTo>
                    <a:pt x="282097" y="176534"/>
                    <a:pt x="287918" y="178661"/>
                    <a:pt x="295530" y="178661"/>
                  </a:cubicBezTo>
                  <a:cubicBezTo>
                    <a:pt x="303814" y="178661"/>
                    <a:pt x="310307" y="175863"/>
                    <a:pt x="315008" y="170266"/>
                  </a:cubicBezTo>
                  <a:cubicBezTo>
                    <a:pt x="319710" y="164668"/>
                    <a:pt x="322061" y="157280"/>
                    <a:pt x="322061" y="148213"/>
                  </a:cubicBezTo>
                  <a:lnTo>
                    <a:pt x="322061" y="63696"/>
                  </a:lnTo>
                  <a:lnTo>
                    <a:pt x="370197" y="63696"/>
                  </a:lnTo>
                  <a:lnTo>
                    <a:pt x="370197" y="215043"/>
                  </a:lnTo>
                  <a:lnTo>
                    <a:pt x="324076" y="215043"/>
                  </a:lnTo>
                  <a:lnTo>
                    <a:pt x="324076" y="196460"/>
                  </a:lnTo>
                  <a:lnTo>
                    <a:pt x="323180" y="196460"/>
                  </a:lnTo>
                  <a:cubicBezTo>
                    <a:pt x="317695" y="203961"/>
                    <a:pt x="311426" y="209670"/>
                    <a:pt x="304374" y="213588"/>
                  </a:cubicBezTo>
                  <a:cubicBezTo>
                    <a:pt x="297433" y="217506"/>
                    <a:pt x="288590" y="219521"/>
                    <a:pt x="277955" y="219521"/>
                  </a:cubicBezTo>
                  <a:moveTo>
                    <a:pt x="397623" y="1679"/>
                  </a:moveTo>
                  <a:lnTo>
                    <a:pt x="445758" y="1679"/>
                  </a:lnTo>
                  <a:lnTo>
                    <a:pt x="445758" y="42762"/>
                  </a:lnTo>
                  <a:lnTo>
                    <a:pt x="397623" y="42762"/>
                  </a:lnTo>
                  <a:lnTo>
                    <a:pt x="397623" y="1679"/>
                  </a:lnTo>
                  <a:close/>
                  <a:moveTo>
                    <a:pt x="397623" y="63696"/>
                  </a:moveTo>
                  <a:lnTo>
                    <a:pt x="445758" y="63696"/>
                  </a:lnTo>
                  <a:lnTo>
                    <a:pt x="445758" y="215043"/>
                  </a:lnTo>
                  <a:lnTo>
                    <a:pt x="397623" y="215043"/>
                  </a:lnTo>
                  <a:lnTo>
                    <a:pt x="397623" y="63696"/>
                  </a:lnTo>
                  <a:close/>
                  <a:moveTo>
                    <a:pt x="532738" y="219745"/>
                  </a:moveTo>
                  <a:cubicBezTo>
                    <a:pt x="523111" y="219745"/>
                    <a:pt x="514156" y="217953"/>
                    <a:pt x="506096" y="214259"/>
                  </a:cubicBezTo>
                  <a:cubicBezTo>
                    <a:pt x="498036" y="210565"/>
                    <a:pt x="490983" y="205304"/>
                    <a:pt x="485162" y="198475"/>
                  </a:cubicBezTo>
                  <a:cubicBezTo>
                    <a:pt x="479229" y="191535"/>
                    <a:pt x="474640" y="183139"/>
                    <a:pt x="471393" y="173176"/>
                  </a:cubicBezTo>
                  <a:cubicBezTo>
                    <a:pt x="468147" y="163213"/>
                    <a:pt x="466468" y="151907"/>
                    <a:pt x="466468" y="139369"/>
                  </a:cubicBezTo>
                  <a:cubicBezTo>
                    <a:pt x="466468" y="127503"/>
                    <a:pt x="468147" y="116757"/>
                    <a:pt x="471393" y="106794"/>
                  </a:cubicBezTo>
                  <a:cubicBezTo>
                    <a:pt x="474640" y="96943"/>
                    <a:pt x="479229" y="88547"/>
                    <a:pt x="484938" y="81495"/>
                  </a:cubicBezTo>
                  <a:cubicBezTo>
                    <a:pt x="490759" y="74554"/>
                    <a:pt x="497700" y="69069"/>
                    <a:pt x="505760" y="65039"/>
                  </a:cubicBezTo>
                  <a:cubicBezTo>
                    <a:pt x="513820" y="61121"/>
                    <a:pt x="522775" y="59106"/>
                    <a:pt x="532626" y="59106"/>
                  </a:cubicBezTo>
                  <a:cubicBezTo>
                    <a:pt x="543261" y="59106"/>
                    <a:pt x="551880" y="61121"/>
                    <a:pt x="558373" y="65151"/>
                  </a:cubicBezTo>
                  <a:cubicBezTo>
                    <a:pt x="564866" y="69181"/>
                    <a:pt x="570351" y="74330"/>
                    <a:pt x="574941" y="80711"/>
                  </a:cubicBezTo>
                  <a:lnTo>
                    <a:pt x="575836" y="80711"/>
                  </a:lnTo>
                  <a:lnTo>
                    <a:pt x="575836" y="1455"/>
                  </a:lnTo>
                  <a:lnTo>
                    <a:pt x="623972" y="1455"/>
                  </a:lnTo>
                  <a:lnTo>
                    <a:pt x="623972" y="214931"/>
                  </a:lnTo>
                  <a:lnTo>
                    <a:pt x="577851" y="214931"/>
                  </a:lnTo>
                  <a:lnTo>
                    <a:pt x="577851" y="194557"/>
                  </a:lnTo>
                  <a:lnTo>
                    <a:pt x="577292" y="194557"/>
                  </a:lnTo>
                  <a:cubicBezTo>
                    <a:pt x="572814" y="202393"/>
                    <a:pt x="566657" y="208550"/>
                    <a:pt x="559157" y="213028"/>
                  </a:cubicBezTo>
                  <a:cubicBezTo>
                    <a:pt x="551545" y="217506"/>
                    <a:pt x="542813" y="219633"/>
                    <a:pt x="532738" y="219633"/>
                  </a:cubicBezTo>
                  <a:moveTo>
                    <a:pt x="545164" y="181460"/>
                  </a:moveTo>
                  <a:cubicBezTo>
                    <a:pt x="555239" y="181460"/>
                    <a:pt x="563075" y="177542"/>
                    <a:pt x="568672" y="169594"/>
                  </a:cubicBezTo>
                  <a:cubicBezTo>
                    <a:pt x="574269" y="161758"/>
                    <a:pt x="577068" y="151571"/>
                    <a:pt x="577068" y="139145"/>
                  </a:cubicBezTo>
                  <a:cubicBezTo>
                    <a:pt x="577068" y="132877"/>
                    <a:pt x="576396" y="126944"/>
                    <a:pt x="575165" y="121570"/>
                  </a:cubicBezTo>
                  <a:cubicBezTo>
                    <a:pt x="573933" y="116197"/>
                    <a:pt x="571918" y="111495"/>
                    <a:pt x="569232" y="107689"/>
                  </a:cubicBezTo>
                  <a:cubicBezTo>
                    <a:pt x="566545" y="103883"/>
                    <a:pt x="563299" y="100861"/>
                    <a:pt x="559493" y="98622"/>
                  </a:cubicBezTo>
                  <a:cubicBezTo>
                    <a:pt x="555687" y="96495"/>
                    <a:pt x="551097" y="95376"/>
                    <a:pt x="545724" y="95376"/>
                  </a:cubicBezTo>
                  <a:cubicBezTo>
                    <a:pt x="536097" y="95376"/>
                    <a:pt x="528596" y="99406"/>
                    <a:pt x="523223" y="107354"/>
                  </a:cubicBezTo>
                  <a:cubicBezTo>
                    <a:pt x="517850" y="115302"/>
                    <a:pt x="515275" y="125712"/>
                    <a:pt x="515275" y="138586"/>
                  </a:cubicBezTo>
                  <a:cubicBezTo>
                    <a:pt x="515275" y="151459"/>
                    <a:pt x="517850" y="162206"/>
                    <a:pt x="523111" y="169930"/>
                  </a:cubicBezTo>
                  <a:cubicBezTo>
                    <a:pt x="528372" y="177654"/>
                    <a:pt x="535649" y="181460"/>
                    <a:pt x="545164" y="181460"/>
                  </a:cubicBezTo>
                  <a:moveTo>
                    <a:pt x="722482" y="219297"/>
                  </a:moveTo>
                  <a:cubicBezTo>
                    <a:pt x="710056" y="219297"/>
                    <a:pt x="698862" y="217282"/>
                    <a:pt x="688787" y="213252"/>
                  </a:cubicBezTo>
                  <a:cubicBezTo>
                    <a:pt x="678712" y="209222"/>
                    <a:pt x="670205" y="203625"/>
                    <a:pt x="663376" y="196348"/>
                  </a:cubicBezTo>
                  <a:cubicBezTo>
                    <a:pt x="656436" y="189184"/>
                    <a:pt x="651174" y="180676"/>
                    <a:pt x="647368" y="170825"/>
                  </a:cubicBezTo>
                  <a:cubicBezTo>
                    <a:pt x="643674" y="160974"/>
                    <a:pt x="641771" y="150340"/>
                    <a:pt x="641771" y="138922"/>
                  </a:cubicBezTo>
                  <a:cubicBezTo>
                    <a:pt x="641771" y="127503"/>
                    <a:pt x="643674" y="117205"/>
                    <a:pt x="647368" y="107465"/>
                  </a:cubicBezTo>
                  <a:cubicBezTo>
                    <a:pt x="651062" y="97726"/>
                    <a:pt x="656436" y="89219"/>
                    <a:pt x="663376" y="82054"/>
                  </a:cubicBezTo>
                  <a:cubicBezTo>
                    <a:pt x="670317" y="74890"/>
                    <a:pt x="678488" y="69293"/>
                    <a:pt x="687892" y="65263"/>
                  </a:cubicBezTo>
                  <a:cubicBezTo>
                    <a:pt x="697295" y="61233"/>
                    <a:pt x="707929" y="59218"/>
                    <a:pt x="719572" y="59218"/>
                  </a:cubicBezTo>
                  <a:cubicBezTo>
                    <a:pt x="730430" y="59218"/>
                    <a:pt x="740169" y="60897"/>
                    <a:pt x="748677" y="64255"/>
                  </a:cubicBezTo>
                  <a:cubicBezTo>
                    <a:pt x="757296" y="67614"/>
                    <a:pt x="764797" y="72203"/>
                    <a:pt x="771289" y="78136"/>
                  </a:cubicBezTo>
                  <a:cubicBezTo>
                    <a:pt x="780357" y="86420"/>
                    <a:pt x="787073" y="96943"/>
                    <a:pt x="791551" y="109592"/>
                  </a:cubicBezTo>
                  <a:cubicBezTo>
                    <a:pt x="796029" y="122354"/>
                    <a:pt x="798044" y="136347"/>
                    <a:pt x="797932" y="151683"/>
                  </a:cubicBezTo>
                  <a:lnTo>
                    <a:pt x="689123" y="151683"/>
                  </a:lnTo>
                  <a:cubicBezTo>
                    <a:pt x="690690" y="161982"/>
                    <a:pt x="694272" y="170042"/>
                    <a:pt x="699758" y="175975"/>
                  </a:cubicBezTo>
                  <a:cubicBezTo>
                    <a:pt x="705243" y="181908"/>
                    <a:pt x="713079" y="184818"/>
                    <a:pt x="723154" y="184818"/>
                  </a:cubicBezTo>
                  <a:cubicBezTo>
                    <a:pt x="729423" y="184818"/>
                    <a:pt x="734684" y="183475"/>
                    <a:pt x="738826" y="180788"/>
                  </a:cubicBezTo>
                  <a:cubicBezTo>
                    <a:pt x="742968" y="178102"/>
                    <a:pt x="746102" y="174408"/>
                    <a:pt x="748229" y="169706"/>
                  </a:cubicBezTo>
                  <a:lnTo>
                    <a:pt x="795245" y="169706"/>
                  </a:lnTo>
                  <a:cubicBezTo>
                    <a:pt x="793678" y="176646"/>
                    <a:pt x="790656" y="183139"/>
                    <a:pt x="786402" y="189408"/>
                  </a:cubicBezTo>
                  <a:cubicBezTo>
                    <a:pt x="782036" y="195565"/>
                    <a:pt x="776551" y="200938"/>
                    <a:pt x="769834" y="205528"/>
                  </a:cubicBezTo>
                  <a:cubicBezTo>
                    <a:pt x="763565" y="210117"/>
                    <a:pt x="756513" y="213476"/>
                    <a:pt x="748677" y="215827"/>
                  </a:cubicBezTo>
                  <a:cubicBezTo>
                    <a:pt x="740953" y="218177"/>
                    <a:pt x="732221" y="219409"/>
                    <a:pt x="722482" y="219409"/>
                  </a:cubicBezTo>
                  <a:moveTo>
                    <a:pt x="749125" y="123026"/>
                  </a:moveTo>
                  <a:cubicBezTo>
                    <a:pt x="748117" y="113958"/>
                    <a:pt x="745095" y="106794"/>
                    <a:pt x="739945" y="101421"/>
                  </a:cubicBezTo>
                  <a:cubicBezTo>
                    <a:pt x="734796" y="96159"/>
                    <a:pt x="728303" y="93473"/>
                    <a:pt x="720467" y="93473"/>
                  </a:cubicBezTo>
                  <a:cubicBezTo>
                    <a:pt x="711176" y="93473"/>
                    <a:pt x="704123" y="96159"/>
                    <a:pt x="699198" y="101421"/>
                  </a:cubicBezTo>
                  <a:cubicBezTo>
                    <a:pt x="694272" y="106794"/>
                    <a:pt x="691026" y="113958"/>
                    <a:pt x="689459" y="123026"/>
                  </a:cubicBezTo>
                  <a:lnTo>
                    <a:pt x="749125" y="123026"/>
                  </a:lnTo>
                  <a:close/>
                  <a:moveTo>
                    <a:pt x="815619" y="1567"/>
                  </a:moveTo>
                  <a:lnTo>
                    <a:pt x="863755" y="1567"/>
                  </a:lnTo>
                  <a:lnTo>
                    <a:pt x="863755" y="82278"/>
                  </a:lnTo>
                  <a:lnTo>
                    <a:pt x="864650" y="82278"/>
                  </a:lnTo>
                  <a:cubicBezTo>
                    <a:pt x="870135" y="75002"/>
                    <a:pt x="876404" y="69293"/>
                    <a:pt x="883233" y="65263"/>
                  </a:cubicBezTo>
                  <a:cubicBezTo>
                    <a:pt x="890173" y="61233"/>
                    <a:pt x="898905" y="59218"/>
                    <a:pt x="909539" y="59218"/>
                  </a:cubicBezTo>
                  <a:cubicBezTo>
                    <a:pt x="917823" y="59218"/>
                    <a:pt x="925211" y="60673"/>
                    <a:pt x="931704" y="63472"/>
                  </a:cubicBezTo>
                  <a:cubicBezTo>
                    <a:pt x="938197" y="66270"/>
                    <a:pt x="943682" y="70300"/>
                    <a:pt x="948272" y="75338"/>
                  </a:cubicBezTo>
                  <a:cubicBezTo>
                    <a:pt x="952861" y="80375"/>
                    <a:pt x="956220" y="86420"/>
                    <a:pt x="958682" y="93361"/>
                  </a:cubicBezTo>
                  <a:cubicBezTo>
                    <a:pt x="961033" y="100301"/>
                    <a:pt x="962265" y="108137"/>
                    <a:pt x="962265" y="116533"/>
                  </a:cubicBezTo>
                  <a:lnTo>
                    <a:pt x="962265" y="214931"/>
                  </a:lnTo>
                  <a:lnTo>
                    <a:pt x="914129" y="214931"/>
                  </a:lnTo>
                  <a:lnTo>
                    <a:pt x="914129" y="126272"/>
                  </a:lnTo>
                  <a:cubicBezTo>
                    <a:pt x="914129" y="118212"/>
                    <a:pt x="912114" y="111719"/>
                    <a:pt x="908196" y="106794"/>
                  </a:cubicBezTo>
                  <a:cubicBezTo>
                    <a:pt x="904278" y="101868"/>
                    <a:pt x="898345" y="99406"/>
                    <a:pt x="890509" y="99406"/>
                  </a:cubicBezTo>
                  <a:cubicBezTo>
                    <a:pt x="882673" y="99406"/>
                    <a:pt x="875956" y="102316"/>
                    <a:pt x="871143" y="108249"/>
                  </a:cubicBezTo>
                  <a:cubicBezTo>
                    <a:pt x="866329" y="114182"/>
                    <a:pt x="863866" y="121906"/>
                    <a:pt x="863866" y="131309"/>
                  </a:cubicBezTo>
                  <a:lnTo>
                    <a:pt x="863866" y="214931"/>
                  </a:lnTo>
                  <a:lnTo>
                    <a:pt x="815731" y="214931"/>
                  </a:lnTo>
                  <a:lnTo>
                    <a:pt x="815731" y="1455"/>
                  </a:lnTo>
                  <a:close/>
                  <a:moveTo>
                    <a:pt x="1058312" y="219745"/>
                  </a:moveTo>
                  <a:cubicBezTo>
                    <a:pt x="1046110" y="219745"/>
                    <a:pt x="1035028" y="217730"/>
                    <a:pt x="1025065" y="213700"/>
                  </a:cubicBezTo>
                  <a:cubicBezTo>
                    <a:pt x="1015102" y="209670"/>
                    <a:pt x="1006594" y="204072"/>
                    <a:pt x="999430" y="196796"/>
                  </a:cubicBezTo>
                  <a:cubicBezTo>
                    <a:pt x="992377" y="189632"/>
                    <a:pt x="986892" y="181124"/>
                    <a:pt x="983086" y="171385"/>
                  </a:cubicBezTo>
                  <a:cubicBezTo>
                    <a:pt x="979280" y="161646"/>
                    <a:pt x="977265" y="151011"/>
                    <a:pt x="977265" y="139593"/>
                  </a:cubicBezTo>
                  <a:cubicBezTo>
                    <a:pt x="977265" y="128175"/>
                    <a:pt x="979168" y="117540"/>
                    <a:pt x="983086" y="107801"/>
                  </a:cubicBezTo>
                  <a:cubicBezTo>
                    <a:pt x="986892" y="98062"/>
                    <a:pt x="992377" y="89555"/>
                    <a:pt x="999430" y="82390"/>
                  </a:cubicBezTo>
                  <a:cubicBezTo>
                    <a:pt x="1006482" y="75226"/>
                    <a:pt x="1015102" y="69629"/>
                    <a:pt x="1025065" y="65599"/>
                  </a:cubicBezTo>
                  <a:cubicBezTo>
                    <a:pt x="1035028" y="61569"/>
                    <a:pt x="1046110" y="59554"/>
                    <a:pt x="1058312" y="59554"/>
                  </a:cubicBezTo>
                  <a:cubicBezTo>
                    <a:pt x="1070514" y="59554"/>
                    <a:pt x="1081596" y="61569"/>
                    <a:pt x="1091559" y="65599"/>
                  </a:cubicBezTo>
                  <a:cubicBezTo>
                    <a:pt x="1101522" y="69629"/>
                    <a:pt x="1110030" y="75226"/>
                    <a:pt x="1116970" y="82390"/>
                  </a:cubicBezTo>
                  <a:cubicBezTo>
                    <a:pt x="1123911" y="89555"/>
                    <a:pt x="1129396" y="98062"/>
                    <a:pt x="1133202" y="107801"/>
                  </a:cubicBezTo>
                  <a:cubicBezTo>
                    <a:pt x="1137008" y="117540"/>
                    <a:pt x="1138911" y="128175"/>
                    <a:pt x="1138911" y="139593"/>
                  </a:cubicBezTo>
                  <a:cubicBezTo>
                    <a:pt x="1138911" y="151011"/>
                    <a:pt x="1137008" y="161646"/>
                    <a:pt x="1133202" y="171385"/>
                  </a:cubicBezTo>
                  <a:cubicBezTo>
                    <a:pt x="1129396" y="181124"/>
                    <a:pt x="1123911" y="189632"/>
                    <a:pt x="1116970" y="196796"/>
                  </a:cubicBezTo>
                  <a:cubicBezTo>
                    <a:pt x="1110030" y="203961"/>
                    <a:pt x="1101522" y="209558"/>
                    <a:pt x="1091559" y="213700"/>
                  </a:cubicBezTo>
                  <a:cubicBezTo>
                    <a:pt x="1081596" y="217730"/>
                    <a:pt x="1070514" y="219745"/>
                    <a:pt x="1058312" y="219745"/>
                  </a:cubicBezTo>
                  <a:moveTo>
                    <a:pt x="1057976" y="185490"/>
                  </a:moveTo>
                  <a:cubicBezTo>
                    <a:pt x="1068611" y="185490"/>
                    <a:pt x="1076671" y="181348"/>
                    <a:pt x="1082044" y="172952"/>
                  </a:cubicBezTo>
                  <a:cubicBezTo>
                    <a:pt x="1087529" y="164557"/>
                    <a:pt x="1090216" y="153474"/>
                    <a:pt x="1090216" y="139705"/>
                  </a:cubicBezTo>
                  <a:cubicBezTo>
                    <a:pt x="1090216" y="125936"/>
                    <a:pt x="1087529" y="114742"/>
                    <a:pt x="1082044" y="106346"/>
                  </a:cubicBezTo>
                  <a:cubicBezTo>
                    <a:pt x="1076671" y="97838"/>
                    <a:pt x="1068611" y="93585"/>
                    <a:pt x="1057976" y="93585"/>
                  </a:cubicBezTo>
                  <a:cubicBezTo>
                    <a:pt x="1047341" y="93585"/>
                    <a:pt x="1039394" y="97838"/>
                    <a:pt x="1034020" y="106346"/>
                  </a:cubicBezTo>
                  <a:cubicBezTo>
                    <a:pt x="1028759" y="114854"/>
                    <a:pt x="1026072" y="125936"/>
                    <a:pt x="1026072" y="139705"/>
                  </a:cubicBezTo>
                  <a:cubicBezTo>
                    <a:pt x="1026072" y="153474"/>
                    <a:pt x="1028759" y="164557"/>
                    <a:pt x="1034020" y="172952"/>
                  </a:cubicBezTo>
                  <a:cubicBezTo>
                    <a:pt x="1039394" y="181348"/>
                    <a:pt x="1047341" y="185490"/>
                    <a:pt x="1057976" y="185490"/>
                  </a:cubicBezTo>
                  <a:moveTo>
                    <a:pt x="1207309" y="219521"/>
                  </a:moveTo>
                  <a:cubicBezTo>
                    <a:pt x="1189733" y="219521"/>
                    <a:pt x="1176524" y="214371"/>
                    <a:pt x="1167569" y="203961"/>
                  </a:cubicBezTo>
                  <a:cubicBezTo>
                    <a:pt x="1158613" y="193662"/>
                    <a:pt x="1154136" y="180005"/>
                    <a:pt x="1154136" y="162989"/>
                  </a:cubicBezTo>
                  <a:lnTo>
                    <a:pt x="1154136" y="63696"/>
                  </a:lnTo>
                  <a:lnTo>
                    <a:pt x="1202047" y="63696"/>
                  </a:lnTo>
                  <a:lnTo>
                    <a:pt x="1202047" y="153026"/>
                  </a:lnTo>
                  <a:cubicBezTo>
                    <a:pt x="1202047" y="161310"/>
                    <a:pt x="1203950" y="167691"/>
                    <a:pt x="1207644" y="172057"/>
                  </a:cubicBezTo>
                  <a:cubicBezTo>
                    <a:pt x="1211339" y="176534"/>
                    <a:pt x="1217160" y="178661"/>
                    <a:pt x="1224772" y="178661"/>
                  </a:cubicBezTo>
                  <a:cubicBezTo>
                    <a:pt x="1233056" y="178661"/>
                    <a:pt x="1239548" y="175863"/>
                    <a:pt x="1244250" y="170266"/>
                  </a:cubicBezTo>
                  <a:cubicBezTo>
                    <a:pt x="1248951" y="164668"/>
                    <a:pt x="1251302" y="157280"/>
                    <a:pt x="1251302" y="148213"/>
                  </a:cubicBezTo>
                  <a:lnTo>
                    <a:pt x="1251302" y="63696"/>
                  </a:lnTo>
                  <a:lnTo>
                    <a:pt x="1299438" y="63696"/>
                  </a:lnTo>
                  <a:lnTo>
                    <a:pt x="1299438" y="215043"/>
                  </a:lnTo>
                  <a:lnTo>
                    <a:pt x="1253317" y="215043"/>
                  </a:lnTo>
                  <a:lnTo>
                    <a:pt x="1253317" y="196460"/>
                  </a:lnTo>
                  <a:lnTo>
                    <a:pt x="1252422" y="196460"/>
                  </a:lnTo>
                  <a:cubicBezTo>
                    <a:pt x="1246936" y="203961"/>
                    <a:pt x="1240668" y="209670"/>
                    <a:pt x="1233615" y="213588"/>
                  </a:cubicBezTo>
                  <a:cubicBezTo>
                    <a:pt x="1226675" y="217506"/>
                    <a:pt x="1217831" y="219521"/>
                    <a:pt x="1207197" y="219521"/>
                  </a:cubicBezTo>
                  <a:moveTo>
                    <a:pt x="1389888" y="219856"/>
                  </a:moveTo>
                  <a:cubicBezTo>
                    <a:pt x="1367611" y="219856"/>
                    <a:pt x="1350036" y="215043"/>
                    <a:pt x="1336939" y="205528"/>
                  </a:cubicBezTo>
                  <a:cubicBezTo>
                    <a:pt x="1323953" y="196013"/>
                    <a:pt x="1317013" y="182803"/>
                    <a:pt x="1316229" y="166012"/>
                  </a:cubicBezTo>
                  <a:lnTo>
                    <a:pt x="1361790" y="166012"/>
                  </a:lnTo>
                  <a:cubicBezTo>
                    <a:pt x="1362798" y="173512"/>
                    <a:pt x="1365596" y="179109"/>
                    <a:pt x="1370410" y="182915"/>
                  </a:cubicBezTo>
                  <a:cubicBezTo>
                    <a:pt x="1375112" y="186609"/>
                    <a:pt x="1381492" y="188512"/>
                    <a:pt x="1389664" y="188512"/>
                  </a:cubicBezTo>
                  <a:cubicBezTo>
                    <a:pt x="1396941" y="188512"/>
                    <a:pt x="1402761" y="187281"/>
                    <a:pt x="1406903" y="184706"/>
                  </a:cubicBezTo>
                  <a:cubicBezTo>
                    <a:pt x="1411157" y="182132"/>
                    <a:pt x="1413284" y="178437"/>
                    <a:pt x="1413284" y="173512"/>
                  </a:cubicBezTo>
                  <a:cubicBezTo>
                    <a:pt x="1413284" y="170154"/>
                    <a:pt x="1412165" y="167467"/>
                    <a:pt x="1410038" y="165340"/>
                  </a:cubicBezTo>
                  <a:cubicBezTo>
                    <a:pt x="1407911" y="163325"/>
                    <a:pt x="1405000" y="161646"/>
                    <a:pt x="1401418" y="160303"/>
                  </a:cubicBezTo>
                  <a:cubicBezTo>
                    <a:pt x="1397836" y="159071"/>
                    <a:pt x="1393806" y="158064"/>
                    <a:pt x="1389105" y="157392"/>
                  </a:cubicBezTo>
                  <a:cubicBezTo>
                    <a:pt x="1384515" y="156721"/>
                    <a:pt x="1379701" y="155825"/>
                    <a:pt x="1374776" y="154929"/>
                  </a:cubicBezTo>
                  <a:cubicBezTo>
                    <a:pt x="1368283" y="153698"/>
                    <a:pt x="1361790" y="152355"/>
                    <a:pt x="1355298" y="150676"/>
                  </a:cubicBezTo>
                  <a:cubicBezTo>
                    <a:pt x="1348805" y="148996"/>
                    <a:pt x="1342984" y="146534"/>
                    <a:pt x="1337722" y="143175"/>
                  </a:cubicBezTo>
                  <a:cubicBezTo>
                    <a:pt x="1332461" y="139817"/>
                    <a:pt x="1328319" y="135339"/>
                    <a:pt x="1325185" y="129742"/>
                  </a:cubicBezTo>
                  <a:cubicBezTo>
                    <a:pt x="1322050" y="124145"/>
                    <a:pt x="1320483" y="116869"/>
                    <a:pt x="1320483" y="108025"/>
                  </a:cubicBezTo>
                  <a:cubicBezTo>
                    <a:pt x="1320483" y="100189"/>
                    <a:pt x="1322162" y="93137"/>
                    <a:pt x="1325633" y="86980"/>
                  </a:cubicBezTo>
                  <a:cubicBezTo>
                    <a:pt x="1329103" y="80935"/>
                    <a:pt x="1333805" y="75786"/>
                    <a:pt x="1339738" y="71756"/>
                  </a:cubicBezTo>
                  <a:cubicBezTo>
                    <a:pt x="1345670" y="67726"/>
                    <a:pt x="1352611" y="64703"/>
                    <a:pt x="1360559" y="62576"/>
                  </a:cubicBezTo>
                  <a:cubicBezTo>
                    <a:pt x="1368507" y="60561"/>
                    <a:pt x="1377015" y="59442"/>
                    <a:pt x="1385858" y="59442"/>
                  </a:cubicBezTo>
                  <a:cubicBezTo>
                    <a:pt x="1407351" y="59442"/>
                    <a:pt x="1423807" y="63808"/>
                    <a:pt x="1435225" y="72427"/>
                  </a:cubicBezTo>
                  <a:cubicBezTo>
                    <a:pt x="1446643" y="81047"/>
                    <a:pt x="1452912" y="92913"/>
                    <a:pt x="1454144" y="107913"/>
                  </a:cubicBezTo>
                  <a:lnTo>
                    <a:pt x="1409814" y="107913"/>
                  </a:lnTo>
                  <a:cubicBezTo>
                    <a:pt x="1408807" y="100973"/>
                    <a:pt x="1406232" y="96383"/>
                    <a:pt x="1401978" y="93920"/>
                  </a:cubicBezTo>
                  <a:cubicBezTo>
                    <a:pt x="1397724" y="91458"/>
                    <a:pt x="1392239" y="90226"/>
                    <a:pt x="1385522" y="90226"/>
                  </a:cubicBezTo>
                  <a:cubicBezTo>
                    <a:pt x="1379589" y="90226"/>
                    <a:pt x="1374664" y="91346"/>
                    <a:pt x="1370634" y="93585"/>
                  </a:cubicBezTo>
                  <a:cubicBezTo>
                    <a:pt x="1366604" y="95823"/>
                    <a:pt x="1364589" y="99294"/>
                    <a:pt x="1364589" y="104107"/>
                  </a:cubicBezTo>
                  <a:cubicBezTo>
                    <a:pt x="1364589" y="106906"/>
                    <a:pt x="1365596" y="109033"/>
                    <a:pt x="1367499" y="110600"/>
                  </a:cubicBezTo>
                  <a:cubicBezTo>
                    <a:pt x="1369514" y="112167"/>
                    <a:pt x="1372089" y="113510"/>
                    <a:pt x="1375447" y="114630"/>
                  </a:cubicBezTo>
                  <a:cubicBezTo>
                    <a:pt x="1378806" y="115749"/>
                    <a:pt x="1382724" y="116645"/>
                    <a:pt x="1387089" y="117428"/>
                  </a:cubicBezTo>
                  <a:cubicBezTo>
                    <a:pt x="1391567" y="118212"/>
                    <a:pt x="1396157" y="118996"/>
                    <a:pt x="1400858" y="119779"/>
                  </a:cubicBezTo>
                  <a:cubicBezTo>
                    <a:pt x="1407575" y="120899"/>
                    <a:pt x="1414292" y="122354"/>
                    <a:pt x="1421120" y="124033"/>
                  </a:cubicBezTo>
                  <a:cubicBezTo>
                    <a:pt x="1427949" y="125712"/>
                    <a:pt x="1434106" y="128287"/>
                    <a:pt x="1439703" y="131869"/>
                  </a:cubicBezTo>
                  <a:cubicBezTo>
                    <a:pt x="1445300" y="135451"/>
                    <a:pt x="1449890" y="140153"/>
                    <a:pt x="1453472" y="146198"/>
                  </a:cubicBezTo>
                  <a:cubicBezTo>
                    <a:pt x="1457054" y="152243"/>
                    <a:pt x="1458845" y="160079"/>
                    <a:pt x="1458845" y="169706"/>
                  </a:cubicBezTo>
                  <a:cubicBezTo>
                    <a:pt x="1458845" y="177990"/>
                    <a:pt x="1457054" y="185266"/>
                    <a:pt x="1453696" y="191535"/>
                  </a:cubicBezTo>
                  <a:cubicBezTo>
                    <a:pt x="1450225" y="197804"/>
                    <a:pt x="1445412" y="203065"/>
                    <a:pt x="1439367" y="207207"/>
                  </a:cubicBezTo>
                  <a:cubicBezTo>
                    <a:pt x="1433210" y="211349"/>
                    <a:pt x="1425934" y="214483"/>
                    <a:pt x="1417538" y="216722"/>
                  </a:cubicBezTo>
                  <a:cubicBezTo>
                    <a:pt x="1409030" y="218849"/>
                    <a:pt x="1399851" y="219968"/>
                    <a:pt x="1390000" y="219968"/>
                  </a:cubicBezTo>
                  <a:moveTo>
                    <a:pt x="1552877" y="219633"/>
                  </a:moveTo>
                  <a:cubicBezTo>
                    <a:pt x="1540452" y="219633"/>
                    <a:pt x="1529257" y="217618"/>
                    <a:pt x="1519183" y="213588"/>
                  </a:cubicBezTo>
                  <a:cubicBezTo>
                    <a:pt x="1509108" y="209558"/>
                    <a:pt x="1500712" y="203961"/>
                    <a:pt x="1493771" y="196684"/>
                  </a:cubicBezTo>
                  <a:cubicBezTo>
                    <a:pt x="1486831" y="189520"/>
                    <a:pt x="1481570" y="181012"/>
                    <a:pt x="1477764" y="171161"/>
                  </a:cubicBezTo>
                  <a:cubicBezTo>
                    <a:pt x="1474069" y="161310"/>
                    <a:pt x="1472166" y="150676"/>
                    <a:pt x="1472166" y="139257"/>
                  </a:cubicBezTo>
                  <a:cubicBezTo>
                    <a:pt x="1472166" y="127839"/>
                    <a:pt x="1474069" y="117540"/>
                    <a:pt x="1477764" y="107801"/>
                  </a:cubicBezTo>
                  <a:cubicBezTo>
                    <a:pt x="1481458" y="98062"/>
                    <a:pt x="1486831" y="89555"/>
                    <a:pt x="1493771" y="82390"/>
                  </a:cubicBezTo>
                  <a:cubicBezTo>
                    <a:pt x="1500712" y="75226"/>
                    <a:pt x="1508884" y="69629"/>
                    <a:pt x="1518287" y="65599"/>
                  </a:cubicBezTo>
                  <a:cubicBezTo>
                    <a:pt x="1527802" y="61569"/>
                    <a:pt x="1538325" y="59554"/>
                    <a:pt x="1549967" y="59554"/>
                  </a:cubicBezTo>
                  <a:cubicBezTo>
                    <a:pt x="1560826" y="59554"/>
                    <a:pt x="1570453" y="61233"/>
                    <a:pt x="1579072" y="64591"/>
                  </a:cubicBezTo>
                  <a:cubicBezTo>
                    <a:pt x="1587692" y="67950"/>
                    <a:pt x="1595192" y="72539"/>
                    <a:pt x="1601685" y="78472"/>
                  </a:cubicBezTo>
                  <a:cubicBezTo>
                    <a:pt x="1610752" y="86756"/>
                    <a:pt x="1617469" y="97279"/>
                    <a:pt x="1621946" y="109928"/>
                  </a:cubicBezTo>
                  <a:cubicBezTo>
                    <a:pt x="1626424" y="122690"/>
                    <a:pt x="1628551" y="136683"/>
                    <a:pt x="1628327" y="152019"/>
                  </a:cubicBezTo>
                  <a:lnTo>
                    <a:pt x="1519518" y="152019"/>
                  </a:lnTo>
                  <a:cubicBezTo>
                    <a:pt x="1521086" y="162318"/>
                    <a:pt x="1524668" y="170378"/>
                    <a:pt x="1530153" y="176311"/>
                  </a:cubicBezTo>
                  <a:cubicBezTo>
                    <a:pt x="1535638" y="182244"/>
                    <a:pt x="1543474" y="185154"/>
                    <a:pt x="1553549" y="185154"/>
                  </a:cubicBezTo>
                  <a:cubicBezTo>
                    <a:pt x="1559818" y="185154"/>
                    <a:pt x="1565079" y="183811"/>
                    <a:pt x="1569221" y="181124"/>
                  </a:cubicBezTo>
                  <a:cubicBezTo>
                    <a:pt x="1573363" y="178437"/>
                    <a:pt x="1576498" y="174743"/>
                    <a:pt x="1578736" y="170042"/>
                  </a:cubicBezTo>
                  <a:lnTo>
                    <a:pt x="1625753" y="170042"/>
                  </a:lnTo>
                  <a:cubicBezTo>
                    <a:pt x="1624185" y="176982"/>
                    <a:pt x="1621275" y="183475"/>
                    <a:pt x="1616909" y="189744"/>
                  </a:cubicBezTo>
                  <a:cubicBezTo>
                    <a:pt x="1612543" y="196013"/>
                    <a:pt x="1607058" y="201274"/>
                    <a:pt x="1600341" y="205864"/>
                  </a:cubicBezTo>
                  <a:cubicBezTo>
                    <a:pt x="1594073" y="210453"/>
                    <a:pt x="1587020" y="213812"/>
                    <a:pt x="1579184" y="216162"/>
                  </a:cubicBezTo>
                  <a:cubicBezTo>
                    <a:pt x="1571348" y="218513"/>
                    <a:pt x="1562617" y="219745"/>
                    <a:pt x="1552990" y="219745"/>
                  </a:cubicBezTo>
                  <a:moveTo>
                    <a:pt x="1579632" y="123361"/>
                  </a:moveTo>
                  <a:cubicBezTo>
                    <a:pt x="1578624" y="114294"/>
                    <a:pt x="1575602" y="107130"/>
                    <a:pt x="1570453" y="101756"/>
                  </a:cubicBezTo>
                  <a:cubicBezTo>
                    <a:pt x="1565303" y="96495"/>
                    <a:pt x="1558810" y="93808"/>
                    <a:pt x="1550974" y="93808"/>
                  </a:cubicBezTo>
                  <a:cubicBezTo>
                    <a:pt x="1541683" y="93808"/>
                    <a:pt x="1534631" y="96495"/>
                    <a:pt x="1529705" y="101756"/>
                  </a:cubicBezTo>
                  <a:cubicBezTo>
                    <a:pt x="1524780" y="107130"/>
                    <a:pt x="1521533" y="114294"/>
                    <a:pt x="1519966" y="123361"/>
                  </a:cubicBezTo>
                  <a:lnTo>
                    <a:pt x="1579632" y="12336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9937AC71-AA29-4D58-AD0B-48517DBE7D0D}"/>
                </a:ext>
              </a:extLst>
            </p:cNvPr>
            <p:cNvSpPr/>
            <p:nvPr/>
          </p:nvSpPr>
          <p:spPr>
            <a:xfrm>
              <a:off x="821844" y="1268899"/>
              <a:ext cx="212244" cy="524230"/>
            </a:xfrm>
            <a:custGeom>
              <a:avLst/>
              <a:gdLst>
                <a:gd name="connsiteX0" fmla="*/ 0 w 212244"/>
                <a:gd name="connsiteY0" fmla="*/ 0 h 524230"/>
                <a:gd name="connsiteX1" fmla="*/ 0 w 212244"/>
                <a:gd name="connsiteY1" fmla="*/ 370084 h 524230"/>
                <a:gd name="connsiteX2" fmla="*/ 211685 w 212244"/>
                <a:gd name="connsiteY2" fmla="*/ 524230 h 524230"/>
                <a:gd name="connsiteX3" fmla="*/ 212244 w 212244"/>
                <a:gd name="connsiteY3" fmla="*/ 523670 h 524230"/>
                <a:gd name="connsiteX4" fmla="*/ 0 w 212244"/>
                <a:gd name="connsiteY4" fmla="*/ 0 h 524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244" h="524230">
                  <a:moveTo>
                    <a:pt x="0" y="0"/>
                  </a:moveTo>
                  <a:lnTo>
                    <a:pt x="0" y="370084"/>
                  </a:lnTo>
                  <a:lnTo>
                    <a:pt x="211685" y="524230"/>
                  </a:lnTo>
                  <a:cubicBezTo>
                    <a:pt x="211685" y="524230"/>
                    <a:pt x="212133" y="523782"/>
                    <a:pt x="212244" y="523670"/>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8444F99-FB38-E917-2CC6-6F787458E4AC}"/>
                </a:ext>
              </a:extLst>
            </p:cNvPr>
            <p:cNvSpPr/>
            <p:nvPr/>
          </p:nvSpPr>
          <p:spPr>
            <a:xfrm>
              <a:off x="609600" y="1268899"/>
              <a:ext cx="212244" cy="524118"/>
            </a:xfrm>
            <a:custGeom>
              <a:avLst/>
              <a:gdLst>
                <a:gd name="connsiteX0" fmla="*/ 0 w 212244"/>
                <a:gd name="connsiteY0" fmla="*/ 523558 h 524118"/>
                <a:gd name="connsiteX1" fmla="*/ 560 w 212244"/>
                <a:gd name="connsiteY1" fmla="*/ 524118 h 524118"/>
                <a:gd name="connsiteX2" fmla="*/ 212244 w 212244"/>
                <a:gd name="connsiteY2" fmla="*/ 369972 h 524118"/>
                <a:gd name="connsiteX3" fmla="*/ 212244 w 212244"/>
                <a:gd name="connsiteY3" fmla="*/ 0 h 524118"/>
                <a:gd name="connsiteX4" fmla="*/ 0 w 212244"/>
                <a:gd name="connsiteY4" fmla="*/ 523558 h 52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244" h="524118">
                  <a:moveTo>
                    <a:pt x="0" y="523558"/>
                  </a:moveTo>
                  <a:cubicBezTo>
                    <a:pt x="0" y="523558"/>
                    <a:pt x="448" y="524006"/>
                    <a:pt x="560" y="524118"/>
                  </a:cubicBezTo>
                  <a:lnTo>
                    <a:pt x="212244" y="369972"/>
                  </a:lnTo>
                  <a:lnTo>
                    <a:pt x="212244" y="0"/>
                  </a:lnTo>
                  <a:lnTo>
                    <a:pt x="0" y="523558"/>
                  </a:lnTo>
                  <a:close/>
                </a:path>
              </a:pathLst>
            </a:custGeom>
            <a:solidFill>
              <a:srgbClr val="FFFFFF"/>
            </a:solidFill>
            <a:ln w="0" cap="flat">
              <a:noFill/>
              <a:prstDash val="solid"/>
              <a:miter/>
            </a:ln>
          </p:spPr>
          <p:txBody>
            <a:bodyPr rtlCol="0" anchor="ctr"/>
            <a:lstStyle/>
            <a:p>
              <a:endParaRPr lang="en-US" dirty="0"/>
            </a:p>
          </p:txBody>
        </p:sp>
      </p:grpSp>
      <p:grpSp>
        <p:nvGrpSpPr>
          <p:cNvPr id="30" name="Group 29">
            <a:extLst>
              <a:ext uri="{FF2B5EF4-FFF2-40B4-BE49-F238E27FC236}">
                <a16:creationId xmlns:a16="http://schemas.microsoft.com/office/drawing/2014/main" id="{BE1A85A9-E412-184D-B6CF-A3DDA62221B1}"/>
              </a:ext>
            </a:extLst>
          </p:cNvPr>
          <p:cNvGrpSpPr/>
          <p:nvPr userDrawn="1"/>
        </p:nvGrpSpPr>
        <p:grpSpPr>
          <a:xfrm>
            <a:off x="-120073" y="3696853"/>
            <a:ext cx="12358258" cy="0"/>
            <a:chOff x="-101601" y="3429000"/>
            <a:chExt cx="12358258" cy="0"/>
          </a:xfrm>
        </p:grpSpPr>
        <p:cxnSp>
          <p:nvCxnSpPr>
            <p:cNvPr id="7" name="Straight Connector 6">
              <a:extLst>
                <a:ext uri="{FF2B5EF4-FFF2-40B4-BE49-F238E27FC236}">
                  <a16:creationId xmlns:a16="http://schemas.microsoft.com/office/drawing/2014/main" id="{59921AC8-C103-F58B-120C-B7CFBE7BC436}"/>
                </a:ext>
              </a:extLst>
            </p:cNvPr>
            <p:cNvCxnSpPr>
              <a:cxnSpLocks/>
            </p:cNvCxnSpPr>
            <p:nvPr userDrawn="1"/>
          </p:nvCxnSpPr>
          <p:spPr>
            <a:xfrm rot="5400000" flipH="1">
              <a:off x="6077528" y="-2750129"/>
              <a:ext cx="0" cy="12358258"/>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0C0EA49-8A32-C756-AB52-CAF0DA226BF2}"/>
                </a:ext>
              </a:extLst>
            </p:cNvPr>
            <p:cNvCxnSpPr>
              <a:cxnSpLocks/>
            </p:cNvCxnSpPr>
            <p:nvPr userDrawn="1"/>
          </p:nvCxnSpPr>
          <p:spPr>
            <a:xfrm flipH="1">
              <a:off x="741170"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7089442-D37C-DDCD-AA7F-039483C52870}"/>
                </a:ext>
              </a:extLst>
            </p:cNvPr>
            <p:cNvCxnSpPr>
              <a:cxnSpLocks/>
            </p:cNvCxnSpPr>
            <p:nvPr userDrawn="1"/>
          </p:nvCxnSpPr>
          <p:spPr>
            <a:xfrm flipH="1">
              <a:off x="2990579"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C0C59B0-181B-CE20-F495-AE8E9203425B}"/>
                </a:ext>
              </a:extLst>
            </p:cNvPr>
            <p:cNvCxnSpPr>
              <a:cxnSpLocks/>
            </p:cNvCxnSpPr>
            <p:nvPr userDrawn="1"/>
          </p:nvCxnSpPr>
          <p:spPr>
            <a:xfrm flipH="1">
              <a:off x="5239988"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F99DE1E-1074-A94A-CBEF-769216EB1FAF}"/>
                </a:ext>
              </a:extLst>
            </p:cNvPr>
            <p:cNvCxnSpPr>
              <a:cxnSpLocks/>
            </p:cNvCxnSpPr>
            <p:nvPr userDrawn="1"/>
          </p:nvCxnSpPr>
          <p:spPr>
            <a:xfrm flipH="1">
              <a:off x="7489397"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52E6928-4DB5-1504-5281-265B9F9F0382}"/>
                </a:ext>
              </a:extLst>
            </p:cNvPr>
            <p:cNvCxnSpPr>
              <a:cxnSpLocks/>
            </p:cNvCxnSpPr>
            <p:nvPr userDrawn="1"/>
          </p:nvCxnSpPr>
          <p:spPr>
            <a:xfrm flipH="1">
              <a:off x="9738806"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7" name="TextBox 46">
            <a:extLst>
              <a:ext uri="{FF2B5EF4-FFF2-40B4-BE49-F238E27FC236}">
                <a16:creationId xmlns:a16="http://schemas.microsoft.com/office/drawing/2014/main" id="{C0998D65-616E-0544-CFBF-4F22B57FB601}"/>
              </a:ext>
            </a:extLst>
          </p:cNvPr>
          <p:cNvSpPr txBox="1"/>
          <p:nvPr userDrawn="1"/>
        </p:nvSpPr>
        <p:spPr>
          <a:xfrm>
            <a:off x="624840" y="1544542"/>
            <a:ext cx="7786913" cy="923330"/>
          </a:xfrm>
          <a:prstGeom prst="rect">
            <a:avLst/>
          </a:prstGeom>
          <a:noFill/>
        </p:spPr>
        <p:txBody>
          <a:bodyPr wrap="square" rtlCol="0">
            <a:noAutofit/>
          </a:bodyPr>
          <a:lstStyle/>
          <a:p>
            <a:pPr algn="l"/>
            <a:r>
              <a:rPr lang="en-US" sz="5400" b="0" dirty="0">
                <a:solidFill>
                  <a:schemeClr val="bg1"/>
                </a:solidFill>
                <a:latin typeface="+mn-lt"/>
              </a:rPr>
              <a:t>Our RI</a:t>
            </a:r>
            <a:r>
              <a:rPr lang="en-US" sz="5400" b="0" baseline="30000" dirty="0">
                <a:solidFill>
                  <a:schemeClr val="bg1"/>
                </a:solidFill>
                <a:latin typeface="+mn-lt"/>
              </a:rPr>
              <a:t>2</a:t>
            </a:r>
            <a:r>
              <a:rPr lang="en-US" sz="5400" b="0" dirty="0">
                <a:solidFill>
                  <a:schemeClr val="bg1"/>
                </a:solidFill>
                <a:latin typeface="+mn-lt"/>
              </a:rPr>
              <a:t>SE Values</a:t>
            </a:r>
          </a:p>
        </p:txBody>
      </p:sp>
      <p:sp>
        <p:nvSpPr>
          <p:cNvPr id="48" name="TextBox 47">
            <a:extLst>
              <a:ext uri="{FF2B5EF4-FFF2-40B4-BE49-F238E27FC236}">
                <a16:creationId xmlns:a16="http://schemas.microsoft.com/office/drawing/2014/main" id="{E90715F3-2E35-1487-3E72-E475416EBD74}"/>
              </a:ext>
            </a:extLst>
          </p:cNvPr>
          <p:cNvSpPr txBox="1"/>
          <p:nvPr userDrawn="1"/>
        </p:nvSpPr>
        <p:spPr>
          <a:xfrm>
            <a:off x="722699" y="3976370"/>
            <a:ext cx="1730696" cy="1028580"/>
          </a:xfrm>
          <a:prstGeom prst="rect">
            <a:avLst/>
          </a:prstGeom>
          <a:noFill/>
        </p:spPr>
        <p:txBody>
          <a:bodyPr wrap="square" lIns="0" tIns="0" rIns="0" bIns="0" rtlCol="0">
            <a:noAutofit/>
          </a:bodyPr>
          <a:lstStyle/>
          <a:p>
            <a:pPr algn="ctr"/>
            <a:r>
              <a:rPr lang="en-US" sz="1400" dirty="0">
                <a:solidFill>
                  <a:schemeClr val="bg1"/>
                </a:solidFill>
              </a:rPr>
              <a:t>We rise by illuminating the diversity each person brings, ensuring all can shine</a:t>
            </a:r>
          </a:p>
        </p:txBody>
      </p:sp>
      <p:sp>
        <p:nvSpPr>
          <p:cNvPr id="49" name="TextBox 48">
            <a:extLst>
              <a:ext uri="{FF2B5EF4-FFF2-40B4-BE49-F238E27FC236}">
                <a16:creationId xmlns:a16="http://schemas.microsoft.com/office/drawing/2014/main" id="{AC9B60FB-96B4-5C92-B2D2-0AD07845F907}"/>
              </a:ext>
            </a:extLst>
          </p:cNvPr>
          <p:cNvSpPr txBox="1"/>
          <p:nvPr userDrawn="1"/>
        </p:nvSpPr>
        <p:spPr>
          <a:xfrm>
            <a:off x="2975568" y="3976370"/>
            <a:ext cx="1730696" cy="1028580"/>
          </a:xfrm>
          <a:prstGeom prst="rect">
            <a:avLst/>
          </a:prstGeom>
          <a:noFill/>
        </p:spPr>
        <p:txBody>
          <a:bodyPr wrap="square" lIns="0" tIns="0" rIns="0" bIns="0" rtlCol="0">
            <a:noAutofit/>
          </a:bodyPr>
          <a:lstStyle/>
          <a:p>
            <a:pPr algn="ctr"/>
            <a:r>
              <a:rPr lang="en-US" sz="1400" dirty="0">
                <a:solidFill>
                  <a:schemeClr val="bg1"/>
                </a:solidFill>
              </a:rPr>
              <a:t>We rise by being courageously ethical and charting the right course</a:t>
            </a:r>
          </a:p>
        </p:txBody>
      </p:sp>
      <p:sp>
        <p:nvSpPr>
          <p:cNvPr id="50" name="TextBox 49">
            <a:extLst>
              <a:ext uri="{FF2B5EF4-FFF2-40B4-BE49-F238E27FC236}">
                <a16:creationId xmlns:a16="http://schemas.microsoft.com/office/drawing/2014/main" id="{5407A776-ADF6-731C-C564-F9C461585D11}"/>
              </a:ext>
            </a:extLst>
          </p:cNvPr>
          <p:cNvSpPr txBox="1"/>
          <p:nvPr userDrawn="1"/>
        </p:nvSpPr>
        <p:spPr>
          <a:xfrm>
            <a:off x="5173980" y="3976370"/>
            <a:ext cx="1828800" cy="1028580"/>
          </a:xfrm>
          <a:prstGeom prst="rect">
            <a:avLst/>
          </a:prstGeom>
          <a:noFill/>
        </p:spPr>
        <p:txBody>
          <a:bodyPr wrap="square" lIns="0" tIns="0" rIns="0" bIns="0" rtlCol="0">
            <a:noAutofit/>
          </a:bodyPr>
          <a:lstStyle/>
          <a:p>
            <a:pPr algn="ctr"/>
            <a:r>
              <a:rPr lang="en-US" sz="1400" dirty="0">
                <a:solidFill>
                  <a:schemeClr val="bg1"/>
                </a:solidFill>
              </a:rPr>
              <a:t>We rise by combining deep expertise with boundless creativity to deliver outstanding results</a:t>
            </a:r>
          </a:p>
          <a:p>
            <a:pPr algn="ctr"/>
            <a:endParaRPr lang="en-US" sz="1400" dirty="0">
              <a:solidFill>
                <a:schemeClr val="bg1"/>
              </a:solidFill>
            </a:endParaRPr>
          </a:p>
        </p:txBody>
      </p:sp>
      <p:sp>
        <p:nvSpPr>
          <p:cNvPr id="52" name="TextBox 51">
            <a:extLst>
              <a:ext uri="{FF2B5EF4-FFF2-40B4-BE49-F238E27FC236}">
                <a16:creationId xmlns:a16="http://schemas.microsoft.com/office/drawing/2014/main" id="{475B8F4F-1627-77BE-CAB4-1A53859D524A}"/>
              </a:ext>
            </a:extLst>
          </p:cNvPr>
          <p:cNvSpPr txBox="1"/>
          <p:nvPr userDrawn="1"/>
        </p:nvSpPr>
        <p:spPr>
          <a:xfrm>
            <a:off x="7426678" y="3976370"/>
            <a:ext cx="1828800" cy="1028580"/>
          </a:xfrm>
          <a:prstGeom prst="rect">
            <a:avLst/>
          </a:prstGeom>
          <a:noFill/>
        </p:spPr>
        <p:txBody>
          <a:bodyPr wrap="square" lIns="0" tIns="0" rIns="0" bIns="0" rtlCol="0">
            <a:noAutofit/>
          </a:bodyPr>
          <a:lstStyle/>
          <a:p>
            <a:pPr algn="ctr"/>
            <a:r>
              <a:rPr lang="en-US" sz="1400" dirty="0">
                <a:solidFill>
                  <a:schemeClr val="bg1"/>
                </a:solidFill>
              </a:rPr>
              <a:t>We rise by helping our people grow, our business succeed, and communities thrive</a:t>
            </a:r>
          </a:p>
        </p:txBody>
      </p:sp>
      <p:sp>
        <p:nvSpPr>
          <p:cNvPr id="53" name="TextBox 52">
            <a:extLst>
              <a:ext uri="{FF2B5EF4-FFF2-40B4-BE49-F238E27FC236}">
                <a16:creationId xmlns:a16="http://schemas.microsoft.com/office/drawing/2014/main" id="{977142E8-BF39-3704-D734-F26D2F15AC5C}"/>
              </a:ext>
            </a:extLst>
          </p:cNvPr>
          <p:cNvSpPr txBox="1"/>
          <p:nvPr userDrawn="1"/>
        </p:nvSpPr>
        <p:spPr>
          <a:xfrm>
            <a:off x="9738605" y="3975100"/>
            <a:ext cx="1730696" cy="1028580"/>
          </a:xfrm>
          <a:prstGeom prst="rect">
            <a:avLst/>
          </a:prstGeom>
          <a:noFill/>
        </p:spPr>
        <p:txBody>
          <a:bodyPr wrap="square" lIns="0" tIns="0" rIns="0" bIns="0" rtlCol="0">
            <a:noAutofit/>
          </a:bodyPr>
          <a:lstStyle/>
          <a:p>
            <a:pPr algn="ctr"/>
            <a:r>
              <a:rPr lang="en-US" sz="1400" dirty="0">
                <a:solidFill>
                  <a:schemeClr val="bg1"/>
                </a:solidFill>
              </a:rPr>
              <a:t>We rise by being committed, refusing average and constantly evolving</a:t>
            </a:r>
          </a:p>
        </p:txBody>
      </p:sp>
      <p:sp>
        <p:nvSpPr>
          <p:cNvPr id="54" name="TextBox 53">
            <a:extLst>
              <a:ext uri="{FF2B5EF4-FFF2-40B4-BE49-F238E27FC236}">
                <a16:creationId xmlns:a16="http://schemas.microsoft.com/office/drawing/2014/main" id="{826B11BF-32DA-DB30-52D3-8B7F0B0AEDB5}"/>
              </a:ext>
            </a:extLst>
          </p:cNvPr>
          <p:cNvSpPr txBox="1"/>
          <p:nvPr userDrawn="1"/>
        </p:nvSpPr>
        <p:spPr>
          <a:xfrm>
            <a:off x="722699" y="3288853"/>
            <a:ext cx="1730696" cy="322995"/>
          </a:xfrm>
          <a:prstGeom prst="rect">
            <a:avLst/>
          </a:prstGeom>
          <a:noFill/>
        </p:spPr>
        <p:txBody>
          <a:bodyPr wrap="square" lIns="0" tIns="0" rIns="0" bIns="0" rtlCol="0" anchor="ctr">
            <a:noAutofit/>
          </a:bodyPr>
          <a:lstStyle/>
          <a:p>
            <a:pPr algn="ctr"/>
            <a:r>
              <a:rPr lang="en-US" sz="1400" dirty="0">
                <a:solidFill>
                  <a:schemeClr val="bg1"/>
                </a:solidFill>
              </a:rPr>
              <a:t>Be a Beacon</a:t>
            </a:r>
          </a:p>
        </p:txBody>
      </p:sp>
      <p:sp>
        <p:nvSpPr>
          <p:cNvPr id="55" name="TextBox 54">
            <a:extLst>
              <a:ext uri="{FF2B5EF4-FFF2-40B4-BE49-F238E27FC236}">
                <a16:creationId xmlns:a16="http://schemas.microsoft.com/office/drawing/2014/main" id="{C8ACB2CF-A52D-85B1-CB5D-FE93578E648C}"/>
              </a:ext>
            </a:extLst>
          </p:cNvPr>
          <p:cNvSpPr txBox="1"/>
          <p:nvPr userDrawn="1"/>
        </p:nvSpPr>
        <p:spPr>
          <a:xfrm>
            <a:off x="2975568" y="3288853"/>
            <a:ext cx="1730696" cy="322995"/>
          </a:xfrm>
          <a:prstGeom prst="rect">
            <a:avLst/>
          </a:prstGeom>
          <a:noFill/>
        </p:spPr>
        <p:txBody>
          <a:bodyPr wrap="square" lIns="0" tIns="0" rIns="0" bIns="0" rtlCol="0" anchor="ctr">
            <a:noAutofit/>
          </a:bodyPr>
          <a:lstStyle/>
          <a:p>
            <a:pPr algn="ctr"/>
            <a:r>
              <a:rPr lang="en-US" sz="1400" dirty="0">
                <a:solidFill>
                  <a:schemeClr val="bg1"/>
                </a:solidFill>
              </a:rPr>
              <a:t>Be a Compass</a:t>
            </a:r>
          </a:p>
        </p:txBody>
      </p:sp>
      <p:sp>
        <p:nvSpPr>
          <p:cNvPr id="56" name="TextBox 55">
            <a:extLst>
              <a:ext uri="{FF2B5EF4-FFF2-40B4-BE49-F238E27FC236}">
                <a16:creationId xmlns:a16="http://schemas.microsoft.com/office/drawing/2014/main" id="{F1614595-B2A2-3775-14C9-0C1C887B0ED9}"/>
              </a:ext>
            </a:extLst>
          </p:cNvPr>
          <p:cNvSpPr txBox="1"/>
          <p:nvPr userDrawn="1"/>
        </p:nvSpPr>
        <p:spPr>
          <a:xfrm>
            <a:off x="5220809" y="3288853"/>
            <a:ext cx="1735142" cy="322995"/>
          </a:xfrm>
          <a:prstGeom prst="rect">
            <a:avLst/>
          </a:prstGeom>
          <a:noFill/>
        </p:spPr>
        <p:txBody>
          <a:bodyPr wrap="square" lIns="0" tIns="0" rIns="0" bIns="0" rtlCol="0" anchor="ctr">
            <a:noAutofit/>
          </a:bodyPr>
          <a:lstStyle/>
          <a:p>
            <a:pPr algn="ctr"/>
            <a:r>
              <a:rPr lang="en-US" sz="1400" dirty="0">
                <a:solidFill>
                  <a:schemeClr val="bg1"/>
                </a:solidFill>
              </a:rPr>
              <a:t>Ignite Change</a:t>
            </a:r>
          </a:p>
        </p:txBody>
      </p:sp>
      <p:sp>
        <p:nvSpPr>
          <p:cNvPr id="57" name="TextBox 56">
            <a:extLst>
              <a:ext uri="{FF2B5EF4-FFF2-40B4-BE49-F238E27FC236}">
                <a16:creationId xmlns:a16="http://schemas.microsoft.com/office/drawing/2014/main" id="{7D5CF787-BF98-A33F-7BCB-54A67FB3F341}"/>
              </a:ext>
            </a:extLst>
          </p:cNvPr>
          <p:cNvSpPr txBox="1"/>
          <p:nvPr userDrawn="1"/>
        </p:nvSpPr>
        <p:spPr>
          <a:xfrm>
            <a:off x="7426678" y="3288853"/>
            <a:ext cx="1828800" cy="322995"/>
          </a:xfrm>
          <a:prstGeom prst="rect">
            <a:avLst/>
          </a:prstGeom>
          <a:noFill/>
        </p:spPr>
        <p:txBody>
          <a:bodyPr wrap="square" lIns="0" tIns="0" rIns="0" bIns="0" rtlCol="0" anchor="ctr">
            <a:noAutofit/>
          </a:bodyPr>
          <a:lstStyle/>
          <a:p>
            <a:pPr algn="ctr"/>
            <a:r>
              <a:rPr lang="en-US" sz="1400" dirty="0">
                <a:solidFill>
                  <a:schemeClr val="bg1"/>
                </a:solidFill>
              </a:rPr>
              <a:t>Be a Guardian</a:t>
            </a:r>
          </a:p>
        </p:txBody>
      </p:sp>
      <p:sp>
        <p:nvSpPr>
          <p:cNvPr id="58" name="TextBox 57">
            <a:extLst>
              <a:ext uri="{FF2B5EF4-FFF2-40B4-BE49-F238E27FC236}">
                <a16:creationId xmlns:a16="http://schemas.microsoft.com/office/drawing/2014/main" id="{1456B281-119F-E674-9B15-1100FE3AECF0}"/>
              </a:ext>
            </a:extLst>
          </p:cNvPr>
          <p:cNvSpPr txBox="1"/>
          <p:nvPr userDrawn="1"/>
        </p:nvSpPr>
        <p:spPr>
          <a:xfrm>
            <a:off x="9738605" y="3283773"/>
            <a:ext cx="1730696" cy="322995"/>
          </a:xfrm>
          <a:prstGeom prst="rect">
            <a:avLst/>
          </a:prstGeom>
          <a:noFill/>
        </p:spPr>
        <p:txBody>
          <a:bodyPr wrap="square" lIns="0" tIns="0" rIns="0" bIns="0" rtlCol="0" anchor="ctr">
            <a:noAutofit/>
          </a:bodyPr>
          <a:lstStyle/>
          <a:p>
            <a:pPr algn="ctr"/>
            <a:r>
              <a:rPr lang="en-US" sz="1400" dirty="0">
                <a:solidFill>
                  <a:schemeClr val="bg1"/>
                </a:solidFill>
              </a:rPr>
              <a:t>Pursue Perfection</a:t>
            </a:r>
          </a:p>
        </p:txBody>
      </p:sp>
      <p:sp>
        <p:nvSpPr>
          <p:cNvPr id="59" name="TextBox 58">
            <a:extLst>
              <a:ext uri="{FF2B5EF4-FFF2-40B4-BE49-F238E27FC236}">
                <a16:creationId xmlns:a16="http://schemas.microsoft.com/office/drawing/2014/main" id="{B465B399-4870-D1BB-A832-0927DCBCF0D7}"/>
              </a:ext>
            </a:extLst>
          </p:cNvPr>
          <p:cNvSpPr txBox="1"/>
          <p:nvPr userDrawn="1"/>
        </p:nvSpPr>
        <p:spPr>
          <a:xfrm>
            <a:off x="722699" y="2980206"/>
            <a:ext cx="1730696"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RESPECT</a:t>
            </a:r>
          </a:p>
        </p:txBody>
      </p:sp>
      <p:sp>
        <p:nvSpPr>
          <p:cNvPr id="64" name="TextBox 63">
            <a:extLst>
              <a:ext uri="{FF2B5EF4-FFF2-40B4-BE49-F238E27FC236}">
                <a16:creationId xmlns:a16="http://schemas.microsoft.com/office/drawing/2014/main" id="{E3F5DE07-9F0A-5EDD-E853-A2098DF5E0C2}"/>
              </a:ext>
            </a:extLst>
          </p:cNvPr>
          <p:cNvSpPr txBox="1"/>
          <p:nvPr userDrawn="1"/>
        </p:nvSpPr>
        <p:spPr>
          <a:xfrm>
            <a:off x="2975568" y="2980206"/>
            <a:ext cx="1730696"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INTEGRITY</a:t>
            </a:r>
          </a:p>
        </p:txBody>
      </p:sp>
      <p:sp>
        <p:nvSpPr>
          <p:cNvPr id="65" name="TextBox 64">
            <a:extLst>
              <a:ext uri="{FF2B5EF4-FFF2-40B4-BE49-F238E27FC236}">
                <a16:creationId xmlns:a16="http://schemas.microsoft.com/office/drawing/2014/main" id="{BAF1FCA1-D7DB-8168-B80D-7635325208DC}"/>
              </a:ext>
            </a:extLst>
          </p:cNvPr>
          <p:cNvSpPr txBox="1"/>
          <p:nvPr userDrawn="1"/>
        </p:nvSpPr>
        <p:spPr>
          <a:xfrm>
            <a:off x="5212855" y="2980206"/>
            <a:ext cx="1730696"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INNOVATION</a:t>
            </a:r>
          </a:p>
        </p:txBody>
      </p:sp>
      <p:sp>
        <p:nvSpPr>
          <p:cNvPr id="66" name="TextBox 65">
            <a:extLst>
              <a:ext uri="{FF2B5EF4-FFF2-40B4-BE49-F238E27FC236}">
                <a16:creationId xmlns:a16="http://schemas.microsoft.com/office/drawing/2014/main" id="{8AE0B2FA-B360-131B-57F4-FD13D1D78419}"/>
              </a:ext>
            </a:extLst>
          </p:cNvPr>
          <p:cNvSpPr txBox="1"/>
          <p:nvPr userDrawn="1"/>
        </p:nvSpPr>
        <p:spPr>
          <a:xfrm>
            <a:off x="7374092" y="2980206"/>
            <a:ext cx="1933738"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STEWARDSHIP</a:t>
            </a:r>
          </a:p>
        </p:txBody>
      </p:sp>
      <p:sp>
        <p:nvSpPr>
          <p:cNvPr id="67" name="TextBox 66">
            <a:extLst>
              <a:ext uri="{FF2B5EF4-FFF2-40B4-BE49-F238E27FC236}">
                <a16:creationId xmlns:a16="http://schemas.microsoft.com/office/drawing/2014/main" id="{008C5AD4-4C58-C754-3E81-DB46F852A24F}"/>
              </a:ext>
            </a:extLst>
          </p:cNvPr>
          <p:cNvSpPr txBox="1"/>
          <p:nvPr userDrawn="1"/>
        </p:nvSpPr>
        <p:spPr>
          <a:xfrm>
            <a:off x="9621157" y="2980206"/>
            <a:ext cx="1933738"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EXCELLENCE</a:t>
            </a:r>
          </a:p>
        </p:txBody>
      </p:sp>
    </p:spTree>
    <p:extLst>
      <p:ext uri="{BB962C8B-B14F-4D97-AF65-F5344CB8AC3E}">
        <p14:creationId xmlns:p14="http://schemas.microsoft.com/office/powerpoint/2010/main" val="3278332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 Subtitle - Dark">
    <p:bg>
      <p:bgPr>
        <a:solidFill>
          <a:schemeClr val="tx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968733-400C-5979-E644-B56A408FA43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7">
            <a:extLst>
              <a:ext uri="{FF2B5EF4-FFF2-40B4-BE49-F238E27FC236}">
                <a16:creationId xmlns:a16="http://schemas.microsoft.com/office/drawing/2014/main" id="{AD73F8FF-87F8-5777-F2B8-54C34E74CB5E}"/>
              </a:ext>
            </a:extLst>
          </p:cNvPr>
          <p:cNvSpPr>
            <a:spLocks noGrp="1"/>
          </p:cNvSpPr>
          <p:nvPr>
            <p:ph type="body" sz="quarter" idx="13"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5" name="Date Placeholder 12">
            <a:extLst>
              <a:ext uri="{FF2B5EF4-FFF2-40B4-BE49-F238E27FC236}">
                <a16:creationId xmlns:a16="http://schemas.microsoft.com/office/drawing/2014/main" id="{16B6FA5E-4B4C-6913-F7A2-06F9B28C3427}"/>
              </a:ext>
            </a:extLst>
          </p:cNvPr>
          <p:cNvSpPr>
            <a:spLocks noGrp="1"/>
          </p:cNvSpPr>
          <p:nvPr>
            <p:ph type="dt" sz="half" idx="14"/>
          </p:nvPr>
        </p:nvSpPr>
        <p:spPr>
          <a:xfrm>
            <a:off x="10236555" y="138027"/>
            <a:ext cx="1345845" cy="153888"/>
          </a:xfrm>
        </p:spPr>
        <p:txBody>
          <a:bodyPr>
            <a:noAutofit/>
          </a:bodyPr>
          <a:lstStyle>
            <a:lvl1pPr>
              <a:defRPr>
                <a:solidFill>
                  <a:schemeClr val="bg1">
                    <a:lumMod val="65000"/>
                  </a:schemeClr>
                </a:solidFill>
              </a:defRPr>
            </a:lvl1pPr>
          </a:lstStyle>
          <a:p>
            <a:fld id="{AE4C89DD-A233-483F-952B-953E38B66C25}" type="datetime4">
              <a:rPr lang="en-US" smtClean="0"/>
              <a:t>May 17, 2025</a:t>
            </a:fld>
            <a:endParaRPr lang="en-US" dirty="0"/>
          </a:p>
        </p:txBody>
      </p:sp>
      <p:sp>
        <p:nvSpPr>
          <p:cNvPr id="9" name="Footer Placeholder 13">
            <a:extLst>
              <a:ext uri="{FF2B5EF4-FFF2-40B4-BE49-F238E27FC236}">
                <a16:creationId xmlns:a16="http://schemas.microsoft.com/office/drawing/2014/main" id="{4869AC9E-3246-DF81-8D19-B4FBEF99B354}"/>
              </a:ext>
            </a:extLst>
          </p:cNvPr>
          <p:cNvSpPr>
            <a:spLocks noGrp="1"/>
          </p:cNvSpPr>
          <p:nvPr>
            <p:ph type="ftr" sz="quarter" idx="15"/>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sp>
        <p:nvSpPr>
          <p:cNvPr id="10" name="Slide Number Placeholder 14">
            <a:extLst>
              <a:ext uri="{FF2B5EF4-FFF2-40B4-BE49-F238E27FC236}">
                <a16:creationId xmlns:a16="http://schemas.microsoft.com/office/drawing/2014/main" id="{92633B27-C072-D47F-D637-89DAFCE73693}"/>
              </a:ext>
            </a:extLst>
          </p:cNvPr>
          <p:cNvSpPr>
            <a:spLocks noGrp="1"/>
          </p:cNvSpPr>
          <p:nvPr>
            <p:ph type="sldNum" sz="quarter" idx="16"/>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pic>
        <p:nvPicPr>
          <p:cNvPr id="11" name="Graphic 10">
            <a:extLst>
              <a:ext uri="{FF2B5EF4-FFF2-40B4-BE49-F238E27FC236}">
                <a16:creationId xmlns:a16="http://schemas.microsoft.com/office/drawing/2014/main" id="{77CCD9F6-7E28-EE74-1488-42ADF692A9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12" name="Straight Connector 11">
            <a:extLst>
              <a:ext uri="{FF2B5EF4-FFF2-40B4-BE49-F238E27FC236}">
                <a16:creationId xmlns:a16="http://schemas.microsoft.com/office/drawing/2014/main" id="{B0592E0A-6277-7467-2818-E2E769654D97}"/>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9520B4-734E-FCA4-984F-7727B42D3211}"/>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18539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F3F3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4B2B4B-82F9-1536-578C-43BD5CE8AFCF}"/>
              </a:ext>
            </a:extLst>
          </p:cNvPr>
          <p:cNvGraphicFramePr>
            <a:graphicFrameLocks noChangeAspect="1"/>
          </p:cNvGraphicFramePr>
          <p:nvPr>
            <p:custDataLst>
              <p:tags r:id="rId1"/>
            </p:custDataLst>
            <p:extLst>
              <p:ext uri="{D42A27DB-BD31-4B8C-83A1-F6EECF244321}">
                <p14:modId xmlns:p14="http://schemas.microsoft.com/office/powerpoint/2010/main" val="169363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E24B2B4B-82F9-1536-578C-43BD5CE8A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itle 44">
            <a:extLst>
              <a:ext uri="{FF2B5EF4-FFF2-40B4-BE49-F238E27FC236}">
                <a16:creationId xmlns:a16="http://schemas.microsoft.com/office/drawing/2014/main" id="{8C8DBED3-A629-FC99-1B8F-BE074A307F8C}"/>
              </a:ext>
            </a:extLst>
          </p:cNvPr>
          <p:cNvSpPr>
            <a:spLocks noGrp="1"/>
          </p:cNvSpPr>
          <p:nvPr>
            <p:ph type="title" hasCustomPrompt="1"/>
          </p:nvPr>
        </p:nvSpPr>
        <p:spPr>
          <a:xfrm>
            <a:off x="609600" y="800754"/>
            <a:ext cx="5486400" cy="553998"/>
          </a:xfrm>
        </p:spPr>
        <p:txBody>
          <a:bodyPr vert="horz">
            <a:noAutofit/>
          </a:bodyPr>
          <a:lstStyle>
            <a:lvl1pPr>
              <a:defRPr/>
            </a:lvl1pPr>
          </a:lstStyle>
          <a:p>
            <a:r>
              <a:rPr lang="en-US"/>
              <a:t>Agenda</a:t>
            </a:r>
          </a:p>
        </p:txBody>
      </p:sp>
      <p:sp>
        <p:nvSpPr>
          <p:cNvPr id="50" name="Date Placeholder 49">
            <a:extLst>
              <a:ext uri="{FF2B5EF4-FFF2-40B4-BE49-F238E27FC236}">
                <a16:creationId xmlns:a16="http://schemas.microsoft.com/office/drawing/2014/main" id="{EA0F5283-5BB3-BAFD-B526-21B425D92197}"/>
              </a:ext>
            </a:extLst>
          </p:cNvPr>
          <p:cNvSpPr>
            <a:spLocks noGrp="1"/>
          </p:cNvSpPr>
          <p:nvPr>
            <p:ph type="dt" sz="half" idx="14"/>
          </p:nvPr>
        </p:nvSpPr>
        <p:spPr>
          <a:xfrm>
            <a:off x="10236555" y="136647"/>
            <a:ext cx="1345845" cy="153888"/>
          </a:xfrm>
        </p:spPr>
        <p:txBody>
          <a:bodyPr>
            <a:noAutofit/>
          </a:bodyPr>
          <a:lstStyle>
            <a:lvl1pPr>
              <a:defRPr>
                <a:solidFill>
                  <a:schemeClr val="tx1">
                    <a:lumMod val="75000"/>
                    <a:lumOff val="25000"/>
                  </a:schemeClr>
                </a:solidFill>
              </a:defRPr>
            </a:lvl1pPr>
          </a:lstStyle>
          <a:p>
            <a:fld id="{F390B173-6391-41DD-B68F-04C7E2E107FB}" type="datetime4">
              <a:rPr lang="en-US" smtClean="0"/>
              <a:t>May 17, 2025</a:t>
            </a:fld>
            <a:endParaRPr lang="en-US" dirty="0"/>
          </a:p>
        </p:txBody>
      </p:sp>
      <p:sp>
        <p:nvSpPr>
          <p:cNvPr id="51" name="Footer Placeholder 50">
            <a:extLst>
              <a:ext uri="{FF2B5EF4-FFF2-40B4-BE49-F238E27FC236}">
                <a16:creationId xmlns:a16="http://schemas.microsoft.com/office/drawing/2014/main" id="{E6307089-0337-1E41-2413-B773C7DDA356}"/>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5 Guidehouse Inc.</a:t>
            </a:r>
          </a:p>
        </p:txBody>
      </p:sp>
      <p:sp>
        <p:nvSpPr>
          <p:cNvPr id="52" name="Slide Number Placeholder 51">
            <a:extLst>
              <a:ext uri="{FF2B5EF4-FFF2-40B4-BE49-F238E27FC236}">
                <a16:creationId xmlns:a16="http://schemas.microsoft.com/office/drawing/2014/main" id="{0B037B46-B41D-26FD-DD47-435EFB15F5A1}"/>
              </a:ext>
            </a:extLst>
          </p:cNvPr>
          <p:cNvSpPr>
            <a:spLocks noGrp="1"/>
          </p:cNvSpPr>
          <p:nvPr>
            <p:ph type="sldNum" sz="quarter" idx="16"/>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3" name="Text Placeholder 7">
            <a:extLst>
              <a:ext uri="{FF2B5EF4-FFF2-40B4-BE49-F238E27FC236}">
                <a16:creationId xmlns:a16="http://schemas.microsoft.com/office/drawing/2014/main" id="{835ECE48-5FE3-A1E7-D32C-C2F6ADBC4A87}"/>
              </a:ext>
            </a:extLst>
          </p:cNvPr>
          <p:cNvSpPr>
            <a:spLocks noGrp="1"/>
          </p:cNvSpPr>
          <p:nvPr>
            <p:ph type="body" sz="quarter" idx="1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7FA0D2-F8F7-895F-2FBF-67E102F5B1D5}"/>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BC655C-7979-A16B-0182-2803B04DF645}"/>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 name="think-cell data - do not delete" hidden="1">
            <a:extLst>
              <a:ext uri="{FF2B5EF4-FFF2-40B4-BE49-F238E27FC236}">
                <a16:creationId xmlns:a16="http://schemas.microsoft.com/office/drawing/2014/main" id="{2B7035D9-E229-7717-77FC-A94230A289C9}"/>
              </a:ext>
            </a:extLst>
          </p:cNvPr>
          <p:cNvGraphicFramePr>
            <a:graphicFrameLocks noChangeAspect="1"/>
          </p:cNvGraphicFramePr>
          <p:nvPr userDrawn="1">
            <p:custDataLst>
              <p:tags r:id="rId2"/>
            </p:custDataLst>
            <p:extLst>
              <p:ext uri="{D42A27DB-BD31-4B8C-83A1-F6EECF244321}">
                <p14:modId xmlns:p14="http://schemas.microsoft.com/office/powerpoint/2010/main" val="169363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2B7035D9-E229-7717-77FC-A94230A289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11A09011-87C2-6782-3CBF-F646B77AF192}"/>
              </a:ext>
            </a:extLst>
          </p:cNvPr>
          <p:cNvSpPr>
            <a:spLocks noGrp="1"/>
          </p:cNvSpPr>
          <p:nvPr>
            <p:ph type="body" sz="quarter" idx="18" hasCustomPrompt="1"/>
          </p:nvPr>
        </p:nvSpPr>
        <p:spPr>
          <a:xfrm>
            <a:off x="609600" y="1609344"/>
            <a:ext cx="5486400" cy="475485"/>
          </a:xfrm>
        </p:spPr>
        <p:txBody>
          <a:bodyPr anchor="ctr">
            <a:noAutofit/>
          </a:bodyPr>
          <a:lstStyle>
            <a:lvl1pPr>
              <a:defRPr b="1" baseline="0">
                <a:latin typeface="+mj-lt"/>
              </a:defRPr>
            </a:lvl1pPr>
          </a:lstStyle>
          <a:p>
            <a:pPr lvl="0"/>
            <a:r>
              <a:rPr lang="en-US"/>
              <a:t>Insert header here</a:t>
            </a:r>
          </a:p>
        </p:txBody>
      </p:sp>
      <p:sp>
        <p:nvSpPr>
          <p:cNvPr id="8" name="Text Placeholder 7">
            <a:extLst>
              <a:ext uri="{FF2B5EF4-FFF2-40B4-BE49-F238E27FC236}">
                <a16:creationId xmlns:a16="http://schemas.microsoft.com/office/drawing/2014/main" id="{C8D5FB3A-753A-A01D-9A42-264E2905FBFF}"/>
              </a:ext>
            </a:extLst>
          </p:cNvPr>
          <p:cNvSpPr>
            <a:spLocks noGrp="1"/>
          </p:cNvSpPr>
          <p:nvPr>
            <p:ph type="body" sz="quarter" idx="19" hasCustomPrompt="1"/>
          </p:nvPr>
        </p:nvSpPr>
        <p:spPr>
          <a:xfrm>
            <a:off x="749808" y="2198053"/>
            <a:ext cx="4359614" cy="349250"/>
          </a:xfrm>
        </p:spPr>
        <p:txBody>
          <a:bodyPr>
            <a:noAutofit/>
          </a:bodyPr>
          <a:lstStyle>
            <a:lvl1pPr>
              <a:defRPr sz="1600"/>
            </a:lvl1pPr>
          </a:lstStyle>
          <a:p>
            <a:pPr lvl="0"/>
            <a:r>
              <a:rPr lang="en-US"/>
              <a:t>Topic name</a:t>
            </a:r>
          </a:p>
        </p:txBody>
      </p:sp>
      <p:sp>
        <p:nvSpPr>
          <p:cNvPr id="9" name="Text Placeholder 7">
            <a:extLst>
              <a:ext uri="{FF2B5EF4-FFF2-40B4-BE49-F238E27FC236}">
                <a16:creationId xmlns:a16="http://schemas.microsoft.com/office/drawing/2014/main" id="{5F6C7AD8-EBB1-B2EC-D16B-83CEE2FE0AD5}"/>
              </a:ext>
            </a:extLst>
          </p:cNvPr>
          <p:cNvSpPr>
            <a:spLocks noGrp="1"/>
          </p:cNvSpPr>
          <p:nvPr>
            <p:ph type="body" sz="quarter" idx="20" hasCustomPrompt="1"/>
          </p:nvPr>
        </p:nvSpPr>
        <p:spPr>
          <a:xfrm>
            <a:off x="749808" y="2675705"/>
            <a:ext cx="4359614" cy="349250"/>
          </a:xfrm>
        </p:spPr>
        <p:txBody>
          <a:bodyPr>
            <a:noAutofit/>
          </a:bodyPr>
          <a:lstStyle>
            <a:lvl1pPr>
              <a:defRPr sz="1600"/>
            </a:lvl1pPr>
          </a:lstStyle>
          <a:p>
            <a:pPr lvl="0"/>
            <a:r>
              <a:rPr lang="en-US"/>
              <a:t>Topic name</a:t>
            </a:r>
          </a:p>
        </p:txBody>
      </p:sp>
      <p:sp>
        <p:nvSpPr>
          <p:cNvPr id="10" name="Text Placeholder 7">
            <a:extLst>
              <a:ext uri="{FF2B5EF4-FFF2-40B4-BE49-F238E27FC236}">
                <a16:creationId xmlns:a16="http://schemas.microsoft.com/office/drawing/2014/main" id="{C65026CD-CCD9-594F-B624-278B0B50C18E}"/>
              </a:ext>
            </a:extLst>
          </p:cNvPr>
          <p:cNvSpPr>
            <a:spLocks noGrp="1"/>
          </p:cNvSpPr>
          <p:nvPr>
            <p:ph type="body" sz="quarter" idx="21" hasCustomPrompt="1"/>
          </p:nvPr>
        </p:nvSpPr>
        <p:spPr>
          <a:xfrm>
            <a:off x="749808" y="3153357"/>
            <a:ext cx="4359614" cy="349250"/>
          </a:xfrm>
        </p:spPr>
        <p:txBody>
          <a:bodyPr>
            <a:noAutofit/>
          </a:bodyPr>
          <a:lstStyle>
            <a:lvl1pPr>
              <a:defRPr sz="1600"/>
            </a:lvl1pPr>
          </a:lstStyle>
          <a:p>
            <a:pPr lvl="0"/>
            <a:r>
              <a:rPr lang="en-US"/>
              <a:t>Topic name</a:t>
            </a:r>
          </a:p>
        </p:txBody>
      </p:sp>
      <p:sp>
        <p:nvSpPr>
          <p:cNvPr id="14" name="Text Placeholder 7">
            <a:extLst>
              <a:ext uri="{FF2B5EF4-FFF2-40B4-BE49-F238E27FC236}">
                <a16:creationId xmlns:a16="http://schemas.microsoft.com/office/drawing/2014/main" id="{24686BDC-013B-6FB4-AE77-F2E70CEA8BFE}"/>
              </a:ext>
            </a:extLst>
          </p:cNvPr>
          <p:cNvSpPr>
            <a:spLocks noGrp="1"/>
          </p:cNvSpPr>
          <p:nvPr>
            <p:ph type="body" sz="quarter" idx="22" hasCustomPrompt="1"/>
          </p:nvPr>
        </p:nvSpPr>
        <p:spPr>
          <a:xfrm>
            <a:off x="749808" y="3631009"/>
            <a:ext cx="4359614" cy="349250"/>
          </a:xfrm>
        </p:spPr>
        <p:txBody>
          <a:bodyPr>
            <a:noAutofit/>
          </a:bodyPr>
          <a:lstStyle>
            <a:lvl1pPr>
              <a:defRPr sz="1600"/>
            </a:lvl1pPr>
          </a:lstStyle>
          <a:p>
            <a:pPr lvl="0"/>
            <a:r>
              <a:rPr lang="en-US"/>
              <a:t>Topic name</a:t>
            </a:r>
          </a:p>
        </p:txBody>
      </p:sp>
      <p:sp>
        <p:nvSpPr>
          <p:cNvPr id="15" name="Text Placeholder 7">
            <a:extLst>
              <a:ext uri="{FF2B5EF4-FFF2-40B4-BE49-F238E27FC236}">
                <a16:creationId xmlns:a16="http://schemas.microsoft.com/office/drawing/2014/main" id="{41FF509A-1B91-E966-15BC-77B3C666E4EC}"/>
              </a:ext>
            </a:extLst>
          </p:cNvPr>
          <p:cNvSpPr>
            <a:spLocks noGrp="1"/>
          </p:cNvSpPr>
          <p:nvPr>
            <p:ph type="body" sz="quarter" idx="23" hasCustomPrompt="1"/>
          </p:nvPr>
        </p:nvSpPr>
        <p:spPr>
          <a:xfrm>
            <a:off x="749808" y="4108523"/>
            <a:ext cx="4359614" cy="349250"/>
          </a:xfrm>
        </p:spPr>
        <p:txBody>
          <a:bodyPr>
            <a:noAutofit/>
          </a:bodyPr>
          <a:lstStyle>
            <a:lvl1pPr>
              <a:defRPr sz="1600"/>
            </a:lvl1pPr>
          </a:lstStyle>
          <a:p>
            <a:pPr lvl="0"/>
            <a:r>
              <a:rPr lang="en-US"/>
              <a:t>Topic name</a:t>
            </a:r>
          </a:p>
        </p:txBody>
      </p:sp>
      <p:sp>
        <p:nvSpPr>
          <p:cNvPr id="16" name="Text Placeholder 7">
            <a:extLst>
              <a:ext uri="{FF2B5EF4-FFF2-40B4-BE49-F238E27FC236}">
                <a16:creationId xmlns:a16="http://schemas.microsoft.com/office/drawing/2014/main" id="{37FC06F9-E814-94E2-56AC-6B1D1023C5EB}"/>
              </a:ext>
            </a:extLst>
          </p:cNvPr>
          <p:cNvSpPr>
            <a:spLocks noGrp="1"/>
          </p:cNvSpPr>
          <p:nvPr>
            <p:ph type="body" sz="quarter" idx="24" hasCustomPrompt="1"/>
          </p:nvPr>
        </p:nvSpPr>
        <p:spPr>
          <a:xfrm>
            <a:off x="749808" y="4586175"/>
            <a:ext cx="4359614" cy="349250"/>
          </a:xfrm>
        </p:spPr>
        <p:txBody>
          <a:bodyPr>
            <a:noAutofit/>
          </a:bodyPr>
          <a:lstStyle>
            <a:lvl1pPr>
              <a:defRPr sz="1600"/>
            </a:lvl1pPr>
          </a:lstStyle>
          <a:p>
            <a:pPr lvl="0"/>
            <a:r>
              <a:rPr lang="en-US"/>
              <a:t>Topic name</a:t>
            </a:r>
          </a:p>
        </p:txBody>
      </p:sp>
      <p:sp>
        <p:nvSpPr>
          <p:cNvPr id="18" name="Text Placeholder 7">
            <a:extLst>
              <a:ext uri="{FF2B5EF4-FFF2-40B4-BE49-F238E27FC236}">
                <a16:creationId xmlns:a16="http://schemas.microsoft.com/office/drawing/2014/main" id="{F928F26A-7879-11DE-CD3A-CC8DF5E2E449}"/>
              </a:ext>
            </a:extLst>
          </p:cNvPr>
          <p:cNvSpPr>
            <a:spLocks noGrp="1"/>
          </p:cNvSpPr>
          <p:nvPr>
            <p:ph type="body" sz="quarter" idx="25" hasCustomPrompt="1"/>
          </p:nvPr>
        </p:nvSpPr>
        <p:spPr>
          <a:xfrm>
            <a:off x="749808" y="5063827"/>
            <a:ext cx="4359614" cy="349250"/>
          </a:xfrm>
        </p:spPr>
        <p:txBody>
          <a:bodyPr>
            <a:noAutofit/>
          </a:bodyPr>
          <a:lstStyle>
            <a:lvl1pPr>
              <a:defRPr sz="1600"/>
            </a:lvl1pPr>
          </a:lstStyle>
          <a:p>
            <a:pPr lvl="0"/>
            <a:r>
              <a:rPr lang="en-US"/>
              <a:t>Topic name</a:t>
            </a:r>
          </a:p>
        </p:txBody>
      </p:sp>
      <p:sp>
        <p:nvSpPr>
          <p:cNvPr id="19" name="Text Placeholder 7">
            <a:extLst>
              <a:ext uri="{FF2B5EF4-FFF2-40B4-BE49-F238E27FC236}">
                <a16:creationId xmlns:a16="http://schemas.microsoft.com/office/drawing/2014/main" id="{36A63A15-7117-48B6-EB15-6BDB415E273F}"/>
              </a:ext>
            </a:extLst>
          </p:cNvPr>
          <p:cNvSpPr>
            <a:spLocks noGrp="1"/>
          </p:cNvSpPr>
          <p:nvPr>
            <p:ph type="body" sz="quarter" idx="26" hasCustomPrompt="1"/>
          </p:nvPr>
        </p:nvSpPr>
        <p:spPr>
          <a:xfrm>
            <a:off x="749808" y="5541479"/>
            <a:ext cx="4359614" cy="349250"/>
          </a:xfrm>
        </p:spPr>
        <p:txBody>
          <a:bodyPr>
            <a:noAutofit/>
          </a:bodyPr>
          <a:lstStyle>
            <a:lvl1pPr>
              <a:defRPr sz="1600"/>
            </a:lvl1pPr>
          </a:lstStyle>
          <a:p>
            <a:pPr lvl="0"/>
            <a:r>
              <a:rPr lang="en-US"/>
              <a:t>Topic name</a:t>
            </a:r>
          </a:p>
        </p:txBody>
      </p:sp>
      <p:sp>
        <p:nvSpPr>
          <p:cNvPr id="20" name="Text Placeholder 7">
            <a:extLst>
              <a:ext uri="{FF2B5EF4-FFF2-40B4-BE49-F238E27FC236}">
                <a16:creationId xmlns:a16="http://schemas.microsoft.com/office/drawing/2014/main" id="{8CABE08C-5097-0E3B-630D-DB4908CABB56}"/>
              </a:ext>
            </a:extLst>
          </p:cNvPr>
          <p:cNvSpPr>
            <a:spLocks noGrp="1"/>
          </p:cNvSpPr>
          <p:nvPr>
            <p:ph type="body" sz="quarter" idx="27" hasCustomPrompt="1"/>
          </p:nvPr>
        </p:nvSpPr>
        <p:spPr>
          <a:xfrm>
            <a:off x="5135351" y="2198053"/>
            <a:ext cx="386079" cy="349250"/>
          </a:xfrm>
        </p:spPr>
        <p:txBody>
          <a:bodyPr>
            <a:noAutofit/>
          </a:bodyPr>
          <a:lstStyle>
            <a:lvl1pPr algn="r">
              <a:defRPr sz="1600"/>
            </a:lvl1pPr>
          </a:lstStyle>
          <a:p>
            <a:pPr lvl="0"/>
            <a:r>
              <a:rPr lang="en-US"/>
              <a:t>00</a:t>
            </a:r>
          </a:p>
        </p:txBody>
      </p:sp>
      <p:sp>
        <p:nvSpPr>
          <p:cNvPr id="21" name="Text Placeholder 7">
            <a:extLst>
              <a:ext uri="{FF2B5EF4-FFF2-40B4-BE49-F238E27FC236}">
                <a16:creationId xmlns:a16="http://schemas.microsoft.com/office/drawing/2014/main" id="{FFCE9D85-E295-E133-C5E9-55DC5E703E1C}"/>
              </a:ext>
            </a:extLst>
          </p:cNvPr>
          <p:cNvSpPr>
            <a:spLocks noGrp="1"/>
          </p:cNvSpPr>
          <p:nvPr>
            <p:ph type="body" sz="quarter" idx="28" hasCustomPrompt="1"/>
          </p:nvPr>
        </p:nvSpPr>
        <p:spPr>
          <a:xfrm>
            <a:off x="5135351" y="2675705"/>
            <a:ext cx="386079" cy="349250"/>
          </a:xfrm>
        </p:spPr>
        <p:txBody>
          <a:bodyPr>
            <a:noAutofit/>
          </a:bodyPr>
          <a:lstStyle>
            <a:lvl1pPr algn="r">
              <a:defRPr sz="1600"/>
            </a:lvl1pPr>
          </a:lstStyle>
          <a:p>
            <a:pPr lvl="0"/>
            <a:r>
              <a:rPr lang="en-US"/>
              <a:t>00</a:t>
            </a:r>
          </a:p>
        </p:txBody>
      </p:sp>
      <p:sp>
        <p:nvSpPr>
          <p:cNvPr id="22" name="Text Placeholder 7">
            <a:extLst>
              <a:ext uri="{FF2B5EF4-FFF2-40B4-BE49-F238E27FC236}">
                <a16:creationId xmlns:a16="http://schemas.microsoft.com/office/drawing/2014/main" id="{30580CFE-3066-D52F-BF0C-607962B6402D}"/>
              </a:ext>
            </a:extLst>
          </p:cNvPr>
          <p:cNvSpPr>
            <a:spLocks noGrp="1"/>
          </p:cNvSpPr>
          <p:nvPr>
            <p:ph type="body" sz="quarter" idx="29" hasCustomPrompt="1"/>
          </p:nvPr>
        </p:nvSpPr>
        <p:spPr>
          <a:xfrm>
            <a:off x="5135351" y="3153357"/>
            <a:ext cx="386079" cy="349250"/>
          </a:xfrm>
        </p:spPr>
        <p:txBody>
          <a:bodyPr>
            <a:noAutofit/>
          </a:bodyPr>
          <a:lstStyle>
            <a:lvl1pPr algn="r">
              <a:defRPr sz="1600"/>
            </a:lvl1pPr>
          </a:lstStyle>
          <a:p>
            <a:pPr lvl="0"/>
            <a:r>
              <a:rPr lang="en-US"/>
              <a:t>00</a:t>
            </a:r>
          </a:p>
        </p:txBody>
      </p:sp>
      <p:sp>
        <p:nvSpPr>
          <p:cNvPr id="23" name="Text Placeholder 7">
            <a:extLst>
              <a:ext uri="{FF2B5EF4-FFF2-40B4-BE49-F238E27FC236}">
                <a16:creationId xmlns:a16="http://schemas.microsoft.com/office/drawing/2014/main" id="{83A8285B-9771-221E-276E-38A0469F9665}"/>
              </a:ext>
            </a:extLst>
          </p:cNvPr>
          <p:cNvSpPr>
            <a:spLocks noGrp="1"/>
          </p:cNvSpPr>
          <p:nvPr>
            <p:ph type="body" sz="quarter" idx="30" hasCustomPrompt="1"/>
          </p:nvPr>
        </p:nvSpPr>
        <p:spPr>
          <a:xfrm>
            <a:off x="5135351" y="3631009"/>
            <a:ext cx="386079" cy="349250"/>
          </a:xfrm>
        </p:spPr>
        <p:txBody>
          <a:bodyPr>
            <a:noAutofit/>
          </a:bodyPr>
          <a:lstStyle>
            <a:lvl1pPr algn="r">
              <a:defRPr sz="1600"/>
            </a:lvl1pPr>
          </a:lstStyle>
          <a:p>
            <a:pPr lvl="0"/>
            <a:r>
              <a:rPr lang="en-US"/>
              <a:t>00</a:t>
            </a:r>
          </a:p>
        </p:txBody>
      </p:sp>
      <p:sp>
        <p:nvSpPr>
          <p:cNvPr id="24" name="Text Placeholder 7">
            <a:extLst>
              <a:ext uri="{FF2B5EF4-FFF2-40B4-BE49-F238E27FC236}">
                <a16:creationId xmlns:a16="http://schemas.microsoft.com/office/drawing/2014/main" id="{CD292018-47A5-F28E-E40D-02ED0EBF3D37}"/>
              </a:ext>
            </a:extLst>
          </p:cNvPr>
          <p:cNvSpPr>
            <a:spLocks noGrp="1"/>
          </p:cNvSpPr>
          <p:nvPr>
            <p:ph type="body" sz="quarter" idx="31" hasCustomPrompt="1"/>
          </p:nvPr>
        </p:nvSpPr>
        <p:spPr>
          <a:xfrm>
            <a:off x="5135351" y="4108523"/>
            <a:ext cx="386079" cy="349250"/>
          </a:xfrm>
        </p:spPr>
        <p:txBody>
          <a:bodyPr>
            <a:noAutofit/>
          </a:bodyPr>
          <a:lstStyle>
            <a:lvl1pPr algn="r">
              <a:defRPr sz="1600"/>
            </a:lvl1pPr>
          </a:lstStyle>
          <a:p>
            <a:pPr lvl="0"/>
            <a:r>
              <a:rPr lang="en-US"/>
              <a:t>00</a:t>
            </a:r>
          </a:p>
        </p:txBody>
      </p:sp>
      <p:sp>
        <p:nvSpPr>
          <p:cNvPr id="25" name="Text Placeholder 7">
            <a:extLst>
              <a:ext uri="{FF2B5EF4-FFF2-40B4-BE49-F238E27FC236}">
                <a16:creationId xmlns:a16="http://schemas.microsoft.com/office/drawing/2014/main" id="{375D8AE7-3E52-ADD1-F076-54A550F88EA3}"/>
              </a:ext>
            </a:extLst>
          </p:cNvPr>
          <p:cNvSpPr>
            <a:spLocks noGrp="1"/>
          </p:cNvSpPr>
          <p:nvPr>
            <p:ph type="body" sz="quarter" idx="32" hasCustomPrompt="1"/>
          </p:nvPr>
        </p:nvSpPr>
        <p:spPr>
          <a:xfrm>
            <a:off x="5135351" y="4586175"/>
            <a:ext cx="386079" cy="349250"/>
          </a:xfrm>
        </p:spPr>
        <p:txBody>
          <a:bodyPr>
            <a:noAutofit/>
          </a:bodyPr>
          <a:lstStyle>
            <a:lvl1pPr algn="r">
              <a:defRPr sz="1600"/>
            </a:lvl1pPr>
          </a:lstStyle>
          <a:p>
            <a:pPr lvl="0"/>
            <a:r>
              <a:rPr lang="en-US"/>
              <a:t>00</a:t>
            </a:r>
          </a:p>
        </p:txBody>
      </p:sp>
      <p:sp>
        <p:nvSpPr>
          <p:cNvPr id="26" name="Text Placeholder 7">
            <a:extLst>
              <a:ext uri="{FF2B5EF4-FFF2-40B4-BE49-F238E27FC236}">
                <a16:creationId xmlns:a16="http://schemas.microsoft.com/office/drawing/2014/main" id="{4DE56228-A543-6045-7006-DDA45A0F3170}"/>
              </a:ext>
            </a:extLst>
          </p:cNvPr>
          <p:cNvSpPr>
            <a:spLocks noGrp="1"/>
          </p:cNvSpPr>
          <p:nvPr>
            <p:ph type="body" sz="quarter" idx="33" hasCustomPrompt="1"/>
          </p:nvPr>
        </p:nvSpPr>
        <p:spPr>
          <a:xfrm>
            <a:off x="5135351" y="5063827"/>
            <a:ext cx="386079" cy="349250"/>
          </a:xfrm>
        </p:spPr>
        <p:txBody>
          <a:bodyPr>
            <a:noAutofit/>
          </a:bodyPr>
          <a:lstStyle>
            <a:lvl1pPr algn="r">
              <a:defRPr sz="1600"/>
            </a:lvl1pPr>
          </a:lstStyle>
          <a:p>
            <a:pPr lvl="0"/>
            <a:r>
              <a:rPr lang="en-US"/>
              <a:t>00</a:t>
            </a:r>
          </a:p>
        </p:txBody>
      </p:sp>
      <p:sp>
        <p:nvSpPr>
          <p:cNvPr id="27" name="Text Placeholder 7">
            <a:extLst>
              <a:ext uri="{FF2B5EF4-FFF2-40B4-BE49-F238E27FC236}">
                <a16:creationId xmlns:a16="http://schemas.microsoft.com/office/drawing/2014/main" id="{F326C1AA-B979-78CD-10CB-A2845ED8BA0C}"/>
              </a:ext>
            </a:extLst>
          </p:cNvPr>
          <p:cNvSpPr>
            <a:spLocks noGrp="1"/>
          </p:cNvSpPr>
          <p:nvPr>
            <p:ph type="body" sz="quarter" idx="34" hasCustomPrompt="1"/>
          </p:nvPr>
        </p:nvSpPr>
        <p:spPr>
          <a:xfrm>
            <a:off x="5135351" y="5541479"/>
            <a:ext cx="386079" cy="349250"/>
          </a:xfrm>
        </p:spPr>
        <p:txBody>
          <a:bodyPr>
            <a:noAutofit/>
          </a:bodyPr>
          <a:lstStyle>
            <a:lvl1pPr algn="r">
              <a:defRPr sz="1600"/>
            </a:lvl1pPr>
          </a:lstStyle>
          <a:p>
            <a:pPr lvl="0"/>
            <a:r>
              <a:rPr lang="en-US"/>
              <a:t>00</a:t>
            </a:r>
          </a:p>
        </p:txBody>
      </p:sp>
      <p:cxnSp>
        <p:nvCxnSpPr>
          <p:cNvPr id="31" name="Straight Connector 30">
            <a:extLst>
              <a:ext uri="{FF2B5EF4-FFF2-40B4-BE49-F238E27FC236}">
                <a16:creationId xmlns:a16="http://schemas.microsoft.com/office/drawing/2014/main" id="{459E8D3A-F0D2-3CC8-1EAC-4F5617758398}"/>
              </a:ext>
            </a:extLst>
          </p:cNvPr>
          <p:cNvCxnSpPr/>
          <p:nvPr userDrawn="1"/>
        </p:nvCxnSpPr>
        <p:spPr>
          <a:xfrm>
            <a:off x="609600" y="2081019"/>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B61D6326-F6C2-B0AC-49E3-BBDCC4BEAC09}"/>
              </a:ext>
            </a:extLst>
          </p:cNvPr>
          <p:cNvPicPr/>
          <p:nvPr userDrawn="1"/>
        </p:nvPicPr>
        <p:blipFill>
          <a:blip r:embed="rId6">
            <a:extLst>
              <a:ext uri="{96DAC541-7B7A-43D3-8B79-37D633B846F1}">
                <asvg:svgBlip xmlns:asvg="http://schemas.microsoft.com/office/drawing/2016/SVG/main" r:embed="rId7"/>
              </a:ext>
            </a:extLst>
          </a:blip>
          <a:stretch>
            <a:fillRect/>
          </a:stretch>
        </p:blipFill>
        <p:spPr>
          <a:xfrm>
            <a:off x="7143751" y="1388452"/>
            <a:ext cx="4114798" cy="4114798"/>
          </a:xfrm>
          <a:prstGeom prst="rect">
            <a:avLst/>
          </a:prstGeom>
        </p:spPr>
      </p:pic>
    </p:spTree>
    <p:extLst>
      <p:ext uri="{BB962C8B-B14F-4D97-AF65-F5344CB8AC3E}">
        <p14:creationId xmlns:p14="http://schemas.microsoft.com/office/powerpoint/2010/main" val="21097626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One-column - Dark">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486400" cy="553998"/>
          </a:xfrm>
        </p:spPr>
        <p:txBody>
          <a:bodyPr>
            <a:noAutofit/>
          </a:bodyPr>
          <a:lstStyle/>
          <a:p>
            <a:r>
              <a:rPr lang="en-US"/>
              <a:t>Click to edit Master title style</a:t>
            </a:r>
          </a:p>
        </p:txBody>
      </p:sp>
      <p:grpSp>
        <p:nvGrpSpPr>
          <p:cNvPr id="8" name="Group 7">
            <a:extLst>
              <a:ext uri="{FF2B5EF4-FFF2-40B4-BE49-F238E27FC236}">
                <a16:creationId xmlns:a16="http://schemas.microsoft.com/office/drawing/2014/main" id="{64C4FB5F-2777-A396-392E-B3E9DAA8798E}"/>
              </a:ext>
            </a:extLst>
          </p:cNvPr>
          <p:cNvGrpSpPr/>
          <p:nvPr/>
        </p:nvGrpSpPr>
        <p:grpSpPr>
          <a:xfrm>
            <a:off x="609601" y="3909255"/>
            <a:ext cx="5486400" cy="0"/>
            <a:chOff x="609601" y="3820887"/>
            <a:chExt cx="5486400" cy="0"/>
          </a:xfrm>
        </p:grpSpPr>
        <p:cxnSp>
          <p:nvCxnSpPr>
            <p:cNvPr id="9" name="Straight Connector 8">
              <a:extLst>
                <a:ext uri="{FF2B5EF4-FFF2-40B4-BE49-F238E27FC236}">
                  <a16:creationId xmlns:a16="http://schemas.microsoft.com/office/drawing/2014/main" id="{E255DCA8-F14C-04CA-3EA7-7EA803486E91}"/>
                </a:ext>
              </a:extLst>
            </p:cNvPr>
            <p:cNvCxnSpPr>
              <a:cxnSpLocks/>
            </p:cNvCxnSpPr>
            <p:nvPr/>
          </p:nvCxnSpPr>
          <p:spPr>
            <a:xfrm flipH="1">
              <a:off x="609601" y="3820887"/>
              <a:ext cx="5486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455279C-DE5C-A0A2-0FEF-CA7EEA14EEF6}"/>
                </a:ext>
              </a:extLst>
            </p:cNvPr>
            <p:cNvCxnSpPr>
              <a:cxnSpLocks/>
            </p:cNvCxnSpPr>
            <p:nvPr/>
          </p:nvCxnSpPr>
          <p:spPr>
            <a:xfrm rot="5400000" flipH="1">
              <a:off x="1274547" y="3155941"/>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420A254F-BDD5-C9AF-1DD7-05ACB129B577}"/>
              </a:ext>
            </a:extLst>
          </p:cNvPr>
          <p:cNvSpPr/>
          <p:nvPr/>
        </p:nvSpPr>
        <p:spPr>
          <a:xfrm>
            <a:off x="7019925" y="431800"/>
            <a:ext cx="5172075" cy="59967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4864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486400"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486400" cy="1481328"/>
          </a:xfrm>
        </p:spPr>
        <p:txBody>
          <a:bodyPr anchor="b">
            <a:noAutofit/>
          </a:bodyPr>
          <a:lstStyle>
            <a:lvl1pPr>
              <a:defRPr sz="3200"/>
            </a:lvl1pPr>
          </a:lstStyle>
          <a:p>
            <a:pPr lvl="0"/>
            <a:r>
              <a:rPr lang="en-US"/>
              <a:t>Click to edit Master text styles</a:t>
            </a:r>
          </a:p>
        </p:txBody>
      </p:sp>
      <p:sp>
        <p:nvSpPr>
          <p:cNvPr id="6" name="Date Placeholder 49">
            <a:extLst>
              <a:ext uri="{FF2B5EF4-FFF2-40B4-BE49-F238E27FC236}">
                <a16:creationId xmlns:a16="http://schemas.microsoft.com/office/drawing/2014/main" id="{5F217281-3A4E-E1DA-0ABE-80B7AC4FF1B8}"/>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916DF86A-30B1-4B44-A04E-9B307D9D54ED}" type="datetime4">
              <a:rPr lang="en-US" smtClean="0"/>
              <a:t>May 17, 2025</a:t>
            </a:fld>
            <a:endParaRPr lang="en-US" dirty="0"/>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13" name="Slide Number Placeholder 5">
            <a:extLst>
              <a:ext uri="{FF2B5EF4-FFF2-40B4-BE49-F238E27FC236}">
                <a16:creationId xmlns:a16="http://schemas.microsoft.com/office/drawing/2014/main" id="{44B1F0BD-22AE-6975-1D8F-0E77C97E263B}"/>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pic>
        <p:nvPicPr>
          <p:cNvPr id="4" name="Picture 3">
            <a:extLst>
              <a:ext uri="{FF2B5EF4-FFF2-40B4-BE49-F238E27FC236}">
                <a16:creationId xmlns:a16="http://schemas.microsoft.com/office/drawing/2014/main" id="{815BECC8-7D1B-6FCC-F690-CE812AE63D4C}"/>
              </a:ext>
            </a:extLst>
          </p:cNvPr>
          <p:cNvPicPr/>
          <p:nvPr userDrawn="1"/>
        </p:nvPicPr>
        <p:blipFill>
          <a:blip r:embed="rId2"/>
          <a:stretch>
            <a:fillRect/>
          </a:stretch>
        </p:blipFill>
        <p:spPr>
          <a:xfrm>
            <a:off x="7630516" y="1377621"/>
            <a:ext cx="3950550" cy="4121253"/>
          </a:xfrm>
          <a:prstGeom prst="rect">
            <a:avLst/>
          </a:prstGeom>
        </p:spPr>
      </p:pic>
    </p:spTree>
    <p:extLst>
      <p:ext uri="{BB962C8B-B14F-4D97-AF65-F5344CB8AC3E}">
        <p14:creationId xmlns:p14="http://schemas.microsoft.com/office/powerpoint/2010/main" val="10173306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 Image">
    <p:bg>
      <p:bgPr>
        <a:solidFill>
          <a:srgbClr val="F3F3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4B2B4B-82F9-1536-578C-43BD5CE8AFCF}"/>
              </a:ext>
            </a:extLst>
          </p:cNvPr>
          <p:cNvGraphicFramePr>
            <a:graphicFrameLocks noChangeAspect="1"/>
          </p:cNvGraphicFramePr>
          <p:nvPr>
            <p:custDataLst>
              <p:tags r:id="rId2"/>
            </p:custDataLst>
            <p:extLst>
              <p:ext uri="{D42A27DB-BD31-4B8C-83A1-F6EECF244321}">
                <p14:modId xmlns:p14="http://schemas.microsoft.com/office/powerpoint/2010/main" val="169363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4" name="think-cell data - do not delete" hidden="1">
                        <a:extLst>
                          <a:ext uri="{FF2B5EF4-FFF2-40B4-BE49-F238E27FC236}">
                            <a16:creationId xmlns:a16="http://schemas.microsoft.com/office/drawing/2014/main" id="{E24B2B4B-82F9-1536-578C-43BD5CE8AF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Title 44">
            <a:extLst>
              <a:ext uri="{FF2B5EF4-FFF2-40B4-BE49-F238E27FC236}">
                <a16:creationId xmlns:a16="http://schemas.microsoft.com/office/drawing/2014/main" id="{8C8DBED3-A629-FC99-1B8F-BE074A307F8C}"/>
              </a:ext>
            </a:extLst>
          </p:cNvPr>
          <p:cNvSpPr>
            <a:spLocks noGrp="1"/>
          </p:cNvSpPr>
          <p:nvPr>
            <p:ph type="title" hasCustomPrompt="1"/>
          </p:nvPr>
        </p:nvSpPr>
        <p:spPr>
          <a:xfrm>
            <a:off x="609600" y="800754"/>
            <a:ext cx="5486400" cy="553998"/>
          </a:xfrm>
        </p:spPr>
        <p:txBody>
          <a:bodyPr vert="horz">
            <a:noAutofit/>
          </a:bodyPr>
          <a:lstStyle>
            <a:lvl1pPr>
              <a:defRPr/>
            </a:lvl1pPr>
          </a:lstStyle>
          <a:p>
            <a:r>
              <a:rPr lang="en-US"/>
              <a:t>Agenda</a:t>
            </a:r>
          </a:p>
        </p:txBody>
      </p:sp>
      <p:sp>
        <p:nvSpPr>
          <p:cNvPr id="51" name="Footer Placeholder 50">
            <a:extLst>
              <a:ext uri="{FF2B5EF4-FFF2-40B4-BE49-F238E27FC236}">
                <a16:creationId xmlns:a16="http://schemas.microsoft.com/office/drawing/2014/main" id="{E6307089-0337-1E41-2413-B773C7DDA356}"/>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5 Guidehouse Inc.</a:t>
            </a:r>
          </a:p>
        </p:txBody>
      </p:sp>
      <p:sp>
        <p:nvSpPr>
          <p:cNvPr id="53" name="Text Placeholder 7">
            <a:extLst>
              <a:ext uri="{FF2B5EF4-FFF2-40B4-BE49-F238E27FC236}">
                <a16:creationId xmlns:a16="http://schemas.microsoft.com/office/drawing/2014/main" id="{835ECE48-5FE3-A1E7-D32C-C2F6ADBC4A87}"/>
              </a:ext>
            </a:extLst>
          </p:cNvPr>
          <p:cNvSpPr>
            <a:spLocks noGrp="1"/>
          </p:cNvSpPr>
          <p:nvPr>
            <p:ph type="body" sz="quarter" idx="1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7FA0D2-F8F7-895F-2FBF-67E102F5B1D5}"/>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BC655C-7979-A16B-0182-2803B04DF645}"/>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Picture Placeholder 6">
            <a:extLst>
              <a:ext uri="{FF2B5EF4-FFF2-40B4-BE49-F238E27FC236}">
                <a16:creationId xmlns:a16="http://schemas.microsoft.com/office/drawing/2014/main" id="{10A51284-31AA-5A82-9D1B-95ECF46E976B}"/>
              </a:ext>
            </a:extLst>
          </p:cNvPr>
          <p:cNvSpPr>
            <a:spLocks noGrp="1"/>
          </p:cNvSpPr>
          <p:nvPr>
            <p:ph type="pic" sz="quarter" idx="18" hasCustomPrompt="1"/>
          </p:nvPr>
        </p:nvSpPr>
        <p:spPr>
          <a:xfrm>
            <a:off x="7137400" y="0"/>
            <a:ext cx="5054600" cy="6858000"/>
          </a:xfrm>
          <a:solidFill>
            <a:schemeClr val="bg1">
              <a:lumMod val="75000"/>
            </a:schemeClr>
          </a:solidFill>
        </p:spPr>
        <p:txBody>
          <a:bodyPr anchor="ctr"/>
          <a:lstStyle>
            <a:lvl1pPr algn="ctr">
              <a:defRPr sz="1000" b="0"/>
            </a:lvl1pPr>
          </a:lstStyle>
          <a:p>
            <a:r>
              <a:rPr lang="en-US" dirty="0"/>
              <a:t>Insert Photo</a:t>
            </a:r>
          </a:p>
        </p:txBody>
      </p:sp>
      <p:graphicFrame>
        <p:nvGraphicFramePr>
          <p:cNvPr id="3" name="think-cell data - do not delete" hidden="1">
            <a:extLst>
              <a:ext uri="{FF2B5EF4-FFF2-40B4-BE49-F238E27FC236}">
                <a16:creationId xmlns:a16="http://schemas.microsoft.com/office/drawing/2014/main" id="{8E62D234-D5FD-48E0-D01F-6175CB455F70}"/>
              </a:ext>
            </a:extLst>
          </p:cNvPr>
          <p:cNvGraphicFramePr>
            <a:graphicFrameLocks noChangeAspect="1"/>
          </p:cNvGraphicFramePr>
          <p:nvPr userDrawn="1">
            <p:custDataLst>
              <p:tags r:id="rId3"/>
            </p:custDataLst>
            <p:extLst>
              <p:ext uri="{D42A27DB-BD31-4B8C-83A1-F6EECF244321}">
                <p14:modId xmlns:p14="http://schemas.microsoft.com/office/powerpoint/2010/main" val="169363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 name="think-cell data - do not delete" hidden="1">
                        <a:extLst>
                          <a:ext uri="{FF2B5EF4-FFF2-40B4-BE49-F238E27FC236}">
                            <a16:creationId xmlns:a16="http://schemas.microsoft.com/office/drawing/2014/main" id="{8E62D234-D5FD-48E0-D01F-6175CB455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3B0381F1-E3BA-89CB-8B69-00C507D035B7}"/>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E1B46AC-808C-5D43-EA1B-15963FBCA79E}"/>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4">
            <a:extLst>
              <a:ext uri="{FF2B5EF4-FFF2-40B4-BE49-F238E27FC236}">
                <a16:creationId xmlns:a16="http://schemas.microsoft.com/office/drawing/2014/main" id="{EF2E75AC-868B-ABFD-D8E0-A1479E536EB7}"/>
              </a:ext>
            </a:extLst>
          </p:cNvPr>
          <p:cNvSpPr>
            <a:spLocks noGrp="1"/>
          </p:cNvSpPr>
          <p:nvPr>
            <p:ph type="body" sz="quarter" idx="19" hasCustomPrompt="1"/>
          </p:nvPr>
        </p:nvSpPr>
        <p:spPr>
          <a:xfrm>
            <a:off x="609600" y="1609344"/>
            <a:ext cx="5486400" cy="475485"/>
          </a:xfrm>
        </p:spPr>
        <p:txBody>
          <a:bodyPr anchor="ctr">
            <a:noAutofit/>
          </a:bodyPr>
          <a:lstStyle>
            <a:lvl1pPr>
              <a:defRPr b="1" baseline="0">
                <a:latin typeface="+mj-lt"/>
              </a:defRPr>
            </a:lvl1pPr>
          </a:lstStyle>
          <a:p>
            <a:pPr lvl="0"/>
            <a:r>
              <a:rPr lang="en-US"/>
              <a:t>Insert header here</a:t>
            </a:r>
          </a:p>
        </p:txBody>
      </p:sp>
      <p:sp>
        <p:nvSpPr>
          <p:cNvPr id="9" name="Text Placeholder 7">
            <a:extLst>
              <a:ext uri="{FF2B5EF4-FFF2-40B4-BE49-F238E27FC236}">
                <a16:creationId xmlns:a16="http://schemas.microsoft.com/office/drawing/2014/main" id="{A3AD7AF5-595C-F328-AFFD-8CA68D602C7E}"/>
              </a:ext>
            </a:extLst>
          </p:cNvPr>
          <p:cNvSpPr>
            <a:spLocks noGrp="1"/>
          </p:cNvSpPr>
          <p:nvPr>
            <p:ph type="body" sz="quarter" idx="20" hasCustomPrompt="1"/>
          </p:nvPr>
        </p:nvSpPr>
        <p:spPr>
          <a:xfrm>
            <a:off x="749808" y="2198053"/>
            <a:ext cx="4485132" cy="349250"/>
          </a:xfrm>
        </p:spPr>
        <p:txBody>
          <a:bodyPr>
            <a:noAutofit/>
          </a:bodyPr>
          <a:lstStyle>
            <a:lvl1pPr>
              <a:defRPr sz="1600"/>
            </a:lvl1pPr>
          </a:lstStyle>
          <a:p>
            <a:pPr lvl="0"/>
            <a:r>
              <a:rPr lang="en-US"/>
              <a:t>Topic name</a:t>
            </a:r>
          </a:p>
        </p:txBody>
      </p:sp>
      <p:sp>
        <p:nvSpPr>
          <p:cNvPr id="10" name="Text Placeholder 7">
            <a:extLst>
              <a:ext uri="{FF2B5EF4-FFF2-40B4-BE49-F238E27FC236}">
                <a16:creationId xmlns:a16="http://schemas.microsoft.com/office/drawing/2014/main" id="{63A1477D-36BF-21E4-9F74-270256AE680D}"/>
              </a:ext>
            </a:extLst>
          </p:cNvPr>
          <p:cNvSpPr>
            <a:spLocks noGrp="1"/>
          </p:cNvSpPr>
          <p:nvPr>
            <p:ph type="body" sz="quarter" idx="21" hasCustomPrompt="1"/>
          </p:nvPr>
        </p:nvSpPr>
        <p:spPr>
          <a:xfrm>
            <a:off x="749808" y="2675705"/>
            <a:ext cx="4485132" cy="349250"/>
          </a:xfrm>
        </p:spPr>
        <p:txBody>
          <a:bodyPr>
            <a:noAutofit/>
          </a:bodyPr>
          <a:lstStyle>
            <a:lvl1pPr>
              <a:defRPr sz="1600"/>
            </a:lvl1pPr>
          </a:lstStyle>
          <a:p>
            <a:pPr lvl="0"/>
            <a:r>
              <a:rPr lang="en-US"/>
              <a:t>Topic name</a:t>
            </a:r>
          </a:p>
        </p:txBody>
      </p:sp>
      <p:sp>
        <p:nvSpPr>
          <p:cNvPr id="14" name="Text Placeholder 7">
            <a:extLst>
              <a:ext uri="{FF2B5EF4-FFF2-40B4-BE49-F238E27FC236}">
                <a16:creationId xmlns:a16="http://schemas.microsoft.com/office/drawing/2014/main" id="{21254762-E52A-A886-D5FB-85F619DBD5D0}"/>
              </a:ext>
            </a:extLst>
          </p:cNvPr>
          <p:cNvSpPr>
            <a:spLocks noGrp="1"/>
          </p:cNvSpPr>
          <p:nvPr>
            <p:ph type="body" sz="quarter" idx="22" hasCustomPrompt="1"/>
          </p:nvPr>
        </p:nvSpPr>
        <p:spPr>
          <a:xfrm>
            <a:off x="749808" y="3153357"/>
            <a:ext cx="4485132" cy="349250"/>
          </a:xfrm>
        </p:spPr>
        <p:txBody>
          <a:bodyPr>
            <a:noAutofit/>
          </a:bodyPr>
          <a:lstStyle>
            <a:lvl1pPr>
              <a:defRPr sz="1600"/>
            </a:lvl1pPr>
          </a:lstStyle>
          <a:p>
            <a:pPr lvl="0"/>
            <a:r>
              <a:rPr lang="en-US"/>
              <a:t>Topic name</a:t>
            </a:r>
          </a:p>
        </p:txBody>
      </p:sp>
      <p:sp>
        <p:nvSpPr>
          <p:cNvPr id="15" name="Text Placeholder 7">
            <a:extLst>
              <a:ext uri="{FF2B5EF4-FFF2-40B4-BE49-F238E27FC236}">
                <a16:creationId xmlns:a16="http://schemas.microsoft.com/office/drawing/2014/main" id="{3F6E28D1-56E8-837D-5E6C-D6AF09C9C942}"/>
              </a:ext>
            </a:extLst>
          </p:cNvPr>
          <p:cNvSpPr>
            <a:spLocks noGrp="1"/>
          </p:cNvSpPr>
          <p:nvPr>
            <p:ph type="body" sz="quarter" idx="23" hasCustomPrompt="1"/>
          </p:nvPr>
        </p:nvSpPr>
        <p:spPr>
          <a:xfrm>
            <a:off x="749808" y="3631009"/>
            <a:ext cx="4485132" cy="349250"/>
          </a:xfrm>
        </p:spPr>
        <p:txBody>
          <a:bodyPr>
            <a:noAutofit/>
          </a:bodyPr>
          <a:lstStyle>
            <a:lvl1pPr>
              <a:defRPr sz="1600"/>
            </a:lvl1pPr>
          </a:lstStyle>
          <a:p>
            <a:pPr lvl="0"/>
            <a:r>
              <a:rPr lang="en-US"/>
              <a:t>Topic name</a:t>
            </a:r>
          </a:p>
        </p:txBody>
      </p:sp>
      <p:sp>
        <p:nvSpPr>
          <p:cNvPr id="16" name="Text Placeholder 7">
            <a:extLst>
              <a:ext uri="{FF2B5EF4-FFF2-40B4-BE49-F238E27FC236}">
                <a16:creationId xmlns:a16="http://schemas.microsoft.com/office/drawing/2014/main" id="{11F1E4AD-98B5-5194-501F-DA5B0D954F2E}"/>
              </a:ext>
            </a:extLst>
          </p:cNvPr>
          <p:cNvSpPr>
            <a:spLocks noGrp="1"/>
          </p:cNvSpPr>
          <p:nvPr>
            <p:ph type="body" sz="quarter" idx="24" hasCustomPrompt="1"/>
          </p:nvPr>
        </p:nvSpPr>
        <p:spPr>
          <a:xfrm>
            <a:off x="749808" y="4108523"/>
            <a:ext cx="4485132" cy="349250"/>
          </a:xfrm>
        </p:spPr>
        <p:txBody>
          <a:bodyPr>
            <a:noAutofit/>
          </a:bodyPr>
          <a:lstStyle>
            <a:lvl1pPr>
              <a:defRPr sz="1600"/>
            </a:lvl1pPr>
          </a:lstStyle>
          <a:p>
            <a:pPr lvl="0"/>
            <a:r>
              <a:rPr lang="en-US"/>
              <a:t>Topic name</a:t>
            </a:r>
          </a:p>
        </p:txBody>
      </p:sp>
      <p:sp>
        <p:nvSpPr>
          <p:cNvPr id="17" name="Text Placeholder 7">
            <a:extLst>
              <a:ext uri="{FF2B5EF4-FFF2-40B4-BE49-F238E27FC236}">
                <a16:creationId xmlns:a16="http://schemas.microsoft.com/office/drawing/2014/main" id="{AB6C6CCD-35D0-B2AF-EEE5-411C0D1E5F38}"/>
              </a:ext>
            </a:extLst>
          </p:cNvPr>
          <p:cNvSpPr>
            <a:spLocks noGrp="1"/>
          </p:cNvSpPr>
          <p:nvPr>
            <p:ph type="body" sz="quarter" idx="25" hasCustomPrompt="1"/>
          </p:nvPr>
        </p:nvSpPr>
        <p:spPr>
          <a:xfrm>
            <a:off x="749808" y="4586175"/>
            <a:ext cx="4485132" cy="349250"/>
          </a:xfrm>
        </p:spPr>
        <p:txBody>
          <a:bodyPr>
            <a:noAutofit/>
          </a:bodyPr>
          <a:lstStyle>
            <a:lvl1pPr>
              <a:defRPr sz="1600"/>
            </a:lvl1pPr>
          </a:lstStyle>
          <a:p>
            <a:pPr lvl="0"/>
            <a:r>
              <a:rPr lang="en-US"/>
              <a:t>Topic name</a:t>
            </a:r>
          </a:p>
        </p:txBody>
      </p:sp>
      <p:sp>
        <p:nvSpPr>
          <p:cNvPr id="18" name="Text Placeholder 7">
            <a:extLst>
              <a:ext uri="{FF2B5EF4-FFF2-40B4-BE49-F238E27FC236}">
                <a16:creationId xmlns:a16="http://schemas.microsoft.com/office/drawing/2014/main" id="{6AE2DD32-A179-D503-27E9-6B6F12028D1B}"/>
              </a:ext>
            </a:extLst>
          </p:cNvPr>
          <p:cNvSpPr>
            <a:spLocks noGrp="1"/>
          </p:cNvSpPr>
          <p:nvPr>
            <p:ph type="body" sz="quarter" idx="26" hasCustomPrompt="1"/>
          </p:nvPr>
        </p:nvSpPr>
        <p:spPr>
          <a:xfrm>
            <a:off x="749808" y="5063827"/>
            <a:ext cx="4485132" cy="349250"/>
          </a:xfrm>
        </p:spPr>
        <p:txBody>
          <a:bodyPr>
            <a:noAutofit/>
          </a:bodyPr>
          <a:lstStyle>
            <a:lvl1pPr>
              <a:defRPr sz="1600"/>
            </a:lvl1pPr>
          </a:lstStyle>
          <a:p>
            <a:pPr lvl="0"/>
            <a:r>
              <a:rPr lang="en-US"/>
              <a:t>Topic name</a:t>
            </a:r>
          </a:p>
        </p:txBody>
      </p:sp>
      <p:sp>
        <p:nvSpPr>
          <p:cNvPr id="19" name="Text Placeholder 7">
            <a:extLst>
              <a:ext uri="{FF2B5EF4-FFF2-40B4-BE49-F238E27FC236}">
                <a16:creationId xmlns:a16="http://schemas.microsoft.com/office/drawing/2014/main" id="{CDB6E2D2-C773-BAC9-9B73-82D96AD4D10E}"/>
              </a:ext>
            </a:extLst>
          </p:cNvPr>
          <p:cNvSpPr>
            <a:spLocks noGrp="1"/>
          </p:cNvSpPr>
          <p:nvPr>
            <p:ph type="body" sz="quarter" idx="27" hasCustomPrompt="1"/>
          </p:nvPr>
        </p:nvSpPr>
        <p:spPr>
          <a:xfrm>
            <a:off x="749808" y="5541479"/>
            <a:ext cx="4485132" cy="349250"/>
          </a:xfrm>
        </p:spPr>
        <p:txBody>
          <a:bodyPr>
            <a:noAutofit/>
          </a:bodyPr>
          <a:lstStyle>
            <a:lvl1pPr>
              <a:defRPr sz="1600"/>
            </a:lvl1pPr>
          </a:lstStyle>
          <a:p>
            <a:pPr lvl="0"/>
            <a:r>
              <a:rPr lang="en-US"/>
              <a:t>Topic name</a:t>
            </a:r>
          </a:p>
        </p:txBody>
      </p:sp>
      <p:sp>
        <p:nvSpPr>
          <p:cNvPr id="20" name="Text Placeholder 7">
            <a:extLst>
              <a:ext uri="{FF2B5EF4-FFF2-40B4-BE49-F238E27FC236}">
                <a16:creationId xmlns:a16="http://schemas.microsoft.com/office/drawing/2014/main" id="{D2F4AE02-2639-124D-374E-37A5808EC573}"/>
              </a:ext>
            </a:extLst>
          </p:cNvPr>
          <p:cNvSpPr>
            <a:spLocks noGrp="1"/>
          </p:cNvSpPr>
          <p:nvPr>
            <p:ph type="body" sz="quarter" idx="28" hasCustomPrompt="1"/>
          </p:nvPr>
        </p:nvSpPr>
        <p:spPr>
          <a:xfrm>
            <a:off x="5562600" y="2198053"/>
            <a:ext cx="386079" cy="349250"/>
          </a:xfrm>
        </p:spPr>
        <p:txBody>
          <a:bodyPr>
            <a:noAutofit/>
          </a:bodyPr>
          <a:lstStyle>
            <a:lvl1pPr algn="r">
              <a:defRPr sz="1600"/>
            </a:lvl1pPr>
          </a:lstStyle>
          <a:p>
            <a:pPr lvl="0"/>
            <a:r>
              <a:rPr lang="en-US"/>
              <a:t>00</a:t>
            </a:r>
          </a:p>
        </p:txBody>
      </p:sp>
      <p:sp>
        <p:nvSpPr>
          <p:cNvPr id="21" name="Text Placeholder 7">
            <a:extLst>
              <a:ext uri="{FF2B5EF4-FFF2-40B4-BE49-F238E27FC236}">
                <a16:creationId xmlns:a16="http://schemas.microsoft.com/office/drawing/2014/main" id="{83B3E7B2-969E-0FBC-C536-C21567270A2F}"/>
              </a:ext>
            </a:extLst>
          </p:cNvPr>
          <p:cNvSpPr>
            <a:spLocks noGrp="1"/>
          </p:cNvSpPr>
          <p:nvPr>
            <p:ph type="body" sz="quarter" idx="29" hasCustomPrompt="1"/>
          </p:nvPr>
        </p:nvSpPr>
        <p:spPr>
          <a:xfrm>
            <a:off x="5562600" y="2675705"/>
            <a:ext cx="386079" cy="349250"/>
          </a:xfrm>
        </p:spPr>
        <p:txBody>
          <a:bodyPr>
            <a:noAutofit/>
          </a:bodyPr>
          <a:lstStyle>
            <a:lvl1pPr algn="r">
              <a:defRPr sz="1600"/>
            </a:lvl1pPr>
          </a:lstStyle>
          <a:p>
            <a:pPr lvl="0"/>
            <a:r>
              <a:rPr lang="en-US"/>
              <a:t>00</a:t>
            </a:r>
          </a:p>
        </p:txBody>
      </p:sp>
      <p:sp>
        <p:nvSpPr>
          <p:cNvPr id="22" name="Text Placeholder 7">
            <a:extLst>
              <a:ext uri="{FF2B5EF4-FFF2-40B4-BE49-F238E27FC236}">
                <a16:creationId xmlns:a16="http://schemas.microsoft.com/office/drawing/2014/main" id="{7264CF90-E306-FDD8-41AD-3A64F5A8A520}"/>
              </a:ext>
            </a:extLst>
          </p:cNvPr>
          <p:cNvSpPr>
            <a:spLocks noGrp="1"/>
          </p:cNvSpPr>
          <p:nvPr>
            <p:ph type="body" sz="quarter" idx="30" hasCustomPrompt="1"/>
          </p:nvPr>
        </p:nvSpPr>
        <p:spPr>
          <a:xfrm>
            <a:off x="5562600" y="3153357"/>
            <a:ext cx="386079" cy="349250"/>
          </a:xfrm>
        </p:spPr>
        <p:txBody>
          <a:bodyPr>
            <a:noAutofit/>
          </a:bodyPr>
          <a:lstStyle>
            <a:lvl1pPr algn="r">
              <a:defRPr sz="1600"/>
            </a:lvl1pPr>
          </a:lstStyle>
          <a:p>
            <a:pPr lvl="0"/>
            <a:r>
              <a:rPr lang="en-US"/>
              <a:t>00</a:t>
            </a:r>
          </a:p>
        </p:txBody>
      </p:sp>
      <p:sp>
        <p:nvSpPr>
          <p:cNvPr id="23" name="Text Placeholder 7">
            <a:extLst>
              <a:ext uri="{FF2B5EF4-FFF2-40B4-BE49-F238E27FC236}">
                <a16:creationId xmlns:a16="http://schemas.microsoft.com/office/drawing/2014/main" id="{0E261DD9-B9CD-8A0C-93D6-32BC3F216DC7}"/>
              </a:ext>
            </a:extLst>
          </p:cNvPr>
          <p:cNvSpPr>
            <a:spLocks noGrp="1"/>
          </p:cNvSpPr>
          <p:nvPr>
            <p:ph type="body" sz="quarter" idx="31" hasCustomPrompt="1"/>
          </p:nvPr>
        </p:nvSpPr>
        <p:spPr>
          <a:xfrm>
            <a:off x="5562600" y="3631009"/>
            <a:ext cx="386079" cy="349250"/>
          </a:xfrm>
        </p:spPr>
        <p:txBody>
          <a:bodyPr>
            <a:noAutofit/>
          </a:bodyPr>
          <a:lstStyle>
            <a:lvl1pPr algn="r">
              <a:defRPr sz="1600"/>
            </a:lvl1pPr>
          </a:lstStyle>
          <a:p>
            <a:pPr lvl="0"/>
            <a:r>
              <a:rPr lang="en-US"/>
              <a:t>00</a:t>
            </a:r>
          </a:p>
        </p:txBody>
      </p:sp>
      <p:sp>
        <p:nvSpPr>
          <p:cNvPr id="24" name="Text Placeholder 7">
            <a:extLst>
              <a:ext uri="{FF2B5EF4-FFF2-40B4-BE49-F238E27FC236}">
                <a16:creationId xmlns:a16="http://schemas.microsoft.com/office/drawing/2014/main" id="{91897430-AD30-8217-BF29-76609DE1BF5D}"/>
              </a:ext>
            </a:extLst>
          </p:cNvPr>
          <p:cNvSpPr>
            <a:spLocks noGrp="1"/>
          </p:cNvSpPr>
          <p:nvPr>
            <p:ph type="body" sz="quarter" idx="32" hasCustomPrompt="1"/>
          </p:nvPr>
        </p:nvSpPr>
        <p:spPr>
          <a:xfrm>
            <a:off x="5562600" y="4108523"/>
            <a:ext cx="386079" cy="349250"/>
          </a:xfrm>
        </p:spPr>
        <p:txBody>
          <a:bodyPr>
            <a:noAutofit/>
          </a:bodyPr>
          <a:lstStyle>
            <a:lvl1pPr algn="r">
              <a:defRPr sz="1600"/>
            </a:lvl1pPr>
          </a:lstStyle>
          <a:p>
            <a:pPr lvl="0"/>
            <a:r>
              <a:rPr lang="en-US"/>
              <a:t>00</a:t>
            </a:r>
          </a:p>
        </p:txBody>
      </p:sp>
      <p:sp>
        <p:nvSpPr>
          <p:cNvPr id="25" name="Text Placeholder 7">
            <a:extLst>
              <a:ext uri="{FF2B5EF4-FFF2-40B4-BE49-F238E27FC236}">
                <a16:creationId xmlns:a16="http://schemas.microsoft.com/office/drawing/2014/main" id="{C154370D-A4F9-05EB-D1B1-4B90D6484677}"/>
              </a:ext>
            </a:extLst>
          </p:cNvPr>
          <p:cNvSpPr>
            <a:spLocks noGrp="1"/>
          </p:cNvSpPr>
          <p:nvPr>
            <p:ph type="body" sz="quarter" idx="33" hasCustomPrompt="1"/>
          </p:nvPr>
        </p:nvSpPr>
        <p:spPr>
          <a:xfrm>
            <a:off x="5562600" y="4586175"/>
            <a:ext cx="386079" cy="349250"/>
          </a:xfrm>
        </p:spPr>
        <p:txBody>
          <a:bodyPr>
            <a:noAutofit/>
          </a:bodyPr>
          <a:lstStyle>
            <a:lvl1pPr algn="r">
              <a:defRPr sz="1600"/>
            </a:lvl1pPr>
          </a:lstStyle>
          <a:p>
            <a:pPr lvl="0"/>
            <a:r>
              <a:rPr lang="en-US"/>
              <a:t>00</a:t>
            </a:r>
          </a:p>
        </p:txBody>
      </p:sp>
      <p:sp>
        <p:nvSpPr>
          <p:cNvPr id="26" name="Text Placeholder 7">
            <a:extLst>
              <a:ext uri="{FF2B5EF4-FFF2-40B4-BE49-F238E27FC236}">
                <a16:creationId xmlns:a16="http://schemas.microsoft.com/office/drawing/2014/main" id="{FD69A9A8-308F-E94F-B9B9-0EE766678012}"/>
              </a:ext>
            </a:extLst>
          </p:cNvPr>
          <p:cNvSpPr>
            <a:spLocks noGrp="1"/>
          </p:cNvSpPr>
          <p:nvPr>
            <p:ph type="body" sz="quarter" idx="34" hasCustomPrompt="1"/>
          </p:nvPr>
        </p:nvSpPr>
        <p:spPr>
          <a:xfrm>
            <a:off x="5562600" y="5063827"/>
            <a:ext cx="386079" cy="349250"/>
          </a:xfrm>
        </p:spPr>
        <p:txBody>
          <a:bodyPr>
            <a:noAutofit/>
          </a:bodyPr>
          <a:lstStyle>
            <a:lvl1pPr algn="r">
              <a:defRPr sz="1600"/>
            </a:lvl1pPr>
          </a:lstStyle>
          <a:p>
            <a:pPr lvl="0"/>
            <a:r>
              <a:rPr lang="en-US"/>
              <a:t>00</a:t>
            </a:r>
          </a:p>
        </p:txBody>
      </p:sp>
      <p:sp>
        <p:nvSpPr>
          <p:cNvPr id="27" name="Text Placeholder 7">
            <a:extLst>
              <a:ext uri="{FF2B5EF4-FFF2-40B4-BE49-F238E27FC236}">
                <a16:creationId xmlns:a16="http://schemas.microsoft.com/office/drawing/2014/main" id="{EE107922-B9C4-7B43-BC9F-3197F9336B58}"/>
              </a:ext>
            </a:extLst>
          </p:cNvPr>
          <p:cNvSpPr>
            <a:spLocks noGrp="1"/>
          </p:cNvSpPr>
          <p:nvPr>
            <p:ph type="body" sz="quarter" idx="35" hasCustomPrompt="1"/>
          </p:nvPr>
        </p:nvSpPr>
        <p:spPr>
          <a:xfrm>
            <a:off x="5562600" y="5541479"/>
            <a:ext cx="386079" cy="349250"/>
          </a:xfrm>
        </p:spPr>
        <p:txBody>
          <a:bodyPr>
            <a:noAutofit/>
          </a:bodyPr>
          <a:lstStyle>
            <a:lvl1pPr algn="r">
              <a:defRPr sz="1600"/>
            </a:lvl1pPr>
          </a:lstStyle>
          <a:p>
            <a:pPr lvl="0"/>
            <a:r>
              <a:rPr lang="en-US"/>
              <a:t>00</a:t>
            </a:r>
          </a:p>
        </p:txBody>
      </p:sp>
      <p:cxnSp>
        <p:nvCxnSpPr>
          <p:cNvPr id="28" name="Straight Connector 27">
            <a:extLst>
              <a:ext uri="{FF2B5EF4-FFF2-40B4-BE49-F238E27FC236}">
                <a16:creationId xmlns:a16="http://schemas.microsoft.com/office/drawing/2014/main" id="{6BD630D2-2057-F944-6AB9-25D424B4590A}"/>
              </a:ext>
            </a:extLst>
          </p:cNvPr>
          <p:cNvCxnSpPr/>
          <p:nvPr userDrawn="1"/>
        </p:nvCxnSpPr>
        <p:spPr>
          <a:xfrm>
            <a:off x="609600" y="2081019"/>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75171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genda + Icon Image">
    <p:bg>
      <p:bgPr>
        <a:solidFill>
          <a:srgbClr val="F3F3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4B2B4B-82F9-1536-578C-43BD5CE8AFCF}"/>
              </a:ext>
            </a:extLst>
          </p:cNvPr>
          <p:cNvGraphicFramePr>
            <a:graphicFrameLocks noChangeAspect="1"/>
          </p:cNvGraphicFramePr>
          <p:nvPr>
            <p:custDataLst>
              <p:tags r:id="rId1"/>
            </p:custDataLst>
            <p:extLst>
              <p:ext uri="{D42A27DB-BD31-4B8C-83A1-F6EECF244321}">
                <p14:modId xmlns:p14="http://schemas.microsoft.com/office/powerpoint/2010/main" val="169363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E24B2B4B-82F9-1536-578C-43BD5CE8A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itle 44">
            <a:extLst>
              <a:ext uri="{FF2B5EF4-FFF2-40B4-BE49-F238E27FC236}">
                <a16:creationId xmlns:a16="http://schemas.microsoft.com/office/drawing/2014/main" id="{8C8DBED3-A629-FC99-1B8F-BE074A307F8C}"/>
              </a:ext>
            </a:extLst>
          </p:cNvPr>
          <p:cNvSpPr>
            <a:spLocks noGrp="1"/>
          </p:cNvSpPr>
          <p:nvPr>
            <p:ph type="title" hasCustomPrompt="1"/>
          </p:nvPr>
        </p:nvSpPr>
        <p:spPr>
          <a:xfrm>
            <a:off x="609600" y="800754"/>
            <a:ext cx="5486400" cy="553998"/>
          </a:xfrm>
        </p:spPr>
        <p:txBody>
          <a:bodyPr vert="horz"/>
          <a:lstStyle>
            <a:lvl1pPr>
              <a:defRPr/>
            </a:lvl1pPr>
          </a:lstStyle>
          <a:p>
            <a:r>
              <a:rPr lang="en-US"/>
              <a:t>Agenda</a:t>
            </a:r>
          </a:p>
        </p:txBody>
      </p:sp>
      <p:sp>
        <p:nvSpPr>
          <p:cNvPr id="51" name="Footer Placeholder 50">
            <a:extLst>
              <a:ext uri="{FF2B5EF4-FFF2-40B4-BE49-F238E27FC236}">
                <a16:creationId xmlns:a16="http://schemas.microsoft.com/office/drawing/2014/main" id="{E6307089-0337-1E41-2413-B773C7DDA356}"/>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5 Guidehouse Inc.</a:t>
            </a:r>
          </a:p>
        </p:txBody>
      </p:sp>
      <p:sp>
        <p:nvSpPr>
          <p:cNvPr id="53" name="Text Placeholder 7">
            <a:extLst>
              <a:ext uri="{FF2B5EF4-FFF2-40B4-BE49-F238E27FC236}">
                <a16:creationId xmlns:a16="http://schemas.microsoft.com/office/drawing/2014/main" id="{835ECE48-5FE3-A1E7-D32C-C2F6ADBC4A87}"/>
              </a:ext>
            </a:extLst>
          </p:cNvPr>
          <p:cNvSpPr>
            <a:spLocks noGrp="1"/>
          </p:cNvSpPr>
          <p:nvPr>
            <p:ph type="body" sz="quarter" idx="1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7FA0D2-F8F7-895F-2FBF-67E102F5B1D5}"/>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BC655C-7979-A16B-0182-2803B04DF645}"/>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4" name="Picture Placeholder 43">
            <a:extLst>
              <a:ext uri="{FF2B5EF4-FFF2-40B4-BE49-F238E27FC236}">
                <a16:creationId xmlns:a16="http://schemas.microsoft.com/office/drawing/2014/main" id="{6C44CEA0-0F17-2C8E-18CE-EE665ED83B11}"/>
              </a:ext>
            </a:extLst>
          </p:cNvPr>
          <p:cNvSpPr>
            <a:spLocks noGrp="1"/>
          </p:cNvSpPr>
          <p:nvPr>
            <p:ph type="pic" sz="quarter" idx="18" hasCustomPrompt="1"/>
          </p:nvPr>
        </p:nvSpPr>
        <p:spPr>
          <a:xfrm>
            <a:off x="2" y="1600199"/>
            <a:ext cx="12191999" cy="3038475"/>
          </a:xfrm>
          <a:custGeom>
            <a:avLst/>
            <a:gdLst>
              <a:gd name="connsiteX0" fmla="*/ 0 w 12191999"/>
              <a:gd name="connsiteY0" fmla="*/ 0 h 3038475"/>
              <a:gd name="connsiteX1" fmla="*/ 9337309 w 12191999"/>
              <a:gd name="connsiteY1" fmla="*/ 0 h 3038475"/>
              <a:gd name="connsiteX2" fmla="*/ 9356682 w 12191999"/>
              <a:gd name="connsiteY2" fmla="*/ 95991 h 3038475"/>
              <a:gd name="connsiteX3" fmla="*/ 9618924 w 12191999"/>
              <a:gd name="connsiteY3" fmla="*/ 269803 h 3038475"/>
              <a:gd name="connsiteX4" fmla="*/ 9881167 w 12191999"/>
              <a:gd name="connsiteY4" fmla="*/ 95991 h 3038475"/>
              <a:gd name="connsiteX5" fmla="*/ 9900540 w 12191999"/>
              <a:gd name="connsiteY5" fmla="*/ 0 h 3038475"/>
              <a:gd name="connsiteX6" fmla="*/ 10157523 w 12191999"/>
              <a:gd name="connsiteY6" fmla="*/ 0 h 3038475"/>
              <a:gd name="connsiteX7" fmla="*/ 10177034 w 12191999"/>
              <a:gd name="connsiteY7" fmla="*/ 96672 h 3038475"/>
              <a:gd name="connsiteX8" fmla="*/ 10439283 w 12191999"/>
              <a:gd name="connsiteY8" fmla="*/ 270481 h 3038475"/>
              <a:gd name="connsiteX9" fmla="*/ 10701530 w 12191999"/>
              <a:gd name="connsiteY9" fmla="*/ 96672 h 3038475"/>
              <a:gd name="connsiteX10" fmla="*/ 10721041 w 12191999"/>
              <a:gd name="connsiteY10" fmla="*/ 0 h 3038475"/>
              <a:gd name="connsiteX11" fmla="*/ 10975649 w 12191999"/>
              <a:gd name="connsiteY11" fmla="*/ 0 h 3038475"/>
              <a:gd name="connsiteX12" fmla="*/ 10995160 w 12191999"/>
              <a:gd name="connsiteY12" fmla="*/ 96673 h 3038475"/>
              <a:gd name="connsiteX13" fmla="*/ 11257407 w 12191999"/>
              <a:gd name="connsiteY13" fmla="*/ 270482 h 3038475"/>
              <a:gd name="connsiteX14" fmla="*/ 11519656 w 12191999"/>
              <a:gd name="connsiteY14" fmla="*/ 96673 h 3038475"/>
              <a:gd name="connsiteX15" fmla="*/ 11539167 w 12191999"/>
              <a:gd name="connsiteY15" fmla="*/ 0 h 3038475"/>
              <a:gd name="connsiteX16" fmla="*/ 12191999 w 12191999"/>
              <a:gd name="connsiteY16" fmla="*/ 0 h 3038475"/>
              <a:gd name="connsiteX17" fmla="*/ 12191999 w 12191999"/>
              <a:gd name="connsiteY17" fmla="*/ 3038475 h 3038475"/>
              <a:gd name="connsiteX18" fmla="*/ 0 w 12191999"/>
              <a:gd name="connsiteY18" fmla="*/ 3038475 h 303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1999" h="3038475">
                <a:moveTo>
                  <a:pt x="0" y="0"/>
                </a:moveTo>
                <a:lnTo>
                  <a:pt x="9337309" y="0"/>
                </a:lnTo>
                <a:lnTo>
                  <a:pt x="9356682" y="95991"/>
                </a:lnTo>
                <a:cubicBezTo>
                  <a:pt x="9399879" y="198146"/>
                  <a:pt x="9501013" y="269803"/>
                  <a:pt x="9618924" y="269803"/>
                </a:cubicBezTo>
                <a:cubicBezTo>
                  <a:pt x="9736835" y="269803"/>
                  <a:pt x="9837969" y="198146"/>
                  <a:pt x="9881167" y="95991"/>
                </a:cubicBezTo>
                <a:lnTo>
                  <a:pt x="9900540" y="0"/>
                </a:lnTo>
                <a:lnTo>
                  <a:pt x="10157523" y="0"/>
                </a:lnTo>
                <a:lnTo>
                  <a:pt x="10177034" y="96672"/>
                </a:lnTo>
                <a:cubicBezTo>
                  <a:pt x="10220233" y="198825"/>
                  <a:pt x="10321369" y="270481"/>
                  <a:pt x="10439283" y="270481"/>
                </a:cubicBezTo>
                <a:cubicBezTo>
                  <a:pt x="10557197" y="270481"/>
                  <a:pt x="10658332" y="198825"/>
                  <a:pt x="10701530" y="96672"/>
                </a:cubicBezTo>
                <a:lnTo>
                  <a:pt x="10721041" y="0"/>
                </a:lnTo>
                <a:lnTo>
                  <a:pt x="10975649" y="0"/>
                </a:lnTo>
                <a:lnTo>
                  <a:pt x="10995160" y="96673"/>
                </a:lnTo>
                <a:cubicBezTo>
                  <a:pt x="11038358" y="198826"/>
                  <a:pt x="11139494" y="270482"/>
                  <a:pt x="11257407" y="270482"/>
                </a:cubicBezTo>
                <a:cubicBezTo>
                  <a:pt x="11375320" y="270482"/>
                  <a:pt x="11476457" y="198826"/>
                  <a:pt x="11519656" y="96673"/>
                </a:cubicBezTo>
                <a:lnTo>
                  <a:pt x="11539167" y="0"/>
                </a:lnTo>
                <a:lnTo>
                  <a:pt x="12191999" y="0"/>
                </a:lnTo>
                <a:lnTo>
                  <a:pt x="12191999" y="3038475"/>
                </a:lnTo>
                <a:lnTo>
                  <a:pt x="0" y="3038475"/>
                </a:lnTo>
                <a:close/>
              </a:path>
            </a:pathLst>
          </a:custGeom>
          <a:solidFill>
            <a:schemeClr val="bg1">
              <a:lumMod val="75000"/>
            </a:schemeClr>
          </a:solidFill>
        </p:spPr>
        <p:txBody>
          <a:bodyPr wrap="square" anchor="ctr">
            <a:noAutofit/>
          </a:bodyPr>
          <a:lstStyle>
            <a:lvl1pPr algn="ctr">
              <a:defRPr sz="1000" b="0"/>
            </a:lvl1pPr>
          </a:lstStyle>
          <a:p>
            <a:r>
              <a:rPr lang="en-US" dirty="0"/>
              <a:t>Insert Photo</a:t>
            </a:r>
          </a:p>
        </p:txBody>
      </p:sp>
      <p:graphicFrame>
        <p:nvGraphicFramePr>
          <p:cNvPr id="3" name="think-cell data - do not delete" hidden="1">
            <a:extLst>
              <a:ext uri="{FF2B5EF4-FFF2-40B4-BE49-F238E27FC236}">
                <a16:creationId xmlns:a16="http://schemas.microsoft.com/office/drawing/2014/main" id="{8E62D234-D5FD-48E0-D01F-6175CB455F70}"/>
              </a:ext>
            </a:extLst>
          </p:cNvPr>
          <p:cNvGraphicFramePr>
            <a:graphicFrameLocks noChangeAspect="1"/>
          </p:cNvGraphicFramePr>
          <p:nvPr userDrawn="1">
            <p:custDataLst>
              <p:tags r:id="rId2"/>
            </p:custDataLst>
            <p:extLst>
              <p:ext uri="{D42A27DB-BD31-4B8C-83A1-F6EECF244321}">
                <p14:modId xmlns:p14="http://schemas.microsoft.com/office/powerpoint/2010/main" val="169363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think-cell data - do not delete" hidden="1">
                        <a:extLst>
                          <a:ext uri="{FF2B5EF4-FFF2-40B4-BE49-F238E27FC236}">
                            <a16:creationId xmlns:a16="http://schemas.microsoft.com/office/drawing/2014/main" id="{8E62D234-D5FD-48E0-D01F-6175CB455F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3B0381F1-E3BA-89CB-8B69-00C507D035B7}"/>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E1B46AC-808C-5D43-EA1B-15963FBCA79E}"/>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24">
            <a:extLst>
              <a:ext uri="{FF2B5EF4-FFF2-40B4-BE49-F238E27FC236}">
                <a16:creationId xmlns:a16="http://schemas.microsoft.com/office/drawing/2014/main" id="{CE4D3010-E8F4-6ECE-FC85-E5C43829DD42}"/>
              </a:ext>
            </a:extLst>
          </p:cNvPr>
          <p:cNvSpPr>
            <a:spLocks noGrp="1"/>
          </p:cNvSpPr>
          <p:nvPr>
            <p:ph type="body" sz="quarter" idx="29"/>
          </p:nvPr>
        </p:nvSpPr>
        <p:spPr>
          <a:xfrm>
            <a:off x="609599"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8" name="Text Placeholder 26">
            <a:extLst>
              <a:ext uri="{FF2B5EF4-FFF2-40B4-BE49-F238E27FC236}">
                <a16:creationId xmlns:a16="http://schemas.microsoft.com/office/drawing/2014/main" id="{D3BAA845-643F-89D1-F332-B3E022656A10}"/>
              </a:ext>
            </a:extLst>
          </p:cNvPr>
          <p:cNvSpPr>
            <a:spLocks noGrp="1"/>
          </p:cNvSpPr>
          <p:nvPr>
            <p:ph type="body" sz="quarter" idx="37" hasCustomPrompt="1"/>
          </p:nvPr>
        </p:nvSpPr>
        <p:spPr>
          <a:xfrm>
            <a:off x="609600"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15" name="Text Placeholder 24">
            <a:extLst>
              <a:ext uri="{FF2B5EF4-FFF2-40B4-BE49-F238E27FC236}">
                <a16:creationId xmlns:a16="http://schemas.microsoft.com/office/drawing/2014/main" id="{DCEFF89C-78B8-ADF9-24ED-AEA05D3EC470}"/>
              </a:ext>
            </a:extLst>
          </p:cNvPr>
          <p:cNvSpPr>
            <a:spLocks noGrp="1"/>
          </p:cNvSpPr>
          <p:nvPr>
            <p:ph type="body" sz="quarter" idx="38"/>
          </p:nvPr>
        </p:nvSpPr>
        <p:spPr>
          <a:xfrm>
            <a:off x="3484244"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16" name="Text Placeholder 26">
            <a:extLst>
              <a:ext uri="{FF2B5EF4-FFF2-40B4-BE49-F238E27FC236}">
                <a16:creationId xmlns:a16="http://schemas.microsoft.com/office/drawing/2014/main" id="{D8446354-7DF9-CD63-06FD-34CC052BDF48}"/>
              </a:ext>
            </a:extLst>
          </p:cNvPr>
          <p:cNvSpPr>
            <a:spLocks noGrp="1"/>
          </p:cNvSpPr>
          <p:nvPr>
            <p:ph type="body" sz="quarter" idx="39" hasCustomPrompt="1"/>
          </p:nvPr>
        </p:nvSpPr>
        <p:spPr>
          <a:xfrm>
            <a:off x="3484244"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19" name="Text Placeholder 24">
            <a:extLst>
              <a:ext uri="{FF2B5EF4-FFF2-40B4-BE49-F238E27FC236}">
                <a16:creationId xmlns:a16="http://schemas.microsoft.com/office/drawing/2014/main" id="{A705EFF2-4847-92E0-5295-3C574E55E1DF}"/>
              </a:ext>
            </a:extLst>
          </p:cNvPr>
          <p:cNvSpPr>
            <a:spLocks noGrp="1"/>
          </p:cNvSpPr>
          <p:nvPr>
            <p:ph type="body" sz="quarter" idx="40"/>
          </p:nvPr>
        </p:nvSpPr>
        <p:spPr>
          <a:xfrm>
            <a:off x="6358889"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20" name="Text Placeholder 26">
            <a:extLst>
              <a:ext uri="{FF2B5EF4-FFF2-40B4-BE49-F238E27FC236}">
                <a16:creationId xmlns:a16="http://schemas.microsoft.com/office/drawing/2014/main" id="{AC7CA245-18EA-597A-82E5-BA3812A8DE29}"/>
              </a:ext>
            </a:extLst>
          </p:cNvPr>
          <p:cNvSpPr>
            <a:spLocks noGrp="1"/>
          </p:cNvSpPr>
          <p:nvPr>
            <p:ph type="body" sz="quarter" idx="41" hasCustomPrompt="1"/>
          </p:nvPr>
        </p:nvSpPr>
        <p:spPr>
          <a:xfrm>
            <a:off x="6358889"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23" name="Text Placeholder 24">
            <a:extLst>
              <a:ext uri="{FF2B5EF4-FFF2-40B4-BE49-F238E27FC236}">
                <a16:creationId xmlns:a16="http://schemas.microsoft.com/office/drawing/2014/main" id="{924E5149-F5C8-EA54-727E-B8B68A5FE9F7}"/>
              </a:ext>
            </a:extLst>
          </p:cNvPr>
          <p:cNvSpPr>
            <a:spLocks noGrp="1"/>
          </p:cNvSpPr>
          <p:nvPr>
            <p:ph type="body" sz="quarter" idx="42"/>
          </p:nvPr>
        </p:nvSpPr>
        <p:spPr>
          <a:xfrm>
            <a:off x="9233535"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24" name="Text Placeholder 26">
            <a:extLst>
              <a:ext uri="{FF2B5EF4-FFF2-40B4-BE49-F238E27FC236}">
                <a16:creationId xmlns:a16="http://schemas.microsoft.com/office/drawing/2014/main" id="{3489A859-38FC-693E-A6ED-DA783AAA67BC}"/>
              </a:ext>
            </a:extLst>
          </p:cNvPr>
          <p:cNvSpPr>
            <a:spLocks noGrp="1"/>
          </p:cNvSpPr>
          <p:nvPr>
            <p:ph type="body" sz="quarter" idx="43" hasCustomPrompt="1"/>
          </p:nvPr>
        </p:nvSpPr>
        <p:spPr>
          <a:xfrm>
            <a:off x="9233535"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29" name="Date Placeholder 49">
            <a:extLst>
              <a:ext uri="{FF2B5EF4-FFF2-40B4-BE49-F238E27FC236}">
                <a16:creationId xmlns:a16="http://schemas.microsoft.com/office/drawing/2014/main" id="{B060A5B5-C6DF-5D69-2D87-90F40677BABD}"/>
              </a:ext>
            </a:extLst>
          </p:cNvPr>
          <p:cNvSpPr>
            <a:spLocks noGrp="1"/>
          </p:cNvSpPr>
          <p:nvPr>
            <p:ph type="dt" sz="half" idx="44"/>
          </p:nvPr>
        </p:nvSpPr>
        <p:spPr>
          <a:xfrm>
            <a:off x="10236555" y="139419"/>
            <a:ext cx="1345845" cy="153888"/>
          </a:xfrm>
        </p:spPr>
        <p:txBody>
          <a:bodyPr>
            <a:noAutofit/>
          </a:bodyPr>
          <a:lstStyle>
            <a:lvl1pPr>
              <a:defRPr>
                <a:solidFill>
                  <a:schemeClr val="tx1">
                    <a:lumMod val="75000"/>
                    <a:lumOff val="25000"/>
                  </a:schemeClr>
                </a:solidFill>
              </a:defRPr>
            </a:lvl1pPr>
          </a:lstStyle>
          <a:p>
            <a:fld id="{8EC7FE3E-E251-492A-8A26-609F7661DDA5}" type="datetime4">
              <a:rPr lang="en-US" smtClean="0"/>
              <a:t>May 17, 2025</a:t>
            </a:fld>
            <a:endParaRPr lang="en-US" dirty="0"/>
          </a:p>
        </p:txBody>
      </p:sp>
      <p:sp>
        <p:nvSpPr>
          <p:cNvPr id="30" name="Slide Number Placeholder 5">
            <a:extLst>
              <a:ext uri="{FF2B5EF4-FFF2-40B4-BE49-F238E27FC236}">
                <a16:creationId xmlns:a16="http://schemas.microsoft.com/office/drawing/2014/main" id="{41599AF1-5158-10CB-A04F-6F714A9AF221}"/>
              </a:ext>
            </a:extLst>
          </p:cNvPr>
          <p:cNvSpPr>
            <a:spLocks noGrp="1"/>
          </p:cNvSpPr>
          <p:nvPr>
            <p:ph type="sldNum" sz="quarter" idx="12"/>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grpSp>
        <p:nvGrpSpPr>
          <p:cNvPr id="249" name="Group 248">
            <a:extLst>
              <a:ext uri="{FF2B5EF4-FFF2-40B4-BE49-F238E27FC236}">
                <a16:creationId xmlns:a16="http://schemas.microsoft.com/office/drawing/2014/main" id="{B87E5EE8-0F60-7D2F-48BC-101064EE28B1}"/>
              </a:ext>
            </a:extLst>
          </p:cNvPr>
          <p:cNvGrpSpPr>
            <a:grpSpLocks/>
          </p:cNvGrpSpPr>
          <p:nvPr userDrawn="1"/>
        </p:nvGrpSpPr>
        <p:grpSpPr>
          <a:xfrm>
            <a:off x="9335262" y="1312230"/>
            <a:ext cx="2209250" cy="569889"/>
            <a:chOff x="9334317" y="1300791"/>
            <a:chExt cx="2209250" cy="569889"/>
          </a:xfrm>
        </p:grpSpPr>
        <p:grpSp>
          <p:nvGrpSpPr>
            <p:cNvPr id="180" name="Graphic 62">
              <a:extLst>
                <a:ext uri="{FF2B5EF4-FFF2-40B4-BE49-F238E27FC236}">
                  <a16:creationId xmlns:a16="http://schemas.microsoft.com/office/drawing/2014/main" id="{2D0F0C4B-399D-E541-384A-E31D942F452D}"/>
                </a:ext>
              </a:extLst>
            </p:cNvPr>
            <p:cNvGrpSpPr>
              <a:grpSpLocks/>
            </p:cNvGrpSpPr>
            <p:nvPr/>
          </p:nvGrpSpPr>
          <p:grpSpPr>
            <a:xfrm rot="5400000">
              <a:off x="9334323" y="1300785"/>
              <a:ext cx="569206" cy="569218"/>
              <a:chOff x="10101437" y="6590521"/>
              <a:chExt cx="569206" cy="569218"/>
            </a:xfrm>
          </p:grpSpPr>
          <p:sp>
            <p:nvSpPr>
              <p:cNvPr id="181" name="Freeform: Shape 180">
                <a:extLst>
                  <a:ext uri="{FF2B5EF4-FFF2-40B4-BE49-F238E27FC236}">
                    <a16:creationId xmlns:a16="http://schemas.microsoft.com/office/drawing/2014/main" id="{43F08049-ADFC-4339-6C3C-50CFA503894E}"/>
                  </a:ext>
                </a:extLst>
              </p:cNvPr>
              <p:cNvSpPr>
                <a:spLocks/>
              </p:cNvSpPr>
              <p:nvPr/>
            </p:nvSpPr>
            <p:spPr>
              <a:xfrm>
                <a:off x="10101437" y="6590521"/>
                <a:ext cx="569206" cy="284609"/>
              </a:xfrm>
              <a:custGeom>
                <a:avLst/>
                <a:gdLst>
                  <a:gd name="connsiteX0" fmla="*/ 0 w 569206"/>
                  <a:gd name="connsiteY0" fmla="*/ 284609 h 284609"/>
                  <a:gd name="connsiteX1" fmla="*/ 284603 w 569206"/>
                  <a:gd name="connsiteY1" fmla="*/ 0 h 284609"/>
                  <a:gd name="connsiteX2" fmla="*/ 569207 w 569206"/>
                  <a:gd name="connsiteY2" fmla="*/ 284609 h 284609"/>
                  <a:gd name="connsiteX3" fmla="*/ 0 w 569206"/>
                  <a:gd name="connsiteY3" fmla="*/ 284609 h 284609"/>
                </a:gdLst>
                <a:ahLst/>
                <a:cxnLst>
                  <a:cxn ang="0">
                    <a:pos x="connsiteX0" y="connsiteY0"/>
                  </a:cxn>
                  <a:cxn ang="0">
                    <a:pos x="connsiteX1" y="connsiteY1"/>
                  </a:cxn>
                  <a:cxn ang="0">
                    <a:pos x="connsiteX2" y="connsiteY2"/>
                  </a:cxn>
                  <a:cxn ang="0">
                    <a:pos x="connsiteX3" y="connsiteY3"/>
                  </a:cxn>
                </a:cxnLst>
                <a:rect l="l" t="t" r="r" b="b"/>
                <a:pathLst>
                  <a:path w="569206" h="284609">
                    <a:moveTo>
                      <a:pt x="0" y="284609"/>
                    </a:moveTo>
                    <a:cubicBezTo>
                      <a:pt x="0" y="127391"/>
                      <a:pt x="127388" y="0"/>
                      <a:pt x="284603" y="0"/>
                    </a:cubicBezTo>
                    <a:cubicBezTo>
                      <a:pt x="441818" y="0"/>
                      <a:pt x="569207" y="127391"/>
                      <a:pt x="569207" y="284609"/>
                    </a:cubicBezTo>
                    <a:lnTo>
                      <a:pt x="0" y="284609"/>
                    </a:lnTo>
                    <a:close/>
                  </a:path>
                </a:pathLst>
              </a:custGeom>
              <a:solidFill>
                <a:srgbClr val="93D500"/>
              </a:solidFill>
              <a:ln w="0" cap="flat">
                <a:noFill/>
                <a:prstDash val="solid"/>
                <a:miter/>
              </a:ln>
            </p:spPr>
            <p:txBody>
              <a:bodyPr rtlCol="0" anchor="ctr"/>
              <a:lstStyle/>
              <a:p>
                <a:endParaRPr lang="en-US" dirty="0"/>
              </a:p>
            </p:txBody>
          </p:sp>
          <p:sp>
            <p:nvSpPr>
              <p:cNvPr id="182" name="Freeform: Shape 181">
                <a:extLst>
                  <a:ext uri="{FF2B5EF4-FFF2-40B4-BE49-F238E27FC236}">
                    <a16:creationId xmlns:a16="http://schemas.microsoft.com/office/drawing/2014/main" id="{620C853C-0076-DF88-1809-1B9D6272BA0E}"/>
                  </a:ext>
                </a:extLst>
              </p:cNvPr>
              <p:cNvSpPr>
                <a:spLocks/>
              </p:cNvSpPr>
              <p:nvPr/>
            </p:nvSpPr>
            <p:spPr>
              <a:xfrm>
                <a:off x="10101437" y="6875130"/>
                <a:ext cx="569206" cy="284609"/>
              </a:xfrm>
              <a:custGeom>
                <a:avLst/>
                <a:gdLst>
                  <a:gd name="connsiteX0" fmla="*/ 569207 w 569206"/>
                  <a:gd name="connsiteY0" fmla="*/ 0 h 284609"/>
                  <a:gd name="connsiteX1" fmla="*/ 284603 w 569206"/>
                  <a:gd name="connsiteY1" fmla="*/ 284609 h 284609"/>
                  <a:gd name="connsiteX2" fmla="*/ 0 w 569206"/>
                  <a:gd name="connsiteY2" fmla="*/ 0 h 284609"/>
                  <a:gd name="connsiteX3" fmla="*/ 569207 w 569206"/>
                  <a:gd name="connsiteY3" fmla="*/ 0 h 284609"/>
                </a:gdLst>
                <a:ahLst/>
                <a:cxnLst>
                  <a:cxn ang="0">
                    <a:pos x="connsiteX0" y="connsiteY0"/>
                  </a:cxn>
                  <a:cxn ang="0">
                    <a:pos x="connsiteX1" y="connsiteY1"/>
                  </a:cxn>
                  <a:cxn ang="0">
                    <a:pos x="connsiteX2" y="connsiteY2"/>
                  </a:cxn>
                  <a:cxn ang="0">
                    <a:pos x="connsiteX3" y="connsiteY3"/>
                  </a:cxn>
                </a:cxnLst>
                <a:rect l="l" t="t" r="r" b="b"/>
                <a:pathLst>
                  <a:path w="569206" h="284609">
                    <a:moveTo>
                      <a:pt x="569207" y="0"/>
                    </a:moveTo>
                    <a:cubicBezTo>
                      <a:pt x="569207" y="157218"/>
                      <a:pt x="441818" y="284609"/>
                      <a:pt x="284603" y="284609"/>
                    </a:cubicBezTo>
                    <a:cubicBezTo>
                      <a:pt x="127388" y="284609"/>
                      <a:pt x="0" y="157218"/>
                      <a:pt x="0" y="0"/>
                    </a:cubicBezTo>
                    <a:lnTo>
                      <a:pt x="569207" y="0"/>
                    </a:lnTo>
                    <a:close/>
                  </a:path>
                </a:pathLst>
              </a:custGeom>
              <a:solidFill>
                <a:srgbClr val="000000"/>
              </a:solidFill>
              <a:ln w="0" cap="flat">
                <a:noFill/>
                <a:prstDash val="solid"/>
                <a:miter/>
              </a:ln>
            </p:spPr>
            <p:txBody>
              <a:bodyPr rtlCol="0" anchor="ctr"/>
              <a:lstStyle/>
              <a:p>
                <a:endParaRPr lang="en-US" dirty="0"/>
              </a:p>
            </p:txBody>
          </p:sp>
        </p:grpSp>
        <p:grpSp>
          <p:nvGrpSpPr>
            <p:cNvPr id="183" name="Graphic 62">
              <a:extLst>
                <a:ext uri="{FF2B5EF4-FFF2-40B4-BE49-F238E27FC236}">
                  <a16:creationId xmlns:a16="http://schemas.microsoft.com/office/drawing/2014/main" id="{30C3B7C6-2CD7-73CC-419C-76B8123B9D0F}"/>
                </a:ext>
              </a:extLst>
            </p:cNvPr>
            <p:cNvGrpSpPr>
              <a:grpSpLocks/>
            </p:cNvGrpSpPr>
            <p:nvPr/>
          </p:nvGrpSpPr>
          <p:grpSpPr>
            <a:xfrm rot="5400000">
              <a:off x="10154681" y="1301468"/>
              <a:ext cx="569206" cy="569218"/>
              <a:chOff x="10102120" y="5770163"/>
              <a:chExt cx="569206" cy="569218"/>
            </a:xfrm>
          </p:grpSpPr>
          <p:sp>
            <p:nvSpPr>
              <p:cNvPr id="184" name="Freeform: Shape 183">
                <a:extLst>
                  <a:ext uri="{FF2B5EF4-FFF2-40B4-BE49-F238E27FC236}">
                    <a16:creationId xmlns:a16="http://schemas.microsoft.com/office/drawing/2014/main" id="{D7BC0D93-C77A-7CC8-E7A3-5C20CF2605C7}"/>
                  </a:ext>
                </a:extLst>
              </p:cNvPr>
              <p:cNvSpPr>
                <a:spLocks/>
              </p:cNvSpPr>
              <p:nvPr/>
            </p:nvSpPr>
            <p:spPr>
              <a:xfrm>
                <a:off x="10102120" y="5770163"/>
                <a:ext cx="284603" cy="569218"/>
              </a:xfrm>
              <a:custGeom>
                <a:avLst/>
                <a:gdLst>
                  <a:gd name="connsiteX0" fmla="*/ 284603 w 284603"/>
                  <a:gd name="connsiteY0" fmla="*/ 569218 h 569218"/>
                  <a:gd name="connsiteX1" fmla="*/ 0 w 284603"/>
                  <a:gd name="connsiteY1" fmla="*/ 284609 h 569218"/>
                  <a:gd name="connsiteX2" fmla="*/ 284603 w 284603"/>
                  <a:gd name="connsiteY2" fmla="*/ 0 h 569218"/>
                  <a:gd name="connsiteX3" fmla="*/ 284603 w 284603"/>
                  <a:gd name="connsiteY3" fmla="*/ 569218 h 569218"/>
                </a:gdLst>
                <a:ahLst/>
                <a:cxnLst>
                  <a:cxn ang="0">
                    <a:pos x="connsiteX0" y="connsiteY0"/>
                  </a:cxn>
                  <a:cxn ang="0">
                    <a:pos x="connsiteX1" y="connsiteY1"/>
                  </a:cxn>
                  <a:cxn ang="0">
                    <a:pos x="connsiteX2" y="connsiteY2"/>
                  </a:cxn>
                  <a:cxn ang="0">
                    <a:pos x="connsiteX3" y="connsiteY3"/>
                  </a:cxn>
                </a:cxnLst>
                <a:rect l="l" t="t" r="r" b="b"/>
                <a:pathLst>
                  <a:path w="284603" h="569218">
                    <a:moveTo>
                      <a:pt x="284603" y="569218"/>
                    </a:moveTo>
                    <a:cubicBezTo>
                      <a:pt x="127388" y="569218"/>
                      <a:pt x="0" y="441827"/>
                      <a:pt x="0" y="284609"/>
                    </a:cubicBezTo>
                    <a:cubicBezTo>
                      <a:pt x="0" y="127391"/>
                      <a:pt x="127388" y="0"/>
                      <a:pt x="284603" y="0"/>
                    </a:cubicBezTo>
                    <a:lnTo>
                      <a:pt x="284603" y="569218"/>
                    </a:lnTo>
                    <a:close/>
                  </a:path>
                </a:pathLst>
              </a:custGeom>
              <a:solidFill>
                <a:srgbClr val="93D500"/>
              </a:solidFill>
              <a:ln w="0" cap="flat">
                <a:noFill/>
                <a:prstDash val="solid"/>
                <a:miter/>
              </a:ln>
            </p:spPr>
            <p:txBody>
              <a:bodyPr rtlCol="0" anchor="ctr"/>
              <a:lstStyle/>
              <a:p>
                <a:endParaRPr lang="en-US" dirty="0"/>
              </a:p>
            </p:txBody>
          </p:sp>
          <p:sp>
            <p:nvSpPr>
              <p:cNvPr id="185" name="Freeform: Shape 184">
                <a:extLst>
                  <a:ext uri="{FF2B5EF4-FFF2-40B4-BE49-F238E27FC236}">
                    <a16:creationId xmlns:a16="http://schemas.microsoft.com/office/drawing/2014/main" id="{45B75FD7-BA33-7F11-2231-E6F49DE07731}"/>
                  </a:ext>
                </a:extLst>
              </p:cNvPr>
              <p:cNvSpPr>
                <a:spLocks/>
              </p:cNvSpPr>
              <p:nvPr/>
            </p:nvSpPr>
            <p:spPr>
              <a:xfrm>
                <a:off x="10386723" y="5770163"/>
                <a:ext cx="284603" cy="569218"/>
              </a:xfrm>
              <a:custGeom>
                <a:avLst/>
                <a:gdLst>
                  <a:gd name="connsiteX0" fmla="*/ 0 w 284603"/>
                  <a:gd name="connsiteY0" fmla="*/ 0 h 569218"/>
                  <a:gd name="connsiteX1" fmla="*/ 284603 w 284603"/>
                  <a:gd name="connsiteY1" fmla="*/ 284609 h 569218"/>
                  <a:gd name="connsiteX2" fmla="*/ 0 w 284603"/>
                  <a:gd name="connsiteY2" fmla="*/ 569218 h 569218"/>
                  <a:gd name="connsiteX3" fmla="*/ 0 w 284603"/>
                  <a:gd name="connsiteY3" fmla="*/ 0 h 569218"/>
                </a:gdLst>
                <a:ahLst/>
                <a:cxnLst>
                  <a:cxn ang="0">
                    <a:pos x="connsiteX0" y="connsiteY0"/>
                  </a:cxn>
                  <a:cxn ang="0">
                    <a:pos x="connsiteX1" y="connsiteY1"/>
                  </a:cxn>
                  <a:cxn ang="0">
                    <a:pos x="connsiteX2" y="connsiteY2"/>
                  </a:cxn>
                  <a:cxn ang="0">
                    <a:pos x="connsiteX3" y="connsiteY3"/>
                  </a:cxn>
                </a:cxnLst>
                <a:rect l="l" t="t" r="r" b="b"/>
                <a:pathLst>
                  <a:path w="284603" h="569218">
                    <a:moveTo>
                      <a:pt x="0" y="0"/>
                    </a:moveTo>
                    <a:cubicBezTo>
                      <a:pt x="157215" y="0"/>
                      <a:pt x="284603" y="127391"/>
                      <a:pt x="284603" y="284609"/>
                    </a:cubicBezTo>
                    <a:cubicBezTo>
                      <a:pt x="284603" y="441827"/>
                      <a:pt x="157215" y="569218"/>
                      <a:pt x="0" y="569218"/>
                    </a:cubicBezTo>
                    <a:lnTo>
                      <a:pt x="0" y="0"/>
                    </a:lnTo>
                    <a:close/>
                  </a:path>
                </a:pathLst>
              </a:custGeom>
              <a:solidFill>
                <a:srgbClr val="000000"/>
              </a:solidFill>
              <a:ln w="0" cap="flat">
                <a:noFill/>
                <a:prstDash val="solid"/>
                <a:miter/>
              </a:ln>
            </p:spPr>
            <p:txBody>
              <a:bodyPr rtlCol="0" anchor="ctr"/>
              <a:lstStyle/>
              <a:p>
                <a:endParaRPr lang="en-US" dirty="0"/>
              </a:p>
            </p:txBody>
          </p:sp>
        </p:grpSp>
        <p:grpSp>
          <p:nvGrpSpPr>
            <p:cNvPr id="189" name="Graphic 62">
              <a:extLst>
                <a:ext uri="{FF2B5EF4-FFF2-40B4-BE49-F238E27FC236}">
                  <a16:creationId xmlns:a16="http://schemas.microsoft.com/office/drawing/2014/main" id="{8C495686-DF44-2505-EDDB-0C9CAA7911E4}"/>
                </a:ext>
              </a:extLst>
            </p:cNvPr>
            <p:cNvGrpSpPr>
              <a:grpSpLocks/>
            </p:cNvGrpSpPr>
            <p:nvPr/>
          </p:nvGrpSpPr>
          <p:grpSpPr>
            <a:xfrm rot="5400000">
              <a:off x="10974355" y="1301468"/>
              <a:ext cx="569206" cy="569218"/>
              <a:chOff x="10102120" y="4950489"/>
              <a:chExt cx="569206" cy="569218"/>
            </a:xfrm>
          </p:grpSpPr>
          <p:sp>
            <p:nvSpPr>
              <p:cNvPr id="190" name="Freeform: Shape 189">
                <a:extLst>
                  <a:ext uri="{FF2B5EF4-FFF2-40B4-BE49-F238E27FC236}">
                    <a16:creationId xmlns:a16="http://schemas.microsoft.com/office/drawing/2014/main" id="{24E4E0CC-2C53-7DCE-1FA4-89FDB41B0EC5}"/>
                  </a:ext>
                </a:extLst>
              </p:cNvPr>
              <p:cNvSpPr>
                <a:spLocks/>
              </p:cNvSpPr>
              <p:nvPr/>
            </p:nvSpPr>
            <p:spPr>
              <a:xfrm>
                <a:off x="10102120" y="5235098"/>
                <a:ext cx="569206" cy="284609"/>
              </a:xfrm>
              <a:custGeom>
                <a:avLst/>
                <a:gdLst>
                  <a:gd name="connsiteX0" fmla="*/ 569207 w 569206"/>
                  <a:gd name="connsiteY0" fmla="*/ 0 h 284609"/>
                  <a:gd name="connsiteX1" fmla="*/ 284603 w 569206"/>
                  <a:gd name="connsiteY1" fmla="*/ 284609 h 284609"/>
                  <a:gd name="connsiteX2" fmla="*/ 0 w 569206"/>
                  <a:gd name="connsiteY2" fmla="*/ 0 h 284609"/>
                  <a:gd name="connsiteX3" fmla="*/ 569207 w 569206"/>
                  <a:gd name="connsiteY3" fmla="*/ 0 h 284609"/>
                </a:gdLst>
                <a:ahLst/>
                <a:cxnLst>
                  <a:cxn ang="0">
                    <a:pos x="connsiteX0" y="connsiteY0"/>
                  </a:cxn>
                  <a:cxn ang="0">
                    <a:pos x="connsiteX1" y="connsiteY1"/>
                  </a:cxn>
                  <a:cxn ang="0">
                    <a:pos x="connsiteX2" y="connsiteY2"/>
                  </a:cxn>
                  <a:cxn ang="0">
                    <a:pos x="connsiteX3" y="connsiteY3"/>
                  </a:cxn>
                </a:cxnLst>
                <a:rect l="l" t="t" r="r" b="b"/>
                <a:pathLst>
                  <a:path w="569206" h="284609">
                    <a:moveTo>
                      <a:pt x="569207" y="0"/>
                    </a:moveTo>
                    <a:cubicBezTo>
                      <a:pt x="569207" y="157218"/>
                      <a:pt x="441818" y="284609"/>
                      <a:pt x="284603" y="284609"/>
                    </a:cubicBezTo>
                    <a:cubicBezTo>
                      <a:pt x="127388" y="284609"/>
                      <a:pt x="0" y="157218"/>
                      <a:pt x="0" y="0"/>
                    </a:cubicBezTo>
                    <a:lnTo>
                      <a:pt x="569207" y="0"/>
                    </a:lnTo>
                    <a:close/>
                  </a:path>
                </a:pathLst>
              </a:custGeom>
              <a:solidFill>
                <a:srgbClr val="93D500"/>
              </a:solidFill>
              <a:ln w="0" cap="flat">
                <a:noFill/>
                <a:prstDash val="solid"/>
                <a:miter/>
              </a:ln>
            </p:spPr>
            <p:txBody>
              <a:bodyPr rtlCol="0" anchor="ctr"/>
              <a:lstStyle/>
              <a:p>
                <a:endParaRPr lang="en-US" dirty="0"/>
              </a:p>
            </p:txBody>
          </p:sp>
          <p:sp>
            <p:nvSpPr>
              <p:cNvPr id="191" name="Freeform: Shape 190">
                <a:extLst>
                  <a:ext uri="{FF2B5EF4-FFF2-40B4-BE49-F238E27FC236}">
                    <a16:creationId xmlns:a16="http://schemas.microsoft.com/office/drawing/2014/main" id="{559D7EA0-79B8-BF95-1F75-C0E4775E3019}"/>
                  </a:ext>
                </a:extLst>
              </p:cNvPr>
              <p:cNvSpPr>
                <a:spLocks/>
              </p:cNvSpPr>
              <p:nvPr/>
            </p:nvSpPr>
            <p:spPr>
              <a:xfrm>
                <a:off x="10102120" y="4950489"/>
                <a:ext cx="569206" cy="284609"/>
              </a:xfrm>
              <a:custGeom>
                <a:avLst/>
                <a:gdLst>
                  <a:gd name="connsiteX0" fmla="*/ 0 w 569206"/>
                  <a:gd name="connsiteY0" fmla="*/ 284609 h 284609"/>
                  <a:gd name="connsiteX1" fmla="*/ 284603 w 569206"/>
                  <a:gd name="connsiteY1" fmla="*/ 0 h 284609"/>
                  <a:gd name="connsiteX2" fmla="*/ 569207 w 569206"/>
                  <a:gd name="connsiteY2" fmla="*/ 284609 h 284609"/>
                  <a:gd name="connsiteX3" fmla="*/ 0 w 569206"/>
                  <a:gd name="connsiteY3" fmla="*/ 284609 h 284609"/>
                </a:gdLst>
                <a:ahLst/>
                <a:cxnLst>
                  <a:cxn ang="0">
                    <a:pos x="connsiteX0" y="connsiteY0"/>
                  </a:cxn>
                  <a:cxn ang="0">
                    <a:pos x="connsiteX1" y="connsiteY1"/>
                  </a:cxn>
                  <a:cxn ang="0">
                    <a:pos x="connsiteX2" y="connsiteY2"/>
                  </a:cxn>
                  <a:cxn ang="0">
                    <a:pos x="connsiteX3" y="connsiteY3"/>
                  </a:cxn>
                </a:cxnLst>
                <a:rect l="l" t="t" r="r" b="b"/>
                <a:pathLst>
                  <a:path w="569206" h="284609">
                    <a:moveTo>
                      <a:pt x="0" y="284609"/>
                    </a:moveTo>
                    <a:cubicBezTo>
                      <a:pt x="0" y="127391"/>
                      <a:pt x="127388" y="0"/>
                      <a:pt x="284603" y="0"/>
                    </a:cubicBezTo>
                    <a:cubicBezTo>
                      <a:pt x="441818" y="0"/>
                      <a:pt x="569207" y="127391"/>
                      <a:pt x="569207" y="284609"/>
                    </a:cubicBezTo>
                    <a:lnTo>
                      <a:pt x="0" y="284609"/>
                    </a:lnTo>
                    <a:close/>
                  </a:path>
                </a:pathLst>
              </a:custGeom>
              <a:solidFill>
                <a:srgbClr val="000000"/>
              </a:solidFill>
              <a:ln w="0"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37861856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Agenda + Image">
    <p:bg>
      <p:bgPr>
        <a:solidFill>
          <a:srgbClr val="F3F3F3"/>
        </a:solidFill>
        <a:effectLst/>
      </p:bgPr>
    </p:bg>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AA09BD20-B30C-CC32-D428-A1EBE6AC61FC}"/>
              </a:ext>
            </a:extLst>
          </p:cNvPr>
          <p:cNvSpPr>
            <a:spLocks noGrp="1"/>
          </p:cNvSpPr>
          <p:nvPr>
            <p:ph type="pic" sz="quarter" idx="45" hasCustomPrompt="1"/>
          </p:nvPr>
        </p:nvSpPr>
        <p:spPr>
          <a:xfrm>
            <a:off x="0" y="1600200"/>
            <a:ext cx="12192000" cy="3052762"/>
          </a:xfrm>
          <a:solidFill>
            <a:schemeClr val="bg1">
              <a:lumMod val="75000"/>
            </a:schemeClr>
          </a:solidFill>
        </p:spPr>
        <p:txBody>
          <a:bodyPr vert="horz" wrap="square" lIns="0" tIns="0" rIns="0" bIns="0" rtlCol="0" anchor="ctr">
            <a:noAutofit/>
          </a:bodyPr>
          <a:lstStyle>
            <a:lvl1pPr>
              <a:defRPr lang="en-US" sz="1000" b="0" dirty="0"/>
            </a:lvl1pPr>
          </a:lstStyle>
          <a:p>
            <a:pPr lvl="0" algn="ctr"/>
            <a:r>
              <a:rPr lang="en-US" dirty="0"/>
              <a:t>Insert Photo</a:t>
            </a:r>
          </a:p>
        </p:txBody>
      </p:sp>
      <p:graphicFrame>
        <p:nvGraphicFramePr>
          <p:cNvPr id="4" name="think-cell data - do not delete" hidden="1">
            <a:extLst>
              <a:ext uri="{FF2B5EF4-FFF2-40B4-BE49-F238E27FC236}">
                <a16:creationId xmlns:a16="http://schemas.microsoft.com/office/drawing/2014/main" id="{E24B2B4B-82F9-1536-578C-43BD5CE8AFCF}"/>
              </a:ext>
            </a:extLst>
          </p:cNvPr>
          <p:cNvGraphicFramePr>
            <a:graphicFrameLocks noChangeAspect="1"/>
          </p:cNvGraphicFramePr>
          <p:nvPr>
            <p:custDataLst>
              <p:tags r:id="rId1"/>
            </p:custDataLst>
            <p:extLst>
              <p:ext uri="{D42A27DB-BD31-4B8C-83A1-F6EECF244321}">
                <p14:modId xmlns:p14="http://schemas.microsoft.com/office/powerpoint/2010/main" val="169363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E24B2B4B-82F9-1536-578C-43BD5CE8A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itle 44">
            <a:extLst>
              <a:ext uri="{FF2B5EF4-FFF2-40B4-BE49-F238E27FC236}">
                <a16:creationId xmlns:a16="http://schemas.microsoft.com/office/drawing/2014/main" id="{8C8DBED3-A629-FC99-1B8F-BE074A307F8C}"/>
              </a:ext>
            </a:extLst>
          </p:cNvPr>
          <p:cNvSpPr>
            <a:spLocks noGrp="1"/>
          </p:cNvSpPr>
          <p:nvPr>
            <p:ph type="title" hasCustomPrompt="1"/>
          </p:nvPr>
        </p:nvSpPr>
        <p:spPr>
          <a:xfrm>
            <a:off x="609600" y="800754"/>
            <a:ext cx="5486400" cy="553998"/>
          </a:xfrm>
        </p:spPr>
        <p:txBody>
          <a:bodyPr vert="horz"/>
          <a:lstStyle>
            <a:lvl1pPr>
              <a:defRPr/>
            </a:lvl1pPr>
          </a:lstStyle>
          <a:p>
            <a:r>
              <a:rPr lang="en-US"/>
              <a:t>Agenda</a:t>
            </a:r>
          </a:p>
        </p:txBody>
      </p:sp>
      <p:sp>
        <p:nvSpPr>
          <p:cNvPr id="51" name="Footer Placeholder 50">
            <a:extLst>
              <a:ext uri="{FF2B5EF4-FFF2-40B4-BE49-F238E27FC236}">
                <a16:creationId xmlns:a16="http://schemas.microsoft.com/office/drawing/2014/main" id="{E6307089-0337-1E41-2413-B773C7DDA356}"/>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5 Guidehouse Inc.</a:t>
            </a:r>
          </a:p>
        </p:txBody>
      </p:sp>
      <p:sp>
        <p:nvSpPr>
          <p:cNvPr id="53" name="Text Placeholder 7">
            <a:extLst>
              <a:ext uri="{FF2B5EF4-FFF2-40B4-BE49-F238E27FC236}">
                <a16:creationId xmlns:a16="http://schemas.microsoft.com/office/drawing/2014/main" id="{835ECE48-5FE3-A1E7-D32C-C2F6ADBC4A87}"/>
              </a:ext>
            </a:extLst>
          </p:cNvPr>
          <p:cNvSpPr>
            <a:spLocks noGrp="1"/>
          </p:cNvSpPr>
          <p:nvPr>
            <p:ph type="body" sz="quarter" idx="1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7FA0D2-F8F7-895F-2FBF-67E102F5B1D5}"/>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BC655C-7979-A16B-0182-2803B04DF645}"/>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think-cell data - do not delete" hidden="1">
            <a:extLst>
              <a:ext uri="{FF2B5EF4-FFF2-40B4-BE49-F238E27FC236}">
                <a16:creationId xmlns:a16="http://schemas.microsoft.com/office/drawing/2014/main" id="{8E62D234-D5FD-48E0-D01F-6175CB455F70}"/>
              </a:ext>
            </a:extLst>
          </p:cNvPr>
          <p:cNvGraphicFramePr>
            <a:graphicFrameLocks noChangeAspect="1"/>
          </p:cNvGraphicFramePr>
          <p:nvPr userDrawn="1">
            <p:custDataLst>
              <p:tags r:id="rId2"/>
            </p:custDataLst>
            <p:extLst>
              <p:ext uri="{D42A27DB-BD31-4B8C-83A1-F6EECF244321}">
                <p14:modId xmlns:p14="http://schemas.microsoft.com/office/powerpoint/2010/main" val="169363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think-cell data - do not delete" hidden="1">
                        <a:extLst>
                          <a:ext uri="{FF2B5EF4-FFF2-40B4-BE49-F238E27FC236}">
                            <a16:creationId xmlns:a16="http://schemas.microsoft.com/office/drawing/2014/main" id="{8E62D234-D5FD-48E0-D01F-6175CB455F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3B0381F1-E3BA-89CB-8B69-00C507D035B7}"/>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E1B46AC-808C-5D43-EA1B-15963FBCA79E}"/>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24">
            <a:extLst>
              <a:ext uri="{FF2B5EF4-FFF2-40B4-BE49-F238E27FC236}">
                <a16:creationId xmlns:a16="http://schemas.microsoft.com/office/drawing/2014/main" id="{CE4D3010-E8F4-6ECE-FC85-E5C43829DD42}"/>
              </a:ext>
            </a:extLst>
          </p:cNvPr>
          <p:cNvSpPr>
            <a:spLocks noGrp="1"/>
          </p:cNvSpPr>
          <p:nvPr>
            <p:ph type="body" sz="quarter" idx="29"/>
          </p:nvPr>
        </p:nvSpPr>
        <p:spPr>
          <a:xfrm>
            <a:off x="609599"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8" name="Text Placeholder 26">
            <a:extLst>
              <a:ext uri="{FF2B5EF4-FFF2-40B4-BE49-F238E27FC236}">
                <a16:creationId xmlns:a16="http://schemas.microsoft.com/office/drawing/2014/main" id="{D3BAA845-643F-89D1-F332-B3E022656A10}"/>
              </a:ext>
            </a:extLst>
          </p:cNvPr>
          <p:cNvSpPr>
            <a:spLocks noGrp="1"/>
          </p:cNvSpPr>
          <p:nvPr>
            <p:ph type="body" sz="quarter" idx="37" hasCustomPrompt="1"/>
          </p:nvPr>
        </p:nvSpPr>
        <p:spPr>
          <a:xfrm>
            <a:off x="609600"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15" name="Text Placeholder 24">
            <a:extLst>
              <a:ext uri="{FF2B5EF4-FFF2-40B4-BE49-F238E27FC236}">
                <a16:creationId xmlns:a16="http://schemas.microsoft.com/office/drawing/2014/main" id="{DCEFF89C-78B8-ADF9-24ED-AEA05D3EC470}"/>
              </a:ext>
            </a:extLst>
          </p:cNvPr>
          <p:cNvSpPr>
            <a:spLocks noGrp="1"/>
          </p:cNvSpPr>
          <p:nvPr>
            <p:ph type="body" sz="quarter" idx="38"/>
          </p:nvPr>
        </p:nvSpPr>
        <p:spPr>
          <a:xfrm>
            <a:off x="3484244"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16" name="Text Placeholder 26">
            <a:extLst>
              <a:ext uri="{FF2B5EF4-FFF2-40B4-BE49-F238E27FC236}">
                <a16:creationId xmlns:a16="http://schemas.microsoft.com/office/drawing/2014/main" id="{D8446354-7DF9-CD63-06FD-34CC052BDF48}"/>
              </a:ext>
            </a:extLst>
          </p:cNvPr>
          <p:cNvSpPr>
            <a:spLocks noGrp="1"/>
          </p:cNvSpPr>
          <p:nvPr>
            <p:ph type="body" sz="quarter" idx="39" hasCustomPrompt="1"/>
          </p:nvPr>
        </p:nvSpPr>
        <p:spPr>
          <a:xfrm>
            <a:off x="3484244"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19" name="Text Placeholder 24">
            <a:extLst>
              <a:ext uri="{FF2B5EF4-FFF2-40B4-BE49-F238E27FC236}">
                <a16:creationId xmlns:a16="http://schemas.microsoft.com/office/drawing/2014/main" id="{A705EFF2-4847-92E0-5295-3C574E55E1DF}"/>
              </a:ext>
            </a:extLst>
          </p:cNvPr>
          <p:cNvSpPr>
            <a:spLocks noGrp="1"/>
          </p:cNvSpPr>
          <p:nvPr>
            <p:ph type="body" sz="quarter" idx="40"/>
          </p:nvPr>
        </p:nvSpPr>
        <p:spPr>
          <a:xfrm>
            <a:off x="6358889"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20" name="Text Placeholder 26">
            <a:extLst>
              <a:ext uri="{FF2B5EF4-FFF2-40B4-BE49-F238E27FC236}">
                <a16:creationId xmlns:a16="http://schemas.microsoft.com/office/drawing/2014/main" id="{AC7CA245-18EA-597A-82E5-BA3812A8DE29}"/>
              </a:ext>
            </a:extLst>
          </p:cNvPr>
          <p:cNvSpPr>
            <a:spLocks noGrp="1"/>
          </p:cNvSpPr>
          <p:nvPr>
            <p:ph type="body" sz="quarter" idx="41" hasCustomPrompt="1"/>
          </p:nvPr>
        </p:nvSpPr>
        <p:spPr>
          <a:xfrm>
            <a:off x="6358889"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23" name="Text Placeholder 24">
            <a:extLst>
              <a:ext uri="{FF2B5EF4-FFF2-40B4-BE49-F238E27FC236}">
                <a16:creationId xmlns:a16="http://schemas.microsoft.com/office/drawing/2014/main" id="{924E5149-F5C8-EA54-727E-B8B68A5FE9F7}"/>
              </a:ext>
            </a:extLst>
          </p:cNvPr>
          <p:cNvSpPr>
            <a:spLocks noGrp="1"/>
          </p:cNvSpPr>
          <p:nvPr>
            <p:ph type="body" sz="quarter" idx="42"/>
          </p:nvPr>
        </p:nvSpPr>
        <p:spPr>
          <a:xfrm>
            <a:off x="9233535"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24" name="Text Placeholder 26">
            <a:extLst>
              <a:ext uri="{FF2B5EF4-FFF2-40B4-BE49-F238E27FC236}">
                <a16:creationId xmlns:a16="http://schemas.microsoft.com/office/drawing/2014/main" id="{3489A859-38FC-693E-A6ED-DA783AAA67BC}"/>
              </a:ext>
            </a:extLst>
          </p:cNvPr>
          <p:cNvSpPr>
            <a:spLocks noGrp="1"/>
          </p:cNvSpPr>
          <p:nvPr>
            <p:ph type="body" sz="quarter" idx="43" hasCustomPrompt="1"/>
          </p:nvPr>
        </p:nvSpPr>
        <p:spPr>
          <a:xfrm>
            <a:off x="9233535"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29" name="Date Placeholder 49">
            <a:extLst>
              <a:ext uri="{FF2B5EF4-FFF2-40B4-BE49-F238E27FC236}">
                <a16:creationId xmlns:a16="http://schemas.microsoft.com/office/drawing/2014/main" id="{B060A5B5-C6DF-5D69-2D87-90F40677BABD}"/>
              </a:ext>
            </a:extLst>
          </p:cNvPr>
          <p:cNvSpPr>
            <a:spLocks noGrp="1"/>
          </p:cNvSpPr>
          <p:nvPr>
            <p:ph type="dt" sz="half" idx="44"/>
          </p:nvPr>
        </p:nvSpPr>
        <p:spPr>
          <a:xfrm>
            <a:off x="10236555" y="139419"/>
            <a:ext cx="1345845" cy="153888"/>
          </a:xfrm>
        </p:spPr>
        <p:txBody>
          <a:bodyPr>
            <a:noAutofit/>
          </a:bodyPr>
          <a:lstStyle>
            <a:lvl1pPr>
              <a:defRPr>
                <a:solidFill>
                  <a:schemeClr val="tx1">
                    <a:lumMod val="75000"/>
                    <a:lumOff val="25000"/>
                  </a:schemeClr>
                </a:solidFill>
              </a:defRPr>
            </a:lvl1pPr>
          </a:lstStyle>
          <a:p>
            <a:fld id="{8EC7FE3E-E251-492A-8A26-609F7661DDA5}" type="datetime4">
              <a:rPr lang="en-US" smtClean="0"/>
              <a:t>May 17, 2025</a:t>
            </a:fld>
            <a:endParaRPr lang="en-US" dirty="0"/>
          </a:p>
        </p:txBody>
      </p:sp>
      <p:sp>
        <p:nvSpPr>
          <p:cNvPr id="30" name="Slide Number Placeholder 5">
            <a:extLst>
              <a:ext uri="{FF2B5EF4-FFF2-40B4-BE49-F238E27FC236}">
                <a16:creationId xmlns:a16="http://schemas.microsoft.com/office/drawing/2014/main" id="{41599AF1-5158-10CB-A04F-6F714A9AF221}"/>
              </a:ext>
            </a:extLst>
          </p:cNvPr>
          <p:cNvSpPr>
            <a:spLocks noGrp="1"/>
          </p:cNvSpPr>
          <p:nvPr>
            <p:ph type="sldNum" sz="quarter" idx="12"/>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Tree>
    <p:extLst>
      <p:ext uri="{BB962C8B-B14F-4D97-AF65-F5344CB8AC3E}">
        <p14:creationId xmlns:p14="http://schemas.microsoft.com/office/powerpoint/2010/main" val="4359577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Slide with Photo - Dark">
    <p:bg>
      <p:bgPr>
        <a:solidFill>
          <a:schemeClr val="tx2"/>
        </a:solidFill>
        <a:effectLst/>
      </p:bgPr>
    </p:bg>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BCB6D247-1918-2009-BF8B-72F06F7A48BC}"/>
              </a:ext>
            </a:extLst>
          </p:cNvPr>
          <p:cNvSpPr>
            <a:spLocks noGrp="1"/>
          </p:cNvSpPr>
          <p:nvPr>
            <p:ph type="pic" sz="quarter" idx="13"/>
          </p:nvPr>
        </p:nvSpPr>
        <p:spPr>
          <a:xfrm>
            <a:off x="1181100" y="1557159"/>
            <a:ext cx="3619500" cy="3619500"/>
          </a:xfrm>
          <a:prstGeom prst="ellipse">
            <a:avLst/>
          </a:prstGeom>
          <a:solidFill>
            <a:schemeClr val="bg1">
              <a:lumMod val="75000"/>
            </a:schemeClr>
          </a:solidFill>
        </p:spPr>
        <p:txBody>
          <a:bodyPr vert="horz" wrap="square" lIns="0" tIns="0" rIns="0" bIns="0" rtlCol="0" anchor="ctr">
            <a:noAutofit/>
          </a:bodyPr>
          <a:lstStyle>
            <a:lvl1pPr>
              <a:defRPr lang="en-US" sz="1000" b="0"/>
            </a:lvl1pPr>
          </a:lstStyle>
          <a:p>
            <a:pPr lvl="0" algn="ctr"/>
            <a:r>
              <a:rPr lang="en-US" dirty="0"/>
              <a:t>Click icon to add picture</a:t>
            </a:r>
          </a:p>
        </p:txBody>
      </p:sp>
      <p:sp>
        <p:nvSpPr>
          <p:cNvPr id="20" name="Text Placeholder 19">
            <a:extLst>
              <a:ext uri="{FF2B5EF4-FFF2-40B4-BE49-F238E27FC236}">
                <a16:creationId xmlns:a16="http://schemas.microsoft.com/office/drawing/2014/main" id="{7A16E765-6BD0-3CDD-70C1-CA8D2467CB01}"/>
              </a:ext>
            </a:extLst>
          </p:cNvPr>
          <p:cNvSpPr>
            <a:spLocks noGrp="1"/>
          </p:cNvSpPr>
          <p:nvPr>
            <p:ph type="body" sz="quarter" idx="14"/>
          </p:nvPr>
        </p:nvSpPr>
        <p:spPr>
          <a:xfrm>
            <a:off x="6734083" y="1960494"/>
            <a:ext cx="4848317" cy="2212848"/>
          </a:xfrm>
        </p:spPr>
        <p:txBody>
          <a:bodyPr anchor="b">
            <a:noAutofit/>
          </a:bodyPr>
          <a:lstStyle>
            <a:lvl1pPr>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2" name="Text Placeholder 19">
            <a:extLst>
              <a:ext uri="{FF2B5EF4-FFF2-40B4-BE49-F238E27FC236}">
                <a16:creationId xmlns:a16="http://schemas.microsoft.com/office/drawing/2014/main" id="{FB69FE2A-FEB7-BE08-9456-D4BD5BC806AD}"/>
              </a:ext>
            </a:extLst>
          </p:cNvPr>
          <p:cNvSpPr>
            <a:spLocks noGrp="1" noRot="1" noMove="1" noResize="1" noEditPoints="1" noAdjustHandles="1" noChangeArrowheads="1" noChangeShapeType="1"/>
          </p:cNvSpPr>
          <p:nvPr>
            <p:ph type="body" sz="quarter" idx="16" hasCustomPrompt="1"/>
          </p:nvPr>
        </p:nvSpPr>
        <p:spPr>
          <a:xfrm>
            <a:off x="5733826" y="911568"/>
            <a:ext cx="956993" cy="3062377"/>
          </a:xfrm>
        </p:spPr>
        <p:txBody>
          <a:bodyPr wrap="none" anchor="t">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9900" kern="1200" dirty="0">
                <a:solidFill>
                  <a:schemeClr val="accent1"/>
                </a:solidFill>
                <a:latin typeface="Franklin Gothic Medium Cond" panose="020B0606030402020204" pitchFamily="34"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63" name="Text Placeholder 33">
            <a:extLst>
              <a:ext uri="{FF2B5EF4-FFF2-40B4-BE49-F238E27FC236}">
                <a16:creationId xmlns:a16="http://schemas.microsoft.com/office/drawing/2014/main" id="{49315336-CF85-AB2B-B3A4-46E89F0D9687}"/>
              </a:ext>
            </a:extLst>
          </p:cNvPr>
          <p:cNvSpPr>
            <a:spLocks noGrp="1"/>
          </p:cNvSpPr>
          <p:nvPr>
            <p:ph type="body" sz="quarter" idx="20" hasCustomPrompt="1"/>
          </p:nvPr>
        </p:nvSpPr>
        <p:spPr>
          <a:xfrm>
            <a:off x="6734082" y="4876991"/>
            <a:ext cx="4848317" cy="299668"/>
          </a:xfrm>
        </p:spPr>
        <p:txBody>
          <a:bodyPr wrap="square">
            <a:noAutofit/>
          </a:bodyPr>
          <a:lstStyle>
            <a:lvl1pPr marL="0" indent="0" algn="r">
              <a:spcAft>
                <a:spcPts val="300"/>
              </a:spcAft>
              <a:buFont typeface="Arial" panose="020B0604020202020204" pitchFamily="34" charset="0"/>
              <a:buNone/>
              <a:defRPr sz="1600" b="1">
                <a:solidFill>
                  <a:schemeClr val="accent1"/>
                </a:solidFill>
                <a:latin typeface="+mj-lt"/>
              </a:defRPr>
            </a:lvl1pPr>
            <a:lvl2pPr marL="0" indent="0" algn="r">
              <a:spcAft>
                <a:spcPts val="300"/>
              </a:spcAft>
              <a:buNone/>
              <a:defRPr sz="14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3" name="Text Placeholder 7">
            <a:extLst>
              <a:ext uri="{FF2B5EF4-FFF2-40B4-BE49-F238E27FC236}">
                <a16:creationId xmlns:a16="http://schemas.microsoft.com/office/drawing/2014/main" id="{A7C5D94E-21FC-6AC5-66EE-F82FAB1D00F7}"/>
              </a:ext>
            </a:extLst>
          </p:cNvPr>
          <p:cNvSpPr>
            <a:spLocks noGrp="1"/>
          </p:cNvSpPr>
          <p:nvPr>
            <p:ph type="body" sz="quarter" idx="21"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6" name="Date Placeholder 12">
            <a:extLst>
              <a:ext uri="{FF2B5EF4-FFF2-40B4-BE49-F238E27FC236}">
                <a16:creationId xmlns:a16="http://schemas.microsoft.com/office/drawing/2014/main" id="{95E5C207-2DAF-C132-6FF6-E4FDC93005CA}"/>
              </a:ext>
            </a:extLst>
          </p:cNvPr>
          <p:cNvSpPr>
            <a:spLocks noGrp="1"/>
          </p:cNvSpPr>
          <p:nvPr>
            <p:ph type="dt" sz="half" idx="22"/>
          </p:nvPr>
        </p:nvSpPr>
        <p:spPr>
          <a:xfrm>
            <a:off x="10236555" y="138027"/>
            <a:ext cx="1345845" cy="153888"/>
          </a:xfrm>
        </p:spPr>
        <p:txBody>
          <a:bodyPr>
            <a:noAutofit/>
          </a:bodyPr>
          <a:lstStyle>
            <a:lvl1pPr>
              <a:defRPr>
                <a:solidFill>
                  <a:schemeClr val="bg1">
                    <a:lumMod val="65000"/>
                  </a:schemeClr>
                </a:solidFill>
              </a:defRPr>
            </a:lvl1pPr>
          </a:lstStyle>
          <a:p>
            <a:fld id="{5F6B9B37-ED23-4617-8C0C-8F866FE38D8E}" type="datetime4">
              <a:rPr lang="en-US" smtClean="0"/>
              <a:t>May 17, 2025</a:t>
            </a:fld>
            <a:endParaRPr lang="en-US" dirty="0"/>
          </a:p>
        </p:txBody>
      </p:sp>
      <p:sp>
        <p:nvSpPr>
          <p:cNvPr id="7" name="Footer Placeholder 13">
            <a:extLst>
              <a:ext uri="{FF2B5EF4-FFF2-40B4-BE49-F238E27FC236}">
                <a16:creationId xmlns:a16="http://schemas.microsoft.com/office/drawing/2014/main" id="{CF4B4545-13F4-2902-0AC9-6AF28B437CE8}"/>
              </a:ext>
            </a:extLst>
          </p:cNvPr>
          <p:cNvSpPr>
            <a:spLocks noGrp="1"/>
          </p:cNvSpPr>
          <p:nvPr>
            <p:ph type="ftr" sz="quarter" idx="15"/>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sp>
        <p:nvSpPr>
          <p:cNvPr id="13" name="Slide Number Placeholder 14">
            <a:extLst>
              <a:ext uri="{FF2B5EF4-FFF2-40B4-BE49-F238E27FC236}">
                <a16:creationId xmlns:a16="http://schemas.microsoft.com/office/drawing/2014/main" id="{C266639E-79B8-D05E-C2A0-2E9D57F6CBFE}"/>
              </a:ext>
            </a:extLst>
          </p:cNvPr>
          <p:cNvSpPr>
            <a:spLocks noGrp="1"/>
          </p:cNvSpPr>
          <p:nvPr>
            <p:ph type="sldNum" sz="quarter" idx="23"/>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pic>
        <p:nvPicPr>
          <p:cNvPr id="14" name="Graphic 13">
            <a:extLst>
              <a:ext uri="{FF2B5EF4-FFF2-40B4-BE49-F238E27FC236}">
                <a16:creationId xmlns:a16="http://schemas.microsoft.com/office/drawing/2014/main" id="{FF15F0ED-BBBC-2F21-14A8-BAEF93A451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15" name="Straight Connector 14">
            <a:extLst>
              <a:ext uri="{FF2B5EF4-FFF2-40B4-BE49-F238E27FC236}">
                <a16:creationId xmlns:a16="http://schemas.microsoft.com/office/drawing/2014/main" id="{9CDC81FC-8683-540B-7C77-9681384F4E65}"/>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FD21293-CCA9-B189-2095-9F95E3AE36C0}"/>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33">
            <a:extLst>
              <a:ext uri="{FF2B5EF4-FFF2-40B4-BE49-F238E27FC236}">
                <a16:creationId xmlns:a16="http://schemas.microsoft.com/office/drawing/2014/main" id="{ED489F46-1121-34BF-36F0-88601546835D}"/>
              </a:ext>
            </a:extLst>
          </p:cNvPr>
          <p:cNvSpPr>
            <a:spLocks noGrp="1"/>
          </p:cNvSpPr>
          <p:nvPr>
            <p:ph type="body" sz="quarter" idx="24" hasCustomPrompt="1"/>
          </p:nvPr>
        </p:nvSpPr>
        <p:spPr>
          <a:xfrm>
            <a:off x="6734082" y="5204393"/>
            <a:ext cx="4848318" cy="276999"/>
          </a:xfrm>
        </p:spPr>
        <p:txBody>
          <a:bodyPr wrap="square">
            <a:noAutofit/>
          </a:bodyPr>
          <a:lstStyle>
            <a:lvl1pPr marL="0" indent="0" algn="r">
              <a:spcAft>
                <a:spcPts val="300"/>
              </a:spcAft>
              <a:buFont typeface="Arial" panose="020B0604020202020204" pitchFamily="34" charset="0"/>
              <a:buNone/>
              <a:defRPr sz="14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8221117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Slide with Photo - Light">
    <p:bg>
      <p:bgPr>
        <a:solidFill>
          <a:srgbClr val="F3F3F3"/>
        </a:solidFill>
        <a:effectLst/>
      </p:bgPr>
    </p:bg>
    <p:spTree>
      <p:nvGrpSpPr>
        <p:cNvPr id="1" name=""/>
        <p:cNvGrpSpPr/>
        <p:nvPr/>
      </p:nvGrpSpPr>
      <p:grpSpPr>
        <a:xfrm>
          <a:off x="0" y="0"/>
          <a:ext cx="0" cy="0"/>
          <a:chOff x="0" y="0"/>
          <a:chExt cx="0" cy="0"/>
        </a:xfrm>
      </p:grpSpPr>
      <p:sp>
        <p:nvSpPr>
          <p:cNvPr id="2" name="Date Placeholder 49">
            <a:extLst>
              <a:ext uri="{FF2B5EF4-FFF2-40B4-BE49-F238E27FC236}">
                <a16:creationId xmlns:a16="http://schemas.microsoft.com/office/drawing/2014/main" id="{68C8DFA2-ADF2-B013-F741-F2BFA6A790EA}"/>
              </a:ext>
            </a:extLst>
          </p:cNvPr>
          <p:cNvSpPr>
            <a:spLocks noGrp="1"/>
          </p:cNvSpPr>
          <p:nvPr>
            <p:ph type="dt" sz="half" idx="17"/>
          </p:nvPr>
        </p:nvSpPr>
        <p:spPr>
          <a:xfrm>
            <a:off x="10236555" y="139419"/>
            <a:ext cx="1345845" cy="153888"/>
          </a:xfrm>
        </p:spPr>
        <p:txBody>
          <a:bodyPr>
            <a:noAutofit/>
          </a:bodyPr>
          <a:lstStyle>
            <a:lvl1pPr>
              <a:defRPr>
                <a:solidFill>
                  <a:schemeClr val="tx1">
                    <a:lumMod val="75000"/>
                    <a:lumOff val="25000"/>
                  </a:schemeClr>
                </a:solidFill>
              </a:defRPr>
            </a:lvl1pPr>
          </a:lstStyle>
          <a:p>
            <a:fld id="{8DFA9521-7F27-42A7-9662-7BCC8FA50C6A}" type="datetime4">
              <a:rPr lang="en-US" smtClean="0"/>
              <a:t>May 17, 2025</a:t>
            </a:fld>
            <a:endParaRPr lang="en-US" dirty="0"/>
          </a:p>
        </p:txBody>
      </p:sp>
      <p:sp>
        <p:nvSpPr>
          <p:cNvPr id="4" name="Text Placeholder 7">
            <a:extLst>
              <a:ext uri="{FF2B5EF4-FFF2-40B4-BE49-F238E27FC236}">
                <a16:creationId xmlns:a16="http://schemas.microsoft.com/office/drawing/2014/main" id="{4C01BF98-E8D1-FA71-7F61-B40AD7F38B59}"/>
              </a:ext>
            </a:extLst>
          </p:cNvPr>
          <p:cNvSpPr>
            <a:spLocks noGrp="1"/>
          </p:cNvSpPr>
          <p:nvPr>
            <p:ph type="body" sz="quarter" idx="19" hasCustomPrompt="1"/>
          </p:nvPr>
        </p:nvSpPr>
        <p:spPr>
          <a:xfrm>
            <a:off x="609600" y="139419"/>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87" name="Text Placeholder 19">
            <a:extLst>
              <a:ext uri="{FF2B5EF4-FFF2-40B4-BE49-F238E27FC236}">
                <a16:creationId xmlns:a16="http://schemas.microsoft.com/office/drawing/2014/main" id="{D2934921-DF3B-B31E-8649-612670262B86}"/>
              </a:ext>
            </a:extLst>
          </p:cNvPr>
          <p:cNvSpPr>
            <a:spLocks noGrp="1"/>
          </p:cNvSpPr>
          <p:nvPr>
            <p:ph type="body" sz="quarter" idx="20"/>
          </p:nvPr>
        </p:nvSpPr>
        <p:spPr>
          <a:xfrm>
            <a:off x="6734083" y="1960494"/>
            <a:ext cx="4848317" cy="2212848"/>
          </a:xfrm>
        </p:spPr>
        <p:txBody>
          <a:bodyPr anchor="b">
            <a:noAutofit/>
          </a:bodyPr>
          <a:lstStyle>
            <a:lvl1pPr>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 name="Footer Placeholder 4">
            <a:extLst>
              <a:ext uri="{FF2B5EF4-FFF2-40B4-BE49-F238E27FC236}">
                <a16:creationId xmlns:a16="http://schemas.microsoft.com/office/drawing/2014/main" id="{5EEDFA36-60E1-6C7B-5CCC-B90C1C3CC588}"/>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7" name="Slide Number Placeholder 5">
            <a:extLst>
              <a:ext uri="{FF2B5EF4-FFF2-40B4-BE49-F238E27FC236}">
                <a16:creationId xmlns:a16="http://schemas.microsoft.com/office/drawing/2014/main" id="{4296F0A0-E7AD-B1C7-A831-F6B685006C0D}"/>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8" name="Picture Placeholder 17">
            <a:extLst>
              <a:ext uri="{FF2B5EF4-FFF2-40B4-BE49-F238E27FC236}">
                <a16:creationId xmlns:a16="http://schemas.microsoft.com/office/drawing/2014/main" id="{E508596C-8AF4-394C-3308-4FFF0C762102}"/>
              </a:ext>
            </a:extLst>
          </p:cNvPr>
          <p:cNvSpPr>
            <a:spLocks noGrp="1"/>
          </p:cNvSpPr>
          <p:nvPr>
            <p:ph type="pic" sz="quarter" idx="13" hasCustomPrompt="1"/>
          </p:nvPr>
        </p:nvSpPr>
        <p:spPr>
          <a:xfrm>
            <a:off x="1181100" y="1557159"/>
            <a:ext cx="3619500" cy="3619500"/>
          </a:xfrm>
          <a:prstGeom prst="ellipse">
            <a:avLst/>
          </a:prstGeom>
          <a:solidFill>
            <a:schemeClr val="bg1">
              <a:lumMod val="75000"/>
            </a:schemeClr>
          </a:solidFill>
        </p:spPr>
        <p:txBody>
          <a:bodyPr vert="horz" lIns="0" tIns="0" rIns="0" bIns="0" rtlCol="0" anchor="ctr">
            <a:noAutofit/>
          </a:bodyPr>
          <a:lstStyle>
            <a:lvl1pPr>
              <a:defRPr lang="en-US" sz="1000" b="0"/>
            </a:lvl1pPr>
          </a:lstStyle>
          <a:p>
            <a:pPr lvl="0" algn="ctr"/>
            <a:r>
              <a:rPr lang="en-US" dirty="0"/>
              <a:t>Inset Photo</a:t>
            </a:r>
          </a:p>
        </p:txBody>
      </p:sp>
      <p:sp>
        <p:nvSpPr>
          <p:cNvPr id="6" name="Text Placeholder 19">
            <a:extLst>
              <a:ext uri="{FF2B5EF4-FFF2-40B4-BE49-F238E27FC236}">
                <a16:creationId xmlns:a16="http://schemas.microsoft.com/office/drawing/2014/main" id="{6BDE3127-1813-14DC-828E-B3138819FEBA}"/>
              </a:ext>
            </a:extLst>
          </p:cNvPr>
          <p:cNvSpPr>
            <a:spLocks noGrp="1" noRot="1" noMove="1" noResize="1" noEditPoints="1" noAdjustHandles="1" noChangeArrowheads="1" noChangeShapeType="1"/>
          </p:cNvSpPr>
          <p:nvPr>
            <p:ph type="body" sz="quarter" idx="16" hasCustomPrompt="1"/>
          </p:nvPr>
        </p:nvSpPr>
        <p:spPr>
          <a:xfrm>
            <a:off x="5733826" y="911568"/>
            <a:ext cx="956993" cy="3062377"/>
          </a:xfrm>
        </p:spPr>
        <p:txBody>
          <a:bodyPr wrap="none" anchor="t">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9900" kern="1200" dirty="0">
                <a:solidFill>
                  <a:schemeClr val="accent2"/>
                </a:solidFill>
                <a:latin typeface="Franklin Gothic Medium Cond" panose="020B0606030402020204" pitchFamily="34" charset="0"/>
                <a:ea typeface="+mn-ea"/>
                <a:cs typeface="+mn-cs"/>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9" name="Text Placeholder 33">
            <a:extLst>
              <a:ext uri="{FF2B5EF4-FFF2-40B4-BE49-F238E27FC236}">
                <a16:creationId xmlns:a16="http://schemas.microsoft.com/office/drawing/2014/main" id="{07A67CF4-5BEE-8E4E-1241-20B1A1AB7482}"/>
              </a:ext>
            </a:extLst>
          </p:cNvPr>
          <p:cNvSpPr>
            <a:spLocks noGrp="1"/>
          </p:cNvSpPr>
          <p:nvPr>
            <p:ph type="body" sz="quarter" idx="21" hasCustomPrompt="1"/>
          </p:nvPr>
        </p:nvSpPr>
        <p:spPr>
          <a:xfrm>
            <a:off x="6734082" y="4876991"/>
            <a:ext cx="4848317" cy="299668"/>
          </a:xfrm>
        </p:spPr>
        <p:txBody>
          <a:bodyPr wrap="square">
            <a:noAutofit/>
          </a:bodyPr>
          <a:lstStyle>
            <a:lvl1pPr marL="0" indent="0" algn="r">
              <a:spcAft>
                <a:spcPts val="300"/>
              </a:spcAft>
              <a:buFont typeface="Arial" panose="020B0604020202020204" pitchFamily="34" charset="0"/>
              <a:buNone/>
              <a:defRPr sz="1600" b="1">
                <a:solidFill>
                  <a:schemeClr val="tx1"/>
                </a:solidFill>
                <a:latin typeface="+mj-lt"/>
              </a:defRPr>
            </a:lvl1pPr>
            <a:lvl2pPr marL="0" indent="0" algn="r">
              <a:spcAft>
                <a:spcPts val="300"/>
              </a:spcAft>
              <a:buNone/>
              <a:defRPr sz="14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10" name="Text Placeholder 33">
            <a:extLst>
              <a:ext uri="{FF2B5EF4-FFF2-40B4-BE49-F238E27FC236}">
                <a16:creationId xmlns:a16="http://schemas.microsoft.com/office/drawing/2014/main" id="{6FFC7E46-DB66-D43C-3850-83C8E4F4A44D}"/>
              </a:ext>
            </a:extLst>
          </p:cNvPr>
          <p:cNvSpPr>
            <a:spLocks noGrp="1"/>
          </p:cNvSpPr>
          <p:nvPr>
            <p:ph type="body" sz="quarter" idx="24" hasCustomPrompt="1"/>
          </p:nvPr>
        </p:nvSpPr>
        <p:spPr>
          <a:xfrm>
            <a:off x="6734082" y="5204393"/>
            <a:ext cx="4848318" cy="276999"/>
          </a:xfrm>
        </p:spPr>
        <p:txBody>
          <a:bodyPr wrap="square">
            <a:noAutofit/>
          </a:bodyPr>
          <a:lstStyle>
            <a:lvl1pPr marL="0" indent="0" algn="r">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0971041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Slide - 4 Members">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772DD-7002-F2A1-C348-A0C46F31C739}"/>
              </a:ext>
            </a:extLst>
          </p:cNvPr>
          <p:cNvSpPr>
            <a:spLocks noGrp="1"/>
          </p:cNvSpPr>
          <p:nvPr>
            <p:ph type="title"/>
          </p:nvPr>
        </p:nvSpPr>
        <p:spPr/>
        <p:txBody>
          <a:bodyPr>
            <a:noAutofit/>
          </a:bodyPr>
          <a:lstStyle/>
          <a:p>
            <a:r>
              <a:rPr lang="en-US"/>
              <a:t>Click to edit Master title style</a:t>
            </a:r>
          </a:p>
        </p:txBody>
      </p:sp>
      <p:sp>
        <p:nvSpPr>
          <p:cNvPr id="33" name="Text Placeholder 3">
            <a:extLst>
              <a:ext uri="{FF2B5EF4-FFF2-40B4-BE49-F238E27FC236}">
                <a16:creationId xmlns:a16="http://schemas.microsoft.com/office/drawing/2014/main" id="{FED28113-7C82-17C7-BA44-13930C355893}"/>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4" name="Picture Placeholder 17">
            <a:extLst>
              <a:ext uri="{FF2B5EF4-FFF2-40B4-BE49-F238E27FC236}">
                <a16:creationId xmlns:a16="http://schemas.microsoft.com/office/drawing/2014/main" id="{813769C8-2552-7A85-2B62-C7568B6AC9AE}"/>
              </a:ext>
            </a:extLst>
          </p:cNvPr>
          <p:cNvSpPr>
            <a:spLocks noGrp="1" noChangeAspect="1"/>
          </p:cNvSpPr>
          <p:nvPr>
            <p:ph type="pic" sz="quarter" idx="14" hasCustomPrompt="1"/>
          </p:nvPr>
        </p:nvSpPr>
        <p:spPr>
          <a:xfrm>
            <a:off x="609600" y="1960419"/>
            <a:ext cx="1354281" cy="1354281"/>
          </a:xfrm>
          <a:prstGeom prst="ellipse">
            <a:avLst/>
          </a:prstGeom>
          <a:solidFill>
            <a:schemeClr val="bg1">
              <a:lumMod val="75000"/>
            </a:schemeClr>
          </a:solidFill>
        </p:spPr>
        <p:txBody>
          <a:bodyPr anchor="ctr"/>
          <a:lstStyle>
            <a:lvl1pPr algn="ctr">
              <a:defRPr sz="1800"/>
            </a:lvl1pPr>
          </a:lstStyle>
          <a:p>
            <a:r>
              <a:rPr lang="en-US" dirty="0"/>
              <a:t>Headshot</a:t>
            </a:r>
          </a:p>
        </p:txBody>
      </p:sp>
      <p:sp>
        <p:nvSpPr>
          <p:cNvPr id="36" name="Text Placeholder 35">
            <a:extLst>
              <a:ext uri="{FF2B5EF4-FFF2-40B4-BE49-F238E27FC236}">
                <a16:creationId xmlns:a16="http://schemas.microsoft.com/office/drawing/2014/main" id="{EF0FDF04-B2B6-525D-AE0D-E3736EA1858B}"/>
              </a:ext>
            </a:extLst>
          </p:cNvPr>
          <p:cNvSpPr>
            <a:spLocks noGrp="1"/>
          </p:cNvSpPr>
          <p:nvPr>
            <p:ph type="body" sz="quarter" idx="15" hasCustomPrompt="1"/>
          </p:nvPr>
        </p:nvSpPr>
        <p:spPr>
          <a:xfrm>
            <a:off x="609600" y="3527923"/>
            <a:ext cx="2258568" cy="307777"/>
          </a:xfrm>
        </p:spPr>
        <p:txBody>
          <a:bodyPr anchor="b">
            <a:noAutofit/>
          </a:bodyPr>
          <a:lstStyle>
            <a:lvl1pPr>
              <a:spcAft>
                <a:spcPts val="0"/>
              </a:spcAft>
              <a:defRPr b="1">
                <a:latin typeface="+mj-lt"/>
              </a:defRPr>
            </a:lvl1pPr>
            <a:lvl2pPr marL="0" indent="0">
              <a:spcAft>
                <a:spcPts val="0"/>
              </a:spcAft>
              <a:buNone/>
              <a:defRPr sz="1600"/>
            </a:lvl2pPr>
          </a:lstStyle>
          <a:p>
            <a:pPr lvl="0"/>
            <a:r>
              <a:rPr lang="en-US"/>
              <a:t>Name, Last Name</a:t>
            </a:r>
          </a:p>
        </p:txBody>
      </p:sp>
      <p:sp>
        <p:nvSpPr>
          <p:cNvPr id="38" name="Text Placeholder 37">
            <a:extLst>
              <a:ext uri="{FF2B5EF4-FFF2-40B4-BE49-F238E27FC236}">
                <a16:creationId xmlns:a16="http://schemas.microsoft.com/office/drawing/2014/main" id="{054EC6BE-3F2F-E9B7-0C72-6CDE487B5CFF}"/>
              </a:ext>
            </a:extLst>
          </p:cNvPr>
          <p:cNvSpPr>
            <a:spLocks noGrp="1"/>
          </p:cNvSpPr>
          <p:nvPr>
            <p:ph type="body" sz="quarter" idx="16"/>
          </p:nvPr>
        </p:nvSpPr>
        <p:spPr>
          <a:xfrm>
            <a:off x="609600" y="4597059"/>
            <a:ext cx="2258568" cy="1308441"/>
          </a:xfrm>
        </p:spPr>
        <p:txBody>
          <a:bodyPr>
            <a:noAutofit/>
          </a:bodyPr>
          <a:lstStyle>
            <a:lvl1pPr>
              <a:defRPr sz="1400"/>
            </a:lvl1pPr>
            <a:lvl2pPr marL="0" indent="0">
              <a:buNone/>
              <a:defRPr/>
            </a:lvl2pPr>
          </a:lstStyle>
          <a:p>
            <a:pPr lvl="0"/>
            <a:r>
              <a:rPr lang="en-US"/>
              <a:t>Click to edit Master text styles</a:t>
            </a:r>
          </a:p>
        </p:txBody>
      </p:sp>
      <p:sp>
        <p:nvSpPr>
          <p:cNvPr id="42" name="Picture Placeholder 17">
            <a:extLst>
              <a:ext uri="{FF2B5EF4-FFF2-40B4-BE49-F238E27FC236}">
                <a16:creationId xmlns:a16="http://schemas.microsoft.com/office/drawing/2014/main" id="{6252DFA9-6D54-E4B7-97FB-9F469D69C192}"/>
              </a:ext>
            </a:extLst>
          </p:cNvPr>
          <p:cNvSpPr>
            <a:spLocks noGrp="1" noChangeAspect="1"/>
          </p:cNvSpPr>
          <p:nvPr>
            <p:ph type="pic" sz="quarter" idx="17" hasCustomPrompt="1"/>
          </p:nvPr>
        </p:nvSpPr>
        <p:spPr>
          <a:xfrm>
            <a:off x="3516666" y="1960419"/>
            <a:ext cx="1354281" cy="1354281"/>
          </a:xfrm>
          <a:prstGeom prst="ellipse">
            <a:avLst/>
          </a:prstGeom>
          <a:solidFill>
            <a:schemeClr val="bg1">
              <a:lumMod val="75000"/>
            </a:schemeClr>
          </a:solidFill>
        </p:spPr>
        <p:txBody>
          <a:bodyPr anchor="ctr"/>
          <a:lstStyle>
            <a:lvl1pPr algn="ctr">
              <a:defRPr sz="18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Headshot</a:t>
            </a:r>
          </a:p>
        </p:txBody>
      </p:sp>
      <p:sp>
        <p:nvSpPr>
          <p:cNvPr id="44" name="Text Placeholder 37">
            <a:extLst>
              <a:ext uri="{FF2B5EF4-FFF2-40B4-BE49-F238E27FC236}">
                <a16:creationId xmlns:a16="http://schemas.microsoft.com/office/drawing/2014/main" id="{7B0BDFE2-624A-1A15-5460-B5974D8FC7DD}"/>
              </a:ext>
            </a:extLst>
          </p:cNvPr>
          <p:cNvSpPr>
            <a:spLocks noGrp="1"/>
          </p:cNvSpPr>
          <p:nvPr>
            <p:ph type="body" sz="quarter" idx="19"/>
          </p:nvPr>
        </p:nvSpPr>
        <p:spPr>
          <a:xfrm>
            <a:off x="3516666" y="4597059"/>
            <a:ext cx="2258568" cy="1308441"/>
          </a:xfrm>
        </p:spPr>
        <p:txBody>
          <a:bodyPr>
            <a:noAutofit/>
          </a:bodyPr>
          <a:lstStyle>
            <a:lvl1pPr>
              <a:defRPr sz="1400"/>
            </a:lvl1pPr>
            <a:lvl2pPr marL="0" indent="0">
              <a:buNone/>
              <a:defRPr/>
            </a:lvl2pPr>
          </a:lstStyle>
          <a:p>
            <a:pPr lvl="0"/>
            <a:r>
              <a:rPr lang="en-US"/>
              <a:t>Click to edit Master text styles</a:t>
            </a:r>
          </a:p>
        </p:txBody>
      </p:sp>
      <p:sp>
        <p:nvSpPr>
          <p:cNvPr id="48" name="Picture Placeholder 17">
            <a:extLst>
              <a:ext uri="{FF2B5EF4-FFF2-40B4-BE49-F238E27FC236}">
                <a16:creationId xmlns:a16="http://schemas.microsoft.com/office/drawing/2014/main" id="{292B6EA7-82EF-8D0E-757D-2DBF0C8C53DF}"/>
              </a:ext>
            </a:extLst>
          </p:cNvPr>
          <p:cNvSpPr>
            <a:spLocks noGrp="1" noChangeAspect="1"/>
          </p:cNvSpPr>
          <p:nvPr>
            <p:ph type="pic" sz="quarter" idx="20" hasCustomPrompt="1"/>
          </p:nvPr>
        </p:nvSpPr>
        <p:spPr>
          <a:xfrm>
            <a:off x="6419088" y="1960419"/>
            <a:ext cx="1354281" cy="1354281"/>
          </a:xfrm>
          <a:prstGeom prst="ellipse">
            <a:avLst/>
          </a:prstGeom>
          <a:solidFill>
            <a:schemeClr val="bg1">
              <a:lumMod val="75000"/>
            </a:schemeClr>
          </a:solidFill>
        </p:spPr>
        <p:txBody>
          <a:bodyPr anchor="ctr"/>
          <a:lstStyle>
            <a:lvl1pPr algn="ctr">
              <a:defRPr sz="18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Headshot</a:t>
            </a:r>
          </a:p>
        </p:txBody>
      </p:sp>
      <p:sp>
        <p:nvSpPr>
          <p:cNvPr id="50" name="Text Placeholder 37">
            <a:extLst>
              <a:ext uri="{FF2B5EF4-FFF2-40B4-BE49-F238E27FC236}">
                <a16:creationId xmlns:a16="http://schemas.microsoft.com/office/drawing/2014/main" id="{81EF1E7C-A189-32BE-97B5-28DA00F81F0F}"/>
              </a:ext>
            </a:extLst>
          </p:cNvPr>
          <p:cNvSpPr>
            <a:spLocks noGrp="1"/>
          </p:cNvSpPr>
          <p:nvPr>
            <p:ph type="body" sz="quarter" idx="22"/>
          </p:nvPr>
        </p:nvSpPr>
        <p:spPr>
          <a:xfrm>
            <a:off x="6419088" y="4597059"/>
            <a:ext cx="2258568" cy="1308441"/>
          </a:xfrm>
        </p:spPr>
        <p:txBody>
          <a:bodyPr>
            <a:noAutofit/>
          </a:bodyPr>
          <a:lstStyle>
            <a:lvl1pPr>
              <a:defRPr sz="1400"/>
            </a:lvl1pPr>
            <a:lvl2pPr marL="0" indent="0">
              <a:buNone/>
              <a:defRPr/>
            </a:lvl2pPr>
          </a:lstStyle>
          <a:p>
            <a:pPr lvl="0"/>
            <a:r>
              <a:rPr lang="en-US"/>
              <a:t>Click to edit Master text styles</a:t>
            </a:r>
          </a:p>
        </p:txBody>
      </p:sp>
      <p:sp>
        <p:nvSpPr>
          <p:cNvPr id="61" name="Picture Placeholder 17">
            <a:extLst>
              <a:ext uri="{FF2B5EF4-FFF2-40B4-BE49-F238E27FC236}">
                <a16:creationId xmlns:a16="http://schemas.microsoft.com/office/drawing/2014/main" id="{424B2AD3-6B91-052B-36CC-6D5B353D4876}"/>
              </a:ext>
            </a:extLst>
          </p:cNvPr>
          <p:cNvSpPr>
            <a:spLocks noGrp="1" noChangeAspect="1"/>
          </p:cNvSpPr>
          <p:nvPr>
            <p:ph type="pic" sz="quarter" idx="23" hasCustomPrompt="1"/>
          </p:nvPr>
        </p:nvSpPr>
        <p:spPr>
          <a:xfrm>
            <a:off x="9323832" y="1960419"/>
            <a:ext cx="1354281" cy="1354281"/>
          </a:xfrm>
          <a:prstGeom prst="ellipse">
            <a:avLst/>
          </a:prstGeom>
          <a:solidFill>
            <a:schemeClr val="bg1">
              <a:lumMod val="75000"/>
            </a:schemeClr>
          </a:solidFill>
        </p:spPr>
        <p:txBody>
          <a:bodyPr anchor="ctr"/>
          <a:lstStyle>
            <a:lvl1pPr algn="ctr">
              <a:defRPr sz="18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Headshot</a:t>
            </a:r>
          </a:p>
        </p:txBody>
      </p:sp>
      <p:sp>
        <p:nvSpPr>
          <p:cNvPr id="63" name="Text Placeholder 37">
            <a:extLst>
              <a:ext uri="{FF2B5EF4-FFF2-40B4-BE49-F238E27FC236}">
                <a16:creationId xmlns:a16="http://schemas.microsoft.com/office/drawing/2014/main" id="{A8E41E57-8F61-2F5E-A3A4-ED89414D828D}"/>
              </a:ext>
            </a:extLst>
          </p:cNvPr>
          <p:cNvSpPr>
            <a:spLocks noGrp="1"/>
          </p:cNvSpPr>
          <p:nvPr>
            <p:ph type="body" sz="quarter" idx="25"/>
          </p:nvPr>
        </p:nvSpPr>
        <p:spPr>
          <a:xfrm>
            <a:off x="9323832" y="4597059"/>
            <a:ext cx="2258568" cy="1308441"/>
          </a:xfrm>
        </p:spPr>
        <p:txBody>
          <a:bodyPr>
            <a:noAutofit/>
          </a:bodyPr>
          <a:lstStyle>
            <a:lvl1pPr>
              <a:defRPr sz="1400"/>
            </a:lvl1pPr>
            <a:lvl2pPr marL="0" indent="0">
              <a:buNone/>
              <a:defRPr/>
            </a:lvl2pPr>
          </a:lstStyle>
          <a:p>
            <a:pPr lvl="0"/>
            <a:r>
              <a:rPr lang="en-US"/>
              <a:t>Click to edit Master text styles</a:t>
            </a:r>
          </a:p>
        </p:txBody>
      </p:sp>
      <p:sp>
        <p:nvSpPr>
          <p:cNvPr id="5" name="Date Placeholder 49">
            <a:extLst>
              <a:ext uri="{FF2B5EF4-FFF2-40B4-BE49-F238E27FC236}">
                <a16:creationId xmlns:a16="http://schemas.microsoft.com/office/drawing/2014/main" id="{A1790F86-0957-48DF-CC52-AE8AE9487111}"/>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D7F9F177-B21B-4601-9445-BEDBCD962BE3}" type="datetime4">
              <a:rPr lang="en-US" smtClean="0"/>
              <a:t>May 17, 2025</a:t>
            </a:fld>
            <a:endParaRPr lang="en-US" dirty="0"/>
          </a:p>
        </p:txBody>
      </p:sp>
      <p:sp>
        <p:nvSpPr>
          <p:cNvPr id="7" name="Text Placeholder 7">
            <a:extLst>
              <a:ext uri="{FF2B5EF4-FFF2-40B4-BE49-F238E27FC236}">
                <a16:creationId xmlns:a16="http://schemas.microsoft.com/office/drawing/2014/main" id="{D74D7FCE-5041-B026-EA43-51B21F3B8BE7}"/>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3" name="Footer Placeholder 4">
            <a:extLst>
              <a:ext uri="{FF2B5EF4-FFF2-40B4-BE49-F238E27FC236}">
                <a16:creationId xmlns:a16="http://schemas.microsoft.com/office/drawing/2014/main" id="{EBF6BF5C-8307-B3C5-1249-18E632BF5044}"/>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8" name="Slide Number Placeholder 5">
            <a:extLst>
              <a:ext uri="{FF2B5EF4-FFF2-40B4-BE49-F238E27FC236}">
                <a16:creationId xmlns:a16="http://schemas.microsoft.com/office/drawing/2014/main" id="{FCAA7CBE-DA9D-01C9-A282-A6D10AF8D44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24" name="Text Placeholder 33">
            <a:extLst>
              <a:ext uri="{FF2B5EF4-FFF2-40B4-BE49-F238E27FC236}">
                <a16:creationId xmlns:a16="http://schemas.microsoft.com/office/drawing/2014/main" id="{D11A414D-3F82-F52A-ED69-FAB9EFC6ECEB}"/>
              </a:ext>
            </a:extLst>
          </p:cNvPr>
          <p:cNvSpPr>
            <a:spLocks noGrp="1"/>
          </p:cNvSpPr>
          <p:nvPr>
            <p:ph type="body" sz="quarter" idx="29" hasCustomPrompt="1"/>
          </p:nvPr>
        </p:nvSpPr>
        <p:spPr>
          <a:xfrm>
            <a:off x="611556" y="3843884"/>
            <a:ext cx="2256612" cy="246221"/>
          </a:xfrm>
        </p:spPr>
        <p:txBody>
          <a:bodyPr wrap="square">
            <a:noAutofit/>
          </a:bodyPr>
          <a:lstStyle>
            <a:lvl1pPr marL="0" indent="0">
              <a:spcAft>
                <a:spcPts val="300"/>
              </a:spcAft>
              <a:buFont typeface="Arial" panose="020B0604020202020204" pitchFamily="34" charset="0"/>
              <a:buNone/>
              <a:defRPr sz="16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25" name="Text Placeholder 35">
            <a:extLst>
              <a:ext uri="{FF2B5EF4-FFF2-40B4-BE49-F238E27FC236}">
                <a16:creationId xmlns:a16="http://schemas.microsoft.com/office/drawing/2014/main" id="{2D933587-49D3-B2C3-66A7-A4E240E34C92}"/>
              </a:ext>
            </a:extLst>
          </p:cNvPr>
          <p:cNvSpPr>
            <a:spLocks noGrp="1"/>
          </p:cNvSpPr>
          <p:nvPr>
            <p:ph type="body" sz="quarter" idx="30" hasCustomPrompt="1"/>
          </p:nvPr>
        </p:nvSpPr>
        <p:spPr>
          <a:xfrm>
            <a:off x="3516666" y="3523468"/>
            <a:ext cx="2258568" cy="307777"/>
          </a:xfrm>
        </p:spPr>
        <p:txBody>
          <a:bodyPr anchor="b">
            <a:noAutofit/>
          </a:bodyPr>
          <a:lstStyle>
            <a:lvl1pPr>
              <a:spcAft>
                <a:spcPts val="0"/>
              </a:spcAft>
              <a:defRPr b="1">
                <a:latin typeface="+mj-lt"/>
              </a:defRPr>
            </a:lvl1pPr>
            <a:lvl2pPr marL="0" indent="0">
              <a:spcAft>
                <a:spcPts val="0"/>
              </a:spcAft>
              <a:buNone/>
              <a:defRPr sz="1600"/>
            </a:lvl2pPr>
          </a:lstStyle>
          <a:p>
            <a:pPr lvl="0"/>
            <a:r>
              <a:rPr lang="en-US"/>
              <a:t>Name, Last Name</a:t>
            </a:r>
          </a:p>
        </p:txBody>
      </p:sp>
      <p:sp>
        <p:nvSpPr>
          <p:cNvPr id="26" name="Text Placeholder 35">
            <a:extLst>
              <a:ext uri="{FF2B5EF4-FFF2-40B4-BE49-F238E27FC236}">
                <a16:creationId xmlns:a16="http://schemas.microsoft.com/office/drawing/2014/main" id="{EDAEAA86-D287-3299-DB78-D7C8566793B0}"/>
              </a:ext>
            </a:extLst>
          </p:cNvPr>
          <p:cNvSpPr>
            <a:spLocks noGrp="1"/>
          </p:cNvSpPr>
          <p:nvPr>
            <p:ph type="body" sz="quarter" idx="31" hasCustomPrompt="1"/>
          </p:nvPr>
        </p:nvSpPr>
        <p:spPr>
          <a:xfrm>
            <a:off x="6419088" y="3523468"/>
            <a:ext cx="2258568" cy="307777"/>
          </a:xfrm>
        </p:spPr>
        <p:txBody>
          <a:bodyPr anchor="b">
            <a:noAutofit/>
          </a:bodyPr>
          <a:lstStyle>
            <a:lvl1pPr>
              <a:spcAft>
                <a:spcPts val="0"/>
              </a:spcAft>
              <a:defRPr b="1">
                <a:latin typeface="+mj-lt"/>
              </a:defRPr>
            </a:lvl1pPr>
            <a:lvl2pPr marL="0" indent="0">
              <a:spcAft>
                <a:spcPts val="0"/>
              </a:spcAft>
              <a:buNone/>
              <a:defRPr sz="1600"/>
            </a:lvl2pPr>
          </a:lstStyle>
          <a:p>
            <a:pPr lvl="0"/>
            <a:r>
              <a:rPr lang="en-US"/>
              <a:t>Name, Last Name</a:t>
            </a:r>
          </a:p>
        </p:txBody>
      </p:sp>
      <p:sp>
        <p:nvSpPr>
          <p:cNvPr id="27" name="Text Placeholder 35">
            <a:extLst>
              <a:ext uri="{FF2B5EF4-FFF2-40B4-BE49-F238E27FC236}">
                <a16:creationId xmlns:a16="http://schemas.microsoft.com/office/drawing/2014/main" id="{65942B2D-3AC5-A77A-2B67-473A7F884BBC}"/>
              </a:ext>
            </a:extLst>
          </p:cNvPr>
          <p:cNvSpPr>
            <a:spLocks noGrp="1"/>
          </p:cNvSpPr>
          <p:nvPr>
            <p:ph type="body" sz="quarter" idx="32" hasCustomPrompt="1"/>
          </p:nvPr>
        </p:nvSpPr>
        <p:spPr>
          <a:xfrm>
            <a:off x="9323832" y="3523468"/>
            <a:ext cx="2258568" cy="307777"/>
          </a:xfrm>
        </p:spPr>
        <p:txBody>
          <a:bodyPr anchor="b">
            <a:noAutofit/>
          </a:bodyPr>
          <a:lstStyle>
            <a:lvl1pPr>
              <a:spcAft>
                <a:spcPts val="0"/>
              </a:spcAft>
              <a:defRPr b="1">
                <a:latin typeface="+mj-lt"/>
              </a:defRPr>
            </a:lvl1pPr>
            <a:lvl2pPr marL="0" indent="0">
              <a:spcAft>
                <a:spcPts val="0"/>
              </a:spcAft>
              <a:buNone/>
              <a:defRPr sz="1600"/>
            </a:lvl2pPr>
          </a:lstStyle>
          <a:p>
            <a:pPr lvl="0"/>
            <a:r>
              <a:rPr lang="en-US"/>
              <a:t>Name, Last Name</a:t>
            </a:r>
          </a:p>
        </p:txBody>
      </p:sp>
      <p:sp>
        <p:nvSpPr>
          <p:cNvPr id="28" name="Text Placeholder 33">
            <a:extLst>
              <a:ext uri="{FF2B5EF4-FFF2-40B4-BE49-F238E27FC236}">
                <a16:creationId xmlns:a16="http://schemas.microsoft.com/office/drawing/2014/main" id="{ED2CB8D3-2554-6B6C-E376-EBA35297A1AD}"/>
              </a:ext>
            </a:extLst>
          </p:cNvPr>
          <p:cNvSpPr>
            <a:spLocks noGrp="1"/>
          </p:cNvSpPr>
          <p:nvPr>
            <p:ph type="body" sz="quarter" idx="33" hasCustomPrompt="1"/>
          </p:nvPr>
        </p:nvSpPr>
        <p:spPr>
          <a:xfrm>
            <a:off x="3518657" y="3843884"/>
            <a:ext cx="2256612" cy="246221"/>
          </a:xfrm>
        </p:spPr>
        <p:txBody>
          <a:bodyPr wrap="square">
            <a:noAutofit/>
          </a:bodyPr>
          <a:lstStyle>
            <a:lvl1pPr marL="0" indent="0">
              <a:spcAft>
                <a:spcPts val="300"/>
              </a:spcAft>
              <a:buFont typeface="Arial" panose="020B0604020202020204" pitchFamily="34" charset="0"/>
              <a:buNone/>
              <a:defRPr sz="16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29" name="Text Placeholder 33">
            <a:extLst>
              <a:ext uri="{FF2B5EF4-FFF2-40B4-BE49-F238E27FC236}">
                <a16:creationId xmlns:a16="http://schemas.microsoft.com/office/drawing/2014/main" id="{7BD67107-7EFF-BB36-FE18-C91DD9348321}"/>
              </a:ext>
            </a:extLst>
          </p:cNvPr>
          <p:cNvSpPr>
            <a:spLocks noGrp="1"/>
          </p:cNvSpPr>
          <p:nvPr>
            <p:ph type="body" sz="quarter" idx="34" hasCustomPrompt="1"/>
          </p:nvPr>
        </p:nvSpPr>
        <p:spPr>
          <a:xfrm>
            <a:off x="6425759" y="3843884"/>
            <a:ext cx="2256612" cy="246221"/>
          </a:xfrm>
        </p:spPr>
        <p:txBody>
          <a:bodyPr wrap="square">
            <a:noAutofit/>
          </a:bodyPr>
          <a:lstStyle>
            <a:lvl1pPr marL="0" indent="0">
              <a:spcAft>
                <a:spcPts val="300"/>
              </a:spcAft>
              <a:buFont typeface="Arial" panose="020B0604020202020204" pitchFamily="34" charset="0"/>
              <a:buNone/>
              <a:defRPr sz="16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30" name="Text Placeholder 33">
            <a:extLst>
              <a:ext uri="{FF2B5EF4-FFF2-40B4-BE49-F238E27FC236}">
                <a16:creationId xmlns:a16="http://schemas.microsoft.com/office/drawing/2014/main" id="{F5BC2639-2D4C-EA86-460B-D75BD37E0AAC}"/>
              </a:ext>
            </a:extLst>
          </p:cNvPr>
          <p:cNvSpPr>
            <a:spLocks noGrp="1"/>
          </p:cNvSpPr>
          <p:nvPr>
            <p:ph type="body" sz="quarter" idx="35" hasCustomPrompt="1"/>
          </p:nvPr>
        </p:nvSpPr>
        <p:spPr>
          <a:xfrm>
            <a:off x="9306982" y="3843884"/>
            <a:ext cx="2256612" cy="246221"/>
          </a:xfrm>
        </p:spPr>
        <p:txBody>
          <a:bodyPr wrap="square">
            <a:noAutofit/>
          </a:bodyPr>
          <a:lstStyle>
            <a:lvl1pPr marL="0" indent="0">
              <a:spcAft>
                <a:spcPts val="300"/>
              </a:spcAft>
              <a:buFont typeface="Arial" panose="020B0604020202020204" pitchFamily="34" charset="0"/>
              <a:buNone/>
              <a:defRPr sz="16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570753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hort Team Slide - 8 Members">
    <p:bg>
      <p:bgPr>
        <a:solidFill>
          <a:srgbClr val="F3F3F3"/>
        </a:solidFill>
        <a:effectLst/>
      </p:bgPr>
    </p:bg>
    <p:spTree>
      <p:nvGrpSpPr>
        <p:cNvPr id="1" name=""/>
        <p:cNvGrpSpPr/>
        <p:nvPr/>
      </p:nvGrpSpPr>
      <p:grpSpPr>
        <a:xfrm>
          <a:off x="0" y="0"/>
          <a:ext cx="0" cy="0"/>
          <a:chOff x="0" y="0"/>
          <a:chExt cx="0" cy="0"/>
        </a:xfrm>
      </p:grpSpPr>
      <p:sp>
        <p:nvSpPr>
          <p:cNvPr id="6" name="Picture Placeholder 17">
            <a:extLst>
              <a:ext uri="{FF2B5EF4-FFF2-40B4-BE49-F238E27FC236}">
                <a16:creationId xmlns:a16="http://schemas.microsoft.com/office/drawing/2014/main" id="{874FFD84-E820-9CCF-0AD2-36B6B4FE3C82}"/>
              </a:ext>
            </a:extLst>
          </p:cNvPr>
          <p:cNvSpPr>
            <a:spLocks noGrp="1" noChangeAspect="1"/>
          </p:cNvSpPr>
          <p:nvPr>
            <p:ph type="pic" sz="quarter" idx="53" hasCustomPrompt="1"/>
          </p:nvPr>
        </p:nvSpPr>
        <p:spPr>
          <a:xfrm>
            <a:off x="9294705" y="1955700"/>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Headshot</a:t>
            </a:r>
          </a:p>
        </p:txBody>
      </p:sp>
      <p:sp>
        <p:nvSpPr>
          <p:cNvPr id="34" name="Picture Placeholder 17">
            <a:extLst>
              <a:ext uri="{FF2B5EF4-FFF2-40B4-BE49-F238E27FC236}">
                <a16:creationId xmlns:a16="http://schemas.microsoft.com/office/drawing/2014/main" id="{813769C8-2552-7A85-2B62-C7568B6AC9AE}"/>
              </a:ext>
            </a:extLst>
          </p:cNvPr>
          <p:cNvSpPr>
            <a:spLocks noGrp="1" noChangeAspect="1"/>
          </p:cNvSpPr>
          <p:nvPr>
            <p:ph type="pic" sz="quarter" idx="14" hasCustomPrompt="1"/>
          </p:nvPr>
        </p:nvSpPr>
        <p:spPr>
          <a:xfrm>
            <a:off x="609600" y="1955700"/>
            <a:ext cx="1054200" cy="1054200"/>
          </a:xfrm>
          <a:prstGeom prst="ellipse">
            <a:avLst/>
          </a:prstGeom>
          <a:solidFill>
            <a:schemeClr val="bg1">
              <a:lumMod val="75000"/>
            </a:schemeClr>
          </a:solidFill>
        </p:spPr>
        <p:txBody>
          <a:bodyPr anchor="ctr"/>
          <a:lstStyle>
            <a:lvl1pPr algn="ctr">
              <a:defRPr sz="1400"/>
            </a:lvl1pPr>
          </a:lstStyle>
          <a:p>
            <a:r>
              <a:rPr lang="en-US" dirty="0"/>
              <a:t>Headshot</a:t>
            </a:r>
          </a:p>
        </p:txBody>
      </p:sp>
      <p:sp>
        <p:nvSpPr>
          <p:cNvPr id="42" name="Picture Placeholder 17">
            <a:extLst>
              <a:ext uri="{FF2B5EF4-FFF2-40B4-BE49-F238E27FC236}">
                <a16:creationId xmlns:a16="http://schemas.microsoft.com/office/drawing/2014/main" id="{6252DFA9-6D54-E4B7-97FB-9F469D69C192}"/>
              </a:ext>
            </a:extLst>
          </p:cNvPr>
          <p:cNvSpPr>
            <a:spLocks noGrp="1" noChangeAspect="1"/>
          </p:cNvSpPr>
          <p:nvPr>
            <p:ph type="pic" sz="quarter" idx="17" hasCustomPrompt="1"/>
          </p:nvPr>
        </p:nvSpPr>
        <p:spPr>
          <a:xfrm>
            <a:off x="3490664" y="1955700"/>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Headshot</a:t>
            </a:r>
          </a:p>
        </p:txBody>
      </p:sp>
      <p:sp>
        <p:nvSpPr>
          <p:cNvPr id="48" name="Picture Placeholder 17">
            <a:extLst>
              <a:ext uri="{FF2B5EF4-FFF2-40B4-BE49-F238E27FC236}">
                <a16:creationId xmlns:a16="http://schemas.microsoft.com/office/drawing/2014/main" id="{292B6EA7-82EF-8D0E-757D-2DBF0C8C53DF}"/>
              </a:ext>
            </a:extLst>
          </p:cNvPr>
          <p:cNvSpPr>
            <a:spLocks noGrp="1" noChangeAspect="1"/>
          </p:cNvSpPr>
          <p:nvPr>
            <p:ph type="pic" sz="quarter" idx="20" hasCustomPrompt="1"/>
          </p:nvPr>
        </p:nvSpPr>
        <p:spPr>
          <a:xfrm>
            <a:off x="6419088" y="1955700"/>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Headshot</a:t>
            </a:r>
          </a:p>
        </p:txBody>
      </p:sp>
      <p:sp>
        <p:nvSpPr>
          <p:cNvPr id="19" name="Picture Placeholder 17">
            <a:extLst>
              <a:ext uri="{FF2B5EF4-FFF2-40B4-BE49-F238E27FC236}">
                <a16:creationId xmlns:a16="http://schemas.microsoft.com/office/drawing/2014/main" id="{4DE34035-F5AD-C611-062F-5093E74F76CC}"/>
              </a:ext>
            </a:extLst>
          </p:cNvPr>
          <p:cNvSpPr>
            <a:spLocks noGrp="1" noChangeAspect="1"/>
          </p:cNvSpPr>
          <p:nvPr>
            <p:ph type="pic" sz="quarter" idx="29" hasCustomPrompt="1"/>
          </p:nvPr>
        </p:nvSpPr>
        <p:spPr>
          <a:xfrm>
            <a:off x="609600" y="4198082"/>
            <a:ext cx="1054200" cy="1054200"/>
          </a:xfrm>
          <a:prstGeom prst="ellipse">
            <a:avLst/>
          </a:prstGeom>
          <a:solidFill>
            <a:schemeClr val="bg1">
              <a:lumMod val="75000"/>
            </a:schemeClr>
          </a:solidFill>
        </p:spPr>
        <p:txBody>
          <a:bodyPr anchor="ctr"/>
          <a:lstStyle>
            <a:lvl1pPr algn="ctr">
              <a:defRPr sz="1400"/>
            </a:lvl1pPr>
          </a:lstStyle>
          <a:p>
            <a:r>
              <a:rPr lang="en-US" dirty="0"/>
              <a:t>Headshot</a:t>
            </a:r>
          </a:p>
        </p:txBody>
      </p:sp>
      <p:sp>
        <p:nvSpPr>
          <p:cNvPr id="21" name="Picture Placeholder 17">
            <a:extLst>
              <a:ext uri="{FF2B5EF4-FFF2-40B4-BE49-F238E27FC236}">
                <a16:creationId xmlns:a16="http://schemas.microsoft.com/office/drawing/2014/main" id="{9686D5F5-5FD5-BDDF-5740-B4C1FA0E5BF8}"/>
              </a:ext>
            </a:extLst>
          </p:cNvPr>
          <p:cNvSpPr>
            <a:spLocks noGrp="1" noChangeAspect="1"/>
          </p:cNvSpPr>
          <p:nvPr>
            <p:ph type="pic" sz="quarter" idx="31" hasCustomPrompt="1"/>
          </p:nvPr>
        </p:nvSpPr>
        <p:spPr>
          <a:xfrm>
            <a:off x="3490664" y="4198082"/>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Headshot</a:t>
            </a:r>
          </a:p>
        </p:txBody>
      </p:sp>
      <p:sp>
        <p:nvSpPr>
          <p:cNvPr id="23" name="Picture Placeholder 17">
            <a:extLst>
              <a:ext uri="{FF2B5EF4-FFF2-40B4-BE49-F238E27FC236}">
                <a16:creationId xmlns:a16="http://schemas.microsoft.com/office/drawing/2014/main" id="{FB7DC8FB-AA4D-3AEF-1A74-024B0CDBA10D}"/>
              </a:ext>
            </a:extLst>
          </p:cNvPr>
          <p:cNvSpPr>
            <a:spLocks noGrp="1" noChangeAspect="1"/>
          </p:cNvSpPr>
          <p:nvPr>
            <p:ph type="pic" sz="quarter" idx="33" hasCustomPrompt="1"/>
          </p:nvPr>
        </p:nvSpPr>
        <p:spPr>
          <a:xfrm>
            <a:off x="6419088" y="4198082"/>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Headshot</a:t>
            </a:r>
          </a:p>
        </p:txBody>
      </p:sp>
      <p:sp>
        <p:nvSpPr>
          <p:cNvPr id="25" name="Picture Placeholder 17">
            <a:extLst>
              <a:ext uri="{FF2B5EF4-FFF2-40B4-BE49-F238E27FC236}">
                <a16:creationId xmlns:a16="http://schemas.microsoft.com/office/drawing/2014/main" id="{9DD06D5E-68D8-CF3C-E2F0-C5A1D9EE6675}"/>
              </a:ext>
            </a:extLst>
          </p:cNvPr>
          <p:cNvSpPr>
            <a:spLocks noGrp="1" noChangeAspect="1"/>
          </p:cNvSpPr>
          <p:nvPr>
            <p:ph type="pic" sz="quarter" idx="35" hasCustomPrompt="1"/>
          </p:nvPr>
        </p:nvSpPr>
        <p:spPr>
          <a:xfrm>
            <a:off x="9290495" y="4198082"/>
            <a:ext cx="1054200" cy="1054200"/>
          </a:xfrm>
          <a:prstGeom prst="ellipse">
            <a:avLst/>
          </a:prstGeom>
          <a:solidFill>
            <a:schemeClr val="bg1">
              <a:lumMod val="75000"/>
            </a:schemeClr>
          </a:solidFill>
        </p:spPr>
        <p:txBody>
          <a:bodyPr anchor="ctr"/>
          <a:lstStyle>
            <a:lvl1pPr algn="ctr">
              <a:defRPr sz="1400"/>
            </a:lvl1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dirty="0"/>
              <a:t>Headshot</a:t>
            </a:r>
          </a:p>
        </p:txBody>
      </p:sp>
      <p:sp>
        <p:nvSpPr>
          <p:cNvPr id="2" name="Title 1">
            <a:extLst>
              <a:ext uri="{FF2B5EF4-FFF2-40B4-BE49-F238E27FC236}">
                <a16:creationId xmlns:a16="http://schemas.microsoft.com/office/drawing/2014/main" id="{94E772DD-7002-F2A1-C348-A0C46F31C739}"/>
              </a:ext>
            </a:extLst>
          </p:cNvPr>
          <p:cNvSpPr>
            <a:spLocks noGrp="1"/>
          </p:cNvSpPr>
          <p:nvPr>
            <p:ph type="title"/>
          </p:nvPr>
        </p:nvSpPr>
        <p:spPr/>
        <p:txBody>
          <a:bodyPr/>
          <a:lstStyle/>
          <a:p>
            <a:r>
              <a:rPr lang="en-US"/>
              <a:t>Click to edit Master title style</a:t>
            </a:r>
          </a:p>
        </p:txBody>
      </p:sp>
      <p:sp>
        <p:nvSpPr>
          <p:cNvPr id="33" name="Text Placeholder 3">
            <a:extLst>
              <a:ext uri="{FF2B5EF4-FFF2-40B4-BE49-F238E27FC236}">
                <a16:creationId xmlns:a16="http://schemas.microsoft.com/office/drawing/2014/main" id="{FED28113-7C82-17C7-BA44-13930C355893}"/>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5" name="Date Placeholder 49">
            <a:extLst>
              <a:ext uri="{FF2B5EF4-FFF2-40B4-BE49-F238E27FC236}">
                <a16:creationId xmlns:a16="http://schemas.microsoft.com/office/drawing/2014/main" id="{A1790F86-0957-48DF-CC52-AE8AE9487111}"/>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CAE2D3EF-2E1E-47F5-91C7-50BCE6E0488C}" type="datetime4">
              <a:rPr lang="en-US" smtClean="0"/>
              <a:t>May 17, 2025</a:t>
            </a:fld>
            <a:endParaRPr lang="en-US" dirty="0"/>
          </a:p>
        </p:txBody>
      </p:sp>
      <p:sp>
        <p:nvSpPr>
          <p:cNvPr id="7" name="Text Placeholder 7">
            <a:extLst>
              <a:ext uri="{FF2B5EF4-FFF2-40B4-BE49-F238E27FC236}">
                <a16:creationId xmlns:a16="http://schemas.microsoft.com/office/drawing/2014/main" id="{D74D7FCE-5041-B026-EA43-51B21F3B8BE7}"/>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3" name="Footer Placeholder 4">
            <a:extLst>
              <a:ext uri="{FF2B5EF4-FFF2-40B4-BE49-F238E27FC236}">
                <a16:creationId xmlns:a16="http://schemas.microsoft.com/office/drawing/2014/main" id="{EBF6BF5C-8307-B3C5-1249-18E632BF5044}"/>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8" name="Slide Number Placeholder 5">
            <a:extLst>
              <a:ext uri="{FF2B5EF4-FFF2-40B4-BE49-F238E27FC236}">
                <a16:creationId xmlns:a16="http://schemas.microsoft.com/office/drawing/2014/main" id="{FCAA7CBE-DA9D-01C9-A282-A6D10AF8D44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38" name="Text Placeholder 35">
            <a:extLst>
              <a:ext uri="{FF2B5EF4-FFF2-40B4-BE49-F238E27FC236}">
                <a16:creationId xmlns:a16="http://schemas.microsoft.com/office/drawing/2014/main" id="{82AC21C8-B99B-2BC0-E7AC-E462E85BB9D7}"/>
              </a:ext>
            </a:extLst>
          </p:cNvPr>
          <p:cNvSpPr>
            <a:spLocks noGrp="1"/>
          </p:cNvSpPr>
          <p:nvPr>
            <p:ph type="body" sz="quarter" idx="37" hasCustomPrompt="1"/>
          </p:nvPr>
        </p:nvSpPr>
        <p:spPr>
          <a:xfrm>
            <a:off x="607827" y="3227269"/>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39" name="Text Placeholder 33">
            <a:extLst>
              <a:ext uri="{FF2B5EF4-FFF2-40B4-BE49-F238E27FC236}">
                <a16:creationId xmlns:a16="http://schemas.microsoft.com/office/drawing/2014/main" id="{A35B063B-18C7-DC71-E554-282EDE7382B6}"/>
              </a:ext>
            </a:extLst>
          </p:cNvPr>
          <p:cNvSpPr>
            <a:spLocks noGrp="1"/>
          </p:cNvSpPr>
          <p:nvPr>
            <p:ph type="body" sz="quarter" idx="38" hasCustomPrompt="1"/>
          </p:nvPr>
        </p:nvSpPr>
        <p:spPr>
          <a:xfrm>
            <a:off x="607827" y="3512452"/>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50" name="Text Placeholder 35">
            <a:extLst>
              <a:ext uri="{FF2B5EF4-FFF2-40B4-BE49-F238E27FC236}">
                <a16:creationId xmlns:a16="http://schemas.microsoft.com/office/drawing/2014/main" id="{81B712C3-F5BF-4CC7-BBC7-D413680C44AA}"/>
              </a:ext>
            </a:extLst>
          </p:cNvPr>
          <p:cNvSpPr>
            <a:spLocks noGrp="1"/>
          </p:cNvSpPr>
          <p:nvPr>
            <p:ph type="body" sz="quarter" idx="39" hasCustomPrompt="1"/>
          </p:nvPr>
        </p:nvSpPr>
        <p:spPr>
          <a:xfrm>
            <a:off x="3486390" y="3227269"/>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51" name="Text Placeholder 33">
            <a:extLst>
              <a:ext uri="{FF2B5EF4-FFF2-40B4-BE49-F238E27FC236}">
                <a16:creationId xmlns:a16="http://schemas.microsoft.com/office/drawing/2014/main" id="{E299C6CE-8AF4-C719-828D-649CA9C94857}"/>
              </a:ext>
            </a:extLst>
          </p:cNvPr>
          <p:cNvSpPr>
            <a:spLocks noGrp="1"/>
          </p:cNvSpPr>
          <p:nvPr>
            <p:ph type="body" sz="quarter" idx="40" hasCustomPrompt="1"/>
          </p:nvPr>
        </p:nvSpPr>
        <p:spPr>
          <a:xfrm>
            <a:off x="3486390" y="3512452"/>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52" name="Text Placeholder 35">
            <a:extLst>
              <a:ext uri="{FF2B5EF4-FFF2-40B4-BE49-F238E27FC236}">
                <a16:creationId xmlns:a16="http://schemas.microsoft.com/office/drawing/2014/main" id="{EB801F43-F2B7-CBE9-357A-F36C0E975462}"/>
              </a:ext>
            </a:extLst>
          </p:cNvPr>
          <p:cNvSpPr>
            <a:spLocks noGrp="1"/>
          </p:cNvSpPr>
          <p:nvPr>
            <p:ph type="body" sz="quarter" idx="41" hasCustomPrompt="1"/>
          </p:nvPr>
        </p:nvSpPr>
        <p:spPr>
          <a:xfrm>
            <a:off x="6425922" y="3227269"/>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53" name="Text Placeholder 33">
            <a:extLst>
              <a:ext uri="{FF2B5EF4-FFF2-40B4-BE49-F238E27FC236}">
                <a16:creationId xmlns:a16="http://schemas.microsoft.com/office/drawing/2014/main" id="{E87D44B1-BC3F-1E5B-3A26-AF3B7FC2BF29}"/>
              </a:ext>
            </a:extLst>
          </p:cNvPr>
          <p:cNvSpPr>
            <a:spLocks noGrp="1"/>
          </p:cNvSpPr>
          <p:nvPr>
            <p:ph type="body" sz="quarter" idx="42" hasCustomPrompt="1"/>
          </p:nvPr>
        </p:nvSpPr>
        <p:spPr>
          <a:xfrm>
            <a:off x="6425922" y="3512452"/>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54" name="Text Placeholder 35">
            <a:extLst>
              <a:ext uri="{FF2B5EF4-FFF2-40B4-BE49-F238E27FC236}">
                <a16:creationId xmlns:a16="http://schemas.microsoft.com/office/drawing/2014/main" id="{5918D064-2F30-9CBA-2821-26AB4FE6EE68}"/>
              </a:ext>
            </a:extLst>
          </p:cNvPr>
          <p:cNvSpPr>
            <a:spLocks noGrp="1"/>
          </p:cNvSpPr>
          <p:nvPr>
            <p:ph type="body" sz="quarter" idx="43" hasCustomPrompt="1"/>
          </p:nvPr>
        </p:nvSpPr>
        <p:spPr>
          <a:xfrm>
            <a:off x="9330486" y="3227269"/>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55" name="Text Placeholder 33">
            <a:extLst>
              <a:ext uri="{FF2B5EF4-FFF2-40B4-BE49-F238E27FC236}">
                <a16:creationId xmlns:a16="http://schemas.microsoft.com/office/drawing/2014/main" id="{D8D0603C-7B55-B6BD-29F5-5DEA129998D0}"/>
              </a:ext>
            </a:extLst>
          </p:cNvPr>
          <p:cNvSpPr>
            <a:spLocks noGrp="1"/>
          </p:cNvSpPr>
          <p:nvPr>
            <p:ph type="body" sz="quarter" idx="44" hasCustomPrompt="1"/>
          </p:nvPr>
        </p:nvSpPr>
        <p:spPr>
          <a:xfrm>
            <a:off x="9330486" y="3512452"/>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66" name="Text Placeholder 35">
            <a:extLst>
              <a:ext uri="{FF2B5EF4-FFF2-40B4-BE49-F238E27FC236}">
                <a16:creationId xmlns:a16="http://schemas.microsoft.com/office/drawing/2014/main" id="{A062BA50-079C-6100-E301-EDBEDFAD3199}"/>
              </a:ext>
            </a:extLst>
          </p:cNvPr>
          <p:cNvSpPr>
            <a:spLocks noGrp="1"/>
          </p:cNvSpPr>
          <p:nvPr>
            <p:ph type="body" sz="quarter" idx="45" hasCustomPrompt="1"/>
          </p:nvPr>
        </p:nvSpPr>
        <p:spPr>
          <a:xfrm>
            <a:off x="607827" y="5468446"/>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67" name="Text Placeholder 33">
            <a:extLst>
              <a:ext uri="{FF2B5EF4-FFF2-40B4-BE49-F238E27FC236}">
                <a16:creationId xmlns:a16="http://schemas.microsoft.com/office/drawing/2014/main" id="{0E067610-4620-E1DE-2CD8-345CC45982B3}"/>
              </a:ext>
            </a:extLst>
          </p:cNvPr>
          <p:cNvSpPr>
            <a:spLocks noGrp="1"/>
          </p:cNvSpPr>
          <p:nvPr>
            <p:ph type="body" sz="quarter" idx="46" hasCustomPrompt="1"/>
          </p:nvPr>
        </p:nvSpPr>
        <p:spPr>
          <a:xfrm>
            <a:off x="607827" y="5753629"/>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68" name="Text Placeholder 35">
            <a:extLst>
              <a:ext uri="{FF2B5EF4-FFF2-40B4-BE49-F238E27FC236}">
                <a16:creationId xmlns:a16="http://schemas.microsoft.com/office/drawing/2014/main" id="{BE730581-6369-EB17-F80E-F02AC2596B3B}"/>
              </a:ext>
            </a:extLst>
          </p:cNvPr>
          <p:cNvSpPr>
            <a:spLocks noGrp="1"/>
          </p:cNvSpPr>
          <p:nvPr>
            <p:ph type="body" sz="quarter" idx="47" hasCustomPrompt="1"/>
          </p:nvPr>
        </p:nvSpPr>
        <p:spPr>
          <a:xfrm>
            <a:off x="3486390" y="5468446"/>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69" name="Text Placeholder 33">
            <a:extLst>
              <a:ext uri="{FF2B5EF4-FFF2-40B4-BE49-F238E27FC236}">
                <a16:creationId xmlns:a16="http://schemas.microsoft.com/office/drawing/2014/main" id="{C449B276-9CBD-FA88-B630-F665FA9395DD}"/>
              </a:ext>
            </a:extLst>
          </p:cNvPr>
          <p:cNvSpPr>
            <a:spLocks noGrp="1"/>
          </p:cNvSpPr>
          <p:nvPr>
            <p:ph type="body" sz="quarter" idx="48" hasCustomPrompt="1"/>
          </p:nvPr>
        </p:nvSpPr>
        <p:spPr>
          <a:xfrm>
            <a:off x="3486390" y="5753629"/>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70" name="Text Placeholder 35">
            <a:extLst>
              <a:ext uri="{FF2B5EF4-FFF2-40B4-BE49-F238E27FC236}">
                <a16:creationId xmlns:a16="http://schemas.microsoft.com/office/drawing/2014/main" id="{82641E12-3574-556D-9292-D2D8F17E0EB2}"/>
              </a:ext>
            </a:extLst>
          </p:cNvPr>
          <p:cNvSpPr>
            <a:spLocks noGrp="1"/>
          </p:cNvSpPr>
          <p:nvPr>
            <p:ph type="body" sz="quarter" idx="49" hasCustomPrompt="1"/>
          </p:nvPr>
        </p:nvSpPr>
        <p:spPr>
          <a:xfrm>
            <a:off x="6425922" y="5468446"/>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71" name="Text Placeholder 33">
            <a:extLst>
              <a:ext uri="{FF2B5EF4-FFF2-40B4-BE49-F238E27FC236}">
                <a16:creationId xmlns:a16="http://schemas.microsoft.com/office/drawing/2014/main" id="{62159AB4-5518-F95D-C883-5F18C31386FE}"/>
              </a:ext>
            </a:extLst>
          </p:cNvPr>
          <p:cNvSpPr>
            <a:spLocks noGrp="1"/>
          </p:cNvSpPr>
          <p:nvPr>
            <p:ph type="body" sz="quarter" idx="50" hasCustomPrompt="1"/>
          </p:nvPr>
        </p:nvSpPr>
        <p:spPr>
          <a:xfrm>
            <a:off x="6425922" y="5753629"/>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
        <p:nvSpPr>
          <p:cNvPr id="72" name="Text Placeholder 35">
            <a:extLst>
              <a:ext uri="{FF2B5EF4-FFF2-40B4-BE49-F238E27FC236}">
                <a16:creationId xmlns:a16="http://schemas.microsoft.com/office/drawing/2014/main" id="{EA3EE371-9B6A-94CB-E243-1B449F7F08BC}"/>
              </a:ext>
            </a:extLst>
          </p:cNvPr>
          <p:cNvSpPr>
            <a:spLocks noGrp="1"/>
          </p:cNvSpPr>
          <p:nvPr>
            <p:ph type="body" sz="quarter" idx="51" hasCustomPrompt="1"/>
          </p:nvPr>
        </p:nvSpPr>
        <p:spPr>
          <a:xfrm>
            <a:off x="9330486" y="5468446"/>
            <a:ext cx="2258568" cy="276999"/>
          </a:xfrm>
        </p:spPr>
        <p:txBody>
          <a:bodyPr anchor="b">
            <a:noAutofit/>
          </a:bodyPr>
          <a:lstStyle>
            <a:lvl1pPr>
              <a:spcAft>
                <a:spcPts val="0"/>
              </a:spcAft>
              <a:defRPr sz="1800" b="1">
                <a:latin typeface="+mj-lt"/>
              </a:defRPr>
            </a:lvl1pPr>
            <a:lvl2pPr marL="0" indent="0">
              <a:spcAft>
                <a:spcPts val="0"/>
              </a:spcAft>
              <a:buNone/>
              <a:defRPr sz="1600"/>
            </a:lvl2pPr>
          </a:lstStyle>
          <a:p>
            <a:pPr lvl="0"/>
            <a:r>
              <a:rPr lang="en-US"/>
              <a:t>Name, Last Name</a:t>
            </a:r>
          </a:p>
        </p:txBody>
      </p:sp>
      <p:sp>
        <p:nvSpPr>
          <p:cNvPr id="73" name="Text Placeholder 33">
            <a:extLst>
              <a:ext uri="{FF2B5EF4-FFF2-40B4-BE49-F238E27FC236}">
                <a16:creationId xmlns:a16="http://schemas.microsoft.com/office/drawing/2014/main" id="{29259BFE-97CF-E9D2-6119-F50C9DD2DDCB}"/>
              </a:ext>
            </a:extLst>
          </p:cNvPr>
          <p:cNvSpPr>
            <a:spLocks noGrp="1"/>
          </p:cNvSpPr>
          <p:nvPr>
            <p:ph type="body" sz="quarter" idx="52" hasCustomPrompt="1"/>
          </p:nvPr>
        </p:nvSpPr>
        <p:spPr>
          <a:xfrm>
            <a:off x="9330486" y="5753629"/>
            <a:ext cx="2256612" cy="215444"/>
          </a:xfrm>
        </p:spPr>
        <p:txBody>
          <a:bodyPr wrap="square">
            <a:noAutofit/>
          </a:bodyPr>
          <a:lstStyle>
            <a:lvl1pPr marL="0" indent="0">
              <a:spcAft>
                <a:spcPts val="300"/>
              </a:spcAft>
              <a:buFont typeface="Arial" panose="020B0604020202020204" pitchFamily="34" charset="0"/>
              <a:buNone/>
              <a:defRPr sz="14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7249836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1 - Dark">
    <p:bg>
      <p:bgPr>
        <a:solidFill>
          <a:schemeClr val="tx2"/>
        </a:solidFill>
        <a:effectLst/>
      </p:bgPr>
    </p:bg>
    <p:spTree>
      <p:nvGrpSpPr>
        <p:cNvPr id="1" name=""/>
        <p:cNvGrpSpPr/>
        <p:nvPr/>
      </p:nvGrpSpPr>
      <p:grpSpPr>
        <a:xfrm>
          <a:off x="0" y="0"/>
          <a:ext cx="0" cy="0"/>
          <a:chOff x="0" y="0"/>
          <a:chExt cx="0" cy="0"/>
        </a:xfrm>
      </p:grpSpPr>
      <p:grpSp>
        <p:nvGrpSpPr>
          <p:cNvPr id="3" name="Graphic 7">
            <a:extLst>
              <a:ext uri="{FF2B5EF4-FFF2-40B4-BE49-F238E27FC236}">
                <a16:creationId xmlns:a16="http://schemas.microsoft.com/office/drawing/2014/main" id="{C5A0A539-4BAC-8953-4BBA-6D59087AD769}"/>
              </a:ext>
            </a:extLst>
          </p:cNvPr>
          <p:cNvGrpSpPr/>
          <p:nvPr userDrawn="1"/>
        </p:nvGrpSpPr>
        <p:grpSpPr>
          <a:xfrm>
            <a:off x="609600" y="557212"/>
            <a:ext cx="1729317" cy="437558"/>
            <a:chOff x="609600" y="557212"/>
            <a:chExt cx="2670098" cy="675598"/>
          </a:xfrm>
        </p:grpSpPr>
        <p:sp>
          <p:nvSpPr>
            <p:cNvPr id="4" name="Freeform: Shape 3">
              <a:extLst>
                <a:ext uri="{FF2B5EF4-FFF2-40B4-BE49-F238E27FC236}">
                  <a16:creationId xmlns:a16="http://schemas.microsoft.com/office/drawing/2014/main" id="{CABD304E-130C-E81B-7AD9-4DF1D35529F5}"/>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420A9100-D517-D472-CEFD-D0D3A5BCF545}"/>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A4E6CE2-336C-0213-9FF5-26E16386C047}"/>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dirty="0"/>
            </a:p>
          </p:txBody>
        </p:sp>
      </p:grpSp>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4594548"/>
            <a:ext cx="5376672"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B7C6D37C-C62C-7CA0-D32B-2D5DC88A0F3A}"/>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9837" r="8121" b="7745"/>
          <a:stretch/>
        </p:blipFill>
        <p:spPr>
          <a:xfrm>
            <a:off x="5996682" y="-1"/>
            <a:ext cx="6195318" cy="6858001"/>
          </a:xfrm>
          <a:prstGeom prst="rect">
            <a:avLst/>
          </a:prstGeom>
        </p:spPr>
      </p:pic>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sp>
        <p:nvSpPr>
          <p:cNvPr id="18" name="Text Placeholder 16">
            <a:extLst>
              <a:ext uri="{FF2B5EF4-FFF2-40B4-BE49-F238E27FC236}">
                <a16:creationId xmlns:a16="http://schemas.microsoft.com/office/drawing/2014/main" id="{F2A9289B-23E0-657B-DF89-7F9B74F7660F}"/>
              </a:ext>
            </a:extLst>
          </p:cNvPr>
          <p:cNvSpPr>
            <a:spLocks noGrp="1"/>
          </p:cNvSpPr>
          <p:nvPr>
            <p:ph type="body" sz="quarter" idx="12" hasCustomPrompt="1"/>
          </p:nvPr>
        </p:nvSpPr>
        <p:spPr>
          <a:xfrm>
            <a:off x="609600" y="1523079"/>
            <a:ext cx="2468880" cy="223908"/>
          </a:xfrm>
        </p:spPr>
        <p:txBody>
          <a:bodyPr wrap="square">
            <a:noAutofit/>
          </a:bodyPr>
          <a:lstStyle>
            <a:lvl1pPr algn="l">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
        <p:nvSpPr>
          <p:cNvPr id="34" name="Text Placeholder 33">
            <a:extLst>
              <a:ext uri="{FF2B5EF4-FFF2-40B4-BE49-F238E27FC236}">
                <a16:creationId xmlns:a16="http://schemas.microsoft.com/office/drawing/2014/main" id="{D7147827-288A-C738-6D39-15FD117D3583}"/>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9600" y="6090476"/>
            <a:ext cx="1834388" cy="210312"/>
          </a:xfrm>
          <a:prstGeom prst="rect">
            <a:avLst/>
          </a:prstGeom>
        </p:spPr>
      </p:pic>
      <p:cxnSp>
        <p:nvCxnSpPr>
          <p:cNvPr id="2" name="Straight Connector 1">
            <a:extLst>
              <a:ext uri="{FF2B5EF4-FFF2-40B4-BE49-F238E27FC236}">
                <a16:creationId xmlns:a16="http://schemas.microsoft.com/office/drawing/2014/main" id="{6FCC54D6-1CD8-DA15-70A3-BCCDE81CDB97}"/>
              </a:ext>
            </a:extLst>
          </p:cNvPr>
          <p:cNvCxnSpPr>
            <a:cxnSpLocks/>
          </p:cNvCxnSpPr>
          <p:nvPr userDrawn="1"/>
        </p:nvCxnSpPr>
        <p:spPr>
          <a:xfrm>
            <a:off x="609600" y="4594548"/>
            <a:ext cx="5376672"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33">
            <a:extLst>
              <a:ext uri="{FF2B5EF4-FFF2-40B4-BE49-F238E27FC236}">
                <a16:creationId xmlns:a16="http://schemas.microsoft.com/office/drawing/2014/main" id="{AAE1FF1D-0F56-F757-7130-3FB597422C07}"/>
              </a:ext>
            </a:extLst>
          </p:cNvPr>
          <p:cNvSpPr>
            <a:spLocks noGrp="1"/>
          </p:cNvSpPr>
          <p:nvPr>
            <p:ph type="body" sz="quarter" idx="16"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33670993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Slide - 6 Members">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772DD-7002-F2A1-C348-A0C46F31C739}"/>
              </a:ext>
            </a:extLst>
          </p:cNvPr>
          <p:cNvSpPr>
            <a:spLocks noGrp="1"/>
          </p:cNvSpPr>
          <p:nvPr>
            <p:ph type="title"/>
          </p:nvPr>
        </p:nvSpPr>
        <p:spPr/>
        <p:txBody>
          <a:bodyPr/>
          <a:lstStyle/>
          <a:p>
            <a:r>
              <a:rPr lang="en-US"/>
              <a:t>Click to edit Master title style</a:t>
            </a:r>
          </a:p>
        </p:txBody>
      </p:sp>
      <p:sp>
        <p:nvSpPr>
          <p:cNvPr id="33" name="Text Placeholder 3">
            <a:extLst>
              <a:ext uri="{FF2B5EF4-FFF2-40B4-BE49-F238E27FC236}">
                <a16:creationId xmlns:a16="http://schemas.microsoft.com/office/drawing/2014/main" id="{FED28113-7C82-17C7-BA44-13930C355893}"/>
              </a:ext>
            </a:extLst>
          </p:cNvPr>
          <p:cNvSpPr>
            <a:spLocks noGrp="1"/>
          </p:cNvSpPr>
          <p:nvPr>
            <p:ph type="body" sz="quarter" idx="13" hasCustomPrompt="1"/>
          </p:nvPr>
        </p:nvSpPr>
        <p:spPr>
          <a:xfrm>
            <a:off x="609600" y="1371912"/>
            <a:ext cx="10972800" cy="307777"/>
          </a:xfrm>
        </p:spPr>
        <p:txBody>
          <a:bodyPr>
            <a:spAutoFit/>
          </a:bodyPr>
          <a:lstStyle>
            <a:lvl1pPr>
              <a:defRPr>
                <a:solidFill>
                  <a:schemeClr val="tx1">
                    <a:lumMod val="75000"/>
                    <a:lumOff val="25000"/>
                  </a:schemeClr>
                </a:solidFill>
              </a:defRPr>
            </a:lvl1pPr>
          </a:lstStyle>
          <a:p>
            <a:pPr lvl="0"/>
            <a:r>
              <a:rPr lang="en-US"/>
              <a:t>Subtitle</a:t>
            </a:r>
          </a:p>
        </p:txBody>
      </p:sp>
      <p:sp>
        <p:nvSpPr>
          <p:cNvPr id="74" name="Picture Placeholder 17">
            <a:extLst>
              <a:ext uri="{FF2B5EF4-FFF2-40B4-BE49-F238E27FC236}">
                <a16:creationId xmlns:a16="http://schemas.microsoft.com/office/drawing/2014/main" id="{91443FC3-6EBF-129A-7CB0-2E46444145C2}"/>
              </a:ext>
            </a:extLst>
          </p:cNvPr>
          <p:cNvSpPr>
            <a:spLocks noGrp="1" noChangeAspect="1"/>
          </p:cNvSpPr>
          <p:nvPr>
            <p:ph type="pic" sz="quarter" idx="14" hasCustomPrompt="1"/>
          </p:nvPr>
        </p:nvSpPr>
        <p:spPr>
          <a:xfrm>
            <a:off x="608243" y="1863727"/>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75" name="Text Placeholder 35">
            <a:extLst>
              <a:ext uri="{FF2B5EF4-FFF2-40B4-BE49-F238E27FC236}">
                <a16:creationId xmlns:a16="http://schemas.microsoft.com/office/drawing/2014/main" id="{E222FD77-B00D-14C1-128B-AF209F40E593}"/>
              </a:ext>
            </a:extLst>
          </p:cNvPr>
          <p:cNvSpPr>
            <a:spLocks noGrp="1"/>
          </p:cNvSpPr>
          <p:nvPr>
            <p:ph type="body" sz="quarter" idx="15" hasCustomPrompt="1"/>
          </p:nvPr>
        </p:nvSpPr>
        <p:spPr>
          <a:xfrm>
            <a:off x="1666368" y="1999692"/>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76" name="Text Placeholder 37">
            <a:extLst>
              <a:ext uri="{FF2B5EF4-FFF2-40B4-BE49-F238E27FC236}">
                <a16:creationId xmlns:a16="http://schemas.microsoft.com/office/drawing/2014/main" id="{EEB76F13-B749-A78B-DC39-0D7AB9482088}"/>
              </a:ext>
            </a:extLst>
          </p:cNvPr>
          <p:cNvSpPr>
            <a:spLocks noGrp="1"/>
          </p:cNvSpPr>
          <p:nvPr>
            <p:ph type="body" sz="quarter" idx="16"/>
          </p:nvPr>
        </p:nvSpPr>
        <p:spPr>
          <a:xfrm>
            <a:off x="605321" y="3018191"/>
            <a:ext cx="3337560" cy="649224"/>
          </a:xfrm>
        </p:spPr>
        <p:txBody>
          <a:bodyPr/>
          <a:lstStyle>
            <a:lvl1pPr>
              <a:defRPr sz="1400"/>
            </a:lvl1pPr>
            <a:lvl2pPr marL="0" indent="0">
              <a:buNone/>
              <a:defRPr/>
            </a:lvl2pPr>
          </a:lstStyle>
          <a:p>
            <a:pPr lvl="0"/>
            <a:r>
              <a:rPr lang="en-US"/>
              <a:t>Click to edit Master text styles</a:t>
            </a:r>
          </a:p>
        </p:txBody>
      </p:sp>
      <p:sp>
        <p:nvSpPr>
          <p:cNvPr id="80" name="Picture Placeholder 17">
            <a:extLst>
              <a:ext uri="{FF2B5EF4-FFF2-40B4-BE49-F238E27FC236}">
                <a16:creationId xmlns:a16="http://schemas.microsoft.com/office/drawing/2014/main" id="{B54E4C95-7221-9492-7471-0DCD6BCAB85A}"/>
              </a:ext>
            </a:extLst>
          </p:cNvPr>
          <p:cNvSpPr>
            <a:spLocks noGrp="1" noChangeAspect="1"/>
          </p:cNvSpPr>
          <p:nvPr>
            <p:ph type="pic" sz="quarter" idx="29" hasCustomPrompt="1"/>
          </p:nvPr>
        </p:nvSpPr>
        <p:spPr>
          <a:xfrm>
            <a:off x="4429360" y="1863727"/>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82" name="Text Placeholder 37">
            <a:extLst>
              <a:ext uri="{FF2B5EF4-FFF2-40B4-BE49-F238E27FC236}">
                <a16:creationId xmlns:a16="http://schemas.microsoft.com/office/drawing/2014/main" id="{107F5CCE-2B3E-F9A1-56F1-2C122EFF3B46}"/>
              </a:ext>
            </a:extLst>
          </p:cNvPr>
          <p:cNvSpPr>
            <a:spLocks noGrp="1"/>
          </p:cNvSpPr>
          <p:nvPr>
            <p:ph type="body" sz="quarter" idx="31"/>
          </p:nvPr>
        </p:nvSpPr>
        <p:spPr>
          <a:xfrm>
            <a:off x="4429360" y="3018191"/>
            <a:ext cx="3337560" cy="649224"/>
          </a:xfrm>
        </p:spPr>
        <p:txBody>
          <a:bodyPr/>
          <a:lstStyle>
            <a:lvl1pPr>
              <a:defRPr sz="1400"/>
            </a:lvl1pPr>
            <a:lvl2pPr marL="0" indent="0">
              <a:buNone/>
              <a:defRPr/>
            </a:lvl2pPr>
          </a:lstStyle>
          <a:p>
            <a:pPr lvl="0"/>
            <a:r>
              <a:rPr lang="en-US"/>
              <a:t>Click to edit Master text styles</a:t>
            </a:r>
          </a:p>
        </p:txBody>
      </p:sp>
      <p:sp>
        <p:nvSpPr>
          <p:cNvPr id="86" name="Picture Placeholder 17">
            <a:extLst>
              <a:ext uri="{FF2B5EF4-FFF2-40B4-BE49-F238E27FC236}">
                <a16:creationId xmlns:a16="http://schemas.microsoft.com/office/drawing/2014/main" id="{0A54798C-9DDB-236B-75D5-1741208259E8}"/>
              </a:ext>
            </a:extLst>
          </p:cNvPr>
          <p:cNvSpPr>
            <a:spLocks noGrp="1" noChangeAspect="1"/>
          </p:cNvSpPr>
          <p:nvPr>
            <p:ph type="pic" sz="quarter" idx="32" hasCustomPrompt="1"/>
          </p:nvPr>
        </p:nvSpPr>
        <p:spPr>
          <a:xfrm>
            <a:off x="8249119" y="1863727"/>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88" name="Text Placeholder 37">
            <a:extLst>
              <a:ext uri="{FF2B5EF4-FFF2-40B4-BE49-F238E27FC236}">
                <a16:creationId xmlns:a16="http://schemas.microsoft.com/office/drawing/2014/main" id="{1FE98170-90C5-865C-F4D2-6AA60FA00F0E}"/>
              </a:ext>
            </a:extLst>
          </p:cNvPr>
          <p:cNvSpPr>
            <a:spLocks noGrp="1"/>
          </p:cNvSpPr>
          <p:nvPr>
            <p:ph type="body" sz="quarter" idx="34"/>
          </p:nvPr>
        </p:nvSpPr>
        <p:spPr>
          <a:xfrm>
            <a:off x="8249119" y="3018191"/>
            <a:ext cx="3337560" cy="649224"/>
          </a:xfrm>
        </p:spPr>
        <p:txBody>
          <a:bodyPr/>
          <a:lstStyle>
            <a:lvl1pPr>
              <a:defRPr sz="1400"/>
            </a:lvl1pPr>
            <a:lvl2pPr marL="0" indent="0">
              <a:buNone/>
              <a:defRPr/>
            </a:lvl2pPr>
          </a:lstStyle>
          <a:p>
            <a:pPr lvl="0"/>
            <a:r>
              <a:rPr lang="en-US"/>
              <a:t>Click to edit Master text styles</a:t>
            </a:r>
          </a:p>
        </p:txBody>
      </p:sp>
      <p:sp>
        <p:nvSpPr>
          <p:cNvPr id="130" name="Picture Placeholder 17">
            <a:extLst>
              <a:ext uri="{FF2B5EF4-FFF2-40B4-BE49-F238E27FC236}">
                <a16:creationId xmlns:a16="http://schemas.microsoft.com/office/drawing/2014/main" id="{8FFBB970-B4BB-3F4B-4628-902C42B0224B}"/>
              </a:ext>
            </a:extLst>
          </p:cNvPr>
          <p:cNvSpPr>
            <a:spLocks noGrp="1" noChangeAspect="1"/>
          </p:cNvSpPr>
          <p:nvPr>
            <p:ph type="pic" sz="quarter" idx="35" hasCustomPrompt="1"/>
          </p:nvPr>
        </p:nvSpPr>
        <p:spPr>
          <a:xfrm>
            <a:off x="608243" y="4112412"/>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132" name="Text Placeholder 37">
            <a:extLst>
              <a:ext uri="{FF2B5EF4-FFF2-40B4-BE49-F238E27FC236}">
                <a16:creationId xmlns:a16="http://schemas.microsoft.com/office/drawing/2014/main" id="{DC0DB422-2E2E-C593-A777-B77F87AC670E}"/>
              </a:ext>
            </a:extLst>
          </p:cNvPr>
          <p:cNvSpPr>
            <a:spLocks noGrp="1"/>
          </p:cNvSpPr>
          <p:nvPr>
            <p:ph type="body" sz="quarter" idx="37"/>
          </p:nvPr>
        </p:nvSpPr>
        <p:spPr>
          <a:xfrm>
            <a:off x="605321" y="5266876"/>
            <a:ext cx="3337560" cy="649224"/>
          </a:xfrm>
        </p:spPr>
        <p:txBody>
          <a:bodyPr/>
          <a:lstStyle>
            <a:lvl1pPr>
              <a:defRPr sz="1400"/>
            </a:lvl1pPr>
            <a:lvl2pPr marL="0" indent="0">
              <a:buNone/>
              <a:defRPr/>
            </a:lvl2pPr>
          </a:lstStyle>
          <a:p>
            <a:pPr lvl="0"/>
            <a:r>
              <a:rPr lang="en-US"/>
              <a:t>Click to edit Master text styles</a:t>
            </a:r>
          </a:p>
        </p:txBody>
      </p:sp>
      <p:sp>
        <p:nvSpPr>
          <p:cNvPr id="136" name="Picture Placeholder 17">
            <a:extLst>
              <a:ext uri="{FF2B5EF4-FFF2-40B4-BE49-F238E27FC236}">
                <a16:creationId xmlns:a16="http://schemas.microsoft.com/office/drawing/2014/main" id="{35080CE4-9FA2-2A30-26BC-A6026EB3B207}"/>
              </a:ext>
            </a:extLst>
          </p:cNvPr>
          <p:cNvSpPr>
            <a:spLocks noGrp="1" noChangeAspect="1"/>
          </p:cNvSpPr>
          <p:nvPr>
            <p:ph type="pic" sz="quarter" idx="38" hasCustomPrompt="1"/>
          </p:nvPr>
        </p:nvSpPr>
        <p:spPr>
          <a:xfrm>
            <a:off x="4429360" y="4112412"/>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138" name="Text Placeholder 37">
            <a:extLst>
              <a:ext uri="{FF2B5EF4-FFF2-40B4-BE49-F238E27FC236}">
                <a16:creationId xmlns:a16="http://schemas.microsoft.com/office/drawing/2014/main" id="{9484FE72-56CA-7CD1-BD23-C4B8863BE91D}"/>
              </a:ext>
            </a:extLst>
          </p:cNvPr>
          <p:cNvSpPr>
            <a:spLocks noGrp="1"/>
          </p:cNvSpPr>
          <p:nvPr>
            <p:ph type="body" sz="quarter" idx="40"/>
          </p:nvPr>
        </p:nvSpPr>
        <p:spPr>
          <a:xfrm>
            <a:off x="4429360" y="5266876"/>
            <a:ext cx="3337560" cy="649224"/>
          </a:xfrm>
        </p:spPr>
        <p:txBody>
          <a:bodyPr/>
          <a:lstStyle>
            <a:lvl1pPr>
              <a:defRPr sz="1400"/>
            </a:lvl1pPr>
            <a:lvl2pPr marL="0" indent="0">
              <a:buNone/>
              <a:defRPr/>
            </a:lvl2pPr>
          </a:lstStyle>
          <a:p>
            <a:pPr lvl="0"/>
            <a:r>
              <a:rPr lang="en-US"/>
              <a:t>Click to edit Master text styles</a:t>
            </a:r>
          </a:p>
        </p:txBody>
      </p:sp>
      <p:sp>
        <p:nvSpPr>
          <p:cNvPr id="142" name="Picture Placeholder 17">
            <a:extLst>
              <a:ext uri="{FF2B5EF4-FFF2-40B4-BE49-F238E27FC236}">
                <a16:creationId xmlns:a16="http://schemas.microsoft.com/office/drawing/2014/main" id="{BEE2F446-F2BA-DFA2-5703-091C5680895A}"/>
              </a:ext>
            </a:extLst>
          </p:cNvPr>
          <p:cNvSpPr>
            <a:spLocks noGrp="1" noChangeAspect="1"/>
          </p:cNvSpPr>
          <p:nvPr>
            <p:ph type="pic" sz="quarter" idx="41" hasCustomPrompt="1"/>
          </p:nvPr>
        </p:nvSpPr>
        <p:spPr>
          <a:xfrm>
            <a:off x="8249119" y="4112412"/>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144" name="Text Placeholder 37">
            <a:extLst>
              <a:ext uri="{FF2B5EF4-FFF2-40B4-BE49-F238E27FC236}">
                <a16:creationId xmlns:a16="http://schemas.microsoft.com/office/drawing/2014/main" id="{59AF7998-B0E5-06F3-A8BA-A17DB3F8A7FA}"/>
              </a:ext>
            </a:extLst>
          </p:cNvPr>
          <p:cNvSpPr>
            <a:spLocks noGrp="1"/>
          </p:cNvSpPr>
          <p:nvPr>
            <p:ph type="body" sz="quarter" idx="43"/>
          </p:nvPr>
        </p:nvSpPr>
        <p:spPr>
          <a:xfrm>
            <a:off x="8249119" y="5266876"/>
            <a:ext cx="3337560" cy="649224"/>
          </a:xfrm>
        </p:spPr>
        <p:txBody>
          <a:bodyPr/>
          <a:lstStyle>
            <a:lvl1pPr>
              <a:defRPr sz="1400"/>
            </a:lvl1pPr>
            <a:lvl2pPr marL="0" indent="0">
              <a:buNone/>
              <a:defRPr/>
            </a:lvl2pPr>
          </a:lstStyle>
          <a:p>
            <a:pPr lvl="0"/>
            <a:r>
              <a:rPr lang="en-US"/>
              <a:t>Click to edit Master text styles</a:t>
            </a:r>
          </a:p>
        </p:txBody>
      </p:sp>
      <p:sp>
        <p:nvSpPr>
          <p:cNvPr id="8" name="Date Placeholder 49">
            <a:extLst>
              <a:ext uri="{FF2B5EF4-FFF2-40B4-BE49-F238E27FC236}">
                <a16:creationId xmlns:a16="http://schemas.microsoft.com/office/drawing/2014/main" id="{AD882E8D-86CF-78F5-CFB2-2C2A909487A0}"/>
              </a:ext>
            </a:extLst>
          </p:cNvPr>
          <p:cNvSpPr>
            <a:spLocks noGrp="1"/>
          </p:cNvSpPr>
          <p:nvPr>
            <p:ph type="dt" sz="half" idx="26"/>
          </p:nvPr>
        </p:nvSpPr>
        <p:spPr>
          <a:xfrm>
            <a:off x="10236555" y="136647"/>
            <a:ext cx="1345845" cy="153888"/>
          </a:xfrm>
        </p:spPr>
        <p:txBody>
          <a:bodyPr/>
          <a:lstStyle>
            <a:lvl1pPr>
              <a:defRPr>
                <a:solidFill>
                  <a:schemeClr val="tx1">
                    <a:lumMod val="75000"/>
                    <a:lumOff val="25000"/>
                  </a:schemeClr>
                </a:solidFill>
              </a:defRPr>
            </a:lvl1pPr>
          </a:lstStyle>
          <a:p>
            <a:fld id="{35F677CC-96DB-441D-A14D-E6AC55F48714}" type="datetime4">
              <a:rPr lang="en-US" smtClean="0"/>
              <a:t>May 17, 2025</a:t>
            </a:fld>
            <a:endParaRPr lang="en-US" dirty="0"/>
          </a:p>
        </p:txBody>
      </p:sp>
      <p:sp>
        <p:nvSpPr>
          <p:cNvPr id="9" name="Text Placeholder 7">
            <a:extLst>
              <a:ext uri="{FF2B5EF4-FFF2-40B4-BE49-F238E27FC236}">
                <a16:creationId xmlns:a16="http://schemas.microsoft.com/office/drawing/2014/main" id="{CFD098C1-330C-AFAE-FA3D-112B70BA725F}"/>
              </a:ext>
            </a:extLst>
          </p:cNvPr>
          <p:cNvSpPr>
            <a:spLocks noGrp="1"/>
          </p:cNvSpPr>
          <p:nvPr>
            <p:ph type="body" sz="quarter" idx="28" hasCustomPrompt="1"/>
          </p:nvPr>
        </p:nvSpPr>
        <p:spPr>
          <a:xfrm>
            <a:off x="609600" y="136647"/>
            <a:ext cx="4076700" cy="153888"/>
          </a:xfrm>
        </p:spPr>
        <p:txBody>
          <a:bodyPr anchor="ctr">
            <a:sp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0" name="Footer Placeholder 4">
            <a:extLst>
              <a:ext uri="{FF2B5EF4-FFF2-40B4-BE49-F238E27FC236}">
                <a16:creationId xmlns:a16="http://schemas.microsoft.com/office/drawing/2014/main" id="{4FCD77E7-40BA-46DE-2B5C-42D596278BE0}"/>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11" name="Slide Number Placeholder 5">
            <a:extLst>
              <a:ext uri="{FF2B5EF4-FFF2-40B4-BE49-F238E27FC236}">
                <a16:creationId xmlns:a16="http://schemas.microsoft.com/office/drawing/2014/main" id="{2C933E16-9A69-6F57-B99A-CDFA86546FB6}"/>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 name="Text Placeholder 35">
            <a:extLst>
              <a:ext uri="{FF2B5EF4-FFF2-40B4-BE49-F238E27FC236}">
                <a16:creationId xmlns:a16="http://schemas.microsoft.com/office/drawing/2014/main" id="{12857EE3-1A8E-26A6-2E7D-216BF994943A}"/>
              </a:ext>
            </a:extLst>
          </p:cNvPr>
          <p:cNvSpPr>
            <a:spLocks noGrp="1"/>
          </p:cNvSpPr>
          <p:nvPr>
            <p:ph type="body" sz="quarter" idx="45" hasCustomPrompt="1"/>
          </p:nvPr>
        </p:nvSpPr>
        <p:spPr>
          <a:xfrm>
            <a:off x="5508352" y="1999692"/>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6" name="Text Placeholder 35">
            <a:extLst>
              <a:ext uri="{FF2B5EF4-FFF2-40B4-BE49-F238E27FC236}">
                <a16:creationId xmlns:a16="http://schemas.microsoft.com/office/drawing/2014/main" id="{AE9ABF98-E432-CF37-C130-5B701B67AA95}"/>
              </a:ext>
            </a:extLst>
          </p:cNvPr>
          <p:cNvSpPr>
            <a:spLocks noGrp="1"/>
          </p:cNvSpPr>
          <p:nvPr>
            <p:ph type="body" sz="quarter" idx="47" hasCustomPrompt="1"/>
          </p:nvPr>
        </p:nvSpPr>
        <p:spPr>
          <a:xfrm>
            <a:off x="9328111" y="1999692"/>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12" name="Text Placeholder 35">
            <a:extLst>
              <a:ext uri="{FF2B5EF4-FFF2-40B4-BE49-F238E27FC236}">
                <a16:creationId xmlns:a16="http://schemas.microsoft.com/office/drawing/2014/main" id="{EBE4D164-8760-6682-DBED-856A9C8586A0}"/>
              </a:ext>
            </a:extLst>
          </p:cNvPr>
          <p:cNvSpPr>
            <a:spLocks noGrp="1"/>
          </p:cNvSpPr>
          <p:nvPr>
            <p:ph type="body" sz="quarter" idx="49" hasCustomPrompt="1"/>
          </p:nvPr>
        </p:nvSpPr>
        <p:spPr>
          <a:xfrm>
            <a:off x="1666368" y="4248376"/>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17" name="Text Placeholder 35">
            <a:extLst>
              <a:ext uri="{FF2B5EF4-FFF2-40B4-BE49-F238E27FC236}">
                <a16:creationId xmlns:a16="http://schemas.microsoft.com/office/drawing/2014/main" id="{A22D8366-7D6F-6124-A789-D967335764CF}"/>
              </a:ext>
            </a:extLst>
          </p:cNvPr>
          <p:cNvSpPr>
            <a:spLocks noGrp="1"/>
          </p:cNvSpPr>
          <p:nvPr>
            <p:ph type="body" sz="quarter" idx="51" hasCustomPrompt="1"/>
          </p:nvPr>
        </p:nvSpPr>
        <p:spPr>
          <a:xfrm>
            <a:off x="5508352" y="4248376"/>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19" name="Text Placeholder 35">
            <a:extLst>
              <a:ext uri="{FF2B5EF4-FFF2-40B4-BE49-F238E27FC236}">
                <a16:creationId xmlns:a16="http://schemas.microsoft.com/office/drawing/2014/main" id="{9A7B8620-5D0F-B93D-347D-F9FA577E85D6}"/>
              </a:ext>
            </a:extLst>
          </p:cNvPr>
          <p:cNvSpPr>
            <a:spLocks noGrp="1"/>
          </p:cNvSpPr>
          <p:nvPr>
            <p:ph type="body" sz="quarter" idx="53" hasCustomPrompt="1"/>
          </p:nvPr>
        </p:nvSpPr>
        <p:spPr>
          <a:xfrm>
            <a:off x="9323832" y="4248376"/>
            <a:ext cx="2258568" cy="276999"/>
          </a:xfrm>
        </p:spPr>
        <p:txBody>
          <a:bodyPr anchor="b">
            <a:noAutofit/>
          </a:bodyPr>
          <a:lstStyle>
            <a:lvl1pPr>
              <a:spcAft>
                <a:spcPts val="0"/>
              </a:spcAft>
              <a:defRPr sz="1800" b="1">
                <a:latin typeface="+mj-lt"/>
              </a:defRPr>
            </a:lvl1pPr>
            <a:lvl2pPr marL="0" indent="0">
              <a:spcAft>
                <a:spcPts val="0"/>
              </a:spcAft>
              <a:buNone/>
              <a:defRPr sz="1400"/>
            </a:lvl2pPr>
          </a:lstStyle>
          <a:p>
            <a:pPr lvl="0"/>
            <a:r>
              <a:rPr lang="en-US"/>
              <a:t>Name, Last Name</a:t>
            </a:r>
          </a:p>
        </p:txBody>
      </p:sp>
      <p:sp>
        <p:nvSpPr>
          <p:cNvPr id="22" name="Text Placeholder 21">
            <a:extLst>
              <a:ext uri="{FF2B5EF4-FFF2-40B4-BE49-F238E27FC236}">
                <a16:creationId xmlns:a16="http://schemas.microsoft.com/office/drawing/2014/main" id="{B80C70E4-0DB3-B925-043D-FF0992B52952}"/>
              </a:ext>
            </a:extLst>
          </p:cNvPr>
          <p:cNvSpPr>
            <a:spLocks noGrp="1"/>
          </p:cNvSpPr>
          <p:nvPr>
            <p:ph type="body" sz="quarter" idx="54" hasCustomPrompt="1"/>
          </p:nvPr>
        </p:nvSpPr>
        <p:spPr>
          <a:xfrm>
            <a:off x="5508625" y="2276475"/>
            <a:ext cx="2259013" cy="219456"/>
          </a:xfrm>
        </p:spPr>
        <p:txBody>
          <a:bodyPr anchor="t">
            <a:noAutofit/>
          </a:bodyPr>
          <a:lstStyle>
            <a:lvl1pPr>
              <a:defRPr sz="1400"/>
            </a:lvl1pPr>
          </a:lstStyle>
          <a:p>
            <a:pPr lvl="0"/>
            <a:r>
              <a:rPr lang="en-US"/>
              <a:t>Title/Position</a:t>
            </a:r>
          </a:p>
        </p:txBody>
      </p:sp>
      <p:sp>
        <p:nvSpPr>
          <p:cNvPr id="23" name="Text Placeholder 21">
            <a:extLst>
              <a:ext uri="{FF2B5EF4-FFF2-40B4-BE49-F238E27FC236}">
                <a16:creationId xmlns:a16="http://schemas.microsoft.com/office/drawing/2014/main" id="{AFCE4D44-D986-984D-7105-AE704E89122B}"/>
              </a:ext>
            </a:extLst>
          </p:cNvPr>
          <p:cNvSpPr>
            <a:spLocks noGrp="1"/>
          </p:cNvSpPr>
          <p:nvPr>
            <p:ph type="body" sz="quarter" idx="55" hasCustomPrompt="1"/>
          </p:nvPr>
        </p:nvSpPr>
        <p:spPr>
          <a:xfrm>
            <a:off x="1666368" y="2276475"/>
            <a:ext cx="2259013" cy="219456"/>
          </a:xfrm>
        </p:spPr>
        <p:txBody>
          <a:bodyPr anchor="t">
            <a:noAutofit/>
          </a:bodyPr>
          <a:lstStyle>
            <a:lvl1pPr>
              <a:defRPr sz="1400"/>
            </a:lvl1pPr>
          </a:lstStyle>
          <a:p>
            <a:pPr lvl="0"/>
            <a:r>
              <a:rPr lang="en-US"/>
              <a:t>Title/Position</a:t>
            </a:r>
          </a:p>
        </p:txBody>
      </p:sp>
      <p:sp>
        <p:nvSpPr>
          <p:cNvPr id="24" name="Text Placeholder 21">
            <a:extLst>
              <a:ext uri="{FF2B5EF4-FFF2-40B4-BE49-F238E27FC236}">
                <a16:creationId xmlns:a16="http://schemas.microsoft.com/office/drawing/2014/main" id="{7D7F42DC-8362-83F9-2DF8-863C89D9102B}"/>
              </a:ext>
            </a:extLst>
          </p:cNvPr>
          <p:cNvSpPr>
            <a:spLocks noGrp="1"/>
          </p:cNvSpPr>
          <p:nvPr>
            <p:ph type="body" sz="quarter" idx="56" hasCustomPrompt="1"/>
          </p:nvPr>
        </p:nvSpPr>
        <p:spPr>
          <a:xfrm>
            <a:off x="9327666" y="2276475"/>
            <a:ext cx="2259013" cy="219456"/>
          </a:xfrm>
        </p:spPr>
        <p:txBody>
          <a:bodyPr anchor="t">
            <a:noAutofit/>
          </a:bodyPr>
          <a:lstStyle>
            <a:lvl1pPr>
              <a:defRPr sz="1400"/>
            </a:lvl1pPr>
          </a:lstStyle>
          <a:p>
            <a:pPr lvl="0"/>
            <a:r>
              <a:rPr lang="en-US"/>
              <a:t>Title/Position</a:t>
            </a:r>
          </a:p>
        </p:txBody>
      </p:sp>
      <p:sp>
        <p:nvSpPr>
          <p:cNvPr id="25" name="Text Placeholder 21">
            <a:extLst>
              <a:ext uri="{FF2B5EF4-FFF2-40B4-BE49-F238E27FC236}">
                <a16:creationId xmlns:a16="http://schemas.microsoft.com/office/drawing/2014/main" id="{C40132AE-91BF-5CCD-3601-9C0D1DEA30BF}"/>
              </a:ext>
            </a:extLst>
          </p:cNvPr>
          <p:cNvSpPr>
            <a:spLocks noGrp="1"/>
          </p:cNvSpPr>
          <p:nvPr>
            <p:ph type="body" sz="quarter" idx="57" hasCustomPrompt="1"/>
          </p:nvPr>
        </p:nvSpPr>
        <p:spPr>
          <a:xfrm>
            <a:off x="5508625" y="4526850"/>
            <a:ext cx="2259013" cy="219456"/>
          </a:xfrm>
        </p:spPr>
        <p:txBody>
          <a:bodyPr anchor="t">
            <a:noAutofit/>
          </a:bodyPr>
          <a:lstStyle>
            <a:lvl1pPr>
              <a:defRPr sz="1400"/>
            </a:lvl1pPr>
          </a:lstStyle>
          <a:p>
            <a:pPr lvl="0"/>
            <a:r>
              <a:rPr lang="en-US"/>
              <a:t>Title/Position</a:t>
            </a:r>
          </a:p>
        </p:txBody>
      </p:sp>
      <p:sp>
        <p:nvSpPr>
          <p:cNvPr id="26" name="Text Placeholder 21">
            <a:extLst>
              <a:ext uri="{FF2B5EF4-FFF2-40B4-BE49-F238E27FC236}">
                <a16:creationId xmlns:a16="http://schemas.microsoft.com/office/drawing/2014/main" id="{EDD10FF7-3E05-9472-485D-A039372EE4DD}"/>
              </a:ext>
            </a:extLst>
          </p:cNvPr>
          <p:cNvSpPr>
            <a:spLocks noGrp="1"/>
          </p:cNvSpPr>
          <p:nvPr>
            <p:ph type="body" sz="quarter" idx="58" hasCustomPrompt="1"/>
          </p:nvPr>
        </p:nvSpPr>
        <p:spPr>
          <a:xfrm>
            <a:off x="9323832" y="4526850"/>
            <a:ext cx="2259013" cy="219456"/>
          </a:xfrm>
        </p:spPr>
        <p:txBody>
          <a:bodyPr anchor="t">
            <a:noAutofit/>
          </a:bodyPr>
          <a:lstStyle>
            <a:lvl1pPr>
              <a:defRPr sz="1400"/>
            </a:lvl1pPr>
          </a:lstStyle>
          <a:p>
            <a:pPr lvl="0"/>
            <a:r>
              <a:rPr lang="en-US"/>
              <a:t>Title/Position</a:t>
            </a:r>
          </a:p>
        </p:txBody>
      </p:sp>
      <p:sp>
        <p:nvSpPr>
          <p:cNvPr id="27" name="Text Placeholder 21">
            <a:extLst>
              <a:ext uri="{FF2B5EF4-FFF2-40B4-BE49-F238E27FC236}">
                <a16:creationId xmlns:a16="http://schemas.microsoft.com/office/drawing/2014/main" id="{FB022C9F-C583-A483-CD36-A8DB7561F9A2}"/>
              </a:ext>
            </a:extLst>
          </p:cNvPr>
          <p:cNvSpPr>
            <a:spLocks noGrp="1"/>
          </p:cNvSpPr>
          <p:nvPr>
            <p:ph type="body" sz="quarter" idx="59" hasCustomPrompt="1"/>
          </p:nvPr>
        </p:nvSpPr>
        <p:spPr>
          <a:xfrm>
            <a:off x="1666368" y="4526850"/>
            <a:ext cx="2259013" cy="219456"/>
          </a:xfrm>
        </p:spPr>
        <p:txBody>
          <a:bodyPr anchor="t">
            <a:noAutofit/>
          </a:bodyPr>
          <a:lstStyle>
            <a:lvl1pPr>
              <a:defRPr sz="1400"/>
            </a:lvl1pPr>
          </a:lstStyle>
          <a:p>
            <a:pPr lvl="0"/>
            <a:r>
              <a:rPr lang="en-US"/>
              <a:t>Title/Position</a:t>
            </a:r>
          </a:p>
        </p:txBody>
      </p:sp>
    </p:spTree>
    <p:extLst>
      <p:ext uri="{BB962C8B-B14F-4D97-AF65-F5344CB8AC3E}">
        <p14:creationId xmlns:p14="http://schemas.microsoft.com/office/powerpoint/2010/main" val="21484097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Slide - 8 Members">
    <p:bg>
      <p:bgPr>
        <a:solidFill>
          <a:srgbClr val="F3F3F3"/>
        </a:solidFill>
        <a:effectLst/>
      </p:bgPr>
    </p:bg>
    <p:spTree>
      <p:nvGrpSpPr>
        <p:cNvPr id="1" name=""/>
        <p:cNvGrpSpPr/>
        <p:nvPr/>
      </p:nvGrpSpPr>
      <p:grpSpPr>
        <a:xfrm>
          <a:off x="0" y="0"/>
          <a:ext cx="0" cy="0"/>
          <a:chOff x="0" y="0"/>
          <a:chExt cx="0" cy="0"/>
        </a:xfrm>
      </p:grpSpPr>
      <p:sp>
        <p:nvSpPr>
          <p:cNvPr id="59" name="Picture Placeholder 17">
            <a:extLst>
              <a:ext uri="{FF2B5EF4-FFF2-40B4-BE49-F238E27FC236}">
                <a16:creationId xmlns:a16="http://schemas.microsoft.com/office/drawing/2014/main" id="{A6808325-F953-D3D6-B006-441B38CF8EEE}"/>
              </a:ext>
            </a:extLst>
          </p:cNvPr>
          <p:cNvSpPr>
            <a:spLocks noGrp="1" noChangeAspect="1"/>
          </p:cNvSpPr>
          <p:nvPr>
            <p:ph type="pic" sz="quarter" idx="14" hasCustomPrompt="1"/>
          </p:nvPr>
        </p:nvSpPr>
        <p:spPr>
          <a:xfrm>
            <a:off x="608243" y="1863727"/>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2" name="Title 1">
            <a:extLst>
              <a:ext uri="{FF2B5EF4-FFF2-40B4-BE49-F238E27FC236}">
                <a16:creationId xmlns:a16="http://schemas.microsoft.com/office/drawing/2014/main" id="{94E772DD-7002-F2A1-C348-A0C46F31C739}"/>
              </a:ext>
            </a:extLst>
          </p:cNvPr>
          <p:cNvSpPr>
            <a:spLocks noGrp="1"/>
          </p:cNvSpPr>
          <p:nvPr>
            <p:ph type="title"/>
          </p:nvPr>
        </p:nvSpPr>
        <p:spPr/>
        <p:txBody>
          <a:bodyPr>
            <a:noAutofit/>
          </a:bodyPr>
          <a:lstStyle/>
          <a:p>
            <a:r>
              <a:rPr lang="en-US"/>
              <a:t>Click to edit Master title style</a:t>
            </a:r>
          </a:p>
        </p:txBody>
      </p:sp>
      <p:sp>
        <p:nvSpPr>
          <p:cNvPr id="33" name="Text Placeholder 3">
            <a:extLst>
              <a:ext uri="{FF2B5EF4-FFF2-40B4-BE49-F238E27FC236}">
                <a16:creationId xmlns:a16="http://schemas.microsoft.com/office/drawing/2014/main" id="{FED28113-7C82-17C7-BA44-13930C355893}"/>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61" name="Text Placeholder 37">
            <a:extLst>
              <a:ext uri="{FF2B5EF4-FFF2-40B4-BE49-F238E27FC236}">
                <a16:creationId xmlns:a16="http://schemas.microsoft.com/office/drawing/2014/main" id="{884BC13A-5EAB-B07C-AD46-80083B8D2EFB}"/>
              </a:ext>
            </a:extLst>
          </p:cNvPr>
          <p:cNvSpPr>
            <a:spLocks noGrp="1"/>
          </p:cNvSpPr>
          <p:nvPr>
            <p:ph type="body" sz="quarter" idx="16"/>
          </p:nvPr>
        </p:nvSpPr>
        <p:spPr>
          <a:xfrm>
            <a:off x="609601" y="3016191"/>
            <a:ext cx="2468880" cy="740664"/>
          </a:xfrm>
        </p:spPr>
        <p:txBody>
          <a:bodyPr>
            <a:noAutofit/>
          </a:bodyPr>
          <a:lstStyle>
            <a:lvl1pPr>
              <a:defRPr sz="1200"/>
            </a:lvl1pPr>
            <a:lvl2pPr marL="0" indent="0">
              <a:buNone/>
              <a:defRPr/>
            </a:lvl2pPr>
          </a:lstStyle>
          <a:p>
            <a:pPr lvl="0"/>
            <a:r>
              <a:rPr lang="en-US"/>
              <a:t>Click to edit Master text styles</a:t>
            </a:r>
          </a:p>
        </p:txBody>
      </p:sp>
      <p:sp>
        <p:nvSpPr>
          <p:cNvPr id="65" name="Picture Placeholder 17">
            <a:extLst>
              <a:ext uri="{FF2B5EF4-FFF2-40B4-BE49-F238E27FC236}">
                <a16:creationId xmlns:a16="http://schemas.microsoft.com/office/drawing/2014/main" id="{F3898552-3A28-9276-B1B2-300B2D000858}"/>
              </a:ext>
            </a:extLst>
          </p:cNvPr>
          <p:cNvSpPr>
            <a:spLocks noGrp="1" noChangeAspect="1"/>
          </p:cNvSpPr>
          <p:nvPr>
            <p:ph type="pic" sz="quarter" idx="29" hasCustomPrompt="1"/>
          </p:nvPr>
        </p:nvSpPr>
        <p:spPr>
          <a:xfrm>
            <a:off x="3441283" y="1870872"/>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67" name="Text Placeholder 37">
            <a:extLst>
              <a:ext uri="{FF2B5EF4-FFF2-40B4-BE49-F238E27FC236}">
                <a16:creationId xmlns:a16="http://schemas.microsoft.com/office/drawing/2014/main" id="{C27B05CE-BFA3-0CCE-302D-4232E19962A0}"/>
              </a:ext>
            </a:extLst>
          </p:cNvPr>
          <p:cNvSpPr>
            <a:spLocks noGrp="1"/>
          </p:cNvSpPr>
          <p:nvPr>
            <p:ph type="body" sz="quarter" idx="31"/>
          </p:nvPr>
        </p:nvSpPr>
        <p:spPr>
          <a:xfrm>
            <a:off x="3445221" y="3016191"/>
            <a:ext cx="2468880" cy="740664"/>
          </a:xfrm>
        </p:spPr>
        <p:txBody>
          <a:bodyPr>
            <a:noAutofit/>
          </a:bodyPr>
          <a:lstStyle>
            <a:lvl1pPr>
              <a:defRPr sz="1200"/>
            </a:lvl1pPr>
            <a:lvl2pPr marL="0" indent="0">
              <a:buNone/>
              <a:defRPr/>
            </a:lvl2pPr>
          </a:lstStyle>
          <a:p>
            <a:pPr lvl="0"/>
            <a:r>
              <a:rPr lang="en-US"/>
              <a:t>Click to edit Master text styles</a:t>
            </a:r>
          </a:p>
        </p:txBody>
      </p:sp>
      <p:sp>
        <p:nvSpPr>
          <p:cNvPr id="71" name="Picture Placeholder 17">
            <a:extLst>
              <a:ext uri="{FF2B5EF4-FFF2-40B4-BE49-F238E27FC236}">
                <a16:creationId xmlns:a16="http://schemas.microsoft.com/office/drawing/2014/main" id="{E4672307-788D-1DDD-3D4E-4D23409D7217}"/>
              </a:ext>
            </a:extLst>
          </p:cNvPr>
          <p:cNvSpPr>
            <a:spLocks noGrp="1" noChangeAspect="1"/>
          </p:cNvSpPr>
          <p:nvPr>
            <p:ph type="pic" sz="quarter" idx="32" hasCustomPrompt="1"/>
          </p:nvPr>
        </p:nvSpPr>
        <p:spPr>
          <a:xfrm>
            <a:off x="6274323" y="1863727"/>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73" name="Text Placeholder 37">
            <a:extLst>
              <a:ext uri="{FF2B5EF4-FFF2-40B4-BE49-F238E27FC236}">
                <a16:creationId xmlns:a16="http://schemas.microsoft.com/office/drawing/2014/main" id="{0E6DF668-EA51-C05E-4712-15DD3AEAA498}"/>
              </a:ext>
            </a:extLst>
          </p:cNvPr>
          <p:cNvSpPr>
            <a:spLocks noGrp="1"/>
          </p:cNvSpPr>
          <p:nvPr>
            <p:ph type="body" sz="quarter" idx="34"/>
          </p:nvPr>
        </p:nvSpPr>
        <p:spPr>
          <a:xfrm>
            <a:off x="6278127" y="3016191"/>
            <a:ext cx="2468880" cy="740664"/>
          </a:xfrm>
        </p:spPr>
        <p:txBody>
          <a:bodyPr>
            <a:noAutofit/>
          </a:bodyPr>
          <a:lstStyle>
            <a:lvl1pPr>
              <a:defRPr sz="1200"/>
            </a:lvl1pPr>
            <a:lvl2pPr marL="0" indent="0">
              <a:buNone/>
              <a:defRPr/>
            </a:lvl2pPr>
          </a:lstStyle>
          <a:p>
            <a:pPr lvl="0"/>
            <a:r>
              <a:rPr lang="en-US"/>
              <a:t>Click to edit Master text styles</a:t>
            </a:r>
          </a:p>
        </p:txBody>
      </p:sp>
      <p:sp>
        <p:nvSpPr>
          <p:cNvPr id="92" name="Picture Placeholder 17">
            <a:extLst>
              <a:ext uri="{FF2B5EF4-FFF2-40B4-BE49-F238E27FC236}">
                <a16:creationId xmlns:a16="http://schemas.microsoft.com/office/drawing/2014/main" id="{84226C9B-295D-1EFE-2728-F8D6EFAD0A44}"/>
              </a:ext>
            </a:extLst>
          </p:cNvPr>
          <p:cNvSpPr>
            <a:spLocks noGrp="1" noChangeAspect="1"/>
          </p:cNvSpPr>
          <p:nvPr>
            <p:ph type="pic" sz="quarter" idx="35" hasCustomPrompt="1"/>
          </p:nvPr>
        </p:nvSpPr>
        <p:spPr>
          <a:xfrm>
            <a:off x="9111031" y="1870872"/>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94" name="Text Placeholder 37">
            <a:extLst>
              <a:ext uri="{FF2B5EF4-FFF2-40B4-BE49-F238E27FC236}">
                <a16:creationId xmlns:a16="http://schemas.microsoft.com/office/drawing/2014/main" id="{486E55A6-26AA-A3DF-84FE-8D113C5AB900}"/>
              </a:ext>
            </a:extLst>
          </p:cNvPr>
          <p:cNvSpPr>
            <a:spLocks noGrp="1"/>
          </p:cNvSpPr>
          <p:nvPr>
            <p:ph type="body" sz="quarter" idx="37"/>
          </p:nvPr>
        </p:nvSpPr>
        <p:spPr>
          <a:xfrm>
            <a:off x="9112389" y="3016191"/>
            <a:ext cx="2468880" cy="740664"/>
          </a:xfrm>
        </p:spPr>
        <p:txBody>
          <a:bodyPr>
            <a:noAutofit/>
          </a:bodyPr>
          <a:lstStyle>
            <a:lvl1pPr>
              <a:defRPr sz="1200"/>
            </a:lvl1pPr>
            <a:lvl2pPr marL="0" indent="0">
              <a:buNone/>
              <a:defRPr/>
            </a:lvl2pPr>
          </a:lstStyle>
          <a:p>
            <a:pPr lvl="0"/>
            <a:r>
              <a:rPr lang="en-US"/>
              <a:t>Click to edit Master text styles</a:t>
            </a:r>
          </a:p>
        </p:txBody>
      </p:sp>
      <p:sp>
        <p:nvSpPr>
          <p:cNvPr id="101" name="Picture Placeholder 17">
            <a:extLst>
              <a:ext uri="{FF2B5EF4-FFF2-40B4-BE49-F238E27FC236}">
                <a16:creationId xmlns:a16="http://schemas.microsoft.com/office/drawing/2014/main" id="{0CA6C3D4-A3F4-EDAB-6F67-3BFABE4DD119}"/>
              </a:ext>
            </a:extLst>
          </p:cNvPr>
          <p:cNvSpPr>
            <a:spLocks noGrp="1" noChangeAspect="1"/>
          </p:cNvSpPr>
          <p:nvPr>
            <p:ph type="pic" sz="quarter" idx="38" hasCustomPrompt="1"/>
          </p:nvPr>
        </p:nvSpPr>
        <p:spPr>
          <a:xfrm>
            <a:off x="608243" y="4017930"/>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103" name="Text Placeholder 37">
            <a:extLst>
              <a:ext uri="{FF2B5EF4-FFF2-40B4-BE49-F238E27FC236}">
                <a16:creationId xmlns:a16="http://schemas.microsoft.com/office/drawing/2014/main" id="{E9A9A3AE-754D-6F58-CDA0-3FA9EDD0160B}"/>
              </a:ext>
            </a:extLst>
          </p:cNvPr>
          <p:cNvSpPr>
            <a:spLocks noGrp="1"/>
          </p:cNvSpPr>
          <p:nvPr>
            <p:ph type="body" sz="quarter" idx="40"/>
          </p:nvPr>
        </p:nvSpPr>
        <p:spPr>
          <a:xfrm>
            <a:off x="609601" y="5164836"/>
            <a:ext cx="2468880" cy="740664"/>
          </a:xfrm>
        </p:spPr>
        <p:txBody>
          <a:bodyPr>
            <a:noAutofit/>
          </a:bodyPr>
          <a:lstStyle>
            <a:lvl1pPr>
              <a:defRPr sz="1200"/>
            </a:lvl1pPr>
            <a:lvl2pPr marL="0" indent="0">
              <a:buNone/>
              <a:defRPr/>
            </a:lvl2pPr>
          </a:lstStyle>
          <a:p>
            <a:pPr lvl="0"/>
            <a:r>
              <a:rPr lang="en-US"/>
              <a:t>Click to edit Master text styles</a:t>
            </a:r>
          </a:p>
        </p:txBody>
      </p:sp>
      <p:sp>
        <p:nvSpPr>
          <p:cNvPr id="107" name="Picture Placeholder 17">
            <a:extLst>
              <a:ext uri="{FF2B5EF4-FFF2-40B4-BE49-F238E27FC236}">
                <a16:creationId xmlns:a16="http://schemas.microsoft.com/office/drawing/2014/main" id="{F4C4141A-B4E7-EA6D-428C-470130F5E769}"/>
              </a:ext>
            </a:extLst>
          </p:cNvPr>
          <p:cNvSpPr>
            <a:spLocks noGrp="1" noChangeAspect="1"/>
          </p:cNvSpPr>
          <p:nvPr>
            <p:ph type="pic" sz="quarter" idx="41" hasCustomPrompt="1"/>
          </p:nvPr>
        </p:nvSpPr>
        <p:spPr>
          <a:xfrm>
            <a:off x="3441283" y="4017930"/>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109" name="Text Placeholder 37">
            <a:extLst>
              <a:ext uri="{FF2B5EF4-FFF2-40B4-BE49-F238E27FC236}">
                <a16:creationId xmlns:a16="http://schemas.microsoft.com/office/drawing/2014/main" id="{B9901CFF-8604-823F-B592-51A701B39CDE}"/>
              </a:ext>
            </a:extLst>
          </p:cNvPr>
          <p:cNvSpPr>
            <a:spLocks noGrp="1"/>
          </p:cNvSpPr>
          <p:nvPr>
            <p:ph type="body" sz="quarter" idx="43"/>
          </p:nvPr>
        </p:nvSpPr>
        <p:spPr>
          <a:xfrm>
            <a:off x="3445221" y="5164836"/>
            <a:ext cx="2468880" cy="740664"/>
          </a:xfrm>
        </p:spPr>
        <p:txBody>
          <a:bodyPr>
            <a:noAutofit/>
          </a:bodyPr>
          <a:lstStyle>
            <a:lvl1pPr>
              <a:defRPr sz="1200"/>
            </a:lvl1pPr>
            <a:lvl2pPr marL="0" indent="0">
              <a:buNone/>
              <a:defRPr/>
            </a:lvl2pPr>
          </a:lstStyle>
          <a:p>
            <a:pPr lvl="0"/>
            <a:r>
              <a:rPr lang="en-US"/>
              <a:t>Click to edit Master text styles</a:t>
            </a:r>
          </a:p>
        </p:txBody>
      </p:sp>
      <p:sp>
        <p:nvSpPr>
          <p:cNvPr id="113" name="Picture Placeholder 17">
            <a:extLst>
              <a:ext uri="{FF2B5EF4-FFF2-40B4-BE49-F238E27FC236}">
                <a16:creationId xmlns:a16="http://schemas.microsoft.com/office/drawing/2014/main" id="{86A0951C-5B41-D0C0-3F70-0EE1792F1784}"/>
              </a:ext>
            </a:extLst>
          </p:cNvPr>
          <p:cNvSpPr>
            <a:spLocks noGrp="1" noChangeAspect="1"/>
          </p:cNvSpPr>
          <p:nvPr>
            <p:ph type="pic" sz="quarter" idx="44" hasCustomPrompt="1"/>
          </p:nvPr>
        </p:nvSpPr>
        <p:spPr>
          <a:xfrm>
            <a:off x="6274323" y="4017930"/>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115" name="Text Placeholder 37">
            <a:extLst>
              <a:ext uri="{FF2B5EF4-FFF2-40B4-BE49-F238E27FC236}">
                <a16:creationId xmlns:a16="http://schemas.microsoft.com/office/drawing/2014/main" id="{4458F044-7215-58F3-4E7C-9A5F6EBB075C}"/>
              </a:ext>
            </a:extLst>
          </p:cNvPr>
          <p:cNvSpPr>
            <a:spLocks noGrp="1"/>
          </p:cNvSpPr>
          <p:nvPr>
            <p:ph type="body" sz="quarter" idx="46"/>
          </p:nvPr>
        </p:nvSpPr>
        <p:spPr>
          <a:xfrm>
            <a:off x="6278127" y="5164836"/>
            <a:ext cx="2468880" cy="740664"/>
          </a:xfrm>
        </p:spPr>
        <p:txBody>
          <a:bodyPr>
            <a:noAutofit/>
          </a:bodyPr>
          <a:lstStyle>
            <a:lvl1pPr>
              <a:defRPr sz="1200"/>
            </a:lvl1pPr>
            <a:lvl2pPr marL="0" indent="0">
              <a:buNone/>
              <a:defRPr/>
            </a:lvl2pPr>
          </a:lstStyle>
          <a:p>
            <a:pPr lvl="0"/>
            <a:r>
              <a:rPr lang="en-US"/>
              <a:t>Click to edit Master text styles</a:t>
            </a:r>
          </a:p>
        </p:txBody>
      </p:sp>
      <p:sp>
        <p:nvSpPr>
          <p:cNvPr id="119" name="Picture Placeholder 17">
            <a:extLst>
              <a:ext uri="{FF2B5EF4-FFF2-40B4-BE49-F238E27FC236}">
                <a16:creationId xmlns:a16="http://schemas.microsoft.com/office/drawing/2014/main" id="{2A6D5DF4-AE65-FD7E-FAF2-2D8B416A5C77}"/>
              </a:ext>
            </a:extLst>
          </p:cNvPr>
          <p:cNvSpPr>
            <a:spLocks noGrp="1" noChangeAspect="1"/>
          </p:cNvSpPr>
          <p:nvPr>
            <p:ph type="pic" sz="quarter" idx="47" hasCustomPrompt="1"/>
          </p:nvPr>
        </p:nvSpPr>
        <p:spPr>
          <a:xfrm>
            <a:off x="9111031" y="4017931"/>
            <a:ext cx="768096" cy="768096"/>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121" name="Text Placeholder 37">
            <a:extLst>
              <a:ext uri="{FF2B5EF4-FFF2-40B4-BE49-F238E27FC236}">
                <a16:creationId xmlns:a16="http://schemas.microsoft.com/office/drawing/2014/main" id="{4F66CE7F-817C-CB08-DE9C-0CF140EC583B}"/>
              </a:ext>
            </a:extLst>
          </p:cNvPr>
          <p:cNvSpPr>
            <a:spLocks noGrp="1"/>
          </p:cNvSpPr>
          <p:nvPr>
            <p:ph type="body" sz="quarter" idx="49"/>
          </p:nvPr>
        </p:nvSpPr>
        <p:spPr>
          <a:xfrm>
            <a:off x="9112389" y="5164836"/>
            <a:ext cx="2468880" cy="740664"/>
          </a:xfrm>
        </p:spPr>
        <p:txBody>
          <a:bodyPr>
            <a:noAutofit/>
          </a:bodyPr>
          <a:lstStyle>
            <a:lvl1pPr>
              <a:defRPr sz="1200"/>
            </a:lvl1pPr>
            <a:lvl2pPr marL="0" indent="0">
              <a:buNone/>
              <a:defRPr/>
            </a:lvl2pPr>
          </a:lstStyle>
          <a:p>
            <a:pPr lvl="0"/>
            <a:r>
              <a:rPr lang="en-US"/>
              <a:t>Click to edit Master text styles</a:t>
            </a:r>
          </a:p>
        </p:txBody>
      </p:sp>
      <p:sp>
        <p:nvSpPr>
          <p:cNvPr id="3" name="Date Placeholder 49">
            <a:extLst>
              <a:ext uri="{FF2B5EF4-FFF2-40B4-BE49-F238E27FC236}">
                <a16:creationId xmlns:a16="http://schemas.microsoft.com/office/drawing/2014/main" id="{E036F814-8460-0516-6471-21CEF37F23AA}"/>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844AF8A9-1A98-4506-8DE7-08BE63BF7320}" type="datetime4">
              <a:rPr lang="en-US" smtClean="0"/>
              <a:t>May 17, 2025</a:t>
            </a:fld>
            <a:endParaRPr lang="en-US" dirty="0"/>
          </a:p>
        </p:txBody>
      </p:sp>
      <p:sp>
        <p:nvSpPr>
          <p:cNvPr id="8" name="Text Placeholder 7">
            <a:extLst>
              <a:ext uri="{FF2B5EF4-FFF2-40B4-BE49-F238E27FC236}">
                <a16:creationId xmlns:a16="http://schemas.microsoft.com/office/drawing/2014/main" id="{83571DCB-691D-2E98-03B7-27439597A708}"/>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9" name="Footer Placeholder 4">
            <a:extLst>
              <a:ext uri="{FF2B5EF4-FFF2-40B4-BE49-F238E27FC236}">
                <a16:creationId xmlns:a16="http://schemas.microsoft.com/office/drawing/2014/main" id="{7DB57542-777D-DE54-4113-940D7E3AF39E}"/>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13" name="Slide Number Placeholder 5">
            <a:extLst>
              <a:ext uri="{FF2B5EF4-FFF2-40B4-BE49-F238E27FC236}">
                <a16:creationId xmlns:a16="http://schemas.microsoft.com/office/drawing/2014/main" id="{D13B8B4A-1921-8AA2-C8C5-D940D7E01E2F}"/>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17" name="Text Placeholder 35">
            <a:extLst>
              <a:ext uri="{FF2B5EF4-FFF2-40B4-BE49-F238E27FC236}">
                <a16:creationId xmlns:a16="http://schemas.microsoft.com/office/drawing/2014/main" id="{7ECA782E-6E58-3164-E695-4F0D3D9662D6}"/>
              </a:ext>
            </a:extLst>
          </p:cNvPr>
          <p:cNvSpPr>
            <a:spLocks noGrp="1"/>
          </p:cNvSpPr>
          <p:nvPr>
            <p:ph type="body" sz="quarter" idx="50" hasCustomPrompt="1"/>
          </p:nvPr>
        </p:nvSpPr>
        <p:spPr>
          <a:xfrm>
            <a:off x="1589141" y="1958079"/>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19" name="Text Placeholder 35">
            <a:extLst>
              <a:ext uri="{FF2B5EF4-FFF2-40B4-BE49-F238E27FC236}">
                <a16:creationId xmlns:a16="http://schemas.microsoft.com/office/drawing/2014/main" id="{46CD7EEA-1286-4021-E3BA-D5488DD97C43}"/>
              </a:ext>
            </a:extLst>
          </p:cNvPr>
          <p:cNvSpPr>
            <a:spLocks noGrp="1"/>
          </p:cNvSpPr>
          <p:nvPr>
            <p:ph type="body" sz="quarter" idx="52" hasCustomPrompt="1"/>
          </p:nvPr>
        </p:nvSpPr>
        <p:spPr>
          <a:xfrm>
            <a:off x="4424363" y="1958079"/>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1" name="Text Placeholder 35">
            <a:extLst>
              <a:ext uri="{FF2B5EF4-FFF2-40B4-BE49-F238E27FC236}">
                <a16:creationId xmlns:a16="http://schemas.microsoft.com/office/drawing/2014/main" id="{EB775BD5-95D1-3684-FEDB-958E3E1DBBA9}"/>
              </a:ext>
            </a:extLst>
          </p:cNvPr>
          <p:cNvSpPr>
            <a:spLocks noGrp="1"/>
          </p:cNvSpPr>
          <p:nvPr>
            <p:ph type="body" sz="quarter" idx="54" hasCustomPrompt="1"/>
          </p:nvPr>
        </p:nvSpPr>
        <p:spPr>
          <a:xfrm>
            <a:off x="7257667" y="1958079"/>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3" name="Text Placeholder 35">
            <a:extLst>
              <a:ext uri="{FF2B5EF4-FFF2-40B4-BE49-F238E27FC236}">
                <a16:creationId xmlns:a16="http://schemas.microsoft.com/office/drawing/2014/main" id="{01748B9B-0F0F-48D3-EFEC-6AB701ED4F3B}"/>
              </a:ext>
            </a:extLst>
          </p:cNvPr>
          <p:cNvSpPr>
            <a:spLocks noGrp="1"/>
          </p:cNvSpPr>
          <p:nvPr>
            <p:ph type="body" sz="quarter" idx="56" hasCustomPrompt="1"/>
          </p:nvPr>
        </p:nvSpPr>
        <p:spPr>
          <a:xfrm>
            <a:off x="10093061" y="1958079"/>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5" name="Text Placeholder 35">
            <a:extLst>
              <a:ext uri="{FF2B5EF4-FFF2-40B4-BE49-F238E27FC236}">
                <a16:creationId xmlns:a16="http://schemas.microsoft.com/office/drawing/2014/main" id="{1A4CD9BC-0A62-47BA-63EA-D598B4D49DEA}"/>
              </a:ext>
            </a:extLst>
          </p:cNvPr>
          <p:cNvSpPr>
            <a:spLocks noGrp="1"/>
          </p:cNvSpPr>
          <p:nvPr>
            <p:ph type="body" sz="quarter" idx="58" hasCustomPrompt="1"/>
          </p:nvPr>
        </p:nvSpPr>
        <p:spPr>
          <a:xfrm>
            <a:off x="1589141" y="4081730"/>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7" name="Text Placeholder 35">
            <a:extLst>
              <a:ext uri="{FF2B5EF4-FFF2-40B4-BE49-F238E27FC236}">
                <a16:creationId xmlns:a16="http://schemas.microsoft.com/office/drawing/2014/main" id="{6FEE9610-6239-4FE5-DE2C-067280B1385D}"/>
              </a:ext>
            </a:extLst>
          </p:cNvPr>
          <p:cNvSpPr>
            <a:spLocks noGrp="1"/>
          </p:cNvSpPr>
          <p:nvPr>
            <p:ph type="body" sz="quarter" idx="60" hasCustomPrompt="1"/>
          </p:nvPr>
        </p:nvSpPr>
        <p:spPr>
          <a:xfrm>
            <a:off x="4424761" y="4081730"/>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29" name="Text Placeholder 35">
            <a:extLst>
              <a:ext uri="{FF2B5EF4-FFF2-40B4-BE49-F238E27FC236}">
                <a16:creationId xmlns:a16="http://schemas.microsoft.com/office/drawing/2014/main" id="{4F885BB1-B714-CD77-8E6F-D9F18879B87C}"/>
              </a:ext>
            </a:extLst>
          </p:cNvPr>
          <p:cNvSpPr>
            <a:spLocks noGrp="1"/>
          </p:cNvSpPr>
          <p:nvPr>
            <p:ph type="body" sz="quarter" idx="62" hasCustomPrompt="1"/>
          </p:nvPr>
        </p:nvSpPr>
        <p:spPr>
          <a:xfrm>
            <a:off x="7257667" y="4081730"/>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31" name="Text Placeholder 35">
            <a:extLst>
              <a:ext uri="{FF2B5EF4-FFF2-40B4-BE49-F238E27FC236}">
                <a16:creationId xmlns:a16="http://schemas.microsoft.com/office/drawing/2014/main" id="{C25AF511-F056-D130-A181-0921FD8412AE}"/>
              </a:ext>
            </a:extLst>
          </p:cNvPr>
          <p:cNvSpPr>
            <a:spLocks noGrp="1"/>
          </p:cNvSpPr>
          <p:nvPr>
            <p:ph type="body" sz="quarter" idx="64" hasCustomPrompt="1"/>
          </p:nvPr>
        </p:nvSpPr>
        <p:spPr>
          <a:xfrm>
            <a:off x="10091929" y="4081730"/>
            <a:ext cx="1489339" cy="444674"/>
          </a:xfrm>
        </p:spPr>
        <p:txBody>
          <a:bodyPr wrap="square" anchor="b">
            <a:noAutofit/>
          </a:bodyPr>
          <a:lstStyle>
            <a:lvl1pPr>
              <a:lnSpc>
                <a:spcPct val="90000"/>
              </a:lnSpc>
              <a:spcAft>
                <a:spcPts val="0"/>
              </a:spcAft>
              <a:defRPr sz="1600" b="1">
                <a:latin typeface="+mj-lt"/>
              </a:defRPr>
            </a:lvl1pPr>
            <a:lvl2pPr marL="0" indent="0">
              <a:spcAft>
                <a:spcPts val="0"/>
              </a:spcAft>
              <a:buNone/>
              <a:defRPr sz="1400"/>
            </a:lvl2pPr>
          </a:lstStyle>
          <a:p>
            <a:pPr lvl="0"/>
            <a:r>
              <a:rPr lang="en-US"/>
              <a:t>Name, </a:t>
            </a:r>
            <a:br>
              <a:rPr lang="en-US"/>
            </a:br>
            <a:r>
              <a:rPr lang="en-US"/>
              <a:t>Last Name</a:t>
            </a:r>
          </a:p>
        </p:txBody>
      </p:sp>
      <p:sp>
        <p:nvSpPr>
          <p:cNvPr id="35" name="Text Placeholder 34">
            <a:extLst>
              <a:ext uri="{FF2B5EF4-FFF2-40B4-BE49-F238E27FC236}">
                <a16:creationId xmlns:a16="http://schemas.microsoft.com/office/drawing/2014/main" id="{E236A97F-6227-1285-13E5-B562717B919E}"/>
              </a:ext>
            </a:extLst>
          </p:cNvPr>
          <p:cNvSpPr>
            <a:spLocks noGrp="1"/>
          </p:cNvSpPr>
          <p:nvPr>
            <p:ph type="body" sz="quarter" idx="65" hasCustomPrompt="1"/>
          </p:nvPr>
        </p:nvSpPr>
        <p:spPr>
          <a:xfrm>
            <a:off x="4424363" y="2408210"/>
            <a:ext cx="1489075" cy="182880"/>
          </a:xfrm>
        </p:spPr>
        <p:txBody>
          <a:bodyPr/>
          <a:lstStyle>
            <a:lvl1pPr>
              <a:defRPr sz="1200"/>
            </a:lvl1pPr>
            <a:lvl5pPr>
              <a:defRPr/>
            </a:lvl5pPr>
          </a:lstStyle>
          <a:p>
            <a:pPr lvl="0"/>
            <a:r>
              <a:rPr lang="en-US"/>
              <a:t>Title/Position</a:t>
            </a:r>
          </a:p>
        </p:txBody>
      </p:sp>
      <p:sp>
        <p:nvSpPr>
          <p:cNvPr id="36" name="Text Placeholder 34">
            <a:extLst>
              <a:ext uri="{FF2B5EF4-FFF2-40B4-BE49-F238E27FC236}">
                <a16:creationId xmlns:a16="http://schemas.microsoft.com/office/drawing/2014/main" id="{25FFC300-B300-AE9C-9A35-721F8EFF9C35}"/>
              </a:ext>
            </a:extLst>
          </p:cNvPr>
          <p:cNvSpPr>
            <a:spLocks noGrp="1"/>
          </p:cNvSpPr>
          <p:nvPr>
            <p:ph type="body" sz="quarter" idx="66" hasCustomPrompt="1"/>
          </p:nvPr>
        </p:nvSpPr>
        <p:spPr>
          <a:xfrm>
            <a:off x="1589141" y="2408210"/>
            <a:ext cx="1489075" cy="182880"/>
          </a:xfrm>
        </p:spPr>
        <p:txBody>
          <a:bodyPr/>
          <a:lstStyle>
            <a:lvl1pPr>
              <a:defRPr sz="1200"/>
            </a:lvl1pPr>
            <a:lvl5pPr>
              <a:defRPr/>
            </a:lvl5pPr>
          </a:lstStyle>
          <a:p>
            <a:pPr lvl="0"/>
            <a:r>
              <a:rPr lang="en-US"/>
              <a:t>Title/Position</a:t>
            </a:r>
          </a:p>
        </p:txBody>
      </p:sp>
      <p:sp>
        <p:nvSpPr>
          <p:cNvPr id="37" name="Text Placeholder 34">
            <a:extLst>
              <a:ext uri="{FF2B5EF4-FFF2-40B4-BE49-F238E27FC236}">
                <a16:creationId xmlns:a16="http://schemas.microsoft.com/office/drawing/2014/main" id="{24D20157-C335-0214-6B38-5139D43A530E}"/>
              </a:ext>
            </a:extLst>
          </p:cNvPr>
          <p:cNvSpPr>
            <a:spLocks noGrp="1"/>
          </p:cNvSpPr>
          <p:nvPr>
            <p:ph type="body" sz="quarter" idx="67" hasCustomPrompt="1"/>
          </p:nvPr>
        </p:nvSpPr>
        <p:spPr>
          <a:xfrm>
            <a:off x="7257931" y="2408210"/>
            <a:ext cx="1489075" cy="182880"/>
          </a:xfrm>
        </p:spPr>
        <p:txBody>
          <a:bodyPr/>
          <a:lstStyle>
            <a:lvl1pPr>
              <a:defRPr sz="1200"/>
            </a:lvl1pPr>
            <a:lvl5pPr>
              <a:defRPr/>
            </a:lvl5pPr>
          </a:lstStyle>
          <a:p>
            <a:pPr lvl="0"/>
            <a:r>
              <a:rPr lang="en-US"/>
              <a:t>Title/Position</a:t>
            </a:r>
          </a:p>
        </p:txBody>
      </p:sp>
      <p:sp>
        <p:nvSpPr>
          <p:cNvPr id="38" name="Text Placeholder 34">
            <a:extLst>
              <a:ext uri="{FF2B5EF4-FFF2-40B4-BE49-F238E27FC236}">
                <a16:creationId xmlns:a16="http://schemas.microsoft.com/office/drawing/2014/main" id="{EE6BDADF-6B4D-DAD9-59FB-6F7777BF9345}"/>
              </a:ext>
            </a:extLst>
          </p:cNvPr>
          <p:cNvSpPr>
            <a:spLocks noGrp="1"/>
          </p:cNvSpPr>
          <p:nvPr>
            <p:ph type="body" sz="quarter" idx="68" hasCustomPrompt="1"/>
          </p:nvPr>
        </p:nvSpPr>
        <p:spPr>
          <a:xfrm>
            <a:off x="10092193" y="2408210"/>
            <a:ext cx="1489075" cy="182880"/>
          </a:xfrm>
        </p:spPr>
        <p:txBody>
          <a:bodyPr/>
          <a:lstStyle>
            <a:lvl1pPr>
              <a:defRPr sz="1200"/>
            </a:lvl1pPr>
            <a:lvl5pPr>
              <a:defRPr/>
            </a:lvl5pPr>
          </a:lstStyle>
          <a:p>
            <a:pPr lvl="0"/>
            <a:r>
              <a:rPr lang="en-US"/>
              <a:t>Title/Position</a:t>
            </a:r>
          </a:p>
        </p:txBody>
      </p:sp>
      <p:sp>
        <p:nvSpPr>
          <p:cNvPr id="39" name="Text Placeholder 34">
            <a:extLst>
              <a:ext uri="{FF2B5EF4-FFF2-40B4-BE49-F238E27FC236}">
                <a16:creationId xmlns:a16="http://schemas.microsoft.com/office/drawing/2014/main" id="{A90FB390-6352-B76E-9584-6FAA43F3BE80}"/>
              </a:ext>
            </a:extLst>
          </p:cNvPr>
          <p:cNvSpPr>
            <a:spLocks noGrp="1"/>
          </p:cNvSpPr>
          <p:nvPr>
            <p:ph type="body" sz="quarter" idx="69" hasCustomPrompt="1"/>
          </p:nvPr>
        </p:nvSpPr>
        <p:spPr>
          <a:xfrm>
            <a:off x="4424363" y="4531861"/>
            <a:ext cx="1489075" cy="182880"/>
          </a:xfrm>
        </p:spPr>
        <p:txBody>
          <a:bodyPr/>
          <a:lstStyle>
            <a:lvl1pPr>
              <a:defRPr sz="1200"/>
            </a:lvl1pPr>
            <a:lvl5pPr>
              <a:defRPr/>
            </a:lvl5pPr>
          </a:lstStyle>
          <a:p>
            <a:pPr lvl="0"/>
            <a:r>
              <a:rPr lang="en-US"/>
              <a:t>Title/Position</a:t>
            </a:r>
          </a:p>
        </p:txBody>
      </p:sp>
      <p:sp>
        <p:nvSpPr>
          <p:cNvPr id="40" name="Text Placeholder 34">
            <a:extLst>
              <a:ext uri="{FF2B5EF4-FFF2-40B4-BE49-F238E27FC236}">
                <a16:creationId xmlns:a16="http://schemas.microsoft.com/office/drawing/2014/main" id="{8FE54586-0FF1-181A-CED2-DA8BD5029A2B}"/>
              </a:ext>
            </a:extLst>
          </p:cNvPr>
          <p:cNvSpPr>
            <a:spLocks noGrp="1"/>
          </p:cNvSpPr>
          <p:nvPr>
            <p:ph type="body" sz="quarter" idx="70" hasCustomPrompt="1"/>
          </p:nvPr>
        </p:nvSpPr>
        <p:spPr>
          <a:xfrm>
            <a:off x="7257931" y="4531861"/>
            <a:ext cx="1489075" cy="182880"/>
          </a:xfrm>
        </p:spPr>
        <p:txBody>
          <a:bodyPr/>
          <a:lstStyle>
            <a:lvl1pPr>
              <a:defRPr sz="1200"/>
            </a:lvl1pPr>
            <a:lvl5pPr>
              <a:defRPr/>
            </a:lvl5pPr>
          </a:lstStyle>
          <a:p>
            <a:pPr lvl="0"/>
            <a:r>
              <a:rPr lang="en-US"/>
              <a:t>Title/Position</a:t>
            </a:r>
          </a:p>
        </p:txBody>
      </p:sp>
      <p:sp>
        <p:nvSpPr>
          <p:cNvPr id="41" name="Text Placeholder 34">
            <a:extLst>
              <a:ext uri="{FF2B5EF4-FFF2-40B4-BE49-F238E27FC236}">
                <a16:creationId xmlns:a16="http://schemas.microsoft.com/office/drawing/2014/main" id="{B31094E1-C0CA-F5B0-3843-DAF847159934}"/>
              </a:ext>
            </a:extLst>
          </p:cNvPr>
          <p:cNvSpPr>
            <a:spLocks noGrp="1"/>
          </p:cNvSpPr>
          <p:nvPr>
            <p:ph type="body" sz="quarter" idx="71" hasCustomPrompt="1"/>
          </p:nvPr>
        </p:nvSpPr>
        <p:spPr>
          <a:xfrm>
            <a:off x="10092193" y="4531861"/>
            <a:ext cx="1489075" cy="182880"/>
          </a:xfrm>
        </p:spPr>
        <p:txBody>
          <a:bodyPr/>
          <a:lstStyle>
            <a:lvl1pPr>
              <a:defRPr sz="1200"/>
            </a:lvl1pPr>
            <a:lvl5pPr>
              <a:defRPr/>
            </a:lvl5pPr>
          </a:lstStyle>
          <a:p>
            <a:pPr lvl="0"/>
            <a:r>
              <a:rPr lang="en-US"/>
              <a:t>Title/Position</a:t>
            </a:r>
          </a:p>
        </p:txBody>
      </p:sp>
      <p:sp>
        <p:nvSpPr>
          <p:cNvPr id="42" name="Text Placeholder 34">
            <a:extLst>
              <a:ext uri="{FF2B5EF4-FFF2-40B4-BE49-F238E27FC236}">
                <a16:creationId xmlns:a16="http://schemas.microsoft.com/office/drawing/2014/main" id="{7C3E3D7F-0F82-3FE9-DF1F-3F6F1C63178A}"/>
              </a:ext>
            </a:extLst>
          </p:cNvPr>
          <p:cNvSpPr>
            <a:spLocks noGrp="1"/>
          </p:cNvSpPr>
          <p:nvPr>
            <p:ph type="body" sz="quarter" idx="72" hasCustomPrompt="1"/>
          </p:nvPr>
        </p:nvSpPr>
        <p:spPr>
          <a:xfrm>
            <a:off x="1589141" y="4531861"/>
            <a:ext cx="1489075" cy="182880"/>
          </a:xfrm>
        </p:spPr>
        <p:txBody>
          <a:bodyPr/>
          <a:lstStyle>
            <a:lvl1pPr>
              <a:defRPr sz="1200"/>
            </a:lvl1pPr>
            <a:lvl5pPr>
              <a:defRPr/>
            </a:lvl5pPr>
          </a:lstStyle>
          <a:p>
            <a:pPr lvl="0"/>
            <a:r>
              <a:rPr lang="en-US"/>
              <a:t>Title/Position</a:t>
            </a:r>
          </a:p>
        </p:txBody>
      </p:sp>
    </p:spTree>
    <p:extLst>
      <p:ext uri="{BB962C8B-B14F-4D97-AF65-F5344CB8AC3E}">
        <p14:creationId xmlns:p14="http://schemas.microsoft.com/office/powerpoint/2010/main" val="14927903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low Chart">
    <p:bg>
      <p:bgPr>
        <a:solidFill>
          <a:srgbClr val="F3F3F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5CED7064-E79D-96CC-BCD5-91C093F5AB7D}"/>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7" name="Text Placeholder 3">
            <a:extLst>
              <a:ext uri="{FF2B5EF4-FFF2-40B4-BE49-F238E27FC236}">
                <a16:creationId xmlns:a16="http://schemas.microsoft.com/office/drawing/2014/main" id="{B8360DF4-7B74-45B1-DF30-A89B8E1303F5}"/>
              </a:ext>
            </a:extLst>
          </p:cNvPr>
          <p:cNvSpPr>
            <a:spLocks noGrp="1"/>
          </p:cNvSpPr>
          <p:nvPr>
            <p:ph type="body" sz="quarter" idx="25"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5 Guidehouse Inc.</a:t>
            </a:r>
          </a:p>
        </p:txBody>
      </p:sp>
      <p:sp>
        <p:nvSpPr>
          <p:cNvPr id="12" name="Date Placeholder 12">
            <a:extLst>
              <a:ext uri="{FF2B5EF4-FFF2-40B4-BE49-F238E27FC236}">
                <a16:creationId xmlns:a16="http://schemas.microsoft.com/office/drawing/2014/main" id="{9343F3EF-079D-EB6A-A42B-37599862F4A1}"/>
              </a:ext>
            </a:extLst>
          </p:cNvPr>
          <p:cNvSpPr>
            <a:spLocks noGrp="1"/>
          </p:cNvSpPr>
          <p:nvPr>
            <p:ph type="dt" sz="half" idx="15"/>
          </p:nvPr>
        </p:nvSpPr>
        <p:spPr>
          <a:xfrm>
            <a:off x="10236555" y="136647"/>
            <a:ext cx="1345845" cy="153888"/>
          </a:xfrm>
        </p:spPr>
        <p:txBody>
          <a:bodyPr>
            <a:noAutofit/>
          </a:bodyPr>
          <a:lstStyle>
            <a:lvl1pPr>
              <a:defRPr>
                <a:solidFill>
                  <a:schemeClr val="tx1">
                    <a:lumMod val="75000"/>
                    <a:lumOff val="25000"/>
                  </a:schemeClr>
                </a:solidFill>
              </a:defRPr>
            </a:lvl1pPr>
          </a:lstStyle>
          <a:p>
            <a:fld id="{86464B3D-EA1B-42ED-A932-DBB8DB286B58}" type="datetime4">
              <a:rPr lang="en-US" smtClean="0"/>
              <a:t>May 17, 2025</a:t>
            </a:fld>
            <a:endParaRPr lang="en-US" dirty="0"/>
          </a:p>
        </p:txBody>
      </p:sp>
      <p:grpSp>
        <p:nvGrpSpPr>
          <p:cNvPr id="2" name="Group 1">
            <a:extLst>
              <a:ext uri="{FF2B5EF4-FFF2-40B4-BE49-F238E27FC236}">
                <a16:creationId xmlns:a16="http://schemas.microsoft.com/office/drawing/2014/main" id="{9DB05CD1-4CCC-4FEB-DD04-DF2D61F0BD95}"/>
              </a:ext>
            </a:extLst>
          </p:cNvPr>
          <p:cNvGrpSpPr/>
          <p:nvPr userDrawn="1"/>
        </p:nvGrpSpPr>
        <p:grpSpPr>
          <a:xfrm>
            <a:off x="4686300" y="1713329"/>
            <a:ext cx="3120511" cy="567755"/>
            <a:chOff x="4686300" y="1713329"/>
            <a:chExt cx="3120511" cy="567755"/>
          </a:xfrm>
        </p:grpSpPr>
        <p:sp>
          <p:nvSpPr>
            <p:cNvPr id="11" name="Rectangle 10">
              <a:extLst>
                <a:ext uri="{FF2B5EF4-FFF2-40B4-BE49-F238E27FC236}">
                  <a16:creationId xmlns:a16="http://schemas.microsoft.com/office/drawing/2014/main" id="{0D5F7246-50E3-64DF-B9D8-58E257BCA8DF}"/>
                </a:ext>
              </a:extLst>
            </p:cNvPr>
            <p:cNvSpPr/>
            <p:nvPr/>
          </p:nvSpPr>
          <p:spPr>
            <a:xfrm>
              <a:off x="4686300" y="1713329"/>
              <a:ext cx="3120511"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b="1" dirty="0">
                <a:solidFill>
                  <a:schemeClr val="tx2"/>
                </a:solidFill>
                <a:latin typeface="+mj-lt"/>
              </a:endParaRPr>
            </a:p>
          </p:txBody>
        </p:sp>
        <p:cxnSp>
          <p:nvCxnSpPr>
            <p:cNvPr id="13" name="Straight Connector 12">
              <a:extLst>
                <a:ext uri="{FF2B5EF4-FFF2-40B4-BE49-F238E27FC236}">
                  <a16:creationId xmlns:a16="http://schemas.microsoft.com/office/drawing/2014/main" id="{57E58353-3B6A-EAB0-24D4-8BC570418A38}"/>
                </a:ext>
              </a:extLst>
            </p:cNvPr>
            <p:cNvCxnSpPr>
              <a:cxnSpLocks/>
            </p:cNvCxnSpPr>
            <p:nvPr/>
          </p:nvCxnSpPr>
          <p:spPr>
            <a:xfrm>
              <a:off x="5328057" y="2281084"/>
              <a:ext cx="602431"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5B9C1735-EA75-8592-225D-ECD548932D88}"/>
              </a:ext>
            </a:extLst>
          </p:cNvPr>
          <p:cNvGrpSpPr/>
          <p:nvPr userDrawn="1"/>
        </p:nvGrpSpPr>
        <p:grpSpPr>
          <a:xfrm>
            <a:off x="8461888" y="2921468"/>
            <a:ext cx="3120511" cy="567755"/>
            <a:chOff x="8461888" y="2921468"/>
            <a:chExt cx="3120511" cy="567755"/>
          </a:xfrm>
        </p:grpSpPr>
        <p:sp>
          <p:nvSpPr>
            <p:cNvPr id="15" name="Rectangle 14">
              <a:extLst>
                <a:ext uri="{FF2B5EF4-FFF2-40B4-BE49-F238E27FC236}">
                  <a16:creationId xmlns:a16="http://schemas.microsoft.com/office/drawing/2014/main" id="{745981C0-31B7-556D-4E32-3B2DAAD60612}"/>
                </a:ext>
              </a:extLst>
            </p:cNvPr>
            <p:cNvSpPr/>
            <p:nvPr/>
          </p:nvSpPr>
          <p:spPr>
            <a:xfrm>
              <a:off x="8461888" y="2921468"/>
              <a:ext cx="3120511"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r>
                <a:rPr lang="en-US" sz="1600" dirty="0">
                  <a:solidFill>
                    <a:schemeClr val="tx2"/>
                  </a:solidFill>
                </a:rPr>
                <a:t>First, Last</a:t>
              </a:r>
            </a:p>
            <a:p>
              <a:r>
                <a:rPr lang="en-US" sz="1200" dirty="0">
                  <a:solidFill>
                    <a:schemeClr val="tx2"/>
                  </a:solidFill>
                </a:rPr>
                <a:t>Title</a:t>
              </a:r>
            </a:p>
          </p:txBody>
        </p:sp>
        <p:cxnSp>
          <p:nvCxnSpPr>
            <p:cNvPr id="16" name="Straight Connector 15">
              <a:extLst>
                <a:ext uri="{FF2B5EF4-FFF2-40B4-BE49-F238E27FC236}">
                  <a16:creationId xmlns:a16="http://schemas.microsoft.com/office/drawing/2014/main" id="{8E700BAA-9251-4230-7810-75414315594E}"/>
                </a:ext>
              </a:extLst>
            </p:cNvPr>
            <p:cNvCxnSpPr>
              <a:cxnSpLocks/>
            </p:cNvCxnSpPr>
            <p:nvPr/>
          </p:nvCxnSpPr>
          <p:spPr>
            <a:xfrm>
              <a:off x="9103644" y="3489223"/>
              <a:ext cx="602431"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365ACF25-7131-4E32-0775-6166EBB274AE}"/>
              </a:ext>
            </a:extLst>
          </p:cNvPr>
          <p:cNvGrpSpPr/>
          <p:nvPr userDrawn="1"/>
        </p:nvGrpSpPr>
        <p:grpSpPr>
          <a:xfrm>
            <a:off x="4686302" y="4129607"/>
            <a:ext cx="3120512" cy="567755"/>
            <a:chOff x="4686302" y="4129607"/>
            <a:chExt cx="3120512" cy="567755"/>
          </a:xfrm>
        </p:grpSpPr>
        <p:sp>
          <p:nvSpPr>
            <p:cNvPr id="28" name="Rectangle 27">
              <a:extLst>
                <a:ext uri="{FF2B5EF4-FFF2-40B4-BE49-F238E27FC236}">
                  <a16:creationId xmlns:a16="http://schemas.microsoft.com/office/drawing/2014/main" id="{4B26E197-82A8-6744-B447-A08395B394DE}"/>
                </a:ext>
              </a:extLst>
            </p:cNvPr>
            <p:cNvSpPr/>
            <p:nvPr/>
          </p:nvSpPr>
          <p:spPr>
            <a:xfrm>
              <a:off x="4686302" y="4129607"/>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dirty="0">
                <a:solidFill>
                  <a:schemeClr val="tx2"/>
                </a:solidFill>
              </a:endParaRPr>
            </a:p>
          </p:txBody>
        </p:sp>
        <p:cxnSp>
          <p:nvCxnSpPr>
            <p:cNvPr id="29" name="Straight Connector 28">
              <a:extLst>
                <a:ext uri="{FF2B5EF4-FFF2-40B4-BE49-F238E27FC236}">
                  <a16:creationId xmlns:a16="http://schemas.microsoft.com/office/drawing/2014/main" id="{06AAFF47-D7D4-197B-93A1-7A5E1F06DEDE}"/>
                </a:ext>
              </a:extLst>
            </p:cNvPr>
            <p:cNvCxnSpPr>
              <a:cxnSpLocks/>
            </p:cNvCxnSpPr>
            <p:nvPr/>
          </p:nvCxnSpPr>
          <p:spPr>
            <a:xfrm>
              <a:off x="5328059" y="4697362"/>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4F6F87E1-ED35-40B0-AFCC-23E19B1FD056}"/>
              </a:ext>
            </a:extLst>
          </p:cNvPr>
          <p:cNvGrpSpPr/>
          <p:nvPr userDrawn="1"/>
        </p:nvGrpSpPr>
        <p:grpSpPr>
          <a:xfrm>
            <a:off x="8461889" y="4129607"/>
            <a:ext cx="3120512" cy="567755"/>
            <a:chOff x="8461889" y="4129607"/>
            <a:chExt cx="3120512" cy="567755"/>
          </a:xfrm>
        </p:grpSpPr>
        <p:sp>
          <p:nvSpPr>
            <p:cNvPr id="31" name="Rectangle 30">
              <a:extLst>
                <a:ext uri="{FF2B5EF4-FFF2-40B4-BE49-F238E27FC236}">
                  <a16:creationId xmlns:a16="http://schemas.microsoft.com/office/drawing/2014/main" id="{96AE6C5A-F717-B7AD-D70C-B2BE525001B9}"/>
                </a:ext>
              </a:extLst>
            </p:cNvPr>
            <p:cNvSpPr/>
            <p:nvPr/>
          </p:nvSpPr>
          <p:spPr>
            <a:xfrm>
              <a:off x="8461889" y="4129607"/>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dirty="0">
                <a:solidFill>
                  <a:schemeClr val="tx2"/>
                </a:solidFill>
              </a:endParaRPr>
            </a:p>
          </p:txBody>
        </p:sp>
        <p:cxnSp>
          <p:nvCxnSpPr>
            <p:cNvPr id="32" name="Straight Connector 31">
              <a:extLst>
                <a:ext uri="{FF2B5EF4-FFF2-40B4-BE49-F238E27FC236}">
                  <a16:creationId xmlns:a16="http://schemas.microsoft.com/office/drawing/2014/main" id="{8D89A840-CA99-3707-E49A-509D4D7596B5}"/>
                </a:ext>
              </a:extLst>
            </p:cNvPr>
            <p:cNvCxnSpPr>
              <a:cxnSpLocks/>
            </p:cNvCxnSpPr>
            <p:nvPr/>
          </p:nvCxnSpPr>
          <p:spPr>
            <a:xfrm>
              <a:off x="9103646" y="4697362"/>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6B26946F-6840-5A59-F60C-19F988490DC8}"/>
              </a:ext>
            </a:extLst>
          </p:cNvPr>
          <p:cNvGrpSpPr/>
          <p:nvPr userDrawn="1"/>
        </p:nvGrpSpPr>
        <p:grpSpPr>
          <a:xfrm>
            <a:off x="910715" y="4129607"/>
            <a:ext cx="3120512" cy="567755"/>
            <a:chOff x="910715" y="4129607"/>
            <a:chExt cx="3120512" cy="567755"/>
          </a:xfrm>
        </p:grpSpPr>
        <p:sp>
          <p:nvSpPr>
            <p:cNvPr id="34" name="Rectangle 33">
              <a:extLst>
                <a:ext uri="{FF2B5EF4-FFF2-40B4-BE49-F238E27FC236}">
                  <a16:creationId xmlns:a16="http://schemas.microsoft.com/office/drawing/2014/main" id="{57042A98-3581-B047-EB2B-E42CB8CBAFD4}"/>
                </a:ext>
              </a:extLst>
            </p:cNvPr>
            <p:cNvSpPr/>
            <p:nvPr/>
          </p:nvSpPr>
          <p:spPr>
            <a:xfrm>
              <a:off x="910715" y="4129607"/>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dirty="0">
                <a:solidFill>
                  <a:schemeClr val="tx2"/>
                </a:solidFill>
              </a:endParaRPr>
            </a:p>
          </p:txBody>
        </p:sp>
        <p:cxnSp>
          <p:nvCxnSpPr>
            <p:cNvPr id="35" name="Straight Connector 34">
              <a:extLst>
                <a:ext uri="{FF2B5EF4-FFF2-40B4-BE49-F238E27FC236}">
                  <a16:creationId xmlns:a16="http://schemas.microsoft.com/office/drawing/2014/main" id="{9D65630B-07FE-4697-B2CF-05032F71B59C}"/>
                </a:ext>
              </a:extLst>
            </p:cNvPr>
            <p:cNvCxnSpPr>
              <a:cxnSpLocks/>
            </p:cNvCxnSpPr>
            <p:nvPr/>
          </p:nvCxnSpPr>
          <p:spPr>
            <a:xfrm>
              <a:off x="1552472" y="4697362"/>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E1EBB607-53EC-151B-C7F5-B576E2C3DBDE}"/>
              </a:ext>
            </a:extLst>
          </p:cNvPr>
          <p:cNvGrpSpPr/>
          <p:nvPr userDrawn="1"/>
        </p:nvGrpSpPr>
        <p:grpSpPr>
          <a:xfrm>
            <a:off x="4686302" y="5337745"/>
            <a:ext cx="3120512" cy="567755"/>
            <a:chOff x="4686302" y="5337745"/>
            <a:chExt cx="3120512" cy="567755"/>
          </a:xfrm>
        </p:grpSpPr>
        <p:sp>
          <p:nvSpPr>
            <p:cNvPr id="37" name="Rectangle 36">
              <a:extLst>
                <a:ext uri="{FF2B5EF4-FFF2-40B4-BE49-F238E27FC236}">
                  <a16:creationId xmlns:a16="http://schemas.microsoft.com/office/drawing/2014/main" id="{1D5E070D-8539-292C-BA26-58C88962DBA4}"/>
                </a:ext>
              </a:extLst>
            </p:cNvPr>
            <p:cNvSpPr/>
            <p:nvPr/>
          </p:nvSpPr>
          <p:spPr>
            <a:xfrm>
              <a:off x="4686302" y="5337745"/>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dirty="0">
                <a:solidFill>
                  <a:schemeClr val="tx2"/>
                </a:solidFill>
              </a:endParaRPr>
            </a:p>
          </p:txBody>
        </p:sp>
        <p:cxnSp>
          <p:nvCxnSpPr>
            <p:cNvPr id="38" name="Straight Connector 37">
              <a:extLst>
                <a:ext uri="{FF2B5EF4-FFF2-40B4-BE49-F238E27FC236}">
                  <a16:creationId xmlns:a16="http://schemas.microsoft.com/office/drawing/2014/main" id="{35A8CAFD-F4DA-52B3-5018-E8F8E4F6D18B}"/>
                </a:ext>
              </a:extLst>
            </p:cNvPr>
            <p:cNvCxnSpPr>
              <a:cxnSpLocks/>
            </p:cNvCxnSpPr>
            <p:nvPr/>
          </p:nvCxnSpPr>
          <p:spPr>
            <a:xfrm>
              <a:off x="5328058" y="5905500"/>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6D577176-A4ED-A77F-E360-1D73B530AA25}"/>
              </a:ext>
            </a:extLst>
          </p:cNvPr>
          <p:cNvGrpSpPr/>
          <p:nvPr userDrawn="1"/>
        </p:nvGrpSpPr>
        <p:grpSpPr>
          <a:xfrm>
            <a:off x="8461889" y="5337745"/>
            <a:ext cx="3120512" cy="567755"/>
            <a:chOff x="8461889" y="5337745"/>
            <a:chExt cx="3120512" cy="567755"/>
          </a:xfrm>
        </p:grpSpPr>
        <p:sp>
          <p:nvSpPr>
            <p:cNvPr id="40" name="Rectangle 39">
              <a:extLst>
                <a:ext uri="{FF2B5EF4-FFF2-40B4-BE49-F238E27FC236}">
                  <a16:creationId xmlns:a16="http://schemas.microsoft.com/office/drawing/2014/main" id="{9105BC11-C621-0FF5-5503-173C8AFA37DF}"/>
                </a:ext>
              </a:extLst>
            </p:cNvPr>
            <p:cNvSpPr/>
            <p:nvPr/>
          </p:nvSpPr>
          <p:spPr>
            <a:xfrm>
              <a:off x="8461889" y="5337745"/>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dirty="0">
                <a:solidFill>
                  <a:schemeClr val="tx2"/>
                </a:solidFill>
              </a:endParaRPr>
            </a:p>
          </p:txBody>
        </p:sp>
        <p:cxnSp>
          <p:nvCxnSpPr>
            <p:cNvPr id="41" name="Straight Connector 40">
              <a:extLst>
                <a:ext uri="{FF2B5EF4-FFF2-40B4-BE49-F238E27FC236}">
                  <a16:creationId xmlns:a16="http://schemas.microsoft.com/office/drawing/2014/main" id="{A5EE80AE-8B0C-DD10-ABB9-388E1D661B0A}"/>
                </a:ext>
              </a:extLst>
            </p:cNvPr>
            <p:cNvCxnSpPr>
              <a:cxnSpLocks/>
            </p:cNvCxnSpPr>
            <p:nvPr/>
          </p:nvCxnSpPr>
          <p:spPr>
            <a:xfrm>
              <a:off x="9103645" y="5905500"/>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5F4D42E5-D0D6-B3DC-CD23-A3207EAD1A92}"/>
              </a:ext>
            </a:extLst>
          </p:cNvPr>
          <p:cNvGrpSpPr/>
          <p:nvPr userDrawn="1"/>
        </p:nvGrpSpPr>
        <p:grpSpPr>
          <a:xfrm>
            <a:off x="910715" y="5337745"/>
            <a:ext cx="3120512" cy="567755"/>
            <a:chOff x="910715" y="5337745"/>
            <a:chExt cx="3120512" cy="567755"/>
          </a:xfrm>
        </p:grpSpPr>
        <p:sp>
          <p:nvSpPr>
            <p:cNvPr id="43" name="Rectangle 42">
              <a:extLst>
                <a:ext uri="{FF2B5EF4-FFF2-40B4-BE49-F238E27FC236}">
                  <a16:creationId xmlns:a16="http://schemas.microsoft.com/office/drawing/2014/main" id="{7ED666DB-1575-9602-89B5-AC06D21D6193}"/>
                </a:ext>
              </a:extLst>
            </p:cNvPr>
            <p:cNvSpPr/>
            <p:nvPr/>
          </p:nvSpPr>
          <p:spPr>
            <a:xfrm>
              <a:off x="910715" y="5337745"/>
              <a:ext cx="3120512"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dirty="0">
                <a:solidFill>
                  <a:schemeClr val="tx2"/>
                </a:solidFill>
              </a:endParaRPr>
            </a:p>
          </p:txBody>
        </p:sp>
        <p:cxnSp>
          <p:nvCxnSpPr>
            <p:cNvPr id="44" name="Straight Connector 43">
              <a:extLst>
                <a:ext uri="{FF2B5EF4-FFF2-40B4-BE49-F238E27FC236}">
                  <a16:creationId xmlns:a16="http://schemas.microsoft.com/office/drawing/2014/main" id="{3A8644E7-FC5D-E6DE-802C-C1F83C228380}"/>
                </a:ext>
              </a:extLst>
            </p:cNvPr>
            <p:cNvCxnSpPr>
              <a:cxnSpLocks/>
            </p:cNvCxnSpPr>
            <p:nvPr/>
          </p:nvCxnSpPr>
          <p:spPr>
            <a:xfrm>
              <a:off x="1552471" y="5905500"/>
              <a:ext cx="602431" cy="0"/>
            </a:xfrm>
            <a:prstGeom prst="line">
              <a:avLst/>
            </a:prstGeom>
            <a:solidFill>
              <a:schemeClr val="bg2"/>
            </a:solidFill>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168915B4-826B-BE22-1085-630D605773D4}"/>
              </a:ext>
            </a:extLst>
          </p:cNvPr>
          <p:cNvGrpSpPr/>
          <p:nvPr userDrawn="1"/>
        </p:nvGrpSpPr>
        <p:grpSpPr>
          <a:xfrm>
            <a:off x="4686301" y="2921468"/>
            <a:ext cx="3120511" cy="567755"/>
            <a:chOff x="4686301" y="2921468"/>
            <a:chExt cx="3120511" cy="567755"/>
          </a:xfrm>
        </p:grpSpPr>
        <p:sp>
          <p:nvSpPr>
            <p:cNvPr id="46" name="Rectangle 45">
              <a:extLst>
                <a:ext uri="{FF2B5EF4-FFF2-40B4-BE49-F238E27FC236}">
                  <a16:creationId xmlns:a16="http://schemas.microsoft.com/office/drawing/2014/main" id="{47AD9448-5ED4-8375-B324-BB404F19624F}"/>
                </a:ext>
              </a:extLst>
            </p:cNvPr>
            <p:cNvSpPr/>
            <p:nvPr/>
          </p:nvSpPr>
          <p:spPr>
            <a:xfrm>
              <a:off x="4686301" y="2921468"/>
              <a:ext cx="3120511"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dirty="0">
                <a:solidFill>
                  <a:schemeClr val="tx2"/>
                </a:solidFill>
              </a:endParaRPr>
            </a:p>
          </p:txBody>
        </p:sp>
        <p:cxnSp>
          <p:nvCxnSpPr>
            <p:cNvPr id="47" name="Straight Connector 46">
              <a:extLst>
                <a:ext uri="{FF2B5EF4-FFF2-40B4-BE49-F238E27FC236}">
                  <a16:creationId xmlns:a16="http://schemas.microsoft.com/office/drawing/2014/main" id="{BF64A9D3-C868-212C-139B-CC1E91CC3DCE}"/>
                </a:ext>
              </a:extLst>
            </p:cNvPr>
            <p:cNvCxnSpPr>
              <a:cxnSpLocks/>
            </p:cNvCxnSpPr>
            <p:nvPr/>
          </p:nvCxnSpPr>
          <p:spPr>
            <a:xfrm>
              <a:off x="5328057" y="3489223"/>
              <a:ext cx="602431"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ADB436BE-B2E6-CA84-E983-9D56B904115F}"/>
              </a:ext>
            </a:extLst>
          </p:cNvPr>
          <p:cNvGrpSpPr/>
          <p:nvPr userDrawn="1"/>
        </p:nvGrpSpPr>
        <p:grpSpPr>
          <a:xfrm>
            <a:off x="910714" y="2921468"/>
            <a:ext cx="3120511" cy="567755"/>
            <a:chOff x="910714" y="2921468"/>
            <a:chExt cx="3120511" cy="567755"/>
          </a:xfrm>
        </p:grpSpPr>
        <p:sp>
          <p:nvSpPr>
            <p:cNvPr id="49" name="Rectangle 48">
              <a:extLst>
                <a:ext uri="{FF2B5EF4-FFF2-40B4-BE49-F238E27FC236}">
                  <a16:creationId xmlns:a16="http://schemas.microsoft.com/office/drawing/2014/main" id="{1268E5EE-9EEA-2515-1E5D-47749EC5C5DE}"/>
                </a:ext>
              </a:extLst>
            </p:cNvPr>
            <p:cNvSpPr/>
            <p:nvPr/>
          </p:nvSpPr>
          <p:spPr>
            <a:xfrm>
              <a:off x="910714" y="2921468"/>
              <a:ext cx="3120511" cy="567755"/>
            </a:xfrm>
            <a:prstGeom prst="rect">
              <a:avLst/>
            </a:prstGeom>
            <a:solidFill>
              <a:schemeClr val="bg2"/>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640080" rtlCol="0" anchor="ctr"/>
            <a:lstStyle/>
            <a:p>
              <a:endParaRPr lang="en-US" sz="1200" dirty="0">
                <a:solidFill>
                  <a:schemeClr val="tx2"/>
                </a:solidFill>
              </a:endParaRPr>
            </a:p>
          </p:txBody>
        </p:sp>
        <p:cxnSp>
          <p:nvCxnSpPr>
            <p:cNvPr id="50" name="Straight Connector 49">
              <a:extLst>
                <a:ext uri="{FF2B5EF4-FFF2-40B4-BE49-F238E27FC236}">
                  <a16:creationId xmlns:a16="http://schemas.microsoft.com/office/drawing/2014/main" id="{096A3727-BA71-6D8E-B5F6-F5B582A5DD7C}"/>
                </a:ext>
              </a:extLst>
            </p:cNvPr>
            <p:cNvCxnSpPr>
              <a:cxnSpLocks/>
            </p:cNvCxnSpPr>
            <p:nvPr/>
          </p:nvCxnSpPr>
          <p:spPr>
            <a:xfrm>
              <a:off x="1552470" y="3489223"/>
              <a:ext cx="602431"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51" name="Straight Connector 50">
            <a:extLst>
              <a:ext uri="{FF2B5EF4-FFF2-40B4-BE49-F238E27FC236}">
                <a16:creationId xmlns:a16="http://schemas.microsoft.com/office/drawing/2014/main" id="{76B82481-7C33-3FFB-1477-9B89890022E2}"/>
              </a:ext>
            </a:extLst>
          </p:cNvPr>
          <p:cNvCxnSpPr>
            <a:cxnSpLocks/>
          </p:cNvCxnSpPr>
          <p:nvPr userDrawn="1"/>
        </p:nvCxnSpPr>
        <p:spPr>
          <a:xfrm flipH="1">
            <a:off x="1005963" y="2601276"/>
            <a:ext cx="755117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8EBBC1E9-BA64-5E26-1B46-7BD60E3D0791}"/>
              </a:ext>
            </a:extLst>
          </p:cNvPr>
          <p:cNvGrpSpPr/>
          <p:nvPr userDrawn="1"/>
        </p:nvGrpSpPr>
        <p:grpSpPr>
          <a:xfrm>
            <a:off x="1005426" y="2601276"/>
            <a:ext cx="538" cy="2736470"/>
            <a:chOff x="1005426" y="2601276"/>
            <a:chExt cx="538" cy="2736470"/>
          </a:xfrm>
        </p:grpSpPr>
        <p:cxnSp>
          <p:nvCxnSpPr>
            <p:cNvPr id="53" name="Straight Connector 52">
              <a:extLst>
                <a:ext uri="{FF2B5EF4-FFF2-40B4-BE49-F238E27FC236}">
                  <a16:creationId xmlns:a16="http://schemas.microsoft.com/office/drawing/2014/main" id="{B96FCE50-A837-B919-3CDE-F9C3C7D37EBA}"/>
                </a:ext>
              </a:extLst>
            </p:cNvPr>
            <p:cNvCxnSpPr>
              <a:cxnSpLocks/>
            </p:cNvCxnSpPr>
            <p:nvPr/>
          </p:nvCxnSpPr>
          <p:spPr>
            <a:xfrm flipV="1">
              <a:off x="1005963" y="2601276"/>
              <a:ext cx="0" cy="32019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689F768-7902-083D-9833-459EE31E80BD}"/>
                </a:ext>
              </a:extLst>
            </p:cNvPr>
            <p:cNvCxnSpPr>
              <a:cxnSpLocks/>
            </p:cNvCxnSpPr>
            <p:nvPr/>
          </p:nvCxnSpPr>
          <p:spPr>
            <a:xfrm flipV="1">
              <a:off x="1005426" y="3489223"/>
              <a:ext cx="538" cy="640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3FB124C-C842-B682-C4F0-A7A6623F0A98}"/>
                </a:ext>
              </a:extLst>
            </p:cNvPr>
            <p:cNvCxnSpPr>
              <a:cxnSpLocks/>
            </p:cNvCxnSpPr>
            <p:nvPr/>
          </p:nvCxnSpPr>
          <p:spPr>
            <a:xfrm flipV="1">
              <a:off x="1005963" y="4697362"/>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BBE7F86D-71D2-C5AD-3280-EA3759CD0D6F}"/>
              </a:ext>
            </a:extLst>
          </p:cNvPr>
          <p:cNvGrpSpPr/>
          <p:nvPr userDrawn="1"/>
        </p:nvGrpSpPr>
        <p:grpSpPr>
          <a:xfrm>
            <a:off x="4762395" y="2281084"/>
            <a:ext cx="19155" cy="3056662"/>
            <a:chOff x="4762395" y="2281084"/>
            <a:chExt cx="19155" cy="3056662"/>
          </a:xfrm>
        </p:grpSpPr>
        <p:cxnSp>
          <p:nvCxnSpPr>
            <p:cNvPr id="57" name="Straight Connector 56">
              <a:extLst>
                <a:ext uri="{FF2B5EF4-FFF2-40B4-BE49-F238E27FC236}">
                  <a16:creationId xmlns:a16="http://schemas.microsoft.com/office/drawing/2014/main" id="{78CEE1B7-A1EE-31F2-9A78-C46D3EBDE196}"/>
                </a:ext>
              </a:extLst>
            </p:cNvPr>
            <p:cNvCxnSpPr>
              <a:cxnSpLocks/>
            </p:cNvCxnSpPr>
            <p:nvPr/>
          </p:nvCxnSpPr>
          <p:spPr>
            <a:xfrm flipH="1" flipV="1">
              <a:off x="4762395" y="2281084"/>
              <a:ext cx="1"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E29F869-C5DE-A5AC-9567-42B297312961}"/>
                </a:ext>
              </a:extLst>
            </p:cNvPr>
            <p:cNvCxnSpPr>
              <a:cxnSpLocks/>
            </p:cNvCxnSpPr>
            <p:nvPr/>
          </p:nvCxnSpPr>
          <p:spPr>
            <a:xfrm flipV="1">
              <a:off x="4781550" y="3489223"/>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2285D4-4F13-D5B3-518F-A0437B5E56EB}"/>
                </a:ext>
              </a:extLst>
            </p:cNvPr>
            <p:cNvCxnSpPr>
              <a:cxnSpLocks/>
            </p:cNvCxnSpPr>
            <p:nvPr/>
          </p:nvCxnSpPr>
          <p:spPr>
            <a:xfrm flipV="1">
              <a:off x="4781550" y="4697362"/>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66B9EF4F-FEAA-E96C-6F02-067982130884}"/>
              </a:ext>
            </a:extLst>
          </p:cNvPr>
          <p:cNvGrpSpPr/>
          <p:nvPr userDrawn="1"/>
        </p:nvGrpSpPr>
        <p:grpSpPr>
          <a:xfrm>
            <a:off x="8557137" y="2601276"/>
            <a:ext cx="0" cy="2736470"/>
            <a:chOff x="8557137" y="2601276"/>
            <a:chExt cx="0" cy="2736470"/>
          </a:xfrm>
        </p:grpSpPr>
        <p:cxnSp>
          <p:nvCxnSpPr>
            <p:cNvPr id="61" name="Straight Connector 60">
              <a:extLst>
                <a:ext uri="{FF2B5EF4-FFF2-40B4-BE49-F238E27FC236}">
                  <a16:creationId xmlns:a16="http://schemas.microsoft.com/office/drawing/2014/main" id="{82A43772-77DA-30E2-1228-DFA36AC216A9}"/>
                </a:ext>
              </a:extLst>
            </p:cNvPr>
            <p:cNvCxnSpPr>
              <a:cxnSpLocks/>
            </p:cNvCxnSpPr>
            <p:nvPr/>
          </p:nvCxnSpPr>
          <p:spPr>
            <a:xfrm flipV="1">
              <a:off x="8557137" y="2601276"/>
              <a:ext cx="0" cy="32019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4EBCEF3-518E-4E64-537C-E6D716715EA1}"/>
                </a:ext>
              </a:extLst>
            </p:cNvPr>
            <p:cNvCxnSpPr>
              <a:cxnSpLocks/>
            </p:cNvCxnSpPr>
            <p:nvPr/>
          </p:nvCxnSpPr>
          <p:spPr>
            <a:xfrm flipV="1">
              <a:off x="8557137" y="3489223"/>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CE1FD3-6018-83D1-ECEC-07F2A2E793AD}"/>
                </a:ext>
              </a:extLst>
            </p:cNvPr>
            <p:cNvCxnSpPr>
              <a:cxnSpLocks/>
            </p:cNvCxnSpPr>
            <p:nvPr/>
          </p:nvCxnSpPr>
          <p:spPr>
            <a:xfrm flipV="1">
              <a:off x="8557137" y="4697362"/>
              <a:ext cx="0" cy="64038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8" name="Picture Placeholder 17">
            <a:extLst>
              <a:ext uri="{FF2B5EF4-FFF2-40B4-BE49-F238E27FC236}">
                <a16:creationId xmlns:a16="http://schemas.microsoft.com/office/drawing/2014/main" id="{FEBA8699-B13D-5A8F-802D-BEE7DF975695}"/>
              </a:ext>
            </a:extLst>
          </p:cNvPr>
          <p:cNvSpPr>
            <a:spLocks noGrp="1"/>
          </p:cNvSpPr>
          <p:nvPr>
            <p:ph type="pic" sz="quarter" idx="13" hasCustomPrompt="1"/>
          </p:nvPr>
        </p:nvSpPr>
        <p:spPr>
          <a:xfrm>
            <a:off x="4384648" y="1619119"/>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19" name="Picture Placeholder 17">
            <a:extLst>
              <a:ext uri="{FF2B5EF4-FFF2-40B4-BE49-F238E27FC236}">
                <a16:creationId xmlns:a16="http://schemas.microsoft.com/office/drawing/2014/main" id="{AB77C8B4-D0BE-8099-AC47-9ABB08336977}"/>
              </a:ext>
            </a:extLst>
          </p:cNvPr>
          <p:cNvSpPr>
            <a:spLocks noGrp="1"/>
          </p:cNvSpPr>
          <p:nvPr>
            <p:ph type="pic" sz="quarter" idx="16" hasCustomPrompt="1"/>
          </p:nvPr>
        </p:nvSpPr>
        <p:spPr>
          <a:xfrm>
            <a:off x="616106" y="2827598"/>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20" name="Picture Placeholder 17">
            <a:extLst>
              <a:ext uri="{FF2B5EF4-FFF2-40B4-BE49-F238E27FC236}">
                <a16:creationId xmlns:a16="http://schemas.microsoft.com/office/drawing/2014/main" id="{455620EE-917A-52FB-C242-DED1E434D33D}"/>
              </a:ext>
            </a:extLst>
          </p:cNvPr>
          <p:cNvSpPr>
            <a:spLocks noGrp="1"/>
          </p:cNvSpPr>
          <p:nvPr>
            <p:ph type="pic" sz="quarter" idx="17" hasCustomPrompt="1"/>
          </p:nvPr>
        </p:nvSpPr>
        <p:spPr>
          <a:xfrm>
            <a:off x="616106" y="4032619"/>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21" name="Picture Placeholder 17">
            <a:extLst>
              <a:ext uri="{FF2B5EF4-FFF2-40B4-BE49-F238E27FC236}">
                <a16:creationId xmlns:a16="http://schemas.microsoft.com/office/drawing/2014/main" id="{7CFB2292-9DA1-300A-7D5F-8FCC69DF6487}"/>
              </a:ext>
            </a:extLst>
          </p:cNvPr>
          <p:cNvSpPr>
            <a:spLocks noGrp="1"/>
          </p:cNvSpPr>
          <p:nvPr>
            <p:ph type="pic" sz="quarter" idx="18" hasCustomPrompt="1"/>
          </p:nvPr>
        </p:nvSpPr>
        <p:spPr>
          <a:xfrm>
            <a:off x="616106" y="5240758"/>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22" name="Picture Placeholder 17">
            <a:extLst>
              <a:ext uri="{FF2B5EF4-FFF2-40B4-BE49-F238E27FC236}">
                <a16:creationId xmlns:a16="http://schemas.microsoft.com/office/drawing/2014/main" id="{EFF2039F-74E3-8F53-E4E8-366EB293C026}"/>
              </a:ext>
            </a:extLst>
          </p:cNvPr>
          <p:cNvSpPr>
            <a:spLocks noGrp="1"/>
          </p:cNvSpPr>
          <p:nvPr>
            <p:ph type="pic" sz="quarter" idx="19" hasCustomPrompt="1"/>
          </p:nvPr>
        </p:nvSpPr>
        <p:spPr>
          <a:xfrm>
            <a:off x="4381190" y="2827598"/>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23" name="Picture Placeholder 17">
            <a:extLst>
              <a:ext uri="{FF2B5EF4-FFF2-40B4-BE49-F238E27FC236}">
                <a16:creationId xmlns:a16="http://schemas.microsoft.com/office/drawing/2014/main" id="{5F0684BB-81B1-0B97-B0E4-27D281EF57D4}"/>
              </a:ext>
            </a:extLst>
          </p:cNvPr>
          <p:cNvSpPr>
            <a:spLocks noGrp="1"/>
          </p:cNvSpPr>
          <p:nvPr>
            <p:ph type="pic" sz="quarter" idx="20" hasCustomPrompt="1"/>
          </p:nvPr>
        </p:nvSpPr>
        <p:spPr>
          <a:xfrm>
            <a:off x="4381190" y="4032619"/>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24" name="Picture Placeholder 17">
            <a:extLst>
              <a:ext uri="{FF2B5EF4-FFF2-40B4-BE49-F238E27FC236}">
                <a16:creationId xmlns:a16="http://schemas.microsoft.com/office/drawing/2014/main" id="{320C316A-E0D3-E4DD-03B5-1AE601366291}"/>
              </a:ext>
            </a:extLst>
          </p:cNvPr>
          <p:cNvSpPr>
            <a:spLocks noGrp="1"/>
          </p:cNvSpPr>
          <p:nvPr>
            <p:ph type="pic" sz="quarter" idx="21" hasCustomPrompt="1"/>
          </p:nvPr>
        </p:nvSpPr>
        <p:spPr>
          <a:xfrm>
            <a:off x="4381190" y="5240758"/>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25" name="Picture Placeholder 17">
            <a:extLst>
              <a:ext uri="{FF2B5EF4-FFF2-40B4-BE49-F238E27FC236}">
                <a16:creationId xmlns:a16="http://schemas.microsoft.com/office/drawing/2014/main" id="{7B5C94A9-FDAF-9ACA-B392-FBAF6BA7CEC5}"/>
              </a:ext>
            </a:extLst>
          </p:cNvPr>
          <p:cNvSpPr>
            <a:spLocks noGrp="1"/>
          </p:cNvSpPr>
          <p:nvPr>
            <p:ph type="pic" sz="quarter" idx="22" hasCustomPrompt="1"/>
          </p:nvPr>
        </p:nvSpPr>
        <p:spPr>
          <a:xfrm>
            <a:off x="8146274" y="2827598"/>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26" name="Picture Placeholder 17">
            <a:extLst>
              <a:ext uri="{FF2B5EF4-FFF2-40B4-BE49-F238E27FC236}">
                <a16:creationId xmlns:a16="http://schemas.microsoft.com/office/drawing/2014/main" id="{850529AC-6277-DCF8-007A-9D609A1063AF}"/>
              </a:ext>
            </a:extLst>
          </p:cNvPr>
          <p:cNvSpPr>
            <a:spLocks noGrp="1"/>
          </p:cNvSpPr>
          <p:nvPr>
            <p:ph type="pic" sz="quarter" idx="23" hasCustomPrompt="1"/>
          </p:nvPr>
        </p:nvSpPr>
        <p:spPr>
          <a:xfrm>
            <a:off x="8146274" y="4032619"/>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27" name="Picture Placeholder 17">
            <a:extLst>
              <a:ext uri="{FF2B5EF4-FFF2-40B4-BE49-F238E27FC236}">
                <a16:creationId xmlns:a16="http://schemas.microsoft.com/office/drawing/2014/main" id="{BB477941-B318-7A15-3BC6-243AB603438D}"/>
              </a:ext>
            </a:extLst>
          </p:cNvPr>
          <p:cNvSpPr>
            <a:spLocks noGrp="1"/>
          </p:cNvSpPr>
          <p:nvPr>
            <p:ph type="pic" sz="quarter" idx="24" hasCustomPrompt="1"/>
          </p:nvPr>
        </p:nvSpPr>
        <p:spPr>
          <a:xfrm>
            <a:off x="8146274" y="5240758"/>
            <a:ext cx="758952" cy="758952"/>
          </a:xfrm>
          <a:prstGeom prst="ellipse">
            <a:avLst/>
          </a:prstGeom>
          <a:solidFill>
            <a:schemeClr val="bg1">
              <a:lumMod val="75000"/>
            </a:schemeClr>
          </a:solidFill>
        </p:spPr>
        <p:txBody>
          <a:bodyPr anchor="ctr"/>
          <a:lstStyle>
            <a:lvl1pPr algn="ctr">
              <a:defRPr sz="1000"/>
            </a:lvl1pPr>
          </a:lstStyle>
          <a:p>
            <a:r>
              <a:rPr lang="en-US" dirty="0"/>
              <a:t>Headshot</a:t>
            </a:r>
          </a:p>
        </p:txBody>
      </p:sp>
      <p:sp>
        <p:nvSpPr>
          <p:cNvPr id="65" name="Text Placeholder 64">
            <a:extLst>
              <a:ext uri="{FF2B5EF4-FFF2-40B4-BE49-F238E27FC236}">
                <a16:creationId xmlns:a16="http://schemas.microsoft.com/office/drawing/2014/main" id="{A6F6F5FD-7462-984C-CB9D-A6BEE8CFD3B4}"/>
              </a:ext>
            </a:extLst>
          </p:cNvPr>
          <p:cNvSpPr>
            <a:spLocks noGrp="1"/>
          </p:cNvSpPr>
          <p:nvPr>
            <p:ph type="body" sz="quarter" idx="26" hasCustomPrompt="1"/>
          </p:nvPr>
        </p:nvSpPr>
        <p:spPr>
          <a:xfrm>
            <a:off x="5326063" y="1768701"/>
            <a:ext cx="2480659" cy="258762"/>
          </a:xfrm>
        </p:spPr>
        <p:txBody>
          <a:bodyPr/>
          <a:lstStyle>
            <a:lvl1pPr marL="0" indent="0">
              <a:buFont typeface="Arial" panose="020B0604020202020204" pitchFamily="34" charset="0"/>
              <a:buNone/>
              <a:defRPr sz="1800" b="1">
                <a:latin typeface="+mj-lt"/>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First, Last</a:t>
            </a:r>
          </a:p>
        </p:txBody>
      </p:sp>
      <p:sp>
        <p:nvSpPr>
          <p:cNvPr id="66" name="Text Placeholder 64">
            <a:extLst>
              <a:ext uri="{FF2B5EF4-FFF2-40B4-BE49-F238E27FC236}">
                <a16:creationId xmlns:a16="http://schemas.microsoft.com/office/drawing/2014/main" id="{4D4DDB3C-2B38-0270-97ED-52BDA9A66617}"/>
              </a:ext>
            </a:extLst>
          </p:cNvPr>
          <p:cNvSpPr>
            <a:spLocks noGrp="1"/>
          </p:cNvSpPr>
          <p:nvPr>
            <p:ph type="body" sz="quarter" idx="27" hasCustomPrompt="1"/>
          </p:nvPr>
        </p:nvSpPr>
        <p:spPr>
          <a:xfrm>
            <a:off x="5326152" y="2042651"/>
            <a:ext cx="2480659" cy="208017"/>
          </a:xfrm>
        </p:spPr>
        <p:txBody>
          <a:bodyPr/>
          <a:lstStyle>
            <a:lvl1pPr marL="0" indent="0">
              <a:buFont typeface="Arial" panose="020B0604020202020204" pitchFamily="34" charset="0"/>
              <a:buNone/>
              <a:defRPr sz="1200" b="1">
                <a:latin typeface="+mj-lt"/>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Title</a:t>
            </a:r>
          </a:p>
        </p:txBody>
      </p:sp>
      <p:sp>
        <p:nvSpPr>
          <p:cNvPr id="73" name="Text Placeholder 72">
            <a:extLst>
              <a:ext uri="{FF2B5EF4-FFF2-40B4-BE49-F238E27FC236}">
                <a16:creationId xmlns:a16="http://schemas.microsoft.com/office/drawing/2014/main" id="{C2C254D9-E83A-0C10-96C4-876267383FB6}"/>
              </a:ext>
            </a:extLst>
          </p:cNvPr>
          <p:cNvSpPr>
            <a:spLocks noGrp="1"/>
          </p:cNvSpPr>
          <p:nvPr>
            <p:ph type="body" sz="quarter" idx="28" hasCustomPrompt="1"/>
          </p:nvPr>
        </p:nvSpPr>
        <p:spPr>
          <a:xfrm>
            <a:off x="5326063" y="299301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74" name="Text Placeholder 72">
            <a:extLst>
              <a:ext uri="{FF2B5EF4-FFF2-40B4-BE49-F238E27FC236}">
                <a16:creationId xmlns:a16="http://schemas.microsoft.com/office/drawing/2014/main" id="{97113C6E-76FF-6DE6-CB48-1F3DFAEE38AF}"/>
              </a:ext>
            </a:extLst>
          </p:cNvPr>
          <p:cNvSpPr>
            <a:spLocks noGrp="1"/>
          </p:cNvSpPr>
          <p:nvPr>
            <p:ph type="body" sz="quarter" idx="29" hasCustomPrompt="1"/>
          </p:nvPr>
        </p:nvSpPr>
        <p:spPr>
          <a:xfrm>
            <a:off x="5326063" y="323479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75" name="Text Placeholder 72">
            <a:extLst>
              <a:ext uri="{FF2B5EF4-FFF2-40B4-BE49-F238E27FC236}">
                <a16:creationId xmlns:a16="http://schemas.microsoft.com/office/drawing/2014/main" id="{951FA22E-4F66-A887-C3F3-64D0F3D21EC9}"/>
              </a:ext>
            </a:extLst>
          </p:cNvPr>
          <p:cNvSpPr>
            <a:spLocks noGrp="1"/>
          </p:cNvSpPr>
          <p:nvPr>
            <p:ph type="body" sz="quarter" idx="30" hasCustomPrompt="1"/>
          </p:nvPr>
        </p:nvSpPr>
        <p:spPr>
          <a:xfrm>
            <a:off x="1550565" y="299301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76" name="Text Placeholder 72">
            <a:extLst>
              <a:ext uri="{FF2B5EF4-FFF2-40B4-BE49-F238E27FC236}">
                <a16:creationId xmlns:a16="http://schemas.microsoft.com/office/drawing/2014/main" id="{47DA4178-F5FF-BE1B-862C-2C392A0B2DF2}"/>
              </a:ext>
            </a:extLst>
          </p:cNvPr>
          <p:cNvSpPr>
            <a:spLocks noGrp="1"/>
          </p:cNvSpPr>
          <p:nvPr>
            <p:ph type="body" sz="quarter" idx="31" hasCustomPrompt="1"/>
          </p:nvPr>
        </p:nvSpPr>
        <p:spPr>
          <a:xfrm>
            <a:off x="1550565" y="323479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77" name="Text Placeholder 72">
            <a:extLst>
              <a:ext uri="{FF2B5EF4-FFF2-40B4-BE49-F238E27FC236}">
                <a16:creationId xmlns:a16="http://schemas.microsoft.com/office/drawing/2014/main" id="{95D1E208-9E5D-C3B9-8A64-E1FA2002DB79}"/>
              </a:ext>
            </a:extLst>
          </p:cNvPr>
          <p:cNvSpPr>
            <a:spLocks noGrp="1"/>
          </p:cNvSpPr>
          <p:nvPr>
            <p:ph type="body" sz="quarter" idx="32" hasCustomPrompt="1"/>
          </p:nvPr>
        </p:nvSpPr>
        <p:spPr>
          <a:xfrm>
            <a:off x="9102252" y="299301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78" name="Text Placeholder 72">
            <a:extLst>
              <a:ext uri="{FF2B5EF4-FFF2-40B4-BE49-F238E27FC236}">
                <a16:creationId xmlns:a16="http://schemas.microsoft.com/office/drawing/2014/main" id="{24F0B4F5-C723-9DEC-0011-B6DBA3974169}"/>
              </a:ext>
            </a:extLst>
          </p:cNvPr>
          <p:cNvSpPr>
            <a:spLocks noGrp="1"/>
          </p:cNvSpPr>
          <p:nvPr>
            <p:ph type="body" sz="quarter" idx="33" hasCustomPrompt="1"/>
          </p:nvPr>
        </p:nvSpPr>
        <p:spPr>
          <a:xfrm>
            <a:off x="9102252" y="323479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79" name="Text Placeholder 72">
            <a:extLst>
              <a:ext uri="{FF2B5EF4-FFF2-40B4-BE49-F238E27FC236}">
                <a16:creationId xmlns:a16="http://schemas.microsoft.com/office/drawing/2014/main" id="{0E38AE43-AB55-D472-1190-D4D85958CBD0}"/>
              </a:ext>
            </a:extLst>
          </p:cNvPr>
          <p:cNvSpPr>
            <a:spLocks noGrp="1"/>
          </p:cNvSpPr>
          <p:nvPr>
            <p:ph type="body" sz="quarter" idx="34" hasCustomPrompt="1"/>
          </p:nvPr>
        </p:nvSpPr>
        <p:spPr>
          <a:xfrm>
            <a:off x="5326063" y="420020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0" name="Text Placeholder 72">
            <a:extLst>
              <a:ext uri="{FF2B5EF4-FFF2-40B4-BE49-F238E27FC236}">
                <a16:creationId xmlns:a16="http://schemas.microsoft.com/office/drawing/2014/main" id="{D33ED81F-A469-B7F7-5AF3-CED0DCCC9171}"/>
              </a:ext>
            </a:extLst>
          </p:cNvPr>
          <p:cNvSpPr>
            <a:spLocks noGrp="1"/>
          </p:cNvSpPr>
          <p:nvPr>
            <p:ph type="body" sz="quarter" idx="35" hasCustomPrompt="1"/>
          </p:nvPr>
        </p:nvSpPr>
        <p:spPr>
          <a:xfrm>
            <a:off x="5326063" y="444198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1" name="Text Placeholder 72">
            <a:extLst>
              <a:ext uri="{FF2B5EF4-FFF2-40B4-BE49-F238E27FC236}">
                <a16:creationId xmlns:a16="http://schemas.microsoft.com/office/drawing/2014/main" id="{607B5E31-C058-D5A0-68BC-1679B2CEE3D7}"/>
              </a:ext>
            </a:extLst>
          </p:cNvPr>
          <p:cNvSpPr>
            <a:spLocks noGrp="1"/>
          </p:cNvSpPr>
          <p:nvPr>
            <p:ph type="body" sz="quarter" idx="36" hasCustomPrompt="1"/>
          </p:nvPr>
        </p:nvSpPr>
        <p:spPr>
          <a:xfrm>
            <a:off x="1550565" y="420020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2" name="Text Placeholder 72">
            <a:extLst>
              <a:ext uri="{FF2B5EF4-FFF2-40B4-BE49-F238E27FC236}">
                <a16:creationId xmlns:a16="http://schemas.microsoft.com/office/drawing/2014/main" id="{509B5C83-E172-DE6C-EAFC-EF4AEC58B85E}"/>
              </a:ext>
            </a:extLst>
          </p:cNvPr>
          <p:cNvSpPr>
            <a:spLocks noGrp="1"/>
          </p:cNvSpPr>
          <p:nvPr>
            <p:ph type="body" sz="quarter" idx="37" hasCustomPrompt="1"/>
          </p:nvPr>
        </p:nvSpPr>
        <p:spPr>
          <a:xfrm>
            <a:off x="1550565" y="444198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3" name="Text Placeholder 72">
            <a:extLst>
              <a:ext uri="{FF2B5EF4-FFF2-40B4-BE49-F238E27FC236}">
                <a16:creationId xmlns:a16="http://schemas.microsoft.com/office/drawing/2014/main" id="{737FC36E-AE40-EF8B-09CA-D652D31F18E7}"/>
              </a:ext>
            </a:extLst>
          </p:cNvPr>
          <p:cNvSpPr>
            <a:spLocks noGrp="1"/>
          </p:cNvSpPr>
          <p:nvPr>
            <p:ph type="body" sz="quarter" idx="38" hasCustomPrompt="1"/>
          </p:nvPr>
        </p:nvSpPr>
        <p:spPr>
          <a:xfrm>
            <a:off x="9102252" y="420020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4" name="Text Placeholder 72">
            <a:extLst>
              <a:ext uri="{FF2B5EF4-FFF2-40B4-BE49-F238E27FC236}">
                <a16:creationId xmlns:a16="http://schemas.microsoft.com/office/drawing/2014/main" id="{22B649BA-07AE-B174-D89F-66AFF4F413A4}"/>
              </a:ext>
            </a:extLst>
          </p:cNvPr>
          <p:cNvSpPr>
            <a:spLocks noGrp="1"/>
          </p:cNvSpPr>
          <p:nvPr>
            <p:ph type="body" sz="quarter" idx="39" hasCustomPrompt="1"/>
          </p:nvPr>
        </p:nvSpPr>
        <p:spPr>
          <a:xfrm>
            <a:off x="9102252" y="444198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5" name="Text Placeholder 72">
            <a:extLst>
              <a:ext uri="{FF2B5EF4-FFF2-40B4-BE49-F238E27FC236}">
                <a16:creationId xmlns:a16="http://schemas.microsoft.com/office/drawing/2014/main" id="{8C0D8B0F-C437-1044-C79E-3AD0DDC3A21C}"/>
              </a:ext>
            </a:extLst>
          </p:cNvPr>
          <p:cNvSpPr>
            <a:spLocks noGrp="1"/>
          </p:cNvSpPr>
          <p:nvPr>
            <p:ph type="body" sz="quarter" idx="40" hasCustomPrompt="1"/>
          </p:nvPr>
        </p:nvSpPr>
        <p:spPr>
          <a:xfrm>
            <a:off x="5326063" y="540765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6" name="Text Placeholder 72">
            <a:extLst>
              <a:ext uri="{FF2B5EF4-FFF2-40B4-BE49-F238E27FC236}">
                <a16:creationId xmlns:a16="http://schemas.microsoft.com/office/drawing/2014/main" id="{C84556CB-9283-9F9D-2255-527985AEC05F}"/>
              </a:ext>
            </a:extLst>
          </p:cNvPr>
          <p:cNvSpPr>
            <a:spLocks noGrp="1"/>
          </p:cNvSpPr>
          <p:nvPr>
            <p:ph type="body" sz="quarter" idx="41" hasCustomPrompt="1"/>
          </p:nvPr>
        </p:nvSpPr>
        <p:spPr>
          <a:xfrm>
            <a:off x="5326063" y="564943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7" name="Text Placeholder 72">
            <a:extLst>
              <a:ext uri="{FF2B5EF4-FFF2-40B4-BE49-F238E27FC236}">
                <a16:creationId xmlns:a16="http://schemas.microsoft.com/office/drawing/2014/main" id="{8588CC8F-4E91-A733-2E50-9A1FFA4FD829}"/>
              </a:ext>
            </a:extLst>
          </p:cNvPr>
          <p:cNvSpPr>
            <a:spLocks noGrp="1"/>
          </p:cNvSpPr>
          <p:nvPr>
            <p:ph type="body" sz="quarter" idx="42" hasCustomPrompt="1"/>
          </p:nvPr>
        </p:nvSpPr>
        <p:spPr>
          <a:xfrm>
            <a:off x="1550565" y="540765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88" name="Text Placeholder 72">
            <a:extLst>
              <a:ext uri="{FF2B5EF4-FFF2-40B4-BE49-F238E27FC236}">
                <a16:creationId xmlns:a16="http://schemas.microsoft.com/office/drawing/2014/main" id="{85A6B987-0A27-657E-043A-11A99E131F8B}"/>
              </a:ext>
            </a:extLst>
          </p:cNvPr>
          <p:cNvSpPr>
            <a:spLocks noGrp="1"/>
          </p:cNvSpPr>
          <p:nvPr>
            <p:ph type="body" sz="quarter" idx="43" hasCustomPrompt="1"/>
          </p:nvPr>
        </p:nvSpPr>
        <p:spPr>
          <a:xfrm>
            <a:off x="1550565" y="564943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
        <p:nvSpPr>
          <p:cNvPr id="89" name="Text Placeholder 72">
            <a:extLst>
              <a:ext uri="{FF2B5EF4-FFF2-40B4-BE49-F238E27FC236}">
                <a16:creationId xmlns:a16="http://schemas.microsoft.com/office/drawing/2014/main" id="{A3370798-4EB5-B38A-5404-062FE6DB2A3E}"/>
              </a:ext>
            </a:extLst>
          </p:cNvPr>
          <p:cNvSpPr>
            <a:spLocks noGrp="1"/>
          </p:cNvSpPr>
          <p:nvPr>
            <p:ph type="body" sz="quarter" idx="44" hasCustomPrompt="1"/>
          </p:nvPr>
        </p:nvSpPr>
        <p:spPr>
          <a:xfrm>
            <a:off x="9102252" y="5407650"/>
            <a:ext cx="2481262" cy="241786"/>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First, Last</a:t>
            </a:r>
          </a:p>
        </p:txBody>
      </p:sp>
      <p:sp>
        <p:nvSpPr>
          <p:cNvPr id="90" name="Text Placeholder 72">
            <a:extLst>
              <a:ext uri="{FF2B5EF4-FFF2-40B4-BE49-F238E27FC236}">
                <a16:creationId xmlns:a16="http://schemas.microsoft.com/office/drawing/2014/main" id="{82515C80-E15B-493B-3079-6281AFC34283}"/>
              </a:ext>
            </a:extLst>
          </p:cNvPr>
          <p:cNvSpPr>
            <a:spLocks noGrp="1"/>
          </p:cNvSpPr>
          <p:nvPr>
            <p:ph type="body" sz="quarter" idx="45" hasCustomPrompt="1"/>
          </p:nvPr>
        </p:nvSpPr>
        <p:spPr>
          <a:xfrm>
            <a:off x="9102252" y="5649436"/>
            <a:ext cx="2481262" cy="229028"/>
          </a:xfrm>
        </p:spPr>
        <p:txBody>
          <a:bodyPr/>
          <a:lstStyle>
            <a:lvl1pPr marL="0" indent="0">
              <a:buFont typeface="Arial" panose="020B0604020202020204" pitchFamily="34" charset="0"/>
              <a:buNone/>
              <a:defRPr sz="12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Title</a:t>
            </a:r>
          </a:p>
        </p:txBody>
      </p:sp>
    </p:spTree>
    <p:extLst>
      <p:ext uri="{BB962C8B-B14F-4D97-AF65-F5344CB8AC3E}">
        <p14:creationId xmlns:p14="http://schemas.microsoft.com/office/powerpoint/2010/main" val="7290460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and Chart">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9A01A5ED-7D9E-57FB-3E55-9747F9B2FF02}"/>
              </a:ext>
            </a:extLst>
          </p:cNvPr>
          <p:cNvCxnSpPr>
            <a:cxnSpLocks/>
          </p:cNvCxnSpPr>
          <p:nvPr/>
        </p:nvCxnSpPr>
        <p:spPr>
          <a:xfrm>
            <a:off x="0" y="426998"/>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1F3E768-1BC9-4DFC-7E42-D61CF03C920E}"/>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2556BBD-E905-984B-4075-604E21C91A06}"/>
              </a:ext>
            </a:extLst>
          </p:cNvPr>
          <p:cNvSpPr>
            <a:spLocks noGrp="1"/>
          </p:cNvSpPr>
          <p:nvPr userDrawn="1">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22" name="Text Placeholder 35">
            <a:extLst>
              <a:ext uri="{FF2B5EF4-FFF2-40B4-BE49-F238E27FC236}">
                <a16:creationId xmlns:a16="http://schemas.microsoft.com/office/drawing/2014/main" id="{6411CE3E-CF5E-1A4F-C684-DD36FC30311C}"/>
              </a:ext>
            </a:extLst>
          </p:cNvPr>
          <p:cNvSpPr>
            <a:spLocks noGrp="1"/>
          </p:cNvSpPr>
          <p:nvPr userDrawn="1">
            <p:ph type="body" sz="quarter" idx="15" hasCustomPrompt="1"/>
          </p:nvPr>
        </p:nvSpPr>
        <p:spPr>
          <a:xfrm>
            <a:off x="609599" y="2476502"/>
            <a:ext cx="2843783" cy="292608"/>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24" name="Chart Placeholder 23">
            <a:extLst>
              <a:ext uri="{FF2B5EF4-FFF2-40B4-BE49-F238E27FC236}">
                <a16:creationId xmlns:a16="http://schemas.microsoft.com/office/drawing/2014/main" id="{7048E6E3-973C-DC77-BAA0-77D8C159B580}"/>
              </a:ext>
            </a:extLst>
          </p:cNvPr>
          <p:cNvSpPr>
            <a:spLocks noGrp="1"/>
          </p:cNvSpPr>
          <p:nvPr userDrawn="1">
            <p:ph type="chart" sz="quarter" idx="16"/>
          </p:nvPr>
        </p:nvSpPr>
        <p:spPr>
          <a:xfrm>
            <a:off x="4673598" y="1389115"/>
            <a:ext cx="6908801" cy="4972636"/>
          </a:xfrm>
        </p:spPr>
        <p:txBody>
          <a:bodyPr/>
          <a:lstStyle/>
          <a:p>
            <a:r>
              <a:rPr lang="en-US" dirty="0"/>
              <a:t>Click icon to add chart</a:t>
            </a:r>
          </a:p>
        </p:txBody>
      </p:sp>
      <p:sp>
        <p:nvSpPr>
          <p:cNvPr id="26" name="Text Placeholder 35">
            <a:extLst>
              <a:ext uri="{FF2B5EF4-FFF2-40B4-BE49-F238E27FC236}">
                <a16:creationId xmlns:a16="http://schemas.microsoft.com/office/drawing/2014/main" id="{8C70CCB2-147C-C3A5-8880-72CCE0F38C54}"/>
              </a:ext>
            </a:extLst>
          </p:cNvPr>
          <p:cNvSpPr>
            <a:spLocks noGrp="1"/>
          </p:cNvSpPr>
          <p:nvPr userDrawn="1">
            <p:ph type="body" sz="quarter" idx="17" hasCustomPrompt="1"/>
          </p:nvPr>
        </p:nvSpPr>
        <p:spPr>
          <a:xfrm>
            <a:off x="4673598" y="496249"/>
            <a:ext cx="6908799" cy="276999"/>
          </a:xfrm>
        </p:spPr>
        <p:txBody>
          <a:bodyPr wrap="square" anchor="t">
            <a:noAutofit/>
          </a:bodyPr>
          <a:lstStyle>
            <a:lvl1pPr>
              <a:spcAft>
                <a:spcPts val="0"/>
              </a:spcAft>
              <a:defRPr sz="1800" b="1">
                <a:latin typeface="+mj-lt"/>
              </a:defRPr>
            </a:lvl1pPr>
            <a:lvl2pPr marL="0" indent="0">
              <a:spcAft>
                <a:spcPts val="0"/>
              </a:spcAft>
              <a:buNone/>
              <a:defRPr sz="1600"/>
            </a:lvl2pPr>
          </a:lstStyle>
          <a:p>
            <a:pPr lvl="0"/>
            <a:r>
              <a:rPr lang="en-US"/>
              <a:t>Chart Title</a:t>
            </a:r>
          </a:p>
        </p:txBody>
      </p:sp>
      <p:sp>
        <p:nvSpPr>
          <p:cNvPr id="8" name="Text Placeholder 7">
            <a:extLst>
              <a:ext uri="{FF2B5EF4-FFF2-40B4-BE49-F238E27FC236}">
                <a16:creationId xmlns:a16="http://schemas.microsoft.com/office/drawing/2014/main" id="{E38BCFED-C663-CF81-5722-85F8F5262212}"/>
              </a:ext>
            </a:extLst>
          </p:cNvPr>
          <p:cNvSpPr>
            <a:spLocks noGrp="1"/>
          </p:cNvSpPr>
          <p:nvPr userDrawn="1">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12" name="Footer Placeholder 13">
            <a:extLst>
              <a:ext uri="{FF2B5EF4-FFF2-40B4-BE49-F238E27FC236}">
                <a16:creationId xmlns:a16="http://schemas.microsoft.com/office/drawing/2014/main" id="{741A0437-17F9-350E-A11B-4636A2924C44}"/>
              </a:ext>
            </a:extLst>
          </p:cNvPr>
          <p:cNvSpPr>
            <a:spLocks noGrp="1"/>
          </p:cNvSpPr>
          <p:nvPr userDrawn="1">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sp>
        <p:nvSpPr>
          <p:cNvPr id="13" name="Slide Number Placeholder 14">
            <a:extLst>
              <a:ext uri="{FF2B5EF4-FFF2-40B4-BE49-F238E27FC236}">
                <a16:creationId xmlns:a16="http://schemas.microsoft.com/office/drawing/2014/main" id="{AB3EBCA2-1DEC-8D2F-1555-FFA5AE9B0615}"/>
              </a:ext>
            </a:extLst>
          </p:cNvPr>
          <p:cNvSpPr>
            <a:spLocks noGrp="1"/>
          </p:cNvSpPr>
          <p:nvPr userDrawn="1">
            <p:ph type="sldNum" sz="quarter" idx="28"/>
          </p:nvPr>
        </p:nvSpPr>
        <p:spPr>
          <a:xfrm>
            <a:off x="11248008" y="656608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 name="Date Placeholder 49">
            <a:extLst>
              <a:ext uri="{FF2B5EF4-FFF2-40B4-BE49-F238E27FC236}">
                <a16:creationId xmlns:a16="http://schemas.microsoft.com/office/drawing/2014/main" id="{5C2866BB-378C-088E-630E-602A3FF05825}"/>
              </a:ext>
            </a:extLst>
          </p:cNvPr>
          <p:cNvSpPr>
            <a:spLocks noGrp="1"/>
          </p:cNvSpPr>
          <p:nvPr userDrawn="1">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15148B0A-1AAA-4B39-B561-564E677A3782}" type="datetime4">
              <a:rPr lang="en-US" smtClean="0"/>
              <a:t>May 17, 2025</a:t>
            </a:fld>
            <a:endParaRPr lang="en-US" dirty="0"/>
          </a:p>
        </p:txBody>
      </p:sp>
      <p:sp>
        <p:nvSpPr>
          <p:cNvPr id="29" name="Text Placeholder 28">
            <a:extLst>
              <a:ext uri="{FF2B5EF4-FFF2-40B4-BE49-F238E27FC236}">
                <a16:creationId xmlns:a16="http://schemas.microsoft.com/office/drawing/2014/main" id="{BA504353-D4CA-4259-8F4D-F5ED2E99CB46}"/>
              </a:ext>
            </a:extLst>
          </p:cNvPr>
          <p:cNvSpPr>
            <a:spLocks noGrp="1"/>
          </p:cNvSpPr>
          <p:nvPr userDrawn="1">
            <p:ph type="body" sz="quarter" idx="29"/>
          </p:nvPr>
        </p:nvSpPr>
        <p:spPr>
          <a:xfrm>
            <a:off x="609597" y="2861071"/>
            <a:ext cx="2843783" cy="2139696"/>
          </a:xfrm>
        </p:spPr>
        <p:txBody>
          <a:bodyPr>
            <a:noAutofit/>
          </a:bodyPr>
          <a:lstStyle>
            <a:lvl1pPr marL="0" indent="0">
              <a:buFont typeface="Arial" panose="020B0604020202020204" pitchFamily="34" charset="0"/>
              <a:buNone/>
              <a:defRPr lang="en-US" sz="1600" dirty="0" smtClean="0">
                <a:solidFill>
                  <a:schemeClr val="bg1"/>
                </a:solidFill>
              </a:defRPr>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p:txBody>
      </p:sp>
      <p:sp>
        <p:nvSpPr>
          <p:cNvPr id="6" name="Text Placeholder 35">
            <a:extLst>
              <a:ext uri="{FF2B5EF4-FFF2-40B4-BE49-F238E27FC236}">
                <a16:creationId xmlns:a16="http://schemas.microsoft.com/office/drawing/2014/main" id="{CAA17021-CEBE-574C-5443-C3021D89FF4A}"/>
              </a:ext>
            </a:extLst>
          </p:cNvPr>
          <p:cNvSpPr>
            <a:spLocks noGrp="1"/>
          </p:cNvSpPr>
          <p:nvPr userDrawn="1">
            <p:ph type="body" sz="quarter" idx="30" hasCustomPrompt="1"/>
          </p:nvPr>
        </p:nvSpPr>
        <p:spPr>
          <a:xfrm>
            <a:off x="4673597" y="786391"/>
            <a:ext cx="6908799" cy="246221"/>
          </a:xfrm>
        </p:spPr>
        <p:txBody>
          <a:bodyPr wrap="square" anchor="t">
            <a:noAutofit/>
          </a:bodyPr>
          <a:lstStyle>
            <a:lvl1pPr>
              <a:spcAft>
                <a:spcPts val="0"/>
              </a:spcAft>
              <a:defRPr sz="1600" b="0">
                <a:latin typeface="+mn-lt"/>
              </a:defRPr>
            </a:lvl1pPr>
            <a:lvl2pPr marL="0" indent="0">
              <a:spcAft>
                <a:spcPts val="0"/>
              </a:spcAft>
              <a:buNone/>
              <a:defRPr sz="1600"/>
            </a:lvl2pPr>
          </a:lstStyle>
          <a:p>
            <a:pPr lvl="0"/>
            <a:r>
              <a:rPr lang="en-US"/>
              <a:t>Subtitle</a:t>
            </a:r>
          </a:p>
        </p:txBody>
      </p:sp>
      <p:sp>
        <p:nvSpPr>
          <p:cNvPr id="11" name="Text Placeholder 3">
            <a:extLst>
              <a:ext uri="{FF2B5EF4-FFF2-40B4-BE49-F238E27FC236}">
                <a16:creationId xmlns:a16="http://schemas.microsoft.com/office/drawing/2014/main" id="{EE3A549B-E934-F6A8-2BA9-CE6DFF255D0A}"/>
              </a:ext>
            </a:extLst>
          </p:cNvPr>
          <p:cNvSpPr>
            <a:spLocks noGrp="1"/>
          </p:cNvSpPr>
          <p:nvPr userDrawn="1">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Tree>
    <p:extLst>
      <p:ext uri="{BB962C8B-B14F-4D97-AF65-F5344CB8AC3E}">
        <p14:creationId xmlns:p14="http://schemas.microsoft.com/office/powerpoint/2010/main" val="25367529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ata Callouts - Light">
    <p:bg>
      <p:bgPr>
        <a:solidFill>
          <a:srgbClr val="F3F3F3"/>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11F2AC4-4CDC-2C50-1F85-6A0BB78D2083}"/>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cxnSp>
        <p:nvCxnSpPr>
          <p:cNvPr id="9" name="Straight Connector 8">
            <a:extLst>
              <a:ext uri="{FF2B5EF4-FFF2-40B4-BE49-F238E27FC236}">
                <a16:creationId xmlns:a16="http://schemas.microsoft.com/office/drawing/2014/main" id="{D047FEEB-518A-8ED4-B190-89AB72E00D7E}"/>
              </a:ext>
            </a:extLst>
          </p:cNvPr>
          <p:cNvCxnSpPr>
            <a:cxnSpLocks/>
          </p:cNvCxnSpPr>
          <p:nvPr/>
        </p:nvCxnSpPr>
        <p:spPr>
          <a:xfrm flipH="1">
            <a:off x="4673600" y="2220382"/>
            <a:ext cx="690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E536A8F-77E4-2060-8067-D9F8A5BBD7FE}"/>
              </a:ext>
            </a:extLst>
          </p:cNvPr>
          <p:cNvCxnSpPr>
            <a:cxnSpLocks/>
          </p:cNvCxnSpPr>
          <p:nvPr/>
        </p:nvCxnSpPr>
        <p:spPr>
          <a:xfrm flipH="1">
            <a:off x="4673600" y="4338573"/>
            <a:ext cx="690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 Placeholder 35">
            <a:extLst>
              <a:ext uri="{FF2B5EF4-FFF2-40B4-BE49-F238E27FC236}">
                <a16:creationId xmlns:a16="http://schemas.microsoft.com/office/drawing/2014/main" id="{0780DDAB-A716-E44B-8B3F-D1AFC69E96B1}"/>
              </a:ext>
            </a:extLst>
          </p:cNvPr>
          <p:cNvSpPr>
            <a:spLocks noGrp="1"/>
          </p:cNvSpPr>
          <p:nvPr>
            <p:ph type="body" sz="quarter" idx="16" hasCustomPrompt="1"/>
          </p:nvPr>
        </p:nvSpPr>
        <p:spPr>
          <a:xfrm>
            <a:off x="4673600" y="653455"/>
            <a:ext cx="2313432" cy="1015663"/>
          </a:xfrm>
        </p:spPr>
        <p:txBody>
          <a:bodyPr anchor="b">
            <a:noAutofit/>
          </a:bodyPr>
          <a:lstStyle>
            <a:lvl1pPr>
              <a:spcAft>
                <a:spcPts val="0"/>
              </a:spcAft>
              <a:defRPr sz="6600" b="0">
                <a:solidFill>
                  <a:schemeClr val="tx2"/>
                </a:solidFill>
                <a:latin typeface="+mj-lt"/>
              </a:defRPr>
            </a:lvl1pPr>
            <a:lvl2pPr marL="0" indent="0">
              <a:spcAft>
                <a:spcPts val="0"/>
              </a:spcAft>
              <a:buNone/>
              <a:defRPr sz="1600"/>
            </a:lvl2pPr>
          </a:lstStyle>
          <a:p>
            <a:pPr lvl="0"/>
            <a:r>
              <a:rPr lang="en-US"/>
              <a:t>XXX</a:t>
            </a:r>
          </a:p>
        </p:txBody>
      </p:sp>
      <p:sp>
        <p:nvSpPr>
          <p:cNvPr id="27" name="Text Placeholder 35">
            <a:extLst>
              <a:ext uri="{FF2B5EF4-FFF2-40B4-BE49-F238E27FC236}">
                <a16:creationId xmlns:a16="http://schemas.microsoft.com/office/drawing/2014/main" id="{6F975B03-F7CD-D8A4-0E18-19A70027DC31}"/>
              </a:ext>
            </a:extLst>
          </p:cNvPr>
          <p:cNvSpPr>
            <a:spLocks noGrp="1"/>
          </p:cNvSpPr>
          <p:nvPr>
            <p:ph type="body" sz="quarter" idx="17" hasCustomPrompt="1"/>
          </p:nvPr>
        </p:nvSpPr>
        <p:spPr>
          <a:xfrm>
            <a:off x="4673600" y="2771646"/>
            <a:ext cx="2313432" cy="1015663"/>
          </a:xfrm>
        </p:spPr>
        <p:txBody>
          <a:bodyPr anchor="b">
            <a:noAutofit/>
          </a:bodyPr>
          <a:lstStyle>
            <a:lvl1pPr>
              <a:spcAft>
                <a:spcPts val="0"/>
              </a:spcAft>
              <a:defRPr sz="6600" b="0">
                <a:solidFill>
                  <a:schemeClr val="tx2"/>
                </a:solidFill>
                <a:latin typeface="+mj-lt"/>
              </a:defRPr>
            </a:lvl1pPr>
            <a:lvl2pPr marL="0" indent="0">
              <a:spcAft>
                <a:spcPts val="0"/>
              </a:spcAft>
              <a:buNone/>
              <a:defRPr sz="1600"/>
            </a:lvl2pPr>
          </a:lstStyle>
          <a:p>
            <a:pPr lvl="0"/>
            <a:r>
              <a:rPr lang="en-US"/>
              <a:t>XXX</a:t>
            </a:r>
          </a:p>
        </p:txBody>
      </p:sp>
      <p:sp>
        <p:nvSpPr>
          <p:cNvPr id="28" name="Text Placeholder 35">
            <a:extLst>
              <a:ext uri="{FF2B5EF4-FFF2-40B4-BE49-F238E27FC236}">
                <a16:creationId xmlns:a16="http://schemas.microsoft.com/office/drawing/2014/main" id="{29105BCB-9491-B028-4CDE-AFF15ACE57AD}"/>
              </a:ext>
            </a:extLst>
          </p:cNvPr>
          <p:cNvSpPr>
            <a:spLocks noGrp="1"/>
          </p:cNvSpPr>
          <p:nvPr>
            <p:ph type="body" sz="quarter" idx="18" hasCustomPrompt="1"/>
          </p:nvPr>
        </p:nvSpPr>
        <p:spPr>
          <a:xfrm>
            <a:off x="4673600" y="4889837"/>
            <a:ext cx="2313432" cy="1015663"/>
          </a:xfrm>
        </p:spPr>
        <p:txBody>
          <a:bodyPr anchor="b">
            <a:noAutofit/>
          </a:bodyPr>
          <a:lstStyle>
            <a:lvl1pPr>
              <a:spcAft>
                <a:spcPts val="0"/>
              </a:spcAft>
              <a:defRPr sz="6600" b="0">
                <a:solidFill>
                  <a:schemeClr val="tx2"/>
                </a:solidFill>
                <a:latin typeface="+mj-lt"/>
              </a:defRPr>
            </a:lvl1pPr>
            <a:lvl2pPr marL="0" indent="0">
              <a:spcAft>
                <a:spcPts val="0"/>
              </a:spcAft>
              <a:buNone/>
              <a:defRPr sz="1600"/>
            </a:lvl2pPr>
          </a:lstStyle>
          <a:p>
            <a:pPr lvl="0"/>
            <a:r>
              <a:rPr lang="en-US"/>
              <a:t>XXX</a:t>
            </a:r>
          </a:p>
        </p:txBody>
      </p:sp>
      <p:sp>
        <p:nvSpPr>
          <p:cNvPr id="29" name="Text Placeholder 35">
            <a:extLst>
              <a:ext uri="{FF2B5EF4-FFF2-40B4-BE49-F238E27FC236}">
                <a16:creationId xmlns:a16="http://schemas.microsoft.com/office/drawing/2014/main" id="{8E051EED-DBA8-D571-CF36-C1A1CDB17435}"/>
              </a:ext>
            </a:extLst>
          </p:cNvPr>
          <p:cNvSpPr>
            <a:spLocks noGrp="1"/>
          </p:cNvSpPr>
          <p:nvPr>
            <p:ph type="body" sz="quarter" idx="19" hasCustomPrompt="1"/>
          </p:nvPr>
        </p:nvSpPr>
        <p:spPr>
          <a:xfrm>
            <a:off x="7558406" y="653455"/>
            <a:ext cx="4023994" cy="1014984"/>
          </a:xfrm>
        </p:spPr>
        <p:txBody>
          <a:bodyPr anchor="ctr">
            <a:noAutofit/>
          </a:bodyPr>
          <a:lstStyle>
            <a:lvl1pPr>
              <a:spcAft>
                <a:spcPts val="0"/>
              </a:spcAft>
              <a:defRPr sz="2800" b="0">
                <a:solidFill>
                  <a:schemeClr val="tx2"/>
                </a:solidFill>
                <a:latin typeface="+mn-lt"/>
              </a:defRPr>
            </a:lvl1pPr>
            <a:lvl2pPr marL="0" indent="0">
              <a:spcAft>
                <a:spcPts val="0"/>
              </a:spcAft>
              <a:buNone/>
              <a:defRPr sz="1600"/>
            </a:lvl2pPr>
          </a:lstStyle>
          <a:p>
            <a:pPr lvl="0"/>
            <a:r>
              <a:rPr lang="en-US"/>
              <a:t>Category name</a:t>
            </a:r>
          </a:p>
        </p:txBody>
      </p:sp>
      <p:sp>
        <p:nvSpPr>
          <p:cNvPr id="31" name="Text Placeholder 35">
            <a:extLst>
              <a:ext uri="{FF2B5EF4-FFF2-40B4-BE49-F238E27FC236}">
                <a16:creationId xmlns:a16="http://schemas.microsoft.com/office/drawing/2014/main" id="{EFA2068F-D955-25B7-99A8-9CF50683A4CA}"/>
              </a:ext>
            </a:extLst>
          </p:cNvPr>
          <p:cNvSpPr>
            <a:spLocks noGrp="1"/>
          </p:cNvSpPr>
          <p:nvPr>
            <p:ph type="body" sz="quarter" idx="20" hasCustomPrompt="1"/>
          </p:nvPr>
        </p:nvSpPr>
        <p:spPr>
          <a:xfrm>
            <a:off x="7558406" y="2772325"/>
            <a:ext cx="4023994" cy="1014984"/>
          </a:xfrm>
        </p:spPr>
        <p:txBody>
          <a:bodyPr anchor="ctr">
            <a:noAutofit/>
          </a:bodyPr>
          <a:lstStyle>
            <a:lvl1pPr>
              <a:spcAft>
                <a:spcPts val="0"/>
              </a:spcAft>
              <a:defRPr sz="2800" b="0">
                <a:solidFill>
                  <a:schemeClr val="tx2"/>
                </a:solidFill>
                <a:latin typeface="+mn-lt"/>
              </a:defRPr>
            </a:lvl1pPr>
            <a:lvl2pPr marL="0" indent="0">
              <a:spcAft>
                <a:spcPts val="0"/>
              </a:spcAft>
              <a:buNone/>
              <a:defRPr sz="1600"/>
            </a:lvl2pPr>
          </a:lstStyle>
          <a:p>
            <a:pPr lvl="0"/>
            <a:r>
              <a:rPr lang="en-US"/>
              <a:t>Category name</a:t>
            </a:r>
          </a:p>
        </p:txBody>
      </p:sp>
      <p:sp>
        <p:nvSpPr>
          <p:cNvPr id="32" name="Text Placeholder 35">
            <a:extLst>
              <a:ext uri="{FF2B5EF4-FFF2-40B4-BE49-F238E27FC236}">
                <a16:creationId xmlns:a16="http://schemas.microsoft.com/office/drawing/2014/main" id="{F3AAD773-5C24-9AC0-2752-DA13DC958E70}"/>
              </a:ext>
            </a:extLst>
          </p:cNvPr>
          <p:cNvSpPr>
            <a:spLocks noGrp="1"/>
          </p:cNvSpPr>
          <p:nvPr>
            <p:ph type="body" sz="quarter" idx="21" hasCustomPrompt="1"/>
          </p:nvPr>
        </p:nvSpPr>
        <p:spPr>
          <a:xfrm>
            <a:off x="7558406" y="4890516"/>
            <a:ext cx="4023994" cy="1014984"/>
          </a:xfrm>
        </p:spPr>
        <p:txBody>
          <a:bodyPr anchor="ctr">
            <a:noAutofit/>
          </a:bodyPr>
          <a:lstStyle>
            <a:lvl1pPr>
              <a:spcAft>
                <a:spcPts val="0"/>
              </a:spcAft>
              <a:defRPr sz="2800" b="0">
                <a:solidFill>
                  <a:schemeClr val="tx2"/>
                </a:solidFill>
                <a:latin typeface="+mn-lt"/>
              </a:defRPr>
            </a:lvl1pPr>
            <a:lvl2pPr marL="0" indent="0">
              <a:spcAft>
                <a:spcPts val="0"/>
              </a:spcAft>
              <a:buNone/>
              <a:defRPr sz="1600"/>
            </a:lvl2pPr>
          </a:lstStyle>
          <a:p>
            <a:pPr lvl="0"/>
            <a:r>
              <a:rPr lang="en-US"/>
              <a:t>Category name</a:t>
            </a:r>
          </a:p>
        </p:txBody>
      </p:sp>
      <p:sp>
        <p:nvSpPr>
          <p:cNvPr id="6" name="Rectangle 5">
            <a:extLst>
              <a:ext uri="{FF2B5EF4-FFF2-40B4-BE49-F238E27FC236}">
                <a16:creationId xmlns:a16="http://schemas.microsoft.com/office/drawing/2014/main" id="{9ECF6B3C-FC00-5EB7-7C22-55ADD18344A5}"/>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A697812B-22E9-49AF-206B-89480FC52516}"/>
              </a:ext>
            </a:extLst>
          </p:cNvPr>
          <p:cNvSpPr>
            <a:spLocks noGrp="1"/>
          </p:cNvSpPr>
          <p:nvPr>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3FFB35EB-C70D-E42F-3CD3-660192097D84}"/>
              </a:ext>
            </a:extLst>
          </p:cNvPr>
          <p:cNvSpPr>
            <a:spLocks noGrp="1"/>
          </p:cNvSpPr>
          <p:nvPr>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
        <p:nvSpPr>
          <p:cNvPr id="11" name="Text Placeholder 35">
            <a:extLst>
              <a:ext uri="{FF2B5EF4-FFF2-40B4-BE49-F238E27FC236}">
                <a16:creationId xmlns:a16="http://schemas.microsoft.com/office/drawing/2014/main" id="{15DFBE8A-8C17-F2F1-B093-69576955B25E}"/>
              </a:ext>
            </a:extLst>
          </p:cNvPr>
          <p:cNvSpPr>
            <a:spLocks noGrp="1"/>
          </p:cNvSpPr>
          <p:nvPr>
            <p:ph type="body" sz="quarter" idx="15" hasCustomPrompt="1"/>
          </p:nvPr>
        </p:nvSpPr>
        <p:spPr>
          <a:xfrm>
            <a:off x="609599" y="2476503"/>
            <a:ext cx="2843783" cy="295142"/>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2" name="Text Placeholder 7">
            <a:extLst>
              <a:ext uri="{FF2B5EF4-FFF2-40B4-BE49-F238E27FC236}">
                <a16:creationId xmlns:a16="http://schemas.microsoft.com/office/drawing/2014/main" id="{1B191817-16E1-D054-A2BF-E5437C6A210F}"/>
              </a:ext>
            </a:extLst>
          </p:cNvPr>
          <p:cNvSpPr>
            <a:spLocks noGrp="1"/>
          </p:cNvSpPr>
          <p:nvPr>
            <p:ph type="body" sz="quarter" idx="25" hasCustomPrompt="1"/>
          </p:nvPr>
        </p:nvSpPr>
        <p:spPr>
          <a:xfrm>
            <a:off x="609600" y="138027"/>
            <a:ext cx="2843782" cy="153888"/>
          </a:xfrm>
        </p:spPr>
        <p:txBody>
          <a:bodyPr wrap="square" anchor="ctr">
            <a:spAutoFit/>
          </a:bodyPr>
          <a:lstStyle>
            <a:lvl1pPr>
              <a:spcAft>
                <a:spcPts val="0"/>
              </a:spcAft>
              <a:defRPr sz="1000" b="0" cap="all" spc="0" baseline="0">
                <a:solidFill>
                  <a:schemeClr val="accent1"/>
                </a:solidFill>
                <a:latin typeface="+mj-lt"/>
              </a:defRPr>
            </a:lvl1pPr>
          </a:lstStyle>
          <a:p>
            <a:pPr lvl="0"/>
            <a:r>
              <a:rPr lang="en-US"/>
              <a:t>Industry Name / Section Title</a:t>
            </a:r>
          </a:p>
        </p:txBody>
      </p:sp>
      <p:cxnSp>
        <p:nvCxnSpPr>
          <p:cNvPr id="3" name="Straight Connector 2">
            <a:extLst>
              <a:ext uri="{FF2B5EF4-FFF2-40B4-BE49-F238E27FC236}">
                <a16:creationId xmlns:a16="http://schemas.microsoft.com/office/drawing/2014/main" id="{085D6DC0-B751-F104-558A-2CF533B9BE0F}"/>
              </a:ext>
            </a:extLst>
          </p:cNvPr>
          <p:cNvCxnSpPr>
            <a:cxnSpLocks/>
          </p:cNvCxnSpPr>
          <p:nvPr/>
        </p:nvCxnSpPr>
        <p:spPr>
          <a:xfrm>
            <a:off x="0" y="426998"/>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13">
            <a:extLst>
              <a:ext uri="{FF2B5EF4-FFF2-40B4-BE49-F238E27FC236}">
                <a16:creationId xmlns:a16="http://schemas.microsoft.com/office/drawing/2014/main" id="{F337DF17-7F97-2221-1EA6-AE47CFFA12A1}"/>
              </a:ext>
            </a:extLst>
          </p:cNvPr>
          <p:cNvSpPr>
            <a:spLocks noGrp="1"/>
          </p:cNvSpPr>
          <p:nvPr>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cxnSp>
        <p:nvCxnSpPr>
          <p:cNvPr id="8" name="Straight Connector 7">
            <a:extLst>
              <a:ext uri="{FF2B5EF4-FFF2-40B4-BE49-F238E27FC236}">
                <a16:creationId xmlns:a16="http://schemas.microsoft.com/office/drawing/2014/main" id="{5E3AD8B8-FC1F-35CF-FD03-9E3947B1CFFD}"/>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2" name="Date Placeholder 49">
            <a:extLst>
              <a:ext uri="{FF2B5EF4-FFF2-40B4-BE49-F238E27FC236}">
                <a16:creationId xmlns:a16="http://schemas.microsoft.com/office/drawing/2014/main" id="{8020E8BF-1299-4166-DFC7-34CF6757ED55}"/>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ABB39132-01AE-4489-B5A5-99BD96A00C93}" type="datetime4">
              <a:rPr lang="en-US" smtClean="0"/>
              <a:t>May 17, 2025</a:t>
            </a:fld>
            <a:endParaRPr lang="en-US" dirty="0"/>
          </a:p>
        </p:txBody>
      </p:sp>
      <p:sp>
        <p:nvSpPr>
          <p:cNvPr id="16" name="Text Placeholder 15">
            <a:extLst>
              <a:ext uri="{FF2B5EF4-FFF2-40B4-BE49-F238E27FC236}">
                <a16:creationId xmlns:a16="http://schemas.microsoft.com/office/drawing/2014/main" id="{3DC231E2-1393-4B54-D6AB-39B8F6F3A1D5}"/>
              </a:ext>
            </a:extLst>
          </p:cNvPr>
          <p:cNvSpPr>
            <a:spLocks noGrp="1"/>
          </p:cNvSpPr>
          <p:nvPr>
            <p:ph type="body" sz="quarter" idx="28"/>
          </p:nvPr>
        </p:nvSpPr>
        <p:spPr>
          <a:xfrm>
            <a:off x="609600" y="2862072"/>
            <a:ext cx="2843213" cy="2139696"/>
          </a:xfrm>
        </p:spPr>
        <p:txBody>
          <a:bodyPr/>
          <a:lstStyle>
            <a:lvl1pPr marL="0" indent="0">
              <a:buFont typeface="Arial" panose="020B0604020202020204" pitchFamily="34" charset="0"/>
              <a:buNone/>
              <a:defRPr sz="1600">
                <a:solidFill>
                  <a:schemeClr val="bg1"/>
                </a:solidFill>
              </a:defRPr>
            </a:lvl1pPr>
            <a:lvl2pPr marL="0" indent="0">
              <a:buNone/>
              <a:defRPr sz="1600">
                <a:solidFill>
                  <a:schemeClr val="bg1"/>
                </a:solidFill>
              </a:defRPr>
            </a:lvl2pPr>
            <a:lvl3pPr marL="182880" indent="0">
              <a:buNone/>
              <a:defRPr sz="1600">
                <a:solidFill>
                  <a:schemeClr val="bg1"/>
                </a:solidFill>
              </a:defRPr>
            </a:lvl3pPr>
            <a:lvl4pPr marL="365760" indent="0">
              <a:buNone/>
              <a:defRPr sz="1600">
                <a:solidFill>
                  <a:schemeClr val="bg1"/>
                </a:solidFill>
              </a:defRPr>
            </a:lvl4pPr>
            <a:lvl5pPr marL="548640" indent="0">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558670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ata Callouts - Dark">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flipH="1">
            <a:off x="4064000" y="0"/>
            <a:ext cx="8128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35">
            <a:extLst>
              <a:ext uri="{FF2B5EF4-FFF2-40B4-BE49-F238E27FC236}">
                <a16:creationId xmlns:a16="http://schemas.microsoft.com/office/drawing/2014/main" id="{0780DDAB-A716-E44B-8B3F-D1AFC69E96B1}"/>
              </a:ext>
            </a:extLst>
          </p:cNvPr>
          <p:cNvSpPr>
            <a:spLocks noGrp="1"/>
          </p:cNvSpPr>
          <p:nvPr>
            <p:ph type="body" sz="quarter" idx="16" hasCustomPrompt="1"/>
          </p:nvPr>
        </p:nvSpPr>
        <p:spPr>
          <a:xfrm>
            <a:off x="4673600" y="742698"/>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7" name="Text Placeholder 35">
            <a:extLst>
              <a:ext uri="{FF2B5EF4-FFF2-40B4-BE49-F238E27FC236}">
                <a16:creationId xmlns:a16="http://schemas.microsoft.com/office/drawing/2014/main" id="{6F975B03-F7CD-D8A4-0E18-19A70027DC31}"/>
              </a:ext>
            </a:extLst>
          </p:cNvPr>
          <p:cNvSpPr>
            <a:spLocks noGrp="1"/>
          </p:cNvSpPr>
          <p:nvPr>
            <p:ph type="body" sz="quarter" idx="17" hasCustomPrompt="1"/>
          </p:nvPr>
        </p:nvSpPr>
        <p:spPr>
          <a:xfrm>
            <a:off x="4673600" y="2860889"/>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8" name="Text Placeholder 35">
            <a:extLst>
              <a:ext uri="{FF2B5EF4-FFF2-40B4-BE49-F238E27FC236}">
                <a16:creationId xmlns:a16="http://schemas.microsoft.com/office/drawing/2014/main" id="{29105BCB-9491-B028-4CDE-AFF15ACE57AD}"/>
              </a:ext>
            </a:extLst>
          </p:cNvPr>
          <p:cNvSpPr>
            <a:spLocks noGrp="1"/>
          </p:cNvSpPr>
          <p:nvPr>
            <p:ph type="body" sz="quarter" idx="18" hasCustomPrompt="1"/>
          </p:nvPr>
        </p:nvSpPr>
        <p:spPr>
          <a:xfrm>
            <a:off x="4673600" y="4979080"/>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9" name="Text Placeholder 35">
            <a:extLst>
              <a:ext uri="{FF2B5EF4-FFF2-40B4-BE49-F238E27FC236}">
                <a16:creationId xmlns:a16="http://schemas.microsoft.com/office/drawing/2014/main" id="{8E051EED-DBA8-D571-CF36-C1A1CDB17435}"/>
              </a:ext>
            </a:extLst>
          </p:cNvPr>
          <p:cNvSpPr>
            <a:spLocks noGrp="1"/>
          </p:cNvSpPr>
          <p:nvPr>
            <p:ph type="body" sz="quarter" idx="19" hasCustomPrompt="1"/>
          </p:nvPr>
        </p:nvSpPr>
        <p:spPr>
          <a:xfrm>
            <a:off x="7558406" y="742698"/>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sp>
        <p:nvSpPr>
          <p:cNvPr id="31" name="Text Placeholder 35">
            <a:extLst>
              <a:ext uri="{FF2B5EF4-FFF2-40B4-BE49-F238E27FC236}">
                <a16:creationId xmlns:a16="http://schemas.microsoft.com/office/drawing/2014/main" id="{EFA2068F-D955-25B7-99A8-9CF50683A4CA}"/>
              </a:ext>
            </a:extLst>
          </p:cNvPr>
          <p:cNvSpPr>
            <a:spLocks noGrp="1"/>
          </p:cNvSpPr>
          <p:nvPr>
            <p:ph type="body" sz="quarter" idx="20" hasCustomPrompt="1"/>
          </p:nvPr>
        </p:nvSpPr>
        <p:spPr>
          <a:xfrm>
            <a:off x="7558406" y="2861568"/>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sp>
        <p:nvSpPr>
          <p:cNvPr id="32" name="Text Placeholder 35">
            <a:extLst>
              <a:ext uri="{FF2B5EF4-FFF2-40B4-BE49-F238E27FC236}">
                <a16:creationId xmlns:a16="http://schemas.microsoft.com/office/drawing/2014/main" id="{F3AAD773-5C24-9AC0-2752-DA13DC958E70}"/>
              </a:ext>
            </a:extLst>
          </p:cNvPr>
          <p:cNvSpPr>
            <a:spLocks noGrp="1"/>
          </p:cNvSpPr>
          <p:nvPr>
            <p:ph type="body" sz="quarter" idx="21" hasCustomPrompt="1"/>
          </p:nvPr>
        </p:nvSpPr>
        <p:spPr>
          <a:xfrm>
            <a:off x="7558406" y="4979759"/>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cxnSp>
        <p:nvCxnSpPr>
          <p:cNvPr id="9" name="Straight Connector 8">
            <a:extLst>
              <a:ext uri="{FF2B5EF4-FFF2-40B4-BE49-F238E27FC236}">
                <a16:creationId xmlns:a16="http://schemas.microsoft.com/office/drawing/2014/main" id="{D047FEEB-518A-8ED4-B190-89AB72E00D7E}"/>
              </a:ext>
            </a:extLst>
          </p:cNvPr>
          <p:cNvCxnSpPr>
            <a:cxnSpLocks/>
          </p:cNvCxnSpPr>
          <p:nvPr/>
        </p:nvCxnSpPr>
        <p:spPr>
          <a:xfrm flipH="1">
            <a:off x="4673600" y="2309625"/>
            <a:ext cx="69088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E536A8F-77E4-2060-8067-D9F8A5BBD7FE}"/>
              </a:ext>
            </a:extLst>
          </p:cNvPr>
          <p:cNvCxnSpPr>
            <a:cxnSpLocks/>
          </p:cNvCxnSpPr>
          <p:nvPr/>
        </p:nvCxnSpPr>
        <p:spPr>
          <a:xfrm flipH="1">
            <a:off x="4673600" y="4427816"/>
            <a:ext cx="69088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05754DDD-4564-A9EB-8E1A-7FCA5F9D6A51}"/>
              </a:ext>
            </a:extLst>
          </p:cNvPr>
          <p:cNvSpPr>
            <a:spLocks noGrp="1"/>
          </p:cNvSpPr>
          <p:nvPr>
            <p:ph type="title"/>
          </p:nvPr>
        </p:nvSpPr>
        <p:spPr>
          <a:xfrm>
            <a:off x="609600" y="800754"/>
            <a:ext cx="2844800" cy="1000402"/>
          </a:xfrm>
        </p:spPr>
        <p:txBody>
          <a:bodyPr>
            <a:noAutofit/>
          </a:bodyPr>
          <a:lstStyle>
            <a:lvl1pPr>
              <a:lnSpc>
                <a:spcPct val="90000"/>
              </a:lnSpc>
              <a:defRPr>
                <a:solidFill>
                  <a:schemeClr val="tx2"/>
                </a:solidFill>
              </a:defRPr>
            </a:lvl1pPr>
          </a:lstStyle>
          <a:p>
            <a:r>
              <a:rPr lang="en-US"/>
              <a:t>Click to edit Master title style</a:t>
            </a:r>
          </a:p>
        </p:txBody>
      </p:sp>
      <p:sp>
        <p:nvSpPr>
          <p:cNvPr id="15" name="Text Placeholder 3">
            <a:extLst>
              <a:ext uri="{FF2B5EF4-FFF2-40B4-BE49-F238E27FC236}">
                <a16:creationId xmlns:a16="http://schemas.microsoft.com/office/drawing/2014/main" id="{E7EA713E-01BE-BF01-9F34-76521E92853F}"/>
              </a:ext>
            </a:extLst>
          </p:cNvPr>
          <p:cNvSpPr>
            <a:spLocks noGrp="1"/>
          </p:cNvSpPr>
          <p:nvPr>
            <p:ph type="body" sz="quarter" idx="13" hasCustomPrompt="1"/>
          </p:nvPr>
        </p:nvSpPr>
        <p:spPr>
          <a:xfrm>
            <a:off x="609600" y="1813242"/>
            <a:ext cx="2843784" cy="307777"/>
          </a:xfrm>
        </p:spPr>
        <p:txBody>
          <a:bodyPr>
            <a:noAutofit/>
          </a:bodyPr>
          <a:lstStyle>
            <a:lvl1pPr>
              <a:defRPr>
                <a:solidFill>
                  <a:schemeClr val="tx1">
                    <a:lumMod val="75000"/>
                    <a:lumOff val="25000"/>
                  </a:schemeClr>
                </a:solidFill>
              </a:defRPr>
            </a:lvl1pPr>
          </a:lstStyle>
          <a:p>
            <a:pPr lvl="0"/>
            <a:r>
              <a:rPr lang="en-US"/>
              <a:t>Subtitle</a:t>
            </a:r>
          </a:p>
        </p:txBody>
      </p:sp>
      <p:sp>
        <p:nvSpPr>
          <p:cNvPr id="16" name="Text Placeholder 35">
            <a:extLst>
              <a:ext uri="{FF2B5EF4-FFF2-40B4-BE49-F238E27FC236}">
                <a16:creationId xmlns:a16="http://schemas.microsoft.com/office/drawing/2014/main" id="{208C13BF-5B90-D470-A4B5-3DCD3545EB9E}"/>
              </a:ext>
            </a:extLst>
          </p:cNvPr>
          <p:cNvSpPr>
            <a:spLocks noGrp="1"/>
          </p:cNvSpPr>
          <p:nvPr>
            <p:ph type="body" sz="quarter" idx="15" hasCustomPrompt="1"/>
          </p:nvPr>
        </p:nvSpPr>
        <p:spPr>
          <a:xfrm>
            <a:off x="609599" y="2476503"/>
            <a:ext cx="2843783" cy="292608"/>
          </a:xfrm>
        </p:spPr>
        <p:txBody>
          <a:bodyPr anchor="t">
            <a:noAutofit/>
          </a:bodyPr>
          <a:lstStyle>
            <a:lvl1pPr>
              <a:spcAft>
                <a:spcPts val="1200"/>
              </a:spcAft>
              <a:defRPr sz="1400" b="1" cap="all" spc="300" baseline="0">
                <a:solidFill>
                  <a:schemeClr val="tx2"/>
                </a:solidFill>
                <a:latin typeface="+mj-lt"/>
              </a:defRPr>
            </a:lvl1pPr>
            <a:lvl2pPr marL="0" indent="0">
              <a:spcAft>
                <a:spcPts val="1200"/>
              </a:spcAft>
              <a:buNone/>
              <a:defRPr lang="en-US" sz="1600" kern="1200" dirty="0" smtClean="0">
                <a:solidFill>
                  <a:schemeClr val="tx2"/>
                </a:solidFill>
                <a:latin typeface="+mn-lt"/>
                <a:ea typeface="+mn-ea"/>
                <a:cs typeface="+mn-cs"/>
              </a:defRPr>
            </a:lvl2pPr>
          </a:lstStyle>
          <a:p>
            <a:pPr lvl="0"/>
            <a:r>
              <a:rPr lang="en-US"/>
              <a:t>Header</a:t>
            </a:r>
          </a:p>
        </p:txBody>
      </p:sp>
      <p:cxnSp>
        <p:nvCxnSpPr>
          <p:cNvPr id="2" name="Straight Connector 1">
            <a:extLst>
              <a:ext uri="{FF2B5EF4-FFF2-40B4-BE49-F238E27FC236}">
                <a16:creationId xmlns:a16="http://schemas.microsoft.com/office/drawing/2014/main" id="{78FDEB99-4784-B972-251E-0E3474B67D5D}"/>
              </a:ext>
            </a:extLst>
          </p:cNvPr>
          <p:cNvCxnSpPr>
            <a:cxnSpLocks/>
          </p:cNvCxnSpPr>
          <p:nvPr/>
        </p:nvCxnSpPr>
        <p:spPr>
          <a:xfrm>
            <a:off x="0" y="426998"/>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74D925A-9D6D-4A25-E178-1FE9D77E72F8}"/>
              </a:ext>
            </a:extLst>
          </p:cNvPr>
          <p:cNvCxnSpPr>
            <a:cxnSpLocks/>
          </p:cNvCxnSpPr>
          <p:nvPr/>
        </p:nvCxnSpPr>
        <p:spPr>
          <a:xfrm>
            <a:off x="0" y="6431003"/>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Date Placeholder 12">
            <a:extLst>
              <a:ext uri="{FF2B5EF4-FFF2-40B4-BE49-F238E27FC236}">
                <a16:creationId xmlns:a16="http://schemas.microsoft.com/office/drawing/2014/main" id="{53577F8E-3815-6002-2762-4915D87EA291}"/>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26D3A883-4524-43DF-8C88-CCCABA5D8FAF}" type="datetime4">
              <a:rPr lang="en-US" smtClean="0"/>
              <a:t>May 17, 2025</a:t>
            </a:fld>
            <a:endParaRPr lang="en-US" dirty="0"/>
          </a:p>
        </p:txBody>
      </p:sp>
      <p:sp>
        <p:nvSpPr>
          <p:cNvPr id="14" name="Slide Number Placeholder 14">
            <a:extLst>
              <a:ext uri="{FF2B5EF4-FFF2-40B4-BE49-F238E27FC236}">
                <a16:creationId xmlns:a16="http://schemas.microsoft.com/office/drawing/2014/main" id="{FA10D52E-46F2-DFEC-06E7-6C106D7B1B94}"/>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sp>
        <p:nvSpPr>
          <p:cNvPr id="19" name="Text Placeholder 7">
            <a:extLst>
              <a:ext uri="{FF2B5EF4-FFF2-40B4-BE49-F238E27FC236}">
                <a16:creationId xmlns:a16="http://schemas.microsoft.com/office/drawing/2014/main" id="{23557860-BBEB-3C14-21FC-4FA8790767A1}"/>
              </a:ext>
            </a:extLst>
          </p:cNvPr>
          <p:cNvSpPr>
            <a:spLocks noGrp="1"/>
          </p:cNvSpPr>
          <p:nvPr>
            <p:ph type="body" sz="quarter" idx="29" hasCustomPrompt="1"/>
          </p:nvPr>
        </p:nvSpPr>
        <p:spPr>
          <a:xfrm>
            <a:off x="609600" y="136647"/>
            <a:ext cx="2843782" cy="153888"/>
          </a:xfrm>
        </p:spPr>
        <p:txBody>
          <a:bodyPr wrap="square"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1" name="Footer Placeholder 4">
            <a:extLst>
              <a:ext uri="{FF2B5EF4-FFF2-40B4-BE49-F238E27FC236}">
                <a16:creationId xmlns:a16="http://schemas.microsoft.com/office/drawing/2014/main" id="{34DE172C-87DA-3D2B-97EB-424DA18EDC55}"/>
              </a:ext>
            </a:extLst>
          </p:cNvPr>
          <p:cNvSpPr>
            <a:spLocks noGrp="1"/>
          </p:cNvSpPr>
          <p:nvPr>
            <p:ph type="ftr" sz="quarter" idx="11"/>
          </p:nvPr>
        </p:nvSpPr>
        <p:spPr>
          <a:xfrm>
            <a:off x="609600" y="6567465"/>
            <a:ext cx="2843782"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6" name="Text Placeholder 5">
            <a:extLst>
              <a:ext uri="{FF2B5EF4-FFF2-40B4-BE49-F238E27FC236}">
                <a16:creationId xmlns:a16="http://schemas.microsoft.com/office/drawing/2014/main" id="{22C83E66-FF88-61D6-BC16-4730794EB097}"/>
              </a:ext>
            </a:extLst>
          </p:cNvPr>
          <p:cNvSpPr>
            <a:spLocks noGrp="1"/>
          </p:cNvSpPr>
          <p:nvPr>
            <p:ph type="body" sz="quarter" idx="30"/>
          </p:nvPr>
        </p:nvSpPr>
        <p:spPr>
          <a:xfrm>
            <a:off x="609600" y="2862072"/>
            <a:ext cx="2843213" cy="2139696"/>
          </a:xfrm>
        </p:spPr>
        <p:txBody>
          <a:bodyPr/>
          <a:lstStyle>
            <a:lvl2pPr marL="0" indent="0">
              <a:buNone/>
              <a:defRPr sz="1600"/>
            </a:lvl2pPr>
          </a:lstStyle>
          <a:p>
            <a:pPr lvl="0"/>
            <a:r>
              <a:rPr lang="en-US"/>
              <a:t>Click to edit Master text styles</a:t>
            </a:r>
          </a:p>
        </p:txBody>
      </p:sp>
    </p:spTree>
    <p:extLst>
      <p:ext uri="{BB962C8B-B14F-4D97-AF65-F5344CB8AC3E}">
        <p14:creationId xmlns:p14="http://schemas.microsoft.com/office/powerpoint/2010/main" val="6112556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ata Callouts - Dark 2">
    <p:bg>
      <p:bgPr>
        <a:solidFill>
          <a:schemeClr val="tx2"/>
        </a:solidFill>
        <a:effectLst/>
      </p:bgPr>
    </p:bg>
    <p:spTree>
      <p:nvGrpSpPr>
        <p:cNvPr id="1" name=""/>
        <p:cNvGrpSpPr/>
        <p:nvPr/>
      </p:nvGrpSpPr>
      <p:grpSpPr>
        <a:xfrm>
          <a:off x="0" y="0"/>
          <a:ext cx="0" cy="0"/>
          <a:chOff x="0" y="0"/>
          <a:chExt cx="0" cy="0"/>
        </a:xfrm>
      </p:grpSpPr>
      <p:sp>
        <p:nvSpPr>
          <p:cNvPr id="23" name="Text Placeholder 35">
            <a:extLst>
              <a:ext uri="{FF2B5EF4-FFF2-40B4-BE49-F238E27FC236}">
                <a16:creationId xmlns:a16="http://schemas.microsoft.com/office/drawing/2014/main" id="{0780DDAB-A716-E44B-8B3F-D1AFC69E96B1}"/>
              </a:ext>
            </a:extLst>
          </p:cNvPr>
          <p:cNvSpPr>
            <a:spLocks noGrp="1"/>
          </p:cNvSpPr>
          <p:nvPr>
            <p:ph type="body" sz="quarter" idx="16" hasCustomPrompt="1"/>
          </p:nvPr>
        </p:nvSpPr>
        <p:spPr>
          <a:xfrm>
            <a:off x="4673600" y="884204"/>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7" name="Text Placeholder 35">
            <a:extLst>
              <a:ext uri="{FF2B5EF4-FFF2-40B4-BE49-F238E27FC236}">
                <a16:creationId xmlns:a16="http://schemas.microsoft.com/office/drawing/2014/main" id="{6F975B03-F7CD-D8A4-0E18-19A70027DC31}"/>
              </a:ext>
            </a:extLst>
          </p:cNvPr>
          <p:cNvSpPr>
            <a:spLocks noGrp="1"/>
          </p:cNvSpPr>
          <p:nvPr>
            <p:ph type="body" sz="quarter" idx="17" hasCustomPrompt="1"/>
          </p:nvPr>
        </p:nvSpPr>
        <p:spPr>
          <a:xfrm>
            <a:off x="4673600" y="2804205"/>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8" name="Text Placeholder 35">
            <a:extLst>
              <a:ext uri="{FF2B5EF4-FFF2-40B4-BE49-F238E27FC236}">
                <a16:creationId xmlns:a16="http://schemas.microsoft.com/office/drawing/2014/main" id="{29105BCB-9491-B028-4CDE-AFF15ACE57AD}"/>
              </a:ext>
            </a:extLst>
          </p:cNvPr>
          <p:cNvSpPr>
            <a:spLocks noGrp="1"/>
          </p:cNvSpPr>
          <p:nvPr>
            <p:ph type="body" sz="quarter" idx="18" hasCustomPrompt="1"/>
          </p:nvPr>
        </p:nvSpPr>
        <p:spPr>
          <a:xfrm>
            <a:off x="4673600" y="4724204"/>
            <a:ext cx="2313432" cy="1015663"/>
          </a:xfrm>
        </p:spPr>
        <p:txBody>
          <a:bodyPr anchor="b">
            <a:noAutofit/>
          </a:bodyPr>
          <a:lstStyle>
            <a:lvl1pPr>
              <a:spcAft>
                <a:spcPts val="0"/>
              </a:spcAft>
              <a:defRPr sz="6600" b="0">
                <a:solidFill>
                  <a:schemeClr val="accent1"/>
                </a:solidFill>
                <a:latin typeface="+mj-lt"/>
              </a:defRPr>
            </a:lvl1pPr>
            <a:lvl2pPr marL="0" indent="0">
              <a:spcAft>
                <a:spcPts val="0"/>
              </a:spcAft>
              <a:buNone/>
              <a:defRPr sz="1600"/>
            </a:lvl2pPr>
          </a:lstStyle>
          <a:p>
            <a:pPr lvl="0"/>
            <a:r>
              <a:rPr lang="en-US"/>
              <a:t>XXX</a:t>
            </a:r>
          </a:p>
        </p:txBody>
      </p:sp>
      <p:sp>
        <p:nvSpPr>
          <p:cNvPr id="29" name="Text Placeholder 35">
            <a:extLst>
              <a:ext uri="{FF2B5EF4-FFF2-40B4-BE49-F238E27FC236}">
                <a16:creationId xmlns:a16="http://schemas.microsoft.com/office/drawing/2014/main" id="{8E051EED-DBA8-D571-CF36-C1A1CDB17435}"/>
              </a:ext>
            </a:extLst>
          </p:cNvPr>
          <p:cNvSpPr>
            <a:spLocks noGrp="1"/>
          </p:cNvSpPr>
          <p:nvPr>
            <p:ph type="body" sz="quarter" idx="19" hasCustomPrompt="1"/>
          </p:nvPr>
        </p:nvSpPr>
        <p:spPr>
          <a:xfrm>
            <a:off x="7558406" y="884204"/>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sp>
        <p:nvSpPr>
          <p:cNvPr id="31" name="Text Placeholder 35">
            <a:extLst>
              <a:ext uri="{FF2B5EF4-FFF2-40B4-BE49-F238E27FC236}">
                <a16:creationId xmlns:a16="http://schemas.microsoft.com/office/drawing/2014/main" id="{EFA2068F-D955-25B7-99A8-9CF50683A4CA}"/>
              </a:ext>
            </a:extLst>
          </p:cNvPr>
          <p:cNvSpPr>
            <a:spLocks noGrp="1"/>
          </p:cNvSpPr>
          <p:nvPr>
            <p:ph type="body" sz="quarter" idx="20" hasCustomPrompt="1"/>
          </p:nvPr>
        </p:nvSpPr>
        <p:spPr>
          <a:xfrm>
            <a:off x="7558406" y="2804884"/>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sp>
        <p:nvSpPr>
          <p:cNvPr id="32" name="Text Placeholder 35">
            <a:extLst>
              <a:ext uri="{FF2B5EF4-FFF2-40B4-BE49-F238E27FC236}">
                <a16:creationId xmlns:a16="http://schemas.microsoft.com/office/drawing/2014/main" id="{F3AAD773-5C24-9AC0-2752-DA13DC958E70}"/>
              </a:ext>
            </a:extLst>
          </p:cNvPr>
          <p:cNvSpPr>
            <a:spLocks noGrp="1"/>
          </p:cNvSpPr>
          <p:nvPr>
            <p:ph type="body" sz="quarter" idx="21" hasCustomPrompt="1"/>
          </p:nvPr>
        </p:nvSpPr>
        <p:spPr>
          <a:xfrm>
            <a:off x="7558406" y="4724883"/>
            <a:ext cx="4023994" cy="1014984"/>
          </a:xfrm>
        </p:spPr>
        <p:txBody>
          <a:bodyPr anchor="ctr">
            <a:noAutofit/>
          </a:bodyPr>
          <a:lstStyle>
            <a:lvl1pPr>
              <a:spcAft>
                <a:spcPts val="0"/>
              </a:spcAft>
              <a:defRPr sz="2800" b="0">
                <a:solidFill>
                  <a:schemeClr val="bg1"/>
                </a:solidFill>
                <a:latin typeface="+mn-lt"/>
              </a:defRPr>
            </a:lvl1pPr>
            <a:lvl2pPr marL="0" indent="0">
              <a:spcAft>
                <a:spcPts val="0"/>
              </a:spcAft>
              <a:buNone/>
              <a:defRPr sz="1600"/>
            </a:lvl2pPr>
          </a:lstStyle>
          <a:p>
            <a:pPr lvl="0"/>
            <a:r>
              <a:rPr lang="en-US"/>
              <a:t>Category name</a:t>
            </a:r>
          </a:p>
        </p:txBody>
      </p:sp>
      <p:cxnSp>
        <p:nvCxnSpPr>
          <p:cNvPr id="9" name="Straight Connector 8">
            <a:extLst>
              <a:ext uri="{FF2B5EF4-FFF2-40B4-BE49-F238E27FC236}">
                <a16:creationId xmlns:a16="http://schemas.microsoft.com/office/drawing/2014/main" id="{D047FEEB-518A-8ED4-B190-89AB72E00D7E}"/>
              </a:ext>
            </a:extLst>
          </p:cNvPr>
          <p:cNvCxnSpPr>
            <a:cxnSpLocks/>
          </p:cNvCxnSpPr>
          <p:nvPr/>
        </p:nvCxnSpPr>
        <p:spPr>
          <a:xfrm flipH="1">
            <a:off x="4673600" y="2352036"/>
            <a:ext cx="69088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E536A8F-77E4-2060-8067-D9F8A5BBD7FE}"/>
              </a:ext>
            </a:extLst>
          </p:cNvPr>
          <p:cNvCxnSpPr>
            <a:cxnSpLocks/>
          </p:cNvCxnSpPr>
          <p:nvPr/>
        </p:nvCxnSpPr>
        <p:spPr>
          <a:xfrm flipH="1">
            <a:off x="4673600" y="4272037"/>
            <a:ext cx="69088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077CD39D-FBC2-F67A-6ABF-7388633EE604}"/>
              </a:ext>
            </a:extLst>
          </p:cNvPr>
          <p:cNvSpPr>
            <a:spLocks noGrp="1"/>
          </p:cNvSpPr>
          <p:nvPr>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18" name="Text Placeholder 3">
            <a:extLst>
              <a:ext uri="{FF2B5EF4-FFF2-40B4-BE49-F238E27FC236}">
                <a16:creationId xmlns:a16="http://schemas.microsoft.com/office/drawing/2014/main" id="{2F4A5E10-6528-5317-6FC7-84D246855DA7}"/>
              </a:ext>
            </a:extLst>
          </p:cNvPr>
          <p:cNvSpPr>
            <a:spLocks noGrp="1"/>
          </p:cNvSpPr>
          <p:nvPr>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
        <p:nvSpPr>
          <p:cNvPr id="19" name="Text Placeholder 35">
            <a:extLst>
              <a:ext uri="{FF2B5EF4-FFF2-40B4-BE49-F238E27FC236}">
                <a16:creationId xmlns:a16="http://schemas.microsoft.com/office/drawing/2014/main" id="{1B85DF85-C453-E835-0D48-26D1A5DDD81F}"/>
              </a:ext>
            </a:extLst>
          </p:cNvPr>
          <p:cNvSpPr>
            <a:spLocks noGrp="1"/>
          </p:cNvSpPr>
          <p:nvPr>
            <p:ph type="body" sz="quarter" idx="15" hasCustomPrompt="1"/>
          </p:nvPr>
        </p:nvSpPr>
        <p:spPr>
          <a:xfrm>
            <a:off x="609599" y="2476503"/>
            <a:ext cx="2843783" cy="292608"/>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2" name="Text Placeholder 7">
            <a:extLst>
              <a:ext uri="{FF2B5EF4-FFF2-40B4-BE49-F238E27FC236}">
                <a16:creationId xmlns:a16="http://schemas.microsoft.com/office/drawing/2014/main" id="{4FFAD1B4-2BD9-0113-10B5-AE6570A8774E}"/>
              </a:ext>
            </a:extLst>
          </p:cNvPr>
          <p:cNvSpPr>
            <a:spLocks noGrp="1"/>
          </p:cNvSpPr>
          <p:nvPr>
            <p:ph type="body" sz="quarter" idx="25"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3" name="Date Placeholder 12">
            <a:extLst>
              <a:ext uri="{FF2B5EF4-FFF2-40B4-BE49-F238E27FC236}">
                <a16:creationId xmlns:a16="http://schemas.microsoft.com/office/drawing/2014/main" id="{52A6576F-6CE7-0F44-3DBD-A5056EB97BA4}"/>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21EC9463-8211-4A09-92F6-061FB202B684}" type="datetime4">
              <a:rPr lang="en-US" smtClean="0"/>
              <a:t>May 17, 2025</a:t>
            </a:fld>
            <a:endParaRPr lang="en-US" dirty="0"/>
          </a:p>
        </p:txBody>
      </p:sp>
      <p:sp>
        <p:nvSpPr>
          <p:cNvPr id="4" name="Footer Placeholder 13">
            <a:extLst>
              <a:ext uri="{FF2B5EF4-FFF2-40B4-BE49-F238E27FC236}">
                <a16:creationId xmlns:a16="http://schemas.microsoft.com/office/drawing/2014/main" id="{A200D087-44D9-A485-ACDB-C083442B1568}"/>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sp>
        <p:nvSpPr>
          <p:cNvPr id="11" name="Slide Number Placeholder 14">
            <a:extLst>
              <a:ext uri="{FF2B5EF4-FFF2-40B4-BE49-F238E27FC236}">
                <a16:creationId xmlns:a16="http://schemas.microsoft.com/office/drawing/2014/main" id="{27D25F20-E66E-4286-A051-A211725D55FD}"/>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pic>
        <p:nvPicPr>
          <p:cNvPr id="12" name="Graphic 11">
            <a:extLst>
              <a:ext uri="{FF2B5EF4-FFF2-40B4-BE49-F238E27FC236}">
                <a16:creationId xmlns:a16="http://schemas.microsoft.com/office/drawing/2014/main" id="{26424F9E-E7F8-5B7C-FFAF-3ADCBD43B8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13" name="Straight Connector 12">
            <a:extLst>
              <a:ext uri="{FF2B5EF4-FFF2-40B4-BE49-F238E27FC236}">
                <a16:creationId xmlns:a16="http://schemas.microsoft.com/office/drawing/2014/main" id="{03BB773C-EFC8-8BEA-A798-6903B9FE666D}"/>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97412D3-B7AD-6E8D-AD6D-72684880C9A0}"/>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C421E67-F862-2E50-47D7-635F4FDE0AD7}"/>
              </a:ext>
            </a:extLst>
          </p:cNvPr>
          <p:cNvSpPr>
            <a:spLocks noGrp="1"/>
          </p:cNvSpPr>
          <p:nvPr>
            <p:ph type="body" sz="quarter" idx="29"/>
          </p:nvPr>
        </p:nvSpPr>
        <p:spPr>
          <a:xfrm>
            <a:off x="609600" y="2862072"/>
            <a:ext cx="2843213" cy="2139696"/>
          </a:xfrm>
        </p:spPr>
        <p:txBody>
          <a:bodyPr/>
          <a:lstStyle>
            <a:lvl1pPr marL="0" indent="0">
              <a:buFont typeface="Arial" panose="020B0604020202020204" pitchFamily="34" charset="0"/>
              <a:buNone/>
              <a:defRPr sz="1600">
                <a:solidFill>
                  <a:schemeClr val="bg1"/>
                </a:solidFill>
              </a:defRPr>
            </a:lvl1pPr>
            <a:lvl2pPr marL="0" indent="0">
              <a:buNone/>
              <a:defRPr sz="1600">
                <a:solidFill>
                  <a:schemeClr val="bg1"/>
                </a:solidFill>
              </a:defRPr>
            </a:lvl2pPr>
            <a:lvl3pPr marL="182880" indent="0">
              <a:buNone/>
              <a:defRPr sz="1600">
                <a:solidFill>
                  <a:schemeClr val="bg1"/>
                </a:solidFill>
              </a:defRPr>
            </a:lvl3pPr>
            <a:lvl4pPr marL="365760" indent="0">
              <a:buNone/>
              <a:defRPr sz="1600">
                <a:solidFill>
                  <a:schemeClr val="bg1"/>
                </a:solidFill>
              </a:defRPr>
            </a:lvl4pPr>
            <a:lvl5pPr marL="548640" indent="0">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014530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ne-column - Dark">
    <p:bg>
      <p:bgPr>
        <a:solidFill>
          <a:srgbClr val="F3F3F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0A254F-BDD5-C9AF-1DD7-05ACB129B577}"/>
              </a:ext>
            </a:extLst>
          </p:cNvPr>
          <p:cNvSpPr/>
          <p:nvPr/>
        </p:nvSpPr>
        <p:spPr>
          <a:xfrm>
            <a:off x="7019925" y="431800"/>
            <a:ext cx="5172075" cy="59967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486400" cy="553998"/>
          </a:xfrm>
        </p:spPr>
        <p:txBody>
          <a:bodyPr>
            <a:noAutofit/>
          </a:body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4864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486400"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486400" cy="1481328"/>
          </a:xfrm>
        </p:spPr>
        <p:txBody>
          <a:bodyPr anchor="b">
            <a:noAutofit/>
          </a:bodyPr>
          <a:lstStyle>
            <a:lvl1pPr>
              <a:defRPr sz="3200"/>
            </a:lvl1pPr>
          </a:lstStyle>
          <a:p>
            <a:pPr lvl="0"/>
            <a:r>
              <a:rPr lang="en-US"/>
              <a:t>Click to edit Master text styles</a:t>
            </a:r>
          </a:p>
        </p:txBody>
      </p:sp>
      <p:sp>
        <p:nvSpPr>
          <p:cNvPr id="6" name="Date Placeholder 49">
            <a:extLst>
              <a:ext uri="{FF2B5EF4-FFF2-40B4-BE49-F238E27FC236}">
                <a16:creationId xmlns:a16="http://schemas.microsoft.com/office/drawing/2014/main" id="{5F217281-3A4E-E1DA-0ABE-80B7AC4FF1B8}"/>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916DF86A-30B1-4B44-A04E-9B307D9D54ED}" type="datetime4">
              <a:rPr lang="en-US" smtClean="0"/>
              <a:t>May 17, 2025</a:t>
            </a:fld>
            <a:endParaRPr lang="en-US" dirty="0"/>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13" name="Slide Number Placeholder 5">
            <a:extLst>
              <a:ext uri="{FF2B5EF4-FFF2-40B4-BE49-F238E27FC236}">
                <a16:creationId xmlns:a16="http://schemas.microsoft.com/office/drawing/2014/main" id="{44B1F0BD-22AE-6975-1D8F-0E77C97E263B}"/>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pic>
        <p:nvPicPr>
          <p:cNvPr id="5" name="Picture 4">
            <a:extLst>
              <a:ext uri="{FF2B5EF4-FFF2-40B4-BE49-F238E27FC236}">
                <a16:creationId xmlns:a16="http://schemas.microsoft.com/office/drawing/2014/main" id="{815BECC8-7D1B-6FCC-F690-CE812AE63D4C}"/>
              </a:ext>
            </a:extLst>
          </p:cNvPr>
          <p:cNvPicPr/>
          <p:nvPr userDrawn="1"/>
        </p:nvPicPr>
        <p:blipFill>
          <a:blip r:embed="rId2"/>
          <a:stretch>
            <a:fillRect/>
          </a:stretch>
        </p:blipFill>
        <p:spPr>
          <a:xfrm>
            <a:off x="7630516" y="1377621"/>
            <a:ext cx="3950550" cy="4121253"/>
          </a:xfrm>
          <a:prstGeom prst="rect">
            <a:avLst/>
          </a:prstGeom>
        </p:spPr>
      </p:pic>
    </p:spTree>
    <p:extLst>
      <p:ext uri="{BB962C8B-B14F-4D97-AF65-F5344CB8AC3E}">
        <p14:creationId xmlns:p14="http://schemas.microsoft.com/office/powerpoint/2010/main" val="3821172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column - Light">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48640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9B4DFF45-2DB6-69E3-0747-CC4006B44542}"/>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6141C210-892D-24A5-E574-B59C507782C4}"/>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 name="Date Placeholder 4">
            <a:extLst>
              <a:ext uri="{FF2B5EF4-FFF2-40B4-BE49-F238E27FC236}">
                <a16:creationId xmlns:a16="http://schemas.microsoft.com/office/drawing/2014/main" id="{A84C8C42-24E6-26F9-5E38-271AAD2DC690}"/>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B8C9EC5C-466E-4248-8A44-5AD6DAE3617F}" type="datetime4">
              <a:rPr lang="en-US" smtClean="0"/>
              <a:t>May 17, 2025</a:t>
            </a:fld>
            <a:endParaRPr lang="en-US" dirty="0"/>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4864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486400"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3" name="Text Placeholder 7">
            <a:extLst>
              <a:ext uri="{FF2B5EF4-FFF2-40B4-BE49-F238E27FC236}">
                <a16:creationId xmlns:a16="http://schemas.microsoft.com/office/drawing/2014/main" id="{42D5A6F2-908D-2D67-A69F-7F8AC3E161A6}"/>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486400" cy="1481328"/>
          </a:xfrm>
        </p:spPr>
        <p:txBody>
          <a:bodyPr anchor="b">
            <a:noAutofit/>
          </a:bodyPr>
          <a:lstStyle>
            <a:lvl1pPr>
              <a:defRPr sz="3200"/>
            </a:lvl1pPr>
          </a:lstStyle>
          <a:p>
            <a:pPr lvl="0"/>
            <a:r>
              <a:rPr lang="en-US"/>
              <a:t>Click to edit Master text styles</a:t>
            </a:r>
          </a:p>
        </p:txBody>
      </p:sp>
      <p:pic>
        <p:nvPicPr>
          <p:cNvPr id="40" name="Picture 39">
            <a:extLst>
              <a:ext uri="{FF2B5EF4-FFF2-40B4-BE49-F238E27FC236}">
                <a16:creationId xmlns:a16="http://schemas.microsoft.com/office/drawing/2014/main" id="{32E9A54D-899E-AB52-26FF-B640B41CD336}"/>
              </a:ext>
            </a:extLst>
          </p:cNvPr>
          <p:cNvPicPr/>
          <p:nvPr userDrawn="1"/>
        </p:nvPicPr>
        <p:blipFill>
          <a:blip r:embed="rId2"/>
          <a:stretch>
            <a:fillRect/>
          </a:stretch>
        </p:blipFill>
        <p:spPr>
          <a:xfrm>
            <a:off x="7629672" y="1419268"/>
            <a:ext cx="3950550" cy="4048095"/>
          </a:xfrm>
          <a:prstGeom prst="rect">
            <a:avLst/>
          </a:prstGeom>
        </p:spPr>
      </p:pic>
    </p:spTree>
    <p:extLst>
      <p:ext uri="{BB962C8B-B14F-4D97-AF65-F5344CB8AC3E}">
        <p14:creationId xmlns:p14="http://schemas.microsoft.com/office/powerpoint/2010/main" val="27612873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One-column + Image - Light">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978524" cy="553998"/>
          </a:xfrm>
        </p:spPr>
        <p:txBody>
          <a:bodyPr>
            <a:noAutofit/>
          </a:body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978524" cy="307777"/>
          </a:xfrm>
        </p:spPr>
        <p:txBody>
          <a:bodyPr wrap="square">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978524"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978524" cy="1481328"/>
          </a:xfrm>
        </p:spPr>
        <p:txBody>
          <a:bodyPr anchor="b">
            <a:noAutofit/>
          </a:bodyPr>
          <a:lstStyle>
            <a:lvl1pPr>
              <a:defRPr sz="3200"/>
            </a:lvl1pPr>
          </a:lstStyle>
          <a:p>
            <a:pPr lvl="0"/>
            <a:r>
              <a:rPr lang="en-US"/>
              <a:t>Click to edit Master text styles</a:t>
            </a:r>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7197724" y="0"/>
            <a:ext cx="4994276" cy="6858000"/>
          </a:xfrm>
          <a:solidFill>
            <a:schemeClr val="bg1">
              <a:lumMod val="75000"/>
            </a:schemeClr>
          </a:solidFill>
        </p:spPr>
        <p:txBody>
          <a:bodyPr anchor="ctr"/>
          <a:lstStyle>
            <a:lvl1pPr algn="ctr">
              <a:defRPr sz="1000" b="0"/>
            </a:lvl1pPr>
          </a:lstStyle>
          <a:p>
            <a:r>
              <a:rPr lang="en-US" dirty="0"/>
              <a:t>Insert Photo</a:t>
            </a:r>
          </a:p>
        </p:txBody>
      </p:sp>
    </p:spTree>
    <p:extLst>
      <p:ext uri="{BB962C8B-B14F-4D97-AF65-F5344CB8AC3E}">
        <p14:creationId xmlns:p14="http://schemas.microsoft.com/office/powerpoint/2010/main" val="2574703316"/>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1 - Light">
    <p:bg>
      <p:bgPr>
        <a:solidFill>
          <a:schemeClr val="bg2"/>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cxnSp>
        <p:nvCxnSpPr>
          <p:cNvPr id="3" name="Straight Connector 2">
            <a:extLst>
              <a:ext uri="{FF2B5EF4-FFF2-40B4-BE49-F238E27FC236}">
                <a16:creationId xmlns:a16="http://schemas.microsoft.com/office/drawing/2014/main" id="{D4CCA385-BADC-9412-0D5E-D86D6665ADB9}"/>
              </a:ext>
            </a:extLst>
          </p:cNvPr>
          <p:cNvCxnSpPr>
            <a:cxnSpLocks/>
          </p:cNvCxnSpPr>
          <p:nvPr/>
        </p:nvCxnSpPr>
        <p:spPr>
          <a:xfrm>
            <a:off x="609600" y="4594548"/>
            <a:ext cx="537667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5" name="Graphic 3">
            <a:extLst>
              <a:ext uri="{FF2B5EF4-FFF2-40B4-BE49-F238E27FC236}">
                <a16:creationId xmlns:a16="http://schemas.microsoft.com/office/drawing/2014/main" id="{B3F109DD-32AE-D92D-4621-BF43B58FB4A1}"/>
              </a:ext>
            </a:extLst>
          </p:cNvPr>
          <p:cNvGrpSpPr>
            <a:grpSpLocks noChangeAspect="1"/>
          </p:cNvGrpSpPr>
          <p:nvPr userDrawn="1"/>
        </p:nvGrpSpPr>
        <p:grpSpPr>
          <a:xfrm>
            <a:off x="609600" y="557212"/>
            <a:ext cx="1734668" cy="438912"/>
            <a:chOff x="609600" y="557212"/>
            <a:chExt cx="2667656" cy="674980"/>
          </a:xfrm>
        </p:grpSpPr>
        <p:sp>
          <p:nvSpPr>
            <p:cNvPr id="36" name="Freeform: Shape 35">
              <a:extLst>
                <a:ext uri="{FF2B5EF4-FFF2-40B4-BE49-F238E27FC236}">
                  <a16:creationId xmlns:a16="http://schemas.microsoft.com/office/drawing/2014/main" id="{8BF33003-98EC-AC6E-F2E8-D433A9977017}"/>
                </a:ext>
              </a:extLst>
            </p:cNvPr>
            <p:cNvSpPr/>
            <p:nvPr/>
          </p:nvSpPr>
          <p:spPr>
            <a:xfrm>
              <a:off x="1180659" y="790421"/>
              <a:ext cx="2096597" cy="283512"/>
            </a:xfrm>
            <a:custGeom>
              <a:avLst/>
              <a:gdLst>
                <a:gd name="connsiteX0" fmla="*/ 129433 w 2096597"/>
                <a:gd name="connsiteY0" fmla="*/ 283512 h 283512"/>
                <a:gd name="connsiteX1" fmla="*/ 76968 w 2096597"/>
                <a:gd name="connsiteY1" fmla="*/ 273567 h 283512"/>
                <a:gd name="connsiteX2" fmla="*/ 36610 w 2096597"/>
                <a:gd name="connsiteY2" fmla="*/ 245461 h 283512"/>
                <a:gd name="connsiteX3" fmla="*/ 9369 w 2096597"/>
                <a:gd name="connsiteY3" fmla="*/ 199770 h 283512"/>
                <a:gd name="connsiteX4" fmla="*/ 0 w 2096597"/>
                <a:gd name="connsiteY4" fmla="*/ 142260 h 283512"/>
                <a:gd name="connsiteX5" fmla="*/ 10522 w 2096597"/>
                <a:gd name="connsiteY5" fmla="*/ 82733 h 283512"/>
                <a:gd name="connsiteX6" fmla="*/ 40358 w 2096597"/>
                <a:gd name="connsiteY6" fmla="*/ 36178 h 283512"/>
                <a:gd name="connsiteX7" fmla="*/ 80715 w 2096597"/>
                <a:gd name="connsiteY7" fmla="*/ 9513 h 283512"/>
                <a:gd name="connsiteX8" fmla="*/ 133612 w 2096597"/>
                <a:gd name="connsiteY8" fmla="*/ 0 h 283512"/>
                <a:gd name="connsiteX9" fmla="*/ 180744 w 2096597"/>
                <a:gd name="connsiteY9" fmla="*/ 6630 h 283512"/>
                <a:gd name="connsiteX10" fmla="*/ 216922 w 2096597"/>
                <a:gd name="connsiteY10" fmla="*/ 25656 h 283512"/>
                <a:gd name="connsiteX11" fmla="*/ 241425 w 2096597"/>
                <a:gd name="connsiteY11" fmla="*/ 55492 h 283512"/>
                <a:gd name="connsiteX12" fmla="*/ 254109 w 2096597"/>
                <a:gd name="connsiteY12" fmla="*/ 94264 h 283512"/>
                <a:gd name="connsiteX13" fmla="*/ 188672 w 2096597"/>
                <a:gd name="connsiteY13" fmla="*/ 94264 h 283512"/>
                <a:gd name="connsiteX14" fmla="*/ 171520 w 2096597"/>
                <a:gd name="connsiteY14" fmla="*/ 66446 h 283512"/>
                <a:gd name="connsiteX15" fmla="*/ 135774 w 2096597"/>
                <a:gd name="connsiteY15" fmla="*/ 55348 h 283512"/>
                <a:gd name="connsiteX16" fmla="*/ 106227 w 2096597"/>
                <a:gd name="connsiteY16" fmla="*/ 61978 h 283512"/>
                <a:gd name="connsiteX17" fmla="*/ 85039 w 2096597"/>
                <a:gd name="connsiteY17" fmla="*/ 80283 h 283512"/>
                <a:gd name="connsiteX18" fmla="*/ 72500 w 2096597"/>
                <a:gd name="connsiteY18" fmla="*/ 107668 h 283512"/>
                <a:gd name="connsiteX19" fmla="*/ 68320 w 2096597"/>
                <a:gd name="connsiteY19" fmla="*/ 142116 h 283512"/>
                <a:gd name="connsiteX20" fmla="*/ 73076 w 2096597"/>
                <a:gd name="connsiteY20" fmla="*/ 176709 h 283512"/>
                <a:gd name="connsiteX21" fmla="*/ 86625 w 2096597"/>
                <a:gd name="connsiteY21" fmla="*/ 204238 h 283512"/>
                <a:gd name="connsiteX22" fmla="*/ 108101 w 2096597"/>
                <a:gd name="connsiteY22" fmla="*/ 222255 h 283512"/>
                <a:gd name="connsiteX23" fmla="*/ 136783 w 2096597"/>
                <a:gd name="connsiteY23" fmla="*/ 228741 h 283512"/>
                <a:gd name="connsiteX24" fmla="*/ 160566 w 2096597"/>
                <a:gd name="connsiteY24" fmla="*/ 224705 h 283512"/>
                <a:gd name="connsiteX25" fmla="*/ 178438 w 2096597"/>
                <a:gd name="connsiteY25" fmla="*/ 214039 h 283512"/>
                <a:gd name="connsiteX26" fmla="*/ 190257 w 2096597"/>
                <a:gd name="connsiteY26" fmla="*/ 198761 h 283512"/>
                <a:gd name="connsiteX27" fmla="*/ 195734 w 2096597"/>
                <a:gd name="connsiteY27" fmla="*/ 181033 h 283512"/>
                <a:gd name="connsiteX28" fmla="*/ 195734 w 2096597"/>
                <a:gd name="connsiteY28" fmla="*/ 180312 h 283512"/>
                <a:gd name="connsiteX29" fmla="*/ 144711 w 2096597"/>
                <a:gd name="connsiteY29" fmla="*/ 180312 h 283512"/>
                <a:gd name="connsiteX30" fmla="*/ 144711 w 2096597"/>
                <a:gd name="connsiteY30" fmla="*/ 130874 h 283512"/>
                <a:gd name="connsiteX31" fmla="*/ 258144 w 2096597"/>
                <a:gd name="connsiteY31" fmla="*/ 130874 h 283512"/>
                <a:gd name="connsiteX32" fmla="*/ 258144 w 2096597"/>
                <a:gd name="connsiteY32" fmla="*/ 277026 h 283512"/>
                <a:gd name="connsiteX33" fmla="*/ 211013 w 2096597"/>
                <a:gd name="connsiteY33" fmla="*/ 277026 h 283512"/>
                <a:gd name="connsiteX34" fmla="*/ 207265 w 2096597"/>
                <a:gd name="connsiteY34" fmla="*/ 244308 h 283512"/>
                <a:gd name="connsiteX35" fmla="*/ 206544 w 2096597"/>
                <a:gd name="connsiteY35" fmla="*/ 244308 h 283512"/>
                <a:gd name="connsiteX36" fmla="*/ 173682 w 2096597"/>
                <a:gd name="connsiteY36" fmla="*/ 274143 h 283512"/>
                <a:gd name="connsiteX37" fmla="*/ 129288 w 2096597"/>
                <a:gd name="connsiteY37" fmla="*/ 283080 h 283512"/>
                <a:gd name="connsiteX38" fmla="*/ 358029 w 2096597"/>
                <a:gd name="connsiteY38" fmla="*/ 282647 h 283512"/>
                <a:gd name="connsiteX39" fmla="*/ 306862 w 2096597"/>
                <a:gd name="connsiteY39" fmla="*/ 262613 h 283512"/>
                <a:gd name="connsiteX40" fmla="*/ 289566 w 2096597"/>
                <a:gd name="connsiteY40" fmla="*/ 209859 h 283512"/>
                <a:gd name="connsiteX41" fmla="*/ 289566 w 2096597"/>
                <a:gd name="connsiteY41" fmla="*/ 82012 h 283512"/>
                <a:gd name="connsiteX42" fmla="*/ 351255 w 2096597"/>
                <a:gd name="connsiteY42" fmla="*/ 82012 h 283512"/>
                <a:gd name="connsiteX43" fmla="*/ 351255 w 2096597"/>
                <a:gd name="connsiteY43" fmla="*/ 197032 h 283512"/>
                <a:gd name="connsiteX44" fmla="*/ 358462 w 2096597"/>
                <a:gd name="connsiteY44" fmla="*/ 221534 h 283512"/>
                <a:gd name="connsiteX45" fmla="*/ 380514 w 2096597"/>
                <a:gd name="connsiteY45" fmla="*/ 230038 h 283512"/>
                <a:gd name="connsiteX46" fmla="*/ 405594 w 2096597"/>
                <a:gd name="connsiteY46" fmla="*/ 219228 h 283512"/>
                <a:gd name="connsiteX47" fmla="*/ 414674 w 2096597"/>
                <a:gd name="connsiteY47" fmla="*/ 190834 h 283512"/>
                <a:gd name="connsiteX48" fmla="*/ 414674 w 2096597"/>
                <a:gd name="connsiteY48" fmla="*/ 82012 h 283512"/>
                <a:gd name="connsiteX49" fmla="*/ 476652 w 2096597"/>
                <a:gd name="connsiteY49" fmla="*/ 82012 h 283512"/>
                <a:gd name="connsiteX50" fmla="*/ 476652 w 2096597"/>
                <a:gd name="connsiteY50" fmla="*/ 276882 h 283512"/>
                <a:gd name="connsiteX51" fmla="*/ 417269 w 2096597"/>
                <a:gd name="connsiteY51" fmla="*/ 276882 h 283512"/>
                <a:gd name="connsiteX52" fmla="*/ 417269 w 2096597"/>
                <a:gd name="connsiteY52" fmla="*/ 252956 h 283512"/>
                <a:gd name="connsiteX53" fmla="*/ 416116 w 2096597"/>
                <a:gd name="connsiteY53" fmla="*/ 252956 h 283512"/>
                <a:gd name="connsiteX54" fmla="*/ 391901 w 2096597"/>
                <a:gd name="connsiteY54" fmla="*/ 275008 h 283512"/>
                <a:gd name="connsiteX55" fmla="*/ 357885 w 2096597"/>
                <a:gd name="connsiteY55" fmla="*/ 282647 h 283512"/>
                <a:gd name="connsiteX56" fmla="*/ 511965 w 2096597"/>
                <a:gd name="connsiteY56" fmla="*/ 2162 h 283512"/>
                <a:gd name="connsiteX57" fmla="*/ 573943 w 2096597"/>
                <a:gd name="connsiteY57" fmla="*/ 2162 h 283512"/>
                <a:gd name="connsiteX58" fmla="*/ 573943 w 2096597"/>
                <a:gd name="connsiteY58" fmla="*/ 55059 h 283512"/>
                <a:gd name="connsiteX59" fmla="*/ 511965 w 2096597"/>
                <a:gd name="connsiteY59" fmla="*/ 55059 h 283512"/>
                <a:gd name="connsiteX60" fmla="*/ 511965 w 2096597"/>
                <a:gd name="connsiteY60" fmla="*/ 2162 h 283512"/>
                <a:gd name="connsiteX61" fmla="*/ 511965 w 2096597"/>
                <a:gd name="connsiteY61" fmla="*/ 82012 h 283512"/>
                <a:gd name="connsiteX62" fmla="*/ 573943 w 2096597"/>
                <a:gd name="connsiteY62" fmla="*/ 82012 h 283512"/>
                <a:gd name="connsiteX63" fmla="*/ 573943 w 2096597"/>
                <a:gd name="connsiteY63" fmla="*/ 276882 h 283512"/>
                <a:gd name="connsiteX64" fmla="*/ 511965 w 2096597"/>
                <a:gd name="connsiteY64" fmla="*/ 276882 h 283512"/>
                <a:gd name="connsiteX65" fmla="*/ 511965 w 2096597"/>
                <a:gd name="connsiteY65" fmla="*/ 82012 h 283512"/>
                <a:gd name="connsiteX66" fmla="*/ 685935 w 2096597"/>
                <a:gd name="connsiteY66" fmla="*/ 282936 h 283512"/>
                <a:gd name="connsiteX67" fmla="*/ 651631 w 2096597"/>
                <a:gd name="connsiteY67" fmla="*/ 275873 h 283512"/>
                <a:gd name="connsiteX68" fmla="*/ 624678 w 2096597"/>
                <a:gd name="connsiteY68" fmla="*/ 255550 h 283512"/>
                <a:gd name="connsiteX69" fmla="*/ 606949 w 2096597"/>
                <a:gd name="connsiteY69" fmla="*/ 222976 h 283512"/>
                <a:gd name="connsiteX70" fmla="*/ 600607 w 2096597"/>
                <a:gd name="connsiteY70" fmla="*/ 179447 h 283512"/>
                <a:gd name="connsiteX71" fmla="*/ 606949 w 2096597"/>
                <a:gd name="connsiteY71" fmla="*/ 137504 h 283512"/>
                <a:gd name="connsiteX72" fmla="*/ 624390 w 2096597"/>
                <a:gd name="connsiteY72" fmla="*/ 104930 h 283512"/>
                <a:gd name="connsiteX73" fmla="*/ 651199 w 2096597"/>
                <a:gd name="connsiteY73" fmla="*/ 83742 h 283512"/>
                <a:gd name="connsiteX74" fmla="*/ 685791 w 2096597"/>
                <a:gd name="connsiteY74" fmla="*/ 76103 h 283512"/>
                <a:gd name="connsiteX75" fmla="*/ 718942 w 2096597"/>
                <a:gd name="connsiteY75" fmla="*/ 83886 h 283512"/>
                <a:gd name="connsiteX76" fmla="*/ 740273 w 2096597"/>
                <a:gd name="connsiteY76" fmla="*/ 103921 h 283512"/>
                <a:gd name="connsiteX77" fmla="*/ 741426 w 2096597"/>
                <a:gd name="connsiteY77" fmla="*/ 103921 h 283512"/>
                <a:gd name="connsiteX78" fmla="*/ 741426 w 2096597"/>
                <a:gd name="connsiteY78" fmla="*/ 1874 h 283512"/>
                <a:gd name="connsiteX79" fmla="*/ 803404 w 2096597"/>
                <a:gd name="connsiteY79" fmla="*/ 1874 h 283512"/>
                <a:gd name="connsiteX80" fmla="*/ 803404 w 2096597"/>
                <a:gd name="connsiteY80" fmla="*/ 276738 h 283512"/>
                <a:gd name="connsiteX81" fmla="*/ 744021 w 2096597"/>
                <a:gd name="connsiteY81" fmla="*/ 276738 h 283512"/>
                <a:gd name="connsiteX82" fmla="*/ 744021 w 2096597"/>
                <a:gd name="connsiteY82" fmla="*/ 250505 h 283512"/>
                <a:gd name="connsiteX83" fmla="*/ 743300 w 2096597"/>
                <a:gd name="connsiteY83" fmla="*/ 250505 h 283512"/>
                <a:gd name="connsiteX84" fmla="*/ 719951 w 2096597"/>
                <a:gd name="connsiteY84" fmla="*/ 274287 h 283512"/>
                <a:gd name="connsiteX85" fmla="*/ 685935 w 2096597"/>
                <a:gd name="connsiteY85" fmla="*/ 282791 h 283512"/>
                <a:gd name="connsiteX86" fmla="*/ 701934 w 2096597"/>
                <a:gd name="connsiteY86" fmla="*/ 233642 h 283512"/>
                <a:gd name="connsiteX87" fmla="*/ 732202 w 2096597"/>
                <a:gd name="connsiteY87" fmla="*/ 218363 h 283512"/>
                <a:gd name="connsiteX88" fmla="*/ 743012 w 2096597"/>
                <a:gd name="connsiteY88" fmla="*/ 179159 h 283512"/>
                <a:gd name="connsiteX89" fmla="*/ 740562 w 2096597"/>
                <a:gd name="connsiteY89" fmla="*/ 156530 h 283512"/>
                <a:gd name="connsiteX90" fmla="*/ 732923 w 2096597"/>
                <a:gd name="connsiteY90" fmla="*/ 138657 h 283512"/>
                <a:gd name="connsiteX91" fmla="*/ 720383 w 2096597"/>
                <a:gd name="connsiteY91" fmla="*/ 126982 h 283512"/>
                <a:gd name="connsiteX92" fmla="*/ 702654 w 2096597"/>
                <a:gd name="connsiteY92" fmla="*/ 122802 h 283512"/>
                <a:gd name="connsiteX93" fmla="*/ 673683 w 2096597"/>
                <a:gd name="connsiteY93" fmla="*/ 138225 h 283512"/>
                <a:gd name="connsiteX94" fmla="*/ 663450 w 2096597"/>
                <a:gd name="connsiteY94" fmla="*/ 178438 h 283512"/>
                <a:gd name="connsiteX95" fmla="*/ 673539 w 2096597"/>
                <a:gd name="connsiteY95" fmla="*/ 218796 h 283512"/>
                <a:gd name="connsiteX96" fmla="*/ 701934 w 2096597"/>
                <a:gd name="connsiteY96" fmla="*/ 233642 h 283512"/>
                <a:gd name="connsiteX97" fmla="*/ 930242 w 2096597"/>
                <a:gd name="connsiteY97" fmla="*/ 282359 h 283512"/>
                <a:gd name="connsiteX98" fmla="*/ 886858 w 2096597"/>
                <a:gd name="connsiteY98" fmla="*/ 274576 h 283512"/>
                <a:gd name="connsiteX99" fmla="*/ 854139 w 2096597"/>
                <a:gd name="connsiteY99" fmla="*/ 252811 h 283512"/>
                <a:gd name="connsiteX100" fmla="*/ 833528 w 2096597"/>
                <a:gd name="connsiteY100" fmla="*/ 219949 h 283512"/>
                <a:gd name="connsiteX101" fmla="*/ 826322 w 2096597"/>
                <a:gd name="connsiteY101" fmla="*/ 178871 h 283512"/>
                <a:gd name="connsiteX102" fmla="*/ 833528 w 2096597"/>
                <a:gd name="connsiteY102" fmla="*/ 138369 h 283512"/>
                <a:gd name="connsiteX103" fmla="*/ 854139 w 2096597"/>
                <a:gd name="connsiteY103" fmla="*/ 105650 h 283512"/>
                <a:gd name="connsiteX104" fmla="*/ 885705 w 2096597"/>
                <a:gd name="connsiteY104" fmla="*/ 84030 h 283512"/>
                <a:gd name="connsiteX105" fmla="*/ 926495 w 2096597"/>
                <a:gd name="connsiteY105" fmla="*/ 76247 h 283512"/>
                <a:gd name="connsiteX106" fmla="*/ 963970 w 2096597"/>
                <a:gd name="connsiteY106" fmla="*/ 82733 h 283512"/>
                <a:gd name="connsiteX107" fmla="*/ 993085 w 2096597"/>
                <a:gd name="connsiteY107" fmla="*/ 100606 h 283512"/>
                <a:gd name="connsiteX108" fmla="*/ 1019173 w 2096597"/>
                <a:gd name="connsiteY108" fmla="*/ 141107 h 283512"/>
                <a:gd name="connsiteX109" fmla="*/ 1027389 w 2096597"/>
                <a:gd name="connsiteY109" fmla="*/ 195302 h 283512"/>
                <a:gd name="connsiteX110" fmla="*/ 887290 w 2096597"/>
                <a:gd name="connsiteY110" fmla="*/ 195302 h 283512"/>
                <a:gd name="connsiteX111" fmla="*/ 900983 w 2096597"/>
                <a:gd name="connsiteY111" fmla="*/ 226579 h 283512"/>
                <a:gd name="connsiteX112" fmla="*/ 931107 w 2096597"/>
                <a:gd name="connsiteY112" fmla="*/ 237966 h 283512"/>
                <a:gd name="connsiteX113" fmla="*/ 951286 w 2096597"/>
                <a:gd name="connsiteY113" fmla="*/ 232777 h 283512"/>
                <a:gd name="connsiteX114" fmla="*/ 963393 w 2096597"/>
                <a:gd name="connsiteY114" fmla="*/ 218508 h 283512"/>
                <a:gd name="connsiteX115" fmla="*/ 1023930 w 2096597"/>
                <a:gd name="connsiteY115" fmla="*/ 218508 h 283512"/>
                <a:gd name="connsiteX116" fmla="*/ 1012543 w 2096597"/>
                <a:gd name="connsiteY116" fmla="*/ 243875 h 283512"/>
                <a:gd name="connsiteX117" fmla="*/ 991211 w 2096597"/>
                <a:gd name="connsiteY117" fmla="*/ 264630 h 283512"/>
                <a:gd name="connsiteX118" fmla="*/ 963970 w 2096597"/>
                <a:gd name="connsiteY118" fmla="*/ 277891 h 283512"/>
                <a:gd name="connsiteX119" fmla="*/ 930242 w 2096597"/>
                <a:gd name="connsiteY119" fmla="*/ 282503 h 283512"/>
                <a:gd name="connsiteX120" fmla="*/ 964546 w 2096597"/>
                <a:gd name="connsiteY120" fmla="*/ 158404 h 283512"/>
                <a:gd name="connsiteX121" fmla="*/ 952727 w 2096597"/>
                <a:gd name="connsiteY121" fmla="*/ 130586 h 283512"/>
                <a:gd name="connsiteX122" fmla="*/ 927648 w 2096597"/>
                <a:gd name="connsiteY122" fmla="*/ 120352 h 283512"/>
                <a:gd name="connsiteX123" fmla="*/ 900262 w 2096597"/>
                <a:gd name="connsiteY123" fmla="*/ 130586 h 283512"/>
                <a:gd name="connsiteX124" fmla="*/ 887723 w 2096597"/>
                <a:gd name="connsiteY124" fmla="*/ 158404 h 283512"/>
                <a:gd name="connsiteX125" fmla="*/ 964546 w 2096597"/>
                <a:gd name="connsiteY125" fmla="*/ 158404 h 283512"/>
                <a:gd name="connsiteX126" fmla="*/ 1050162 w 2096597"/>
                <a:gd name="connsiteY126" fmla="*/ 2018 h 283512"/>
                <a:gd name="connsiteX127" fmla="*/ 1112140 w 2096597"/>
                <a:gd name="connsiteY127" fmla="*/ 2018 h 283512"/>
                <a:gd name="connsiteX128" fmla="*/ 1112140 w 2096597"/>
                <a:gd name="connsiteY128" fmla="*/ 105939 h 283512"/>
                <a:gd name="connsiteX129" fmla="*/ 1113293 w 2096597"/>
                <a:gd name="connsiteY129" fmla="*/ 105939 h 283512"/>
                <a:gd name="connsiteX130" fmla="*/ 1137219 w 2096597"/>
                <a:gd name="connsiteY130" fmla="*/ 84030 h 283512"/>
                <a:gd name="connsiteX131" fmla="*/ 1171091 w 2096597"/>
                <a:gd name="connsiteY131" fmla="*/ 76247 h 283512"/>
                <a:gd name="connsiteX132" fmla="*/ 1199629 w 2096597"/>
                <a:gd name="connsiteY132" fmla="*/ 81724 h 283512"/>
                <a:gd name="connsiteX133" fmla="*/ 1220961 w 2096597"/>
                <a:gd name="connsiteY133" fmla="*/ 97002 h 283512"/>
                <a:gd name="connsiteX134" fmla="*/ 1234366 w 2096597"/>
                <a:gd name="connsiteY134" fmla="*/ 120208 h 283512"/>
                <a:gd name="connsiteX135" fmla="*/ 1238978 w 2096597"/>
                <a:gd name="connsiteY135" fmla="*/ 150044 h 283512"/>
                <a:gd name="connsiteX136" fmla="*/ 1238978 w 2096597"/>
                <a:gd name="connsiteY136" fmla="*/ 276738 h 283512"/>
                <a:gd name="connsiteX137" fmla="*/ 1177000 w 2096597"/>
                <a:gd name="connsiteY137" fmla="*/ 276738 h 283512"/>
                <a:gd name="connsiteX138" fmla="*/ 1177000 w 2096597"/>
                <a:gd name="connsiteY138" fmla="*/ 162583 h 283512"/>
                <a:gd name="connsiteX139" fmla="*/ 1169361 w 2096597"/>
                <a:gd name="connsiteY139" fmla="*/ 137504 h 283512"/>
                <a:gd name="connsiteX140" fmla="*/ 1146588 w 2096597"/>
                <a:gd name="connsiteY140" fmla="*/ 127991 h 283512"/>
                <a:gd name="connsiteX141" fmla="*/ 1121653 w 2096597"/>
                <a:gd name="connsiteY141" fmla="*/ 139378 h 283512"/>
                <a:gd name="connsiteX142" fmla="*/ 1112284 w 2096597"/>
                <a:gd name="connsiteY142" fmla="*/ 169069 h 283512"/>
                <a:gd name="connsiteX143" fmla="*/ 1112284 w 2096597"/>
                <a:gd name="connsiteY143" fmla="*/ 276738 h 283512"/>
                <a:gd name="connsiteX144" fmla="*/ 1050306 w 2096597"/>
                <a:gd name="connsiteY144" fmla="*/ 276738 h 283512"/>
                <a:gd name="connsiteX145" fmla="*/ 1050306 w 2096597"/>
                <a:gd name="connsiteY145" fmla="*/ 1874 h 283512"/>
                <a:gd name="connsiteX146" fmla="*/ 1362645 w 2096597"/>
                <a:gd name="connsiteY146" fmla="*/ 282936 h 283512"/>
                <a:gd name="connsiteX147" fmla="*/ 1319837 w 2096597"/>
                <a:gd name="connsiteY147" fmla="*/ 275152 h 283512"/>
                <a:gd name="connsiteX148" fmla="*/ 1286830 w 2096597"/>
                <a:gd name="connsiteY148" fmla="*/ 253388 h 283512"/>
                <a:gd name="connsiteX149" fmla="*/ 1265787 w 2096597"/>
                <a:gd name="connsiteY149" fmla="*/ 220670 h 283512"/>
                <a:gd name="connsiteX150" fmla="*/ 1258292 w 2096597"/>
                <a:gd name="connsiteY150" fmla="*/ 179735 h 283512"/>
                <a:gd name="connsiteX151" fmla="*/ 1265787 w 2096597"/>
                <a:gd name="connsiteY151" fmla="*/ 138801 h 283512"/>
                <a:gd name="connsiteX152" fmla="*/ 1286830 w 2096597"/>
                <a:gd name="connsiteY152" fmla="*/ 106083 h 283512"/>
                <a:gd name="connsiteX153" fmla="*/ 1319837 w 2096597"/>
                <a:gd name="connsiteY153" fmla="*/ 84463 h 283512"/>
                <a:gd name="connsiteX154" fmla="*/ 1362645 w 2096597"/>
                <a:gd name="connsiteY154" fmla="*/ 76679 h 283512"/>
                <a:gd name="connsiteX155" fmla="*/ 1405453 w 2096597"/>
                <a:gd name="connsiteY155" fmla="*/ 84463 h 283512"/>
                <a:gd name="connsiteX156" fmla="*/ 1438171 w 2096597"/>
                <a:gd name="connsiteY156" fmla="*/ 106083 h 283512"/>
                <a:gd name="connsiteX157" fmla="*/ 1459071 w 2096597"/>
                <a:gd name="connsiteY157" fmla="*/ 138801 h 283512"/>
                <a:gd name="connsiteX158" fmla="*/ 1466422 w 2096597"/>
                <a:gd name="connsiteY158" fmla="*/ 179735 h 283512"/>
                <a:gd name="connsiteX159" fmla="*/ 1459071 w 2096597"/>
                <a:gd name="connsiteY159" fmla="*/ 220670 h 283512"/>
                <a:gd name="connsiteX160" fmla="*/ 1438171 w 2096597"/>
                <a:gd name="connsiteY160" fmla="*/ 253388 h 283512"/>
                <a:gd name="connsiteX161" fmla="*/ 1405453 w 2096597"/>
                <a:gd name="connsiteY161" fmla="*/ 275152 h 283512"/>
                <a:gd name="connsiteX162" fmla="*/ 1362645 w 2096597"/>
                <a:gd name="connsiteY162" fmla="*/ 282936 h 283512"/>
                <a:gd name="connsiteX163" fmla="*/ 1362213 w 2096597"/>
                <a:gd name="connsiteY163" fmla="*/ 238830 h 283512"/>
                <a:gd name="connsiteX164" fmla="*/ 1393201 w 2096597"/>
                <a:gd name="connsiteY164" fmla="*/ 222687 h 283512"/>
                <a:gd name="connsiteX165" fmla="*/ 1403723 w 2096597"/>
                <a:gd name="connsiteY165" fmla="*/ 179880 h 283512"/>
                <a:gd name="connsiteX166" fmla="*/ 1393201 w 2096597"/>
                <a:gd name="connsiteY166" fmla="*/ 136928 h 283512"/>
                <a:gd name="connsiteX167" fmla="*/ 1362213 w 2096597"/>
                <a:gd name="connsiteY167" fmla="*/ 120496 h 283512"/>
                <a:gd name="connsiteX168" fmla="*/ 1331368 w 2096597"/>
                <a:gd name="connsiteY168" fmla="*/ 136928 h 283512"/>
                <a:gd name="connsiteX169" fmla="*/ 1321134 w 2096597"/>
                <a:gd name="connsiteY169" fmla="*/ 179880 h 283512"/>
                <a:gd name="connsiteX170" fmla="*/ 1331368 w 2096597"/>
                <a:gd name="connsiteY170" fmla="*/ 222687 h 283512"/>
                <a:gd name="connsiteX171" fmla="*/ 1362213 w 2096597"/>
                <a:gd name="connsiteY171" fmla="*/ 238830 h 283512"/>
                <a:gd name="connsiteX172" fmla="*/ 1554488 w 2096597"/>
                <a:gd name="connsiteY172" fmla="*/ 282647 h 283512"/>
                <a:gd name="connsiteX173" fmla="*/ 1503320 w 2096597"/>
                <a:gd name="connsiteY173" fmla="*/ 262613 h 283512"/>
                <a:gd name="connsiteX174" fmla="*/ 1486024 w 2096597"/>
                <a:gd name="connsiteY174" fmla="*/ 209859 h 283512"/>
                <a:gd name="connsiteX175" fmla="*/ 1486024 w 2096597"/>
                <a:gd name="connsiteY175" fmla="*/ 82012 h 283512"/>
                <a:gd name="connsiteX176" fmla="*/ 1547713 w 2096597"/>
                <a:gd name="connsiteY176" fmla="*/ 82012 h 283512"/>
                <a:gd name="connsiteX177" fmla="*/ 1547713 w 2096597"/>
                <a:gd name="connsiteY177" fmla="*/ 197032 h 283512"/>
                <a:gd name="connsiteX178" fmla="*/ 1554920 w 2096597"/>
                <a:gd name="connsiteY178" fmla="*/ 221534 h 283512"/>
                <a:gd name="connsiteX179" fmla="*/ 1576973 w 2096597"/>
                <a:gd name="connsiteY179" fmla="*/ 230038 h 283512"/>
                <a:gd name="connsiteX180" fmla="*/ 1602052 w 2096597"/>
                <a:gd name="connsiteY180" fmla="*/ 219228 h 283512"/>
                <a:gd name="connsiteX181" fmla="*/ 1611132 w 2096597"/>
                <a:gd name="connsiteY181" fmla="*/ 190834 h 283512"/>
                <a:gd name="connsiteX182" fmla="*/ 1611132 w 2096597"/>
                <a:gd name="connsiteY182" fmla="*/ 82012 h 283512"/>
                <a:gd name="connsiteX183" fmla="*/ 1673110 w 2096597"/>
                <a:gd name="connsiteY183" fmla="*/ 82012 h 283512"/>
                <a:gd name="connsiteX184" fmla="*/ 1673110 w 2096597"/>
                <a:gd name="connsiteY184" fmla="*/ 276882 h 283512"/>
                <a:gd name="connsiteX185" fmla="*/ 1613727 w 2096597"/>
                <a:gd name="connsiteY185" fmla="*/ 276882 h 283512"/>
                <a:gd name="connsiteX186" fmla="*/ 1613727 w 2096597"/>
                <a:gd name="connsiteY186" fmla="*/ 252956 h 283512"/>
                <a:gd name="connsiteX187" fmla="*/ 1612574 w 2096597"/>
                <a:gd name="connsiteY187" fmla="*/ 252956 h 283512"/>
                <a:gd name="connsiteX188" fmla="*/ 1588359 w 2096597"/>
                <a:gd name="connsiteY188" fmla="*/ 275008 h 283512"/>
                <a:gd name="connsiteX189" fmla="*/ 1554344 w 2096597"/>
                <a:gd name="connsiteY189" fmla="*/ 282647 h 283512"/>
                <a:gd name="connsiteX190" fmla="*/ 1789571 w 2096597"/>
                <a:gd name="connsiteY190" fmla="*/ 283080 h 283512"/>
                <a:gd name="connsiteX191" fmla="*/ 1721395 w 2096597"/>
                <a:gd name="connsiteY191" fmla="*/ 264630 h 283512"/>
                <a:gd name="connsiteX192" fmla="*/ 1694730 w 2096597"/>
                <a:gd name="connsiteY192" fmla="*/ 213751 h 283512"/>
                <a:gd name="connsiteX193" fmla="*/ 1753393 w 2096597"/>
                <a:gd name="connsiteY193" fmla="*/ 213751 h 283512"/>
                <a:gd name="connsiteX194" fmla="*/ 1764491 w 2096597"/>
                <a:gd name="connsiteY194" fmla="*/ 235515 h 283512"/>
                <a:gd name="connsiteX195" fmla="*/ 1789282 w 2096597"/>
                <a:gd name="connsiteY195" fmla="*/ 242722 h 283512"/>
                <a:gd name="connsiteX196" fmla="*/ 1811479 w 2096597"/>
                <a:gd name="connsiteY196" fmla="*/ 237821 h 283512"/>
                <a:gd name="connsiteX197" fmla="*/ 1819695 w 2096597"/>
                <a:gd name="connsiteY197" fmla="*/ 223408 h 283512"/>
                <a:gd name="connsiteX198" fmla="*/ 1815515 w 2096597"/>
                <a:gd name="connsiteY198" fmla="*/ 212886 h 283512"/>
                <a:gd name="connsiteX199" fmla="*/ 1804416 w 2096597"/>
                <a:gd name="connsiteY199" fmla="*/ 206400 h 283512"/>
                <a:gd name="connsiteX200" fmla="*/ 1788562 w 2096597"/>
                <a:gd name="connsiteY200" fmla="*/ 202653 h 283512"/>
                <a:gd name="connsiteX201" fmla="*/ 1770112 w 2096597"/>
                <a:gd name="connsiteY201" fmla="*/ 199482 h 283512"/>
                <a:gd name="connsiteX202" fmla="*/ 1745033 w 2096597"/>
                <a:gd name="connsiteY202" fmla="*/ 194005 h 283512"/>
                <a:gd name="connsiteX203" fmla="*/ 1722404 w 2096597"/>
                <a:gd name="connsiteY203" fmla="*/ 184348 h 283512"/>
                <a:gd name="connsiteX204" fmla="*/ 1706261 w 2096597"/>
                <a:gd name="connsiteY204" fmla="*/ 167052 h 283512"/>
                <a:gd name="connsiteX205" fmla="*/ 1700207 w 2096597"/>
                <a:gd name="connsiteY205" fmla="*/ 139090 h 283512"/>
                <a:gd name="connsiteX206" fmla="*/ 1706837 w 2096597"/>
                <a:gd name="connsiteY206" fmla="*/ 111992 h 283512"/>
                <a:gd name="connsiteX207" fmla="*/ 1724999 w 2096597"/>
                <a:gd name="connsiteY207" fmla="*/ 92390 h 283512"/>
                <a:gd name="connsiteX208" fmla="*/ 1751808 w 2096597"/>
                <a:gd name="connsiteY208" fmla="*/ 80571 h 283512"/>
                <a:gd name="connsiteX209" fmla="*/ 1784382 w 2096597"/>
                <a:gd name="connsiteY209" fmla="*/ 76535 h 283512"/>
                <a:gd name="connsiteX210" fmla="*/ 1847945 w 2096597"/>
                <a:gd name="connsiteY210" fmla="*/ 93255 h 283512"/>
                <a:gd name="connsiteX211" fmla="*/ 1872304 w 2096597"/>
                <a:gd name="connsiteY211" fmla="*/ 138945 h 283512"/>
                <a:gd name="connsiteX212" fmla="*/ 1815226 w 2096597"/>
                <a:gd name="connsiteY212" fmla="*/ 138945 h 283512"/>
                <a:gd name="connsiteX213" fmla="*/ 1805137 w 2096597"/>
                <a:gd name="connsiteY213" fmla="*/ 120929 h 283512"/>
                <a:gd name="connsiteX214" fmla="*/ 1783949 w 2096597"/>
                <a:gd name="connsiteY214" fmla="*/ 116172 h 283512"/>
                <a:gd name="connsiteX215" fmla="*/ 1764780 w 2096597"/>
                <a:gd name="connsiteY215" fmla="*/ 120496 h 283512"/>
                <a:gd name="connsiteX216" fmla="*/ 1756996 w 2096597"/>
                <a:gd name="connsiteY216" fmla="*/ 134045 h 283512"/>
                <a:gd name="connsiteX217" fmla="*/ 1760744 w 2096597"/>
                <a:gd name="connsiteY217" fmla="*/ 142405 h 283512"/>
                <a:gd name="connsiteX218" fmla="*/ 1770977 w 2096597"/>
                <a:gd name="connsiteY218" fmla="*/ 147593 h 283512"/>
                <a:gd name="connsiteX219" fmla="*/ 1785967 w 2096597"/>
                <a:gd name="connsiteY219" fmla="*/ 151197 h 283512"/>
                <a:gd name="connsiteX220" fmla="*/ 1803696 w 2096597"/>
                <a:gd name="connsiteY220" fmla="*/ 154224 h 283512"/>
                <a:gd name="connsiteX221" fmla="*/ 1829784 w 2096597"/>
                <a:gd name="connsiteY221" fmla="*/ 159701 h 283512"/>
                <a:gd name="connsiteX222" fmla="*/ 1853710 w 2096597"/>
                <a:gd name="connsiteY222" fmla="*/ 169790 h 283512"/>
                <a:gd name="connsiteX223" fmla="*/ 1871439 w 2096597"/>
                <a:gd name="connsiteY223" fmla="*/ 188239 h 283512"/>
                <a:gd name="connsiteX224" fmla="*/ 1878357 w 2096597"/>
                <a:gd name="connsiteY224" fmla="*/ 218508 h 283512"/>
                <a:gd name="connsiteX225" fmla="*/ 1871727 w 2096597"/>
                <a:gd name="connsiteY225" fmla="*/ 246614 h 283512"/>
                <a:gd name="connsiteX226" fmla="*/ 1853278 w 2096597"/>
                <a:gd name="connsiteY226" fmla="*/ 266792 h 283512"/>
                <a:gd name="connsiteX227" fmla="*/ 1825172 w 2096597"/>
                <a:gd name="connsiteY227" fmla="*/ 279044 h 283512"/>
                <a:gd name="connsiteX228" fmla="*/ 1789715 w 2096597"/>
                <a:gd name="connsiteY228" fmla="*/ 283224 h 283512"/>
                <a:gd name="connsiteX229" fmla="*/ 1999430 w 2096597"/>
                <a:gd name="connsiteY229" fmla="*/ 282791 h 283512"/>
                <a:gd name="connsiteX230" fmla="*/ 1956046 w 2096597"/>
                <a:gd name="connsiteY230" fmla="*/ 275008 h 283512"/>
                <a:gd name="connsiteX231" fmla="*/ 1923327 w 2096597"/>
                <a:gd name="connsiteY231" fmla="*/ 253244 h 283512"/>
                <a:gd name="connsiteX232" fmla="*/ 1902716 w 2096597"/>
                <a:gd name="connsiteY232" fmla="*/ 220381 h 283512"/>
                <a:gd name="connsiteX233" fmla="*/ 1895509 w 2096597"/>
                <a:gd name="connsiteY233" fmla="*/ 179303 h 283512"/>
                <a:gd name="connsiteX234" fmla="*/ 1902716 w 2096597"/>
                <a:gd name="connsiteY234" fmla="*/ 138801 h 283512"/>
                <a:gd name="connsiteX235" fmla="*/ 1923327 w 2096597"/>
                <a:gd name="connsiteY235" fmla="*/ 106083 h 283512"/>
                <a:gd name="connsiteX236" fmla="*/ 1954893 w 2096597"/>
                <a:gd name="connsiteY236" fmla="*/ 84463 h 283512"/>
                <a:gd name="connsiteX237" fmla="*/ 1995683 w 2096597"/>
                <a:gd name="connsiteY237" fmla="*/ 76679 h 283512"/>
                <a:gd name="connsiteX238" fmla="*/ 2033157 w 2096597"/>
                <a:gd name="connsiteY238" fmla="*/ 83165 h 283512"/>
                <a:gd name="connsiteX239" fmla="*/ 2062273 w 2096597"/>
                <a:gd name="connsiteY239" fmla="*/ 101038 h 283512"/>
                <a:gd name="connsiteX240" fmla="*/ 2088361 w 2096597"/>
                <a:gd name="connsiteY240" fmla="*/ 141540 h 283512"/>
                <a:gd name="connsiteX241" fmla="*/ 2096577 w 2096597"/>
                <a:gd name="connsiteY241" fmla="*/ 195734 h 283512"/>
                <a:gd name="connsiteX242" fmla="*/ 1956478 w 2096597"/>
                <a:gd name="connsiteY242" fmla="*/ 195734 h 283512"/>
                <a:gd name="connsiteX243" fmla="*/ 1970171 w 2096597"/>
                <a:gd name="connsiteY243" fmla="*/ 227011 h 283512"/>
                <a:gd name="connsiteX244" fmla="*/ 2000295 w 2096597"/>
                <a:gd name="connsiteY244" fmla="*/ 238398 h 283512"/>
                <a:gd name="connsiteX245" fmla="*/ 2020474 w 2096597"/>
                <a:gd name="connsiteY245" fmla="*/ 233209 h 283512"/>
                <a:gd name="connsiteX246" fmla="*/ 2032725 w 2096597"/>
                <a:gd name="connsiteY246" fmla="*/ 218940 h 283512"/>
                <a:gd name="connsiteX247" fmla="*/ 2093262 w 2096597"/>
                <a:gd name="connsiteY247" fmla="*/ 218940 h 283512"/>
                <a:gd name="connsiteX248" fmla="*/ 2081875 w 2096597"/>
                <a:gd name="connsiteY248" fmla="*/ 244308 h 283512"/>
                <a:gd name="connsiteX249" fmla="*/ 2060543 w 2096597"/>
                <a:gd name="connsiteY249" fmla="*/ 265063 h 283512"/>
                <a:gd name="connsiteX250" fmla="*/ 2033302 w 2096597"/>
                <a:gd name="connsiteY250" fmla="*/ 278323 h 283512"/>
                <a:gd name="connsiteX251" fmla="*/ 1999574 w 2096597"/>
                <a:gd name="connsiteY251" fmla="*/ 282936 h 283512"/>
                <a:gd name="connsiteX252" fmla="*/ 2033878 w 2096597"/>
                <a:gd name="connsiteY252" fmla="*/ 158836 h 283512"/>
                <a:gd name="connsiteX253" fmla="*/ 2022059 w 2096597"/>
                <a:gd name="connsiteY253" fmla="*/ 131018 h 283512"/>
                <a:gd name="connsiteX254" fmla="*/ 1996980 w 2096597"/>
                <a:gd name="connsiteY254" fmla="*/ 120784 h 283512"/>
                <a:gd name="connsiteX255" fmla="*/ 1969594 w 2096597"/>
                <a:gd name="connsiteY255" fmla="*/ 131018 h 283512"/>
                <a:gd name="connsiteX256" fmla="*/ 1957055 w 2096597"/>
                <a:gd name="connsiteY256" fmla="*/ 158836 h 283512"/>
                <a:gd name="connsiteX257" fmla="*/ 2033878 w 2096597"/>
                <a:gd name="connsiteY257" fmla="*/ 15883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6597" h="283512">
                  <a:moveTo>
                    <a:pt x="129433" y="283512"/>
                  </a:moveTo>
                  <a:cubicBezTo>
                    <a:pt x="109830" y="283512"/>
                    <a:pt x="92390" y="280197"/>
                    <a:pt x="76968" y="273567"/>
                  </a:cubicBezTo>
                  <a:cubicBezTo>
                    <a:pt x="61545" y="266937"/>
                    <a:pt x="47997" y="257568"/>
                    <a:pt x="36610" y="245461"/>
                  </a:cubicBezTo>
                  <a:cubicBezTo>
                    <a:pt x="24647" y="232489"/>
                    <a:pt x="15567" y="217354"/>
                    <a:pt x="9369" y="199770"/>
                  </a:cubicBezTo>
                  <a:cubicBezTo>
                    <a:pt x="3171" y="182330"/>
                    <a:pt x="0" y="163160"/>
                    <a:pt x="0" y="142260"/>
                  </a:cubicBezTo>
                  <a:cubicBezTo>
                    <a:pt x="0" y="121361"/>
                    <a:pt x="3459" y="100894"/>
                    <a:pt x="10522" y="82733"/>
                  </a:cubicBezTo>
                  <a:cubicBezTo>
                    <a:pt x="17440" y="64572"/>
                    <a:pt x="27386" y="49006"/>
                    <a:pt x="40358" y="36178"/>
                  </a:cubicBezTo>
                  <a:cubicBezTo>
                    <a:pt x="51744" y="24791"/>
                    <a:pt x="65149" y="15855"/>
                    <a:pt x="80715" y="9513"/>
                  </a:cubicBezTo>
                  <a:cubicBezTo>
                    <a:pt x="96138" y="3171"/>
                    <a:pt x="113866" y="0"/>
                    <a:pt x="133612" y="0"/>
                  </a:cubicBezTo>
                  <a:cubicBezTo>
                    <a:pt x="151053" y="0"/>
                    <a:pt x="166907" y="2162"/>
                    <a:pt x="180744" y="6630"/>
                  </a:cubicBezTo>
                  <a:cubicBezTo>
                    <a:pt x="194725" y="11098"/>
                    <a:pt x="206833" y="17440"/>
                    <a:pt x="216922" y="25656"/>
                  </a:cubicBezTo>
                  <a:cubicBezTo>
                    <a:pt x="227011" y="33872"/>
                    <a:pt x="235227" y="43817"/>
                    <a:pt x="241425" y="55492"/>
                  </a:cubicBezTo>
                  <a:cubicBezTo>
                    <a:pt x="247623" y="67167"/>
                    <a:pt x="251947" y="80139"/>
                    <a:pt x="254109" y="94264"/>
                  </a:cubicBezTo>
                  <a:lnTo>
                    <a:pt x="188672" y="94264"/>
                  </a:lnTo>
                  <a:cubicBezTo>
                    <a:pt x="186077" y="83165"/>
                    <a:pt x="180456" y="73797"/>
                    <a:pt x="171520" y="66446"/>
                  </a:cubicBezTo>
                  <a:cubicBezTo>
                    <a:pt x="162583" y="59095"/>
                    <a:pt x="150764" y="55348"/>
                    <a:pt x="135774" y="55348"/>
                  </a:cubicBezTo>
                  <a:cubicBezTo>
                    <a:pt x="124532" y="55348"/>
                    <a:pt x="114731" y="57654"/>
                    <a:pt x="106227" y="61978"/>
                  </a:cubicBezTo>
                  <a:cubicBezTo>
                    <a:pt x="97723" y="66446"/>
                    <a:pt x="90660" y="72500"/>
                    <a:pt x="85039" y="80283"/>
                  </a:cubicBezTo>
                  <a:cubicBezTo>
                    <a:pt x="79418" y="88066"/>
                    <a:pt x="75238" y="97146"/>
                    <a:pt x="72500" y="107668"/>
                  </a:cubicBezTo>
                  <a:cubicBezTo>
                    <a:pt x="69761" y="118190"/>
                    <a:pt x="68320" y="129721"/>
                    <a:pt x="68320" y="142116"/>
                  </a:cubicBezTo>
                  <a:cubicBezTo>
                    <a:pt x="68320" y="154512"/>
                    <a:pt x="69905" y="166043"/>
                    <a:pt x="73076" y="176709"/>
                  </a:cubicBezTo>
                  <a:cubicBezTo>
                    <a:pt x="76247" y="187375"/>
                    <a:pt x="80715" y="196599"/>
                    <a:pt x="86625" y="204238"/>
                  </a:cubicBezTo>
                  <a:cubicBezTo>
                    <a:pt x="92534" y="212021"/>
                    <a:pt x="99597" y="218075"/>
                    <a:pt x="108101" y="222255"/>
                  </a:cubicBezTo>
                  <a:cubicBezTo>
                    <a:pt x="116605" y="226579"/>
                    <a:pt x="126117" y="228741"/>
                    <a:pt x="136783" y="228741"/>
                  </a:cubicBezTo>
                  <a:cubicBezTo>
                    <a:pt x="145576" y="228741"/>
                    <a:pt x="153647" y="227444"/>
                    <a:pt x="160566" y="224705"/>
                  </a:cubicBezTo>
                  <a:cubicBezTo>
                    <a:pt x="167484" y="222111"/>
                    <a:pt x="173538" y="218508"/>
                    <a:pt x="178438" y="214039"/>
                  </a:cubicBezTo>
                  <a:cubicBezTo>
                    <a:pt x="183339" y="209571"/>
                    <a:pt x="187375" y="204526"/>
                    <a:pt x="190257" y="198761"/>
                  </a:cubicBezTo>
                  <a:cubicBezTo>
                    <a:pt x="193140" y="193140"/>
                    <a:pt x="195014" y="187230"/>
                    <a:pt x="195734" y="181033"/>
                  </a:cubicBezTo>
                  <a:lnTo>
                    <a:pt x="195734" y="180312"/>
                  </a:lnTo>
                  <a:lnTo>
                    <a:pt x="144711" y="180312"/>
                  </a:lnTo>
                  <a:lnTo>
                    <a:pt x="144711" y="130874"/>
                  </a:lnTo>
                  <a:lnTo>
                    <a:pt x="258144" y="130874"/>
                  </a:lnTo>
                  <a:lnTo>
                    <a:pt x="258144" y="277026"/>
                  </a:lnTo>
                  <a:lnTo>
                    <a:pt x="211013" y="277026"/>
                  </a:lnTo>
                  <a:lnTo>
                    <a:pt x="207265" y="244308"/>
                  </a:lnTo>
                  <a:lnTo>
                    <a:pt x="206544" y="244308"/>
                  </a:lnTo>
                  <a:cubicBezTo>
                    <a:pt x="197608" y="258289"/>
                    <a:pt x="186654" y="268234"/>
                    <a:pt x="173682" y="274143"/>
                  </a:cubicBezTo>
                  <a:cubicBezTo>
                    <a:pt x="160566" y="280053"/>
                    <a:pt x="145864" y="283080"/>
                    <a:pt x="129288" y="283080"/>
                  </a:cubicBezTo>
                  <a:moveTo>
                    <a:pt x="358029" y="282647"/>
                  </a:moveTo>
                  <a:cubicBezTo>
                    <a:pt x="335400" y="282647"/>
                    <a:pt x="318393" y="276017"/>
                    <a:pt x="306862" y="262613"/>
                  </a:cubicBezTo>
                  <a:cubicBezTo>
                    <a:pt x="295331" y="249352"/>
                    <a:pt x="289566" y="231768"/>
                    <a:pt x="289566" y="209859"/>
                  </a:cubicBezTo>
                  <a:lnTo>
                    <a:pt x="289566" y="82012"/>
                  </a:lnTo>
                  <a:lnTo>
                    <a:pt x="351255" y="82012"/>
                  </a:lnTo>
                  <a:lnTo>
                    <a:pt x="351255" y="197032"/>
                  </a:lnTo>
                  <a:cubicBezTo>
                    <a:pt x="351255" y="207697"/>
                    <a:pt x="353705" y="215913"/>
                    <a:pt x="358462" y="221534"/>
                  </a:cubicBezTo>
                  <a:cubicBezTo>
                    <a:pt x="363218" y="227300"/>
                    <a:pt x="370713" y="230038"/>
                    <a:pt x="380514" y="230038"/>
                  </a:cubicBezTo>
                  <a:cubicBezTo>
                    <a:pt x="391180" y="230038"/>
                    <a:pt x="399540" y="226435"/>
                    <a:pt x="405594" y="219228"/>
                  </a:cubicBezTo>
                  <a:cubicBezTo>
                    <a:pt x="411647" y="212021"/>
                    <a:pt x="414674" y="202509"/>
                    <a:pt x="414674" y="190834"/>
                  </a:cubicBezTo>
                  <a:lnTo>
                    <a:pt x="414674" y="82012"/>
                  </a:lnTo>
                  <a:lnTo>
                    <a:pt x="476652" y="82012"/>
                  </a:lnTo>
                  <a:lnTo>
                    <a:pt x="476652" y="276882"/>
                  </a:lnTo>
                  <a:lnTo>
                    <a:pt x="417269" y="276882"/>
                  </a:lnTo>
                  <a:lnTo>
                    <a:pt x="417269" y="252956"/>
                  </a:lnTo>
                  <a:lnTo>
                    <a:pt x="416116" y="252956"/>
                  </a:lnTo>
                  <a:cubicBezTo>
                    <a:pt x="409053" y="262613"/>
                    <a:pt x="400981" y="269963"/>
                    <a:pt x="391901" y="275008"/>
                  </a:cubicBezTo>
                  <a:cubicBezTo>
                    <a:pt x="382965" y="280053"/>
                    <a:pt x="371578" y="282647"/>
                    <a:pt x="357885" y="282647"/>
                  </a:cubicBezTo>
                  <a:moveTo>
                    <a:pt x="511965" y="2162"/>
                  </a:moveTo>
                  <a:lnTo>
                    <a:pt x="573943" y="2162"/>
                  </a:lnTo>
                  <a:lnTo>
                    <a:pt x="573943" y="55059"/>
                  </a:lnTo>
                  <a:lnTo>
                    <a:pt x="511965" y="55059"/>
                  </a:lnTo>
                  <a:lnTo>
                    <a:pt x="511965" y="2162"/>
                  </a:lnTo>
                  <a:close/>
                  <a:moveTo>
                    <a:pt x="511965" y="82012"/>
                  </a:moveTo>
                  <a:lnTo>
                    <a:pt x="573943" y="82012"/>
                  </a:lnTo>
                  <a:lnTo>
                    <a:pt x="573943" y="276882"/>
                  </a:lnTo>
                  <a:lnTo>
                    <a:pt x="511965" y="276882"/>
                  </a:lnTo>
                  <a:lnTo>
                    <a:pt x="511965" y="82012"/>
                  </a:lnTo>
                  <a:close/>
                  <a:moveTo>
                    <a:pt x="685935" y="282936"/>
                  </a:moveTo>
                  <a:cubicBezTo>
                    <a:pt x="673539" y="282936"/>
                    <a:pt x="662009" y="280629"/>
                    <a:pt x="651631" y="275873"/>
                  </a:cubicBezTo>
                  <a:cubicBezTo>
                    <a:pt x="641253" y="271117"/>
                    <a:pt x="632173" y="264342"/>
                    <a:pt x="624678" y="255550"/>
                  </a:cubicBezTo>
                  <a:cubicBezTo>
                    <a:pt x="617039" y="246614"/>
                    <a:pt x="611129" y="235804"/>
                    <a:pt x="606949" y="222976"/>
                  </a:cubicBezTo>
                  <a:cubicBezTo>
                    <a:pt x="602769" y="210148"/>
                    <a:pt x="600607" y="195590"/>
                    <a:pt x="600607" y="179447"/>
                  </a:cubicBezTo>
                  <a:cubicBezTo>
                    <a:pt x="600607" y="164169"/>
                    <a:pt x="602769" y="150332"/>
                    <a:pt x="606949" y="137504"/>
                  </a:cubicBezTo>
                  <a:cubicBezTo>
                    <a:pt x="611129" y="124820"/>
                    <a:pt x="617039" y="114010"/>
                    <a:pt x="624390" y="104930"/>
                  </a:cubicBezTo>
                  <a:cubicBezTo>
                    <a:pt x="631884" y="95993"/>
                    <a:pt x="640821" y="88931"/>
                    <a:pt x="651199" y="83742"/>
                  </a:cubicBezTo>
                  <a:cubicBezTo>
                    <a:pt x="661576" y="78697"/>
                    <a:pt x="673107" y="76103"/>
                    <a:pt x="685791" y="76103"/>
                  </a:cubicBezTo>
                  <a:cubicBezTo>
                    <a:pt x="699483" y="76103"/>
                    <a:pt x="710582" y="78697"/>
                    <a:pt x="718942" y="83886"/>
                  </a:cubicBezTo>
                  <a:cubicBezTo>
                    <a:pt x="727301" y="89075"/>
                    <a:pt x="734364" y="95705"/>
                    <a:pt x="740273" y="103921"/>
                  </a:cubicBezTo>
                  <a:lnTo>
                    <a:pt x="741426" y="103921"/>
                  </a:lnTo>
                  <a:lnTo>
                    <a:pt x="741426" y="1874"/>
                  </a:lnTo>
                  <a:lnTo>
                    <a:pt x="803404" y="1874"/>
                  </a:lnTo>
                  <a:lnTo>
                    <a:pt x="803404" y="276738"/>
                  </a:lnTo>
                  <a:lnTo>
                    <a:pt x="744021" y="276738"/>
                  </a:lnTo>
                  <a:lnTo>
                    <a:pt x="744021" y="250505"/>
                  </a:lnTo>
                  <a:lnTo>
                    <a:pt x="743300" y="250505"/>
                  </a:lnTo>
                  <a:cubicBezTo>
                    <a:pt x="737535" y="260595"/>
                    <a:pt x="729607" y="268522"/>
                    <a:pt x="719951" y="274287"/>
                  </a:cubicBezTo>
                  <a:cubicBezTo>
                    <a:pt x="710149" y="280053"/>
                    <a:pt x="698907" y="282791"/>
                    <a:pt x="685935" y="282791"/>
                  </a:cubicBezTo>
                  <a:moveTo>
                    <a:pt x="701934" y="233642"/>
                  </a:moveTo>
                  <a:cubicBezTo>
                    <a:pt x="714906" y="233642"/>
                    <a:pt x="724995" y="228597"/>
                    <a:pt x="732202" y="218363"/>
                  </a:cubicBezTo>
                  <a:cubicBezTo>
                    <a:pt x="739409" y="208274"/>
                    <a:pt x="743012" y="195158"/>
                    <a:pt x="743012" y="179159"/>
                  </a:cubicBezTo>
                  <a:cubicBezTo>
                    <a:pt x="743012" y="171087"/>
                    <a:pt x="742147" y="163448"/>
                    <a:pt x="740562" y="156530"/>
                  </a:cubicBezTo>
                  <a:cubicBezTo>
                    <a:pt x="738976" y="149611"/>
                    <a:pt x="736382" y="143558"/>
                    <a:pt x="732923" y="138657"/>
                  </a:cubicBezTo>
                  <a:cubicBezTo>
                    <a:pt x="729463" y="133757"/>
                    <a:pt x="725284" y="129865"/>
                    <a:pt x="720383" y="126982"/>
                  </a:cubicBezTo>
                  <a:cubicBezTo>
                    <a:pt x="715482" y="124244"/>
                    <a:pt x="709573" y="122802"/>
                    <a:pt x="702654" y="122802"/>
                  </a:cubicBezTo>
                  <a:cubicBezTo>
                    <a:pt x="690259" y="122802"/>
                    <a:pt x="680602" y="127991"/>
                    <a:pt x="673683" y="138225"/>
                  </a:cubicBezTo>
                  <a:cubicBezTo>
                    <a:pt x="666765" y="148458"/>
                    <a:pt x="663450" y="161863"/>
                    <a:pt x="663450" y="178438"/>
                  </a:cubicBezTo>
                  <a:cubicBezTo>
                    <a:pt x="663450" y="195014"/>
                    <a:pt x="666765" y="208851"/>
                    <a:pt x="673539" y="218796"/>
                  </a:cubicBezTo>
                  <a:cubicBezTo>
                    <a:pt x="680314" y="228741"/>
                    <a:pt x="689682" y="233642"/>
                    <a:pt x="701934" y="233642"/>
                  </a:cubicBezTo>
                  <a:moveTo>
                    <a:pt x="930242" y="282359"/>
                  </a:moveTo>
                  <a:cubicBezTo>
                    <a:pt x="914243" y="282359"/>
                    <a:pt x="899830" y="279765"/>
                    <a:pt x="886858" y="274576"/>
                  </a:cubicBezTo>
                  <a:cubicBezTo>
                    <a:pt x="873886" y="269387"/>
                    <a:pt x="862932" y="262180"/>
                    <a:pt x="854139" y="252811"/>
                  </a:cubicBezTo>
                  <a:cubicBezTo>
                    <a:pt x="845203" y="243587"/>
                    <a:pt x="838429" y="232633"/>
                    <a:pt x="833528" y="219949"/>
                  </a:cubicBezTo>
                  <a:cubicBezTo>
                    <a:pt x="828772" y="207265"/>
                    <a:pt x="826322" y="193572"/>
                    <a:pt x="826322" y="178871"/>
                  </a:cubicBezTo>
                  <a:cubicBezTo>
                    <a:pt x="826322" y="164169"/>
                    <a:pt x="828772" y="150909"/>
                    <a:pt x="833528" y="138369"/>
                  </a:cubicBezTo>
                  <a:cubicBezTo>
                    <a:pt x="838285" y="125829"/>
                    <a:pt x="845203" y="114875"/>
                    <a:pt x="854139" y="105650"/>
                  </a:cubicBezTo>
                  <a:cubicBezTo>
                    <a:pt x="863076" y="96426"/>
                    <a:pt x="873598" y="89219"/>
                    <a:pt x="885705" y="84030"/>
                  </a:cubicBezTo>
                  <a:cubicBezTo>
                    <a:pt x="897812" y="78841"/>
                    <a:pt x="911505" y="76247"/>
                    <a:pt x="926495" y="76247"/>
                  </a:cubicBezTo>
                  <a:cubicBezTo>
                    <a:pt x="940476" y="76247"/>
                    <a:pt x="953016" y="78409"/>
                    <a:pt x="963970" y="82733"/>
                  </a:cubicBezTo>
                  <a:cubicBezTo>
                    <a:pt x="975068" y="87057"/>
                    <a:pt x="984725" y="92967"/>
                    <a:pt x="993085" y="100606"/>
                  </a:cubicBezTo>
                  <a:cubicBezTo>
                    <a:pt x="1004760" y="111272"/>
                    <a:pt x="1013408" y="124820"/>
                    <a:pt x="1019173" y="141107"/>
                  </a:cubicBezTo>
                  <a:cubicBezTo>
                    <a:pt x="1024939" y="157539"/>
                    <a:pt x="1027533" y="175556"/>
                    <a:pt x="1027389" y="195302"/>
                  </a:cubicBezTo>
                  <a:lnTo>
                    <a:pt x="887290" y="195302"/>
                  </a:lnTo>
                  <a:cubicBezTo>
                    <a:pt x="889308" y="208562"/>
                    <a:pt x="893921" y="218940"/>
                    <a:pt x="900983" y="226579"/>
                  </a:cubicBezTo>
                  <a:cubicBezTo>
                    <a:pt x="908046" y="234218"/>
                    <a:pt x="918135" y="237966"/>
                    <a:pt x="931107" y="237966"/>
                  </a:cubicBezTo>
                  <a:cubicBezTo>
                    <a:pt x="939179" y="237966"/>
                    <a:pt x="945953" y="236236"/>
                    <a:pt x="951286" y="232777"/>
                  </a:cubicBezTo>
                  <a:cubicBezTo>
                    <a:pt x="956619" y="229318"/>
                    <a:pt x="960655" y="224561"/>
                    <a:pt x="963393" y="218508"/>
                  </a:cubicBezTo>
                  <a:lnTo>
                    <a:pt x="1023930" y="218508"/>
                  </a:lnTo>
                  <a:cubicBezTo>
                    <a:pt x="1021912" y="227444"/>
                    <a:pt x="1018020" y="235804"/>
                    <a:pt x="1012543" y="243875"/>
                  </a:cubicBezTo>
                  <a:cubicBezTo>
                    <a:pt x="1006922" y="251803"/>
                    <a:pt x="999859" y="258721"/>
                    <a:pt x="991211" y="264630"/>
                  </a:cubicBezTo>
                  <a:cubicBezTo>
                    <a:pt x="983140" y="270540"/>
                    <a:pt x="974059" y="274864"/>
                    <a:pt x="963970" y="277891"/>
                  </a:cubicBezTo>
                  <a:cubicBezTo>
                    <a:pt x="954024" y="280918"/>
                    <a:pt x="942782" y="282503"/>
                    <a:pt x="930242" y="282503"/>
                  </a:cubicBezTo>
                  <a:moveTo>
                    <a:pt x="964546" y="158404"/>
                  </a:moveTo>
                  <a:cubicBezTo>
                    <a:pt x="963249" y="146729"/>
                    <a:pt x="959357" y="137504"/>
                    <a:pt x="952727" y="130586"/>
                  </a:cubicBezTo>
                  <a:cubicBezTo>
                    <a:pt x="946097" y="123811"/>
                    <a:pt x="937737" y="120352"/>
                    <a:pt x="927648" y="120352"/>
                  </a:cubicBezTo>
                  <a:cubicBezTo>
                    <a:pt x="915685" y="120352"/>
                    <a:pt x="906604" y="123811"/>
                    <a:pt x="900262" y="130586"/>
                  </a:cubicBezTo>
                  <a:cubicBezTo>
                    <a:pt x="893921" y="137504"/>
                    <a:pt x="889741" y="146729"/>
                    <a:pt x="887723" y="158404"/>
                  </a:cubicBezTo>
                  <a:lnTo>
                    <a:pt x="964546" y="158404"/>
                  </a:lnTo>
                  <a:close/>
                  <a:moveTo>
                    <a:pt x="1050162" y="2018"/>
                  </a:moveTo>
                  <a:lnTo>
                    <a:pt x="1112140" y="2018"/>
                  </a:lnTo>
                  <a:lnTo>
                    <a:pt x="1112140" y="105939"/>
                  </a:lnTo>
                  <a:lnTo>
                    <a:pt x="1113293" y="105939"/>
                  </a:lnTo>
                  <a:cubicBezTo>
                    <a:pt x="1120355" y="96570"/>
                    <a:pt x="1128427" y="89219"/>
                    <a:pt x="1137219" y="84030"/>
                  </a:cubicBezTo>
                  <a:cubicBezTo>
                    <a:pt x="1146155" y="78841"/>
                    <a:pt x="1157398" y="76247"/>
                    <a:pt x="1171091" y="76247"/>
                  </a:cubicBezTo>
                  <a:cubicBezTo>
                    <a:pt x="1181757" y="76247"/>
                    <a:pt x="1191269" y="78121"/>
                    <a:pt x="1199629" y="81724"/>
                  </a:cubicBezTo>
                  <a:cubicBezTo>
                    <a:pt x="1207989" y="85327"/>
                    <a:pt x="1215052" y="90516"/>
                    <a:pt x="1220961" y="97002"/>
                  </a:cubicBezTo>
                  <a:cubicBezTo>
                    <a:pt x="1226871" y="103488"/>
                    <a:pt x="1231195" y="111272"/>
                    <a:pt x="1234366" y="120208"/>
                  </a:cubicBezTo>
                  <a:cubicBezTo>
                    <a:pt x="1237392" y="129144"/>
                    <a:pt x="1238978" y="139234"/>
                    <a:pt x="1238978" y="150044"/>
                  </a:cubicBezTo>
                  <a:lnTo>
                    <a:pt x="1238978" y="276738"/>
                  </a:lnTo>
                  <a:lnTo>
                    <a:pt x="1177000" y="276738"/>
                  </a:lnTo>
                  <a:lnTo>
                    <a:pt x="1177000" y="162583"/>
                  </a:lnTo>
                  <a:cubicBezTo>
                    <a:pt x="1177000" y="152206"/>
                    <a:pt x="1174406" y="143846"/>
                    <a:pt x="1169361" y="137504"/>
                  </a:cubicBezTo>
                  <a:cubicBezTo>
                    <a:pt x="1164316" y="131162"/>
                    <a:pt x="1156677" y="127991"/>
                    <a:pt x="1146588" y="127991"/>
                  </a:cubicBezTo>
                  <a:cubicBezTo>
                    <a:pt x="1136498" y="127991"/>
                    <a:pt x="1127850" y="131739"/>
                    <a:pt x="1121653" y="139378"/>
                  </a:cubicBezTo>
                  <a:cubicBezTo>
                    <a:pt x="1115455" y="147017"/>
                    <a:pt x="1112284" y="156962"/>
                    <a:pt x="1112284" y="169069"/>
                  </a:cubicBezTo>
                  <a:lnTo>
                    <a:pt x="1112284" y="276738"/>
                  </a:lnTo>
                  <a:lnTo>
                    <a:pt x="1050306" y="276738"/>
                  </a:lnTo>
                  <a:lnTo>
                    <a:pt x="1050306" y="1874"/>
                  </a:lnTo>
                  <a:close/>
                  <a:moveTo>
                    <a:pt x="1362645" y="282936"/>
                  </a:moveTo>
                  <a:cubicBezTo>
                    <a:pt x="1346935" y="282936"/>
                    <a:pt x="1332665" y="280341"/>
                    <a:pt x="1319837" y="275152"/>
                  </a:cubicBezTo>
                  <a:cubicBezTo>
                    <a:pt x="1307009" y="269963"/>
                    <a:pt x="1296055" y="262757"/>
                    <a:pt x="1286830" y="253388"/>
                  </a:cubicBezTo>
                  <a:cubicBezTo>
                    <a:pt x="1277750" y="244163"/>
                    <a:pt x="1270687" y="233209"/>
                    <a:pt x="1265787" y="220670"/>
                  </a:cubicBezTo>
                  <a:cubicBezTo>
                    <a:pt x="1260886" y="208130"/>
                    <a:pt x="1258292" y="194437"/>
                    <a:pt x="1258292" y="179735"/>
                  </a:cubicBezTo>
                  <a:cubicBezTo>
                    <a:pt x="1258292" y="165034"/>
                    <a:pt x="1260742" y="151341"/>
                    <a:pt x="1265787" y="138801"/>
                  </a:cubicBezTo>
                  <a:cubicBezTo>
                    <a:pt x="1270687" y="126262"/>
                    <a:pt x="1277750" y="115307"/>
                    <a:pt x="1286830" y="106083"/>
                  </a:cubicBezTo>
                  <a:cubicBezTo>
                    <a:pt x="1295911" y="96858"/>
                    <a:pt x="1307009" y="89651"/>
                    <a:pt x="1319837" y="84463"/>
                  </a:cubicBezTo>
                  <a:cubicBezTo>
                    <a:pt x="1332665" y="79274"/>
                    <a:pt x="1346935" y="76679"/>
                    <a:pt x="1362645" y="76679"/>
                  </a:cubicBezTo>
                  <a:cubicBezTo>
                    <a:pt x="1378356" y="76679"/>
                    <a:pt x="1392625" y="79274"/>
                    <a:pt x="1405453" y="84463"/>
                  </a:cubicBezTo>
                  <a:cubicBezTo>
                    <a:pt x="1418281" y="89651"/>
                    <a:pt x="1429235" y="96858"/>
                    <a:pt x="1438171" y="106083"/>
                  </a:cubicBezTo>
                  <a:cubicBezTo>
                    <a:pt x="1447108" y="115307"/>
                    <a:pt x="1454170" y="126262"/>
                    <a:pt x="1459071" y="138801"/>
                  </a:cubicBezTo>
                  <a:cubicBezTo>
                    <a:pt x="1463971" y="151341"/>
                    <a:pt x="1466422" y="165034"/>
                    <a:pt x="1466422" y="179735"/>
                  </a:cubicBezTo>
                  <a:cubicBezTo>
                    <a:pt x="1466422" y="194437"/>
                    <a:pt x="1463971" y="208130"/>
                    <a:pt x="1459071" y="220670"/>
                  </a:cubicBezTo>
                  <a:cubicBezTo>
                    <a:pt x="1454170" y="233209"/>
                    <a:pt x="1447108" y="244163"/>
                    <a:pt x="1438171" y="253388"/>
                  </a:cubicBezTo>
                  <a:cubicBezTo>
                    <a:pt x="1429235" y="262613"/>
                    <a:pt x="1418281" y="269819"/>
                    <a:pt x="1405453" y="275152"/>
                  </a:cubicBezTo>
                  <a:cubicBezTo>
                    <a:pt x="1392625" y="280341"/>
                    <a:pt x="1378356" y="282936"/>
                    <a:pt x="1362645" y="282936"/>
                  </a:cubicBezTo>
                  <a:moveTo>
                    <a:pt x="1362213" y="238830"/>
                  </a:moveTo>
                  <a:cubicBezTo>
                    <a:pt x="1375905" y="238830"/>
                    <a:pt x="1386283" y="233497"/>
                    <a:pt x="1393201" y="222687"/>
                  </a:cubicBezTo>
                  <a:cubicBezTo>
                    <a:pt x="1400264" y="211877"/>
                    <a:pt x="1403723" y="197608"/>
                    <a:pt x="1403723" y="179880"/>
                  </a:cubicBezTo>
                  <a:cubicBezTo>
                    <a:pt x="1403723" y="162151"/>
                    <a:pt x="1400264" y="147738"/>
                    <a:pt x="1393201" y="136928"/>
                  </a:cubicBezTo>
                  <a:cubicBezTo>
                    <a:pt x="1386283" y="125973"/>
                    <a:pt x="1375905" y="120496"/>
                    <a:pt x="1362213" y="120496"/>
                  </a:cubicBezTo>
                  <a:cubicBezTo>
                    <a:pt x="1348520" y="120496"/>
                    <a:pt x="1338286" y="125973"/>
                    <a:pt x="1331368" y="136928"/>
                  </a:cubicBezTo>
                  <a:cubicBezTo>
                    <a:pt x="1324594" y="147882"/>
                    <a:pt x="1321134" y="162151"/>
                    <a:pt x="1321134" y="179880"/>
                  </a:cubicBezTo>
                  <a:cubicBezTo>
                    <a:pt x="1321134" y="197608"/>
                    <a:pt x="1324594" y="211877"/>
                    <a:pt x="1331368" y="222687"/>
                  </a:cubicBezTo>
                  <a:cubicBezTo>
                    <a:pt x="1338286" y="233497"/>
                    <a:pt x="1348520" y="238830"/>
                    <a:pt x="1362213" y="238830"/>
                  </a:cubicBezTo>
                  <a:moveTo>
                    <a:pt x="1554488" y="282647"/>
                  </a:moveTo>
                  <a:cubicBezTo>
                    <a:pt x="1531859" y="282647"/>
                    <a:pt x="1514851" y="276017"/>
                    <a:pt x="1503320" y="262613"/>
                  </a:cubicBezTo>
                  <a:cubicBezTo>
                    <a:pt x="1491789" y="249352"/>
                    <a:pt x="1486024" y="231768"/>
                    <a:pt x="1486024" y="209859"/>
                  </a:cubicBezTo>
                  <a:lnTo>
                    <a:pt x="1486024" y="82012"/>
                  </a:lnTo>
                  <a:lnTo>
                    <a:pt x="1547713" y="82012"/>
                  </a:lnTo>
                  <a:lnTo>
                    <a:pt x="1547713" y="197032"/>
                  </a:lnTo>
                  <a:cubicBezTo>
                    <a:pt x="1547713" y="207697"/>
                    <a:pt x="1550164" y="215913"/>
                    <a:pt x="1554920" y="221534"/>
                  </a:cubicBezTo>
                  <a:cubicBezTo>
                    <a:pt x="1559677" y="227300"/>
                    <a:pt x="1567172" y="230038"/>
                    <a:pt x="1576973" y="230038"/>
                  </a:cubicBezTo>
                  <a:cubicBezTo>
                    <a:pt x="1587639" y="230038"/>
                    <a:pt x="1595998" y="226435"/>
                    <a:pt x="1602052" y="219228"/>
                  </a:cubicBezTo>
                  <a:cubicBezTo>
                    <a:pt x="1608106" y="212021"/>
                    <a:pt x="1611132" y="202509"/>
                    <a:pt x="1611132" y="190834"/>
                  </a:cubicBezTo>
                  <a:lnTo>
                    <a:pt x="1611132" y="82012"/>
                  </a:lnTo>
                  <a:lnTo>
                    <a:pt x="1673110" y="82012"/>
                  </a:lnTo>
                  <a:lnTo>
                    <a:pt x="1673110" y="276882"/>
                  </a:lnTo>
                  <a:lnTo>
                    <a:pt x="1613727" y="276882"/>
                  </a:lnTo>
                  <a:lnTo>
                    <a:pt x="1613727" y="252956"/>
                  </a:lnTo>
                  <a:lnTo>
                    <a:pt x="1612574" y="252956"/>
                  </a:lnTo>
                  <a:cubicBezTo>
                    <a:pt x="1605511" y="262613"/>
                    <a:pt x="1597440" y="269963"/>
                    <a:pt x="1588359" y="275008"/>
                  </a:cubicBezTo>
                  <a:cubicBezTo>
                    <a:pt x="1579423" y="280053"/>
                    <a:pt x="1568036" y="282647"/>
                    <a:pt x="1554344" y="282647"/>
                  </a:cubicBezTo>
                  <a:moveTo>
                    <a:pt x="1789571" y="283080"/>
                  </a:moveTo>
                  <a:cubicBezTo>
                    <a:pt x="1760888" y="283080"/>
                    <a:pt x="1738259" y="276882"/>
                    <a:pt x="1721395" y="264630"/>
                  </a:cubicBezTo>
                  <a:cubicBezTo>
                    <a:pt x="1704676" y="252379"/>
                    <a:pt x="1695739" y="235371"/>
                    <a:pt x="1694730" y="213751"/>
                  </a:cubicBezTo>
                  <a:lnTo>
                    <a:pt x="1753393" y="213751"/>
                  </a:lnTo>
                  <a:cubicBezTo>
                    <a:pt x="1754690" y="223408"/>
                    <a:pt x="1758294" y="230615"/>
                    <a:pt x="1764491" y="235515"/>
                  </a:cubicBezTo>
                  <a:cubicBezTo>
                    <a:pt x="1770545" y="240272"/>
                    <a:pt x="1778761" y="242722"/>
                    <a:pt x="1789282" y="242722"/>
                  </a:cubicBezTo>
                  <a:cubicBezTo>
                    <a:pt x="1798651" y="242722"/>
                    <a:pt x="1806146" y="241137"/>
                    <a:pt x="1811479" y="237821"/>
                  </a:cubicBezTo>
                  <a:cubicBezTo>
                    <a:pt x="1816956" y="234506"/>
                    <a:pt x="1819695" y="229750"/>
                    <a:pt x="1819695" y="223408"/>
                  </a:cubicBezTo>
                  <a:cubicBezTo>
                    <a:pt x="1819695" y="219084"/>
                    <a:pt x="1818253" y="215625"/>
                    <a:pt x="1815515" y="212886"/>
                  </a:cubicBezTo>
                  <a:cubicBezTo>
                    <a:pt x="1812776" y="210292"/>
                    <a:pt x="1809029" y="208130"/>
                    <a:pt x="1804416" y="206400"/>
                  </a:cubicBezTo>
                  <a:cubicBezTo>
                    <a:pt x="1799804" y="204815"/>
                    <a:pt x="1794615" y="203518"/>
                    <a:pt x="1788562" y="202653"/>
                  </a:cubicBezTo>
                  <a:cubicBezTo>
                    <a:pt x="1782652" y="201788"/>
                    <a:pt x="1776454" y="200635"/>
                    <a:pt x="1770112" y="199482"/>
                  </a:cubicBezTo>
                  <a:cubicBezTo>
                    <a:pt x="1761753" y="197896"/>
                    <a:pt x="1753393" y="196167"/>
                    <a:pt x="1745033" y="194005"/>
                  </a:cubicBezTo>
                  <a:cubicBezTo>
                    <a:pt x="1736673" y="191843"/>
                    <a:pt x="1729178" y="188672"/>
                    <a:pt x="1722404" y="184348"/>
                  </a:cubicBezTo>
                  <a:cubicBezTo>
                    <a:pt x="1715630" y="180024"/>
                    <a:pt x="1710297" y="174258"/>
                    <a:pt x="1706261" y="167052"/>
                  </a:cubicBezTo>
                  <a:cubicBezTo>
                    <a:pt x="1702225" y="159845"/>
                    <a:pt x="1700207" y="150476"/>
                    <a:pt x="1700207" y="139090"/>
                  </a:cubicBezTo>
                  <a:cubicBezTo>
                    <a:pt x="1700207" y="129000"/>
                    <a:pt x="1702369" y="119920"/>
                    <a:pt x="1706837" y="111992"/>
                  </a:cubicBezTo>
                  <a:cubicBezTo>
                    <a:pt x="1711306" y="104209"/>
                    <a:pt x="1717359" y="97579"/>
                    <a:pt x="1724999" y="92390"/>
                  </a:cubicBezTo>
                  <a:cubicBezTo>
                    <a:pt x="1732638" y="87201"/>
                    <a:pt x="1741574" y="83310"/>
                    <a:pt x="1751808" y="80571"/>
                  </a:cubicBezTo>
                  <a:cubicBezTo>
                    <a:pt x="1762041" y="77977"/>
                    <a:pt x="1772995" y="76535"/>
                    <a:pt x="1784382" y="76535"/>
                  </a:cubicBezTo>
                  <a:cubicBezTo>
                    <a:pt x="1812056" y="76535"/>
                    <a:pt x="1833243" y="82157"/>
                    <a:pt x="1847945" y="93255"/>
                  </a:cubicBezTo>
                  <a:cubicBezTo>
                    <a:pt x="1862647" y="104353"/>
                    <a:pt x="1870718" y="119631"/>
                    <a:pt x="1872304" y="138945"/>
                  </a:cubicBezTo>
                  <a:lnTo>
                    <a:pt x="1815226" y="138945"/>
                  </a:lnTo>
                  <a:cubicBezTo>
                    <a:pt x="1813929" y="130009"/>
                    <a:pt x="1810614" y="124100"/>
                    <a:pt x="1805137" y="120929"/>
                  </a:cubicBezTo>
                  <a:cubicBezTo>
                    <a:pt x="1799660" y="117758"/>
                    <a:pt x="1792598" y="116172"/>
                    <a:pt x="1783949" y="116172"/>
                  </a:cubicBezTo>
                  <a:cubicBezTo>
                    <a:pt x="1776310" y="116172"/>
                    <a:pt x="1769968" y="117614"/>
                    <a:pt x="1764780" y="120496"/>
                  </a:cubicBezTo>
                  <a:cubicBezTo>
                    <a:pt x="1759591" y="123379"/>
                    <a:pt x="1756996" y="127847"/>
                    <a:pt x="1756996" y="134045"/>
                  </a:cubicBezTo>
                  <a:cubicBezTo>
                    <a:pt x="1756996" y="137648"/>
                    <a:pt x="1758294" y="140387"/>
                    <a:pt x="1760744" y="142405"/>
                  </a:cubicBezTo>
                  <a:cubicBezTo>
                    <a:pt x="1763338" y="144423"/>
                    <a:pt x="1766653" y="146152"/>
                    <a:pt x="1770977" y="147593"/>
                  </a:cubicBezTo>
                  <a:cubicBezTo>
                    <a:pt x="1775301" y="149035"/>
                    <a:pt x="1780346" y="150188"/>
                    <a:pt x="1785967" y="151197"/>
                  </a:cubicBezTo>
                  <a:cubicBezTo>
                    <a:pt x="1791733" y="152206"/>
                    <a:pt x="1797642" y="153215"/>
                    <a:pt x="1803696" y="154224"/>
                  </a:cubicBezTo>
                  <a:cubicBezTo>
                    <a:pt x="1812344" y="155665"/>
                    <a:pt x="1820992" y="157539"/>
                    <a:pt x="1829784" y="159701"/>
                  </a:cubicBezTo>
                  <a:cubicBezTo>
                    <a:pt x="1838576" y="161863"/>
                    <a:pt x="1846504" y="165178"/>
                    <a:pt x="1853710" y="169790"/>
                  </a:cubicBezTo>
                  <a:cubicBezTo>
                    <a:pt x="1860917" y="174402"/>
                    <a:pt x="1866827" y="180456"/>
                    <a:pt x="1871439" y="188239"/>
                  </a:cubicBezTo>
                  <a:cubicBezTo>
                    <a:pt x="1876051" y="196023"/>
                    <a:pt x="1878357" y="206112"/>
                    <a:pt x="1878357" y="218508"/>
                  </a:cubicBezTo>
                  <a:cubicBezTo>
                    <a:pt x="1878357" y="229173"/>
                    <a:pt x="1876051" y="238542"/>
                    <a:pt x="1871727" y="246614"/>
                  </a:cubicBezTo>
                  <a:cubicBezTo>
                    <a:pt x="1867259" y="254685"/>
                    <a:pt x="1861061" y="261460"/>
                    <a:pt x="1853278" y="266792"/>
                  </a:cubicBezTo>
                  <a:cubicBezTo>
                    <a:pt x="1845350" y="272125"/>
                    <a:pt x="1835982" y="276161"/>
                    <a:pt x="1825172" y="279044"/>
                  </a:cubicBezTo>
                  <a:cubicBezTo>
                    <a:pt x="1814218" y="281782"/>
                    <a:pt x="1802399" y="283224"/>
                    <a:pt x="1789715" y="283224"/>
                  </a:cubicBezTo>
                  <a:moveTo>
                    <a:pt x="1999430" y="282791"/>
                  </a:moveTo>
                  <a:cubicBezTo>
                    <a:pt x="1983431" y="282791"/>
                    <a:pt x="1969018" y="280197"/>
                    <a:pt x="1956046" y="275008"/>
                  </a:cubicBezTo>
                  <a:cubicBezTo>
                    <a:pt x="1943073" y="269819"/>
                    <a:pt x="1932263" y="262613"/>
                    <a:pt x="1923327" y="253244"/>
                  </a:cubicBezTo>
                  <a:cubicBezTo>
                    <a:pt x="1914391" y="244019"/>
                    <a:pt x="1907617" y="233065"/>
                    <a:pt x="1902716" y="220381"/>
                  </a:cubicBezTo>
                  <a:cubicBezTo>
                    <a:pt x="1897960" y="207697"/>
                    <a:pt x="1895509" y="194005"/>
                    <a:pt x="1895509" y="179303"/>
                  </a:cubicBezTo>
                  <a:cubicBezTo>
                    <a:pt x="1895509" y="164601"/>
                    <a:pt x="1897960" y="151341"/>
                    <a:pt x="1902716" y="138801"/>
                  </a:cubicBezTo>
                  <a:cubicBezTo>
                    <a:pt x="1907473" y="126262"/>
                    <a:pt x="1914391" y="115307"/>
                    <a:pt x="1923327" y="106083"/>
                  </a:cubicBezTo>
                  <a:cubicBezTo>
                    <a:pt x="1932263" y="96858"/>
                    <a:pt x="1942785" y="89651"/>
                    <a:pt x="1954893" y="84463"/>
                  </a:cubicBezTo>
                  <a:cubicBezTo>
                    <a:pt x="1967144" y="79274"/>
                    <a:pt x="1980693" y="76679"/>
                    <a:pt x="1995683" y="76679"/>
                  </a:cubicBezTo>
                  <a:cubicBezTo>
                    <a:pt x="2009664" y="76679"/>
                    <a:pt x="2022059" y="78841"/>
                    <a:pt x="2033157" y="83165"/>
                  </a:cubicBezTo>
                  <a:cubicBezTo>
                    <a:pt x="2044256" y="87489"/>
                    <a:pt x="2053913" y="93399"/>
                    <a:pt x="2062273" y="101038"/>
                  </a:cubicBezTo>
                  <a:cubicBezTo>
                    <a:pt x="2073947" y="111704"/>
                    <a:pt x="2082596" y="125253"/>
                    <a:pt x="2088361" y="141540"/>
                  </a:cubicBezTo>
                  <a:cubicBezTo>
                    <a:pt x="2094126" y="157971"/>
                    <a:pt x="2096865" y="175988"/>
                    <a:pt x="2096577" y="195734"/>
                  </a:cubicBezTo>
                  <a:lnTo>
                    <a:pt x="1956478" y="195734"/>
                  </a:lnTo>
                  <a:cubicBezTo>
                    <a:pt x="1958496" y="208995"/>
                    <a:pt x="1963108" y="219372"/>
                    <a:pt x="1970171" y="227011"/>
                  </a:cubicBezTo>
                  <a:cubicBezTo>
                    <a:pt x="1977233" y="234651"/>
                    <a:pt x="1987323" y="238398"/>
                    <a:pt x="2000295" y="238398"/>
                  </a:cubicBezTo>
                  <a:cubicBezTo>
                    <a:pt x="2008366" y="238398"/>
                    <a:pt x="2015141" y="236668"/>
                    <a:pt x="2020474" y="233209"/>
                  </a:cubicBezTo>
                  <a:cubicBezTo>
                    <a:pt x="2025807" y="229750"/>
                    <a:pt x="2029842" y="224994"/>
                    <a:pt x="2032725" y="218940"/>
                  </a:cubicBezTo>
                  <a:lnTo>
                    <a:pt x="2093262" y="218940"/>
                  </a:lnTo>
                  <a:cubicBezTo>
                    <a:pt x="2091244" y="227876"/>
                    <a:pt x="2087496" y="236236"/>
                    <a:pt x="2081875" y="244308"/>
                  </a:cubicBezTo>
                  <a:cubicBezTo>
                    <a:pt x="2076254" y="252379"/>
                    <a:pt x="2069191" y="259153"/>
                    <a:pt x="2060543" y="265063"/>
                  </a:cubicBezTo>
                  <a:cubicBezTo>
                    <a:pt x="2052472" y="270972"/>
                    <a:pt x="2043391" y="275296"/>
                    <a:pt x="2033302" y="278323"/>
                  </a:cubicBezTo>
                  <a:cubicBezTo>
                    <a:pt x="2023212" y="281350"/>
                    <a:pt x="2011970" y="282936"/>
                    <a:pt x="1999574" y="282936"/>
                  </a:cubicBezTo>
                  <a:moveTo>
                    <a:pt x="2033878" y="158836"/>
                  </a:moveTo>
                  <a:cubicBezTo>
                    <a:pt x="2032581" y="147161"/>
                    <a:pt x="2028689" y="137936"/>
                    <a:pt x="2022059" y="131018"/>
                  </a:cubicBezTo>
                  <a:cubicBezTo>
                    <a:pt x="2015429" y="124244"/>
                    <a:pt x="2007069" y="120784"/>
                    <a:pt x="1996980" y="120784"/>
                  </a:cubicBezTo>
                  <a:cubicBezTo>
                    <a:pt x="1985017" y="120784"/>
                    <a:pt x="1975936" y="124244"/>
                    <a:pt x="1969594" y="131018"/>
                  </a:cubicBezTo>
                  <a:cubicBezTo>
                    <a:pt x="1963252" y="137936"/>
                    <a:pt x="1959072" y="147161"/>
                    <a:pt x="1957055" y="158836"/>
                  </a:cubicBezTo>
                  <a:lnTo>
                    <a:pt x="2033878" y="158836"/>
                  </a:lnTo>
                  <a:close/>
                </a:path>
              </a:pathLst>
            </a:custGeom>
            <a:solidFill>
              <a:srgbClr val="000000"/>
            </a:solidFill>
            <a:ln w="0"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15457261-1C34-087B-4575-1B5E779EBBAB}"/>
                </a:ext>
              </a:extLst>
            </p:cNvPr>
            <p:cNvSpPr/>
            <p:nvPr/>
          </p:nvSpPr>
          <p:spPr>
            <a:xfrm>
              <a:off x="882878" y="557212"/>
              <a:ext cx="273278" cy="674980"/>
            </a:xfrm>
            <a:custGeom>
              <a:avLst/>
              <a:gdLst>
                <a:gd name="connsiteX0" fmla="*/ 0 w 273278"/>
                <a:gd name="connsiteY0" fmla="*/ 0 h 674980"/>
                <a:gd name="connsiteX1" fmla="*/ 0 w 273278"/>
                <a:gd name="connsiteY1" fmla="*/ 476508 h 674980"/>
                <a:gd name="connsiteX2" fmla="*/ 272558 w 273278"/>
                <a:gd name="connsiteY2" fmla="*/ 674981 h 674980"/>
                <a:gd name="connsiteX3" fmla="*/ 273278 w 273278"/>
                <a:gd name="connsiteY3" fmla="*/ 674260 h 674980"/>
                <a:gd name="connsiteX4" fmla="*/ 0 w 273278"/>
                <a:gd name="connsiteY4" fmla="*/ 0 h 674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980">
                  <a:moveTo>
                    <a:pt x="0" y="0"/>
                  </a:moveTo>
                  <a:lnTo>
                    <a:pt x="0" y="476508"/>
                  </a:lnTo>
                  <a:lnTo>
                    <a:pt x="272558" y="674981"/>
                  </a:lnTo>
                  <a:cubicBezTo>
                    <a:pt x="272558" y="674981"/>
                    <a:pt x="273134" y="674404"/>
                    <a:pt x="273278" y="674260"/>
                  </a:cubicBezTo>
                  <a:lnTo>
                    <a:pt x="0" y="0"/>
                  </a:lnTo>
                  <a:close/>
                </a:path>
              </a:pathLst>
            </a:custGeom>
            <a:solidFill>
              <a:srgbClr val="93D500"/>
            </a:solidFill>
            <a:ln w="0"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CDB77CD-C5E1-9227-DF1A-82C8E96E04A3}"/>
                </a:ext>
              </a:extLst>
            </p:cNvPr>
            <p:cNvSpPr/>
            <p:nvPr/>
          </p:nvSpPr>
          <p:spPr>
            <a:xfrm>
              <a:off x="609600" y="557212"/>
              <a:ext cx="273278" cy="674836"/>
            </a:xfrm>
            <a:custGeom>
              <a:avLst/>
              <a:gdLst>
                <a:gd name="connsiteX0" fmla="*/ 0 w 273278"/>
                <a:gd name="connsiteY0" fmla="*/ 674116 h 674836"/>
                <a:gd name="connsiteX1" fmla="*/ 721 w 273278"/>
                <a:gd name="connsiteY1" fmla="*/ 674837 h 674836"/>
                <a:gd name="connsiteX2" fmla="*/ 273278 w 273278"/>
                <a:gd name="connsiteY2" fmla="*/ 476364 h 674836"/>
                <a:gd name="connsiteX3" fmla="*/ 273278 w 273278"/>
                <a:gd name="connsiteY3" fmla="*/ 0 h 674836"/>
                <a:gd name="connsiteX4" fmla="*/ 0 w 273278"/>
                <a:gd name="connsiteY4" fmla="*/ 674116 h 674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836">
                  <a:moveTo>
                    <a:pt x="0" y="674116"/>
                  </a:moveTo>
                  <a:cubicBezTo>
                    <a:pt x="0" y="674116"/>
                    <a:pt x="577" y="674692"/>
                    <a:pt x="721" y="674837"/>
                  </a:cubicBezTo>
                  <a:lnTo>
                    <a:pt x="273278" y="476364"/>
                  </a:lnTo>
                  <a:lnTo>
                    <a:pt x="273278" y="0"/>
                  </a:lnTo>
                  <a:lnTo>
                    <a:pt x="0" y="674116"/>
                  </a:lnTo>
                  <a:close/>
                </a:path>
              </a:pathLst>
            </a:custGeom>
            <a:solidFill>
              <a:srgbClr val="000000"/>
            </a:solidFill>
            <a:ln w="0" cap="flat">
              <a:noFill/>
              <a:prstDash val="solid"/>
              <a:miter/>
            </a:ln>
          </p:spPr>
          <p:txBody>
            <a:bodyPr rtlCol="0" anchor="ctr"/>
            <a:lstStyle/>
            <a:p>
              <a:endParaRPr lang="en-US" dirty="0"/>
            </a:p>
          </p:txBody>
        </p:sp>
      </p:grpSp>
      <p:sp>
        <p:nvSpPr>
          <p:cNvPr id="33" name="Text Placeholder 33">
            <a:extLst>
              <a:ext uri="{FF2B5EF4-FFF2-40B4-BE49-F238E27FC236}">
                <a16:creationId xmlns:a16="http://schemas.microsoft.com/office/drawing/2014/main" id="{C85A18C6-8282-E9A0-F452-C454AEA2EF36}"/>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tx2"/>
                </a:solidFill>
                <a:latin typeface="+mj-lt"/>
              </a:defRPr>
            </a:lvl1pPr>
            <a:lvl2pPr marL="0" indent="0">
              <a:spcAft>
                <a:spcPts val="300"/>
              </a:spcAft>
              <a:buNone/>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58" name="Text Placeholder 16">
            <a:extLst>
              <a:ext uri="{FF2B5EF4-FFF2-40B4-BE49-F238E27FC236}">
                <a16:creationId xmlns:a16="http://schemas.microsoft.com/office/drawing/2014/main" id="{2CEC33A9-A637-6C33-525A-AF284749A9F6}"/>
              </a:ext>
            </a:extLst>
          </p:cNvPr>
          <p:cNvSpPr>
            <a:spLocks noGrp="1"/>
          </p:cNvSpPr>
          <p:nvPr>
            <p:ph type="body" sz="quarter" idx="15" hasCustomPrompt="1"/>
          </p:nvPr>
        </p:nvSpPr>
        <p:spPr>
          <a:xfrm>
            <a:off x="609600" y="1523079"/>
            <a:ext cx="2468880" cy="223908"/>
          </a:xfrm>
        </p:spPr>
        <p:txBody>
          <a:bodyPr wrap="square">
            <a:noAutofit/>
          </a:bodyPr>
          <a:lstStyle>
            <a:lvl1pPr algn="l">
              <a:spcAft>
                <a:spcPts val="0"/>
              </a:spcAft>
              <a:defRPr sz="14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6" name="Graphic 5">
            <a:extLst>
              <a:ext uri="{FF2B5EF4-FFF2-40B4-BE49-F238E27FC236}">
                <a16:creationId xmlns:a16="http://schemas.microsoft.com/office/drawing/2014/main" id="{0DBEBFD3-3735-BFC8-D7E6-A618637D48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pic>
        <p:nvPicPr>
          <p:cNvPr id="2" name="Graphic 1">
            <a:extLst>
              <a:ext uri="{FF2B5EF4-FFF2-40B4-BE49-F238E27FC236}">
                <a16:creationId xmlns:a16="http://schemas.microsoft.com/office/drawing/2014/main" id="{D2BF7478-0B6B-4B7E-1EE4-0006B726ED2A}"/>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9837" r="8121" b="7745"/>
          <a:stretch/>
        </p:blipFill>
        <p:spPr>
          <a:xfrm>
            <a:off x="5996682" y="-1"/>
            <a:ext cx="6195318" cy="6858001"/>
          </a:xfrm>
          <a:prstGeom prst="rect">
            <a:avLst/>
          </a:prstGeom>
        </p:spPr>
      </p:pic>
      <p:sp>
        <p:nvSpPr>
          <p:cNvPr id="4" name="Text Placeholder 33">
            <a:extLst>
              <a:ext uri="{FF2B5EF4-FFF2-40B4-BE49-F238E27FC236}">
                <a16:creationId xmlns:a16="http://schemas.microsoft.com/office/drawing/2014/main" id="{63C1126E-E19D-9E30-D956-8ADF5631F0F0}"/>
              </a:ext>
            </a:extLst>
          </p:cNvPr>
          <p:cNvSpPr>
            <a:spLocks noGrp="1"/>
          </p:cNvSpPr>
          <p:nvPr>
            <p:ph type="body" sz="quarter" idx="16"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86906506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One-column + Image - Light">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5603874" y="800754"/>
            <a:ext cx="5978525" cy="553998"/>
          </a:xfrm>
        </p:spPr>
        <p:txBody>
          <a:bodyPr>
            <a:noAutofit/>
          </a:body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5603874" y="1371912"/>
            <a:ext cx="5978525" cy="307777"/>
          </a:xfrm>
        </p:spPr>
        <p:txBody>
          <a:bodyPr wrap="square">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5603875" y="4225518"/>
            <a:ext cx="5978525"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5603875" y="2111664"/>
            <a:ext cx="5978525" cy="1481328"/>
          </a:xfrm>
        </p:spPr>
        <p:txBody>
          <a:bodyPr anchor="b">
            <a:noAutofit/>
          </a:bodyPr>
          <a:lstStyle>
            <a:lvl1pPr>
              <a:defRPr sz="3200"/>
            </a:lvl1pPr>
          </a:lstStyle>
          <a:p>
            <a:pPr lvl="0"/>
            <a:r>
              <a:rPr lang="en-US"/>
              <a:t>Click to edit Master text styles</a:t>
            </a:r>
          </a:p>
        </p:txBody>
      </p: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0" y="0"/>
            <a:ext cx="4994272" cy="6858000"/>
          </a:xfrm>
          <a:solidFill>
            <a:schemeClr val="bg1">
              <a:lumMod val="75000"/>
            </a:schemeClr>
          </a:solidFill>
        </p:spPr>
        <p:txBody>
          <a:bodyPr anchor="ctr"/>
          <a:lstStyle>
            <a:lvl1pPr algn="ctr">
              <a:defRPr sz="1000" b="0"/>
            </a:lvl1pPr>
          </a:lstStyle>
          <a:p>
            <a:r>
              <a:rPr lang="en-US" dirty="0"/>
              <a:t>Insert Photo</a:t>
            </a:r>
          </a:p>
        </p:txBody>
      </p:sp>
      <p:sp>
        <p:nvSpPr>
          <p:cNvPr id="4" name="Date Placeholder 49">
            <a:extLst>
              <a:ext uri="{FF2B5EF4-FFF2-40B4-BE49-F238E27FC236}">
                <a16:creationId xmlns:a16="http://schemas.microsoft.com/office/drawing/2014/main" id="{EAE3F246-F4BA-D296-9A9E-F72A3B7D2B97}"/>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10FA273E-61F0-4C9C-BD24-C2959672C88E}" type="datetime4">
              <a:rPr lang="en-US" smtClean="0"/>
              <a:t>May 17, 2025</a:t>
            </a:fld>
            <a:endParaRPr lang="en-US" dirty="0"/>
          </a:p>
        </p:txBody>
      </p:sp>
      <p:sp>
        <p:nvSpPr>
          <p:cNvPr id="5" name="Slide Number Placeholder 3">
            <a:extLst>
              <a:ext uri="{FF2B5EF4-FFF2-40B4-BE49-F238E27FC236}">
                <a16:creationId xmlns:a16="http://schemas.microsoft.com/office/drawing/2014/main" id="{42050F09-2097-9548-BAAE-6D4AC254B2C0}"/>
              </a:ext>
            </a:extLst>
          </p:cNvPr>
          <p:cNvSpPr>
            <a:spLocks noGrp="1"/>
          </p:cNvSpPr>
          <p:nvPr>
            <p:ph type="sldNum" sz="quarter" idx="3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Tree>
    <p:extLst>
      <p:ext uri="{BB962C8B-B14F-4D97-AF65-F5344CB8AC3E}">
        <p14:creationId xmlns:p14="http://schemas.microsoft.com/office/powerpoint/2010/main" val="133250981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2_One-column + Image - Dark">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978524" cy="553998"/>
          </a:xfrm>
        </p:spPr>
        <p:txBody>
          <a:bodyPr>
            <a:noAutofit/>
          </a:bodyPr>
          <a:lstStyle>
            <a:lvl1pPr>
              <a:defRPr>
                <a:solidFill>
                  <a:schemeClr val="bg1"/>
                </a:solidFill>
              </a:defRPr>
            </a:lvl1p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978524" cy="307777"/>
          </a:xfrm>
        </p:spPr>
        <p:txBody>
          <a:bodyPr wrap="square">
            <a:noAutofit/>
          </a:bodyPr>
          <a:lstStyle>
            <a:lvl1pPr>
              <a:defRPr>
                <a:solidFill>
                  <a:schemeClr val="bg1"/>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978524" cy="1389888"/>
          </a:xfrm>
        </p:spPr>
        <p:txBody>
          <a:bodyPr>
            <a:noAutofit/>
          </a:bodyPr>
          <a:lstStyle>
            <a:lvl1pPr>
              <a:defRPr sz="1800">
                <a:solidFill>
                  <a:schemeClr val="bg1"/>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978524" cy="1481328"/>
          </a:xfrm>
        </p:spPr>
        <p:txBody>
          <a:bodyPr anchor="b">
            <a:noAutofit/>
          </a:bodyPr>
          <a:lstStyle>
            <a:lvl1pPr>
              <a:defRPr sz="3200">
                <a:solidFill>
                  <a:schemeClr val="bg1"/>
                </a:solidFill>
              </a:defRPr>
            </a:lvl1pPr>
          </a:lstStyle>
          <a:p>
            <a:pPr lvl="0"/>
            <a:r>
              <a:rPr lang="en-US"/>
              <a:t>Click to edit Master text styles</a:t>
            </a:r>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pic>
        <p:nvPicPr>
          <p:cNvPr id="4" name="Graphic 3">
            <a:extLst>
              <a:ext uri="{FF2B5EF4-FFF2-40B4-BE49-F238E27FC236}">
                <a16:creationId xmlns:a16="http://schemas.microsoft.com/office/drawing/2014/main" id="{2E38C83F-FE77-B0B1-618B-39EACC5CBE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6" name="Straight Connector 5">
            <a:extLst>
              <a:ext uri="{FF2B5EF4-FFF2-40B4-BE49-F238E27FC236}">
                <a16:creationId xmlns:a16="http://schemas.microsoft.com/office/drawing/2014/main" id="{1DCBA5D9-BC1F-6EFF-E8A4-8986DCEC862B}"/>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592204-2F9A-346C-21BD-84790B6413BA}"/>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7197724" y="0"/>
            <a:ext cx="4994276" cy="6858000"/>
          </a:xfrm>
          <a:solidFill>
            <a:schemeClr val="bg1">
              <a:lumMod val="75000"/>
            </a:schemeClr>
          </a:solidFill>
        </p:spPr>
        <p:txBody>
          <a:bodyPr anchor="ctr"/>
          <a:lstStyle>
            <a:lvl1pPr algn="ctr">
              <a:defRPr sz="1000" b="0"/>
            </a:lvl1pPr>
          </a:lstStyle>
          <a:p>
            <a:r>
              <a:rPr lang="en-US" dirty="0"/>
              <a:t>Insert Photo</a:t>
            </a:r>
          </a:p>
        </p:txBody>
      </p:sp>
    </p:spTree>
    <p:extLst>
      <p:ext uri="{BB962C8B-B14F-4D97-AF65-F5344CB8AC3E}">
        <p14:creationId xmlns:p14="http://schemas.microsoft.com/office/powerpoint/2010/main" val="4628705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_One-column + Image - Dark">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5603875" y="800754"/>
            <a:ext cx="5986144" cy="553998"/>
          </a:xfrm>
        </p:spPr>
        <p:txBody>
          <a:bodyPr>
            <a:noAutofit/>
          </a:bodyPr>
          <a:lstStyle>
            <a:lvl1pPr>
              <a:defRPr>
                <a:solidFill>
                  <a:schemeClr val="bg1"/>
                </a:solidFill>
              </a:defRPr>
            </a:lvl1pPr>
          </a:lstStyle>
          <a:p>
            <a:r>
              <a:rPr lang="en-US"/>
              <a:t>Click to edit Master title style</a:t>
            </a:r>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5603875" y="1371912"/>
            <a:ext cx="5986144" cy="307777"/>
          </a:xfrm>
        </p:spPr>
        <p:txBody>
          <a:bodyPr wrap="square">
            <a:noAutofit/>
          </a:bodyPr>
          <a:lstStyle>
            <a:lvl1pPr>
              <a:defRPr>
                <a:solidFill>
                  <a:schemeClr val="bg1"/>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5603876" y="4225518"/>
            <a:ext cx="5986144" cy="1389888"/>
          </a:xfrm>
        </p:spPr>
        <p:txBody>
          <a:bodyPr>
            <a:noAutofit/>
          </a:bodyPr>
          <a:lstStyle>
            <a:lvl1pPr>
              <a:defRPr sz="1800">
                <a:solidFill>
                  <a:schemeClr val="bg1"/>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5603876" y="2111664"/>
            <a:ext cx="5986144" cy="1481328"/>
          </a:xfrm>
        </p:spPr>
        <p:txBody>
          <a:bodyPr anchor="b">
            <a:noAutofit/>
          </a:bodyPr>
          <a:lstStyle>
            <a:lvl1pPr>
              <a:defRPr sz="3200">
                <a:solidFill>
                  <a:schemeClr val="bg1"/>
                </a:solidFill>
              </a:defRPr>
            </a:lvl1pPr>
          </a:lstStyle>
          <a:p>
            <a:pPr lvl="0"/>
            <a:r>
              <a:rPr lang="en-US"/>
              <a:t>Click to edit Master text styles</a:t>
            </a:r>
          </a:p>
        </p:txBody>
      </p:sp>
      <p:pic>
        <p:nvPicPr>
          <p:cNvPr id="4" name="Graphic 3">
            <a:extLst>
              <a:ext uri="{FF2B5EF4-FFF2-40B4-BE49-F238E27FC236}">
                <a16:creationId xmlns:a16="http://schemas.microsoft.com/office/drawing/2014/main" id="{2E38C83F-FE77-B0B1-618B-39EACC5CBE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6" name="Straight Connector 5">
            <a:extLst>
              <a:ext uri="{FF2B5EF4-FFF2-40B4-BE49-F238E27FC236}">
                <a16:creationId xmlns:a16="http://schemas.microsoft.com/office/drawing/2014/main" id="{1DCBA5D9-BC1F-6EFF-E8A4-8986DCEC862B}"/>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592204-2F9A-346C-21BD-84790B6413BA}"/>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0" y="0"/>
            <a:ext cx="4994274" cy="6858000"/>
          </a:xfrm>
          <a:solidFill>
            <a:schemeClr val="bg1">
              <a:lumMod val="75000"/>
            </a:schemeClr>
          </a:solidFill>
        </p:spPr>
        <p:txBody>
          <a:bodyPr anchor="ctr"/>
          <a:lstStyle>
            <a:lvl1pPr algn="ctr">
              <a:defRPr sz="1000" b="0"/>
            </a:lvl1pPr>
          </a:lstStyle>
          <a:p>
            <a:r>
              <a:rPr lang="en-US" dirty="0"/>
              <a:t>Insert Photo</a:t>
            </a:r>
          </a:p>
        </p:txBody>
      </p:sp>
      <p:sp>
        <p:nvSpPr>
          <p:cNvPr id="5" name="Date Placeholder 12">
            <a:extLst>
              <a:ext uri="{FF2B5EF4-FFF2-40B4-BE49-F238E27FC236}">
                <a16:creationId xmlns:a16="http://schemas.microsoft.com/office/drawing/2014/main" id="{F9CCB3FD-099F-8950-BA2E-03EDE47757CD}"/>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60834FE0-6810-4852-ABA9-A12629BD71E8}" type="datetime4">
              <a:rPr lang="en-US" smtClean="0"/>
              <a:t>May 17, 2025</a:t>
            </a:fld>
            <a:endParaRPr lang="en-US" dirty="0"/>
          </a:p>
        </p:txBody>
      </p:sp>
      <p:sp>
        <p:nvSpPr>
          <p:cNvPr id="13" name="Slide Number Placeholder 14">
            <a:extLst>
              <a:ext uri="{FF2B5EF4-FFF2-40B4-BE49-F238E27FC236}">
                <a16:creationId xmlns:a16="http://schemas.microsoft.com/office/drawing/2014/main" id="{939BDB0E-7404-3E9E-E16A-F935BB2D2E92}"/>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spTree>
    <p:extLst>
      <p:ext uri="{BB962C8B-B14F-4D97-AF65-F5344CB8AC3E}">
        <p14:creationId xmlns:p14="http://schemas.microsoft.com/office/powerpoint/2010/main" val="36140301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column">
    <p:bg>
      <p:bgPr>
        <a:solidFill>
          <a:srgbClr val="F3F3F3"/>
        </a:solidFill>
        <a:effectLst/>
      </p:bgPr>
    </p:bg>
    <p:spTree>
      <p:nvGrpSpPr>
        <p:cNvPr id="1" name=""/>
        <p:cNvGrpSpPr/>
        <p:nvPr/>
      </p:nvGrpSpPr>
      <p:grpSpPr>
        <a:xfrm>
          <a:off x="0" y="0"/>
          <a:ext cx="0" cy="0"/>
          <a:chOff x="0" y="0"/>
          <a:chExt cx="0" cy="0"/>
        </a:xfrm>
      </p:grpSpPr>
      <p:sp>
        <p:nvSpPr>
          <p:cNvPr id="12" name="Picture Placeholder 44">
            <a:extLst>
              <a:ext uri="{FF2B5EF4-FFF2-40B4-BE49-F238E27FC236}">
                <a16:creationId xmlns:a16="http://schemas.microsoft.com/office/drawing/2014/main" id="{731DA744-1DEE-2501-A42E-C2E0191A1F5C}"/>
              </a:ext>
            </a:extLst>
          </p:cNvPr>
          <p:cNvSpPr>
            <a:spLocks noGrp="1"/>
          </p:cNvSpPr>
          <p:nvPr>
            <p:ph type="pic" sz="quarter" idx="29"/>
          </p:nvPr>
        </p:nvSpPr>
        <p:spPr>
          <a:xfrm>
            <a:off x="577701" y="1992598"/>
            <a:ext cx="521208" cy="521208"/>
          </a:xfrm>
          <a:noFill/>
        </p:spPr>
        <p:txBody>
          <a:bodyPr/>
          <a:lstStyle>
            <a:lvl1pPr>
              <a:defRPr sz="1100"/>
            </a:lvl1pPr>
          </a:lstStyle>
          <a:p>
            <a:r>
              <a:rPr lang="en-US" dirty="0"/>
              <a:t>Click icon to add picture</a:t>
            </a:r>
          </a:p>
        </p:txBody>
      </p:sp>
      <p:sp>
        <p:nvSpPr>
          <p:cNvPr id="13" name="Picture Placeholder 44">
            <a:extLst>
              <a:ext uri="{FF2B5EF4-FFF2-40B4-BE49-F238E27FC236}">
                <a16:creationId xmlns:a16="http://schemas.microsoft.com/office/drawing/2014/main" id="{19BC14CE-CCB2-79A2-11D9-159C8593E990}"/>
              </a:ext>
            </a:extLst>
          </p:cNvPr>
          <p:cNvSpPr>
            <a:spLocks noGrp="1"/>
          </p:cNvSpPr>
          <p:nvPr>
            <p:ph type="pic" sz="quarter" idx="36"/>
          </p:nvPr>
        </p:nvSpPr>
        <p:spPr>
          <a:xfrm>
            <a:off x="6510668" y="1992598"/>
            <a:ext cx="521208" cy="521208"/>
          </a:xfrm>
          <a:noFill/>
        </p:spPr>
        <p:txBody>
          <a:bodyPr/>
          <a:lstStyle>
            <a:lvl1pPr>
              <a:defRPr sz="1100"/>
            </a:lvl1pPr>
          </a:lstStyle>
          <a:p>
            <a:r>
              <a:rPr lang="en-US" dirty="0"/>
              <a:t>Click icon to add picture</a:t>
            </a:r>
          </a:p>
        </p:txBody>
      </p:sp>
      <p:sp>
        <p:nvSpPr>
          <p:cNvPr id="2" name="Title 1">
            <a:extLst>
              <a:ext uri="{FF2B5EF4-FFF2-40B4-BE49-F238E27FC236}">
                <a16:creationId xmlns:a16="http://schemas.microsoft.com/office/drawing/2014/main" id="{A2E17896-30F6-FC7D-2FDC-B08B42A37007}"/>
              </a:ext>
            </a:extLst>
          </p:cNvPr>
          <p:cNvSpPr>
            <a:spLocks noGrp="1"/>
          </p:cNvSpPr>
          <p:nvPr>
            <p:ph type="title"/>
          </p:nvPr>
        </p:nvSpPr>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D46FEE47-0D8C-10E2-E380-268C0F614F0E}"/>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EB4A29D8-E2A7-4760-696D-BA510B3288B3}"/>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 name="Date Placeholder 4">
            <a:extLst>
              <a:ext uri="{FF2B5EF4-FFF2-40B4-BE49-F238E27FC236}">
                <a16:creationId xmlns:a16="http://schemas.microsoft.com/office/drawing/2014/main" id="{80D5025F-0C14-FCA7-8BC6-FC398093DACB}"/>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895E1F94-52C5-4023-B100-78DBF9BF45C5}" type="datetime4">
              <a:rPr lang="en-US" smtClean="0"/>
              <a:t>May 17, 2025</a:t>
            </a:fld>
            <a:endParaRPr lang="en-US" dirty="0"/>
          </a:p>
        </p:txBody>
      </p:sp>
      <p:sp>
        <p:nvSpPr>
          <p:cNvPr id="18" name="Text Placeholder 3">
            <a:extLst>
              <a:ext uri="{FF2B5EF4-FFF2-40B4-BE49-F238E27FC236}">
                <a16:creationId xmlns:a16="http://schemas.microsoft.com/office/drawing/2014/main" id="{D46404F1-817B-B4C5-A2D8-0EA4F8F6B9C1}"/>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19" name="Text Placeholder 7">
            <a:extLst>
              <a:ext uri="{FF2B5EF4-FFF2-40B4-BE49-F238E27FC236}">
                <a16:creationId xmlns:a16="http://schemas.microsoft.com/office/drawing/2014/main" id="{76E1075F-48DF-8680-82D4-28A2AB5E975E}"/>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1" name="Text Placeholder 46">
            <a:extLst>
              <a:ext uri="{FF2B5EF4-FFF2-40B4-BE49-F238E27FC236}">
                <a16:creationId xmlns:a16="http://schemas.microsoft.com/office/drawing/2014/main" id="{D06C7405-BD90-5CFE-376E-9A501B188D09}"/>
              </a:ext>
            </a:extLst>
          </p:cNvPr>
          <p:cNvSpPr>
            <a:spLocks noGrp="1"/>
          </p:cNvSpPr>
          <p:nvPr>
            <p:ph type="body" sz="quarter" idx="30" hasCustomPrompt="1"/>
          </p:nvPr>
        </p:nvSpPr>
        <p:spPr>
          <a:xfrm>
            <a:off x="609600" y="2715854"/>
            <a:ext cx="5029200" cy="1289304"/>
          </a:xfrm>
        </p:spPr>
        <p:txBody>
          <a:bodyPr anchor="b">
            <a:noAutofit/>
          </a:bodyPr>
          <a:lstStyle>
            <a:lvl1pPr>
              <a:defRPr sz="2800"/>
            </a:lvl1pPr>
          </a:lstStyle>
          <a:p>
            <a:pPr lvl="0"/>
            <a:r>
              <a:rPr lang="en-US"/>
              <a:t>Click to edit </a:t>
            </a:r>
            <a:br>
              <a:rPr lang="en-US"/>
            </a:br>
            <a:r>
              <a:rPr lang="en-US"/>
              <a:t>Master text styles</a:t>
            </a:r>
          </a:p>
        </p:txBody>
      </p:sp>
      <p:sp>
        <p:nvSpPr>
          <p:cNvPr id="25" name="Text Placeholder 24">
            <a:extLst>
              <a:ext uri="{FF2B5EF4-FFF2-40B4-BE49-F238E27FC236}">
                <a16:creationId xmlns:a16="http://schemas.microsoft.com/office/drawing/2014/main" id="{F2DAA9A1-270F-18D4-0C67-FA0B17504AB3}"/>
              </a:ext>
            </a:extLst>
          </p:cNvPr>
          <p:cNvSpPr>
            <a:spLocks noGrp="1"/>
          </p:cNvSpPr>
          <p:nvPr>
            <p:ph type="body" sz="quarter" idx="33"/>
          </p:nvPr>
        </p:nvSpPr>
        <p:spPr>
          <a:xfrm>
            <a:off x="609600" y="4515696"/>
            <a:ext cx="5029200" cy="987552"/>
          </a:xfrm>
        </p:spPr>
        <p:txBody>
          <a:bodyPr>
            <a:noAutofit/>
          </a:bodyPr>
          <a:lstStyle>
            <a:lvl1pPr>
              <a:defRPr sz="1600"/>
            </a:lvl1pPr>
          </a:lstStyle>
          <a:p>
            <a:pPr lvl="0"/>
            <a:r>
              <a:rPr lang="en-US"/>
              <a:t>Click to edit Master text styles</a:t>
            </a:r>
          </a:p>
        </p:txBody>
      </p:sp>
      <p:sp>
        <p:nvSpPr>
          <p:cNvPr id="26" name="Text Placeholder 24">
            <a:extLst>
              <a:ext uri="{FF2B5EF4-FFF2-40B4-BE49-F238E27FC236}">
                <a16:creationId xmlns:a16="http://schemas.microsoft.com/office/drawing/2014/main" id="{3156739F-9BE8-571A-60C4-8A5C113558E8}"/>
              </a:ext>
            </a:extLst>
          </p:cNvPr>
          <p:cNvSpPr>
            <a:spLocks noGrp="1"/>
          </p:cNvSpPr>
          <p:nvPr>
            <p:ph type="body" sz="quarter" idx="34"/>
          </p:nvPr>
        </p:nvSpPr>
        <p:spPr>
          <a:xfrm>
            <a:off x="6553200" y="4515696"/>
            <a:ext cx="5029200" cy="987552"/>
          </a:xfrm>
        </p:spPr>
        <p:txBody>
          <a:bodyPr>
            <a:noAutofit/>
          </a:bodyPr>
          <a:lstStyle>
            <a:lvl1pPr>
              <a:defRPr sz="1600"/>
            </a:lvl1pPr>
          </a:lstStyle>
          <a:p>
            <a:pPr lvl="0"/>
            <a:r>
              <a:rPr lang="en-US"/>
              <a:t>Click to edit Master text styles</a:t>
            </a:r>
          </a:p>
        </p:txBody>
      </p:sp>
      <p:sp>
        <p:nvSpPr>
          <p:cNvPr id="27" name="Text Placeholder 46">
            <a:extLst>
              <a:ext uri="{FF2B5EF4-FFF2-40B4-BE49-F238E27FC236}">
                <a16:creationId xmlns:a16="http://schemas.microsoft.com/office/drawing/2014/main" id="{09AFE9A2-0ECF-A163-6A84-0E25CBC3D40A}"/>
              </a:ext>
            </a:extLst>
          </p:cNvPr>
          <p:cNvSpPr>
            <a:spLocks noGrp="1"/>
          </p:cNvSpPr>
          <p:nvPr>
            <p:ph type="body" sz="quarter" idx="35" hasCustomPrompt="1"/>
          </p:nvPr>
        </p:nvSpPr>
        <p:spPr>
          <a:xfrm>
            <a:off x="6553200" y="2715854"/>
            <a:ext cx="5029200" cy="1289304"/>
          </a:xfrm>
        </p:spPr>
        <p:txBody>
          <a:bodyPr anchor="b">
            <a:noAutofit/>
          </a:bodyPr>
          <a:lstStyle>
            <a:lvl1pPr>
              <a:defRPr sz="2800"/>
            </a:lvl1pPr>
          </a:lstStyle>
          <a:p>
            <a:pPr lvl="0"/>
            <a:r>
              <a:rPr lang="en-US"/>
              <a:t>Click to edit </a:t>
            </a:r>
            <a:br>
              <a:rPr lang="en-US"/>
            </a:br>
            <a:r>
              <a:rPr lang="en-US"/>
              <a:t>Master text styles</a:t>
            </a:r>
          </a:p>
        </p:txBody>
      </p:sp>
    </p:spTree>
    <p:extLst>
      <p:ext uri="{BB962C8B-B14F-4D97-AF65-F5344CB8AC3E}">
        <p14:creationId xmlns:p14="http://schemas.microsoft.com/office/powerpoint/2010/main" val="2511971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column">
    <p:bg>
      <p:bgPr>
        <a:solidFill>
          <a:srgbClr val="F3F3F3"/>
        </a:solidFill>
        <a:effectLst/>
      </p:bgPr>
    </p:bg>
    <p:spTree>
      <p:nvGrpSpPr>
        <p:cNvPr id="1" name=""/>
        <p:cNvGrpSpPr/>
        <p:nvPr/>
      </p:nvGrpSpPr>
      <p:grpSpPr>
        <a:xfrm>
          <a:off x="0" y="0"/>
          <a:ext cx="0" cy="0"/>
          <a:chOff x="0" y="0"/>
          <a:chExt cx="0" cy="0"/>
        </a:xfrm>
      </p:grpSpPr>
      <p:sp>
        <p:nvSpPr>
          <p:cNvPr id="22" name="Picture Placeholder 44">
            <a:extLst>
              <a:ext uri="{FF2B5EF4-FFF2-40B4-BE49-F238E27FC236}">
                <a16:creationId xmlns:a16="http://schemas.microsoft.com/office/drawing/2014/main" id="{9B92BB0C-06A1-B7EC-9ED0-D272996F08E1}"/>
              </a:ext>
            </a:extLst>
          </p:cNvPr>
          <p:cNvSpPr>
            <a:spLocks noGrp="1"/>
          </p:cNvSpPr>
          <p:nvPr>
            <p:ph type="pic" sz="quarter" idx="35"/>
          </p:nvPr>
        </p:nvSpPr>
        <p:spPr>
          <a:xfrm>
            <a:off x="567068" y="1992598"/>
            <a:ext cx="521208" cy="521208"/>
          </a:xfrm>
          <a:noFill/>
        </p:spPr>
        <p:txBody>
          <a:bodyPr/>
          <a:lstStyle>
            <a:lvl1pPr>
              <a:defRPr sz="1100"/>
            </a:lvl1pPr>
          </a:lstStyle>
          <a:p>
            <a:r>
              <a:rPr lang="en-US" dirty="0"/>
              <a:t>Click icon to add picture</a:t>
            </a:r>
          </a:p>
        </p:txBody>
      </p:sp>
      <p:sp>
        <p:nvSpPr>
          <p:cNvPr id="28" name="Picture Placeholder 44">
            <a:extLst>
              <a:ext uri="{FF2B5EF4-FFF2-40B4-BE49-F238E27FC236}">
                <a16:creationId xmlns:a16="http://schemas.microsoft.com/office/drawing/2014/main" id="{CBDA006F-0322-06FE-CC00-072AFCB20129}"/>
              </a:ext>
            </a:extLst>
          </p:cNvPr>
          <p:cNvSpPr>
            <a:spLocks noGrp="1"/>
          </p:cNvSpPr>
          <p:nvPr>
            <p:ph type="pic" sz="quarter" idx="36"/>
          </p:nvPr>
        </p:nvSpPr>
        <p:spPr>
          <a:xfrm>
            <a:off x="8477697" y="1992598"/>
            <a:ext cx="521208" cy="521208"/>
          </a:xfrm>
          <a:noFill/>
        </p:spPr>
        <p:txBody>
          <a:bodyPr/>
          <a:lstStyle>
            <a:lvl1pPr>
              <a:defRPr sz="1100"/>
            </a:lvl1pPr>
          </a:lstStyle>
          <a:p>
            <a:r>
              <a:rPr lang="en-US" dirty="0"/>
              <a:t>Click icon to add picture</a:t>
            </a:r>
          </a:p>
        </p:txBody>
      </p:sp>
      <p:sp>
        <p:nvSpPr>
          <p:cNvPr id="29" name="Picture Placeholder 44">
            <a:extLst>
              <a:ext uri="{FF2B5EF4-FFF2-40B4-BE49-F238E27FC236}">
                <a16:creationId xmlns:a16="http://schemas.microsoft.com/office/drawing/2014/main" id="{5D3C83FF-F9BE-5ACE-923A-191F644A4B81}"/>
              </a:ext>
            </a:extLst>
          </p:cNvPr>
          <p:cNvSpPr>
            <a:spLocks noGrp="1"/>
          </p:cNvSpPr>
          <p:nvPr>
            <p:ph type="pic" sz="quarter" idx="37"/>
          </p:nvPr>
        </p:nvSpPr>
        <p:spPr>
          <a:xfrm>
            <a:off x="4501115" y="1992598"/>
            <a:ext cx="521208" cy="521208"/>
          </a:xfrm>
          <a:noFill/>
        </p:spPr>
        <p:txBody>
          <a:bodyPr/>
          <a:lstStyle>
            <a:lvl1pPr>
              <a:defRPr sz="1100"/>
            </a:lvl1pPr>
          </a:lstStyle>
          <a:p>
            <a:r>
              <a:rPr lang="en-US" dirty="0"/>
              <a:t>Click icon to add picture</a:t>
            </a:r>
          </a:p>
        </p:txBody>
      </p:sp>
      <p:sp>
        <p:nvSpPr>
          <p:cNvPr id="2" name="Title 1">
            <a:extLst>
              <a:ext uri="{FF2B5EF4-FFF2-40B4-BE49-F238E27FC236}">
                <a16:creationId xmlns:a16="http://schemas.microsoft.com/office/drawing/2014/main" id="{2424CD20-5516-7DC5-C33D-FEC81A57BF0E}"/>
              </a:ext>
            </a:extLst>
          </p:cNvPr>
          <p:cNvSpPr>
            <a:spLocks noGrp="1"/>
          </p:cNvSpPr>
          <p:nvPr>
            <p:ph type="title"/>
          </p:nvPr>
        </p:nvSpPr>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476B3B0D-3559-99F8-077B-940302BF51AF}"/>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32710ACD-357C-D3F8-AFC4-B9909D8E326C}"/>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 name="Date Placeholder 4">
            <a:extLst>
              <a:ext uri="{FF2B5EF4-FFF2-40B4-BE49-F238E27FC236}">
                <a16:creationId xmlns:a16="http://schemas.microsoft.com/office/drawing/2014/main" id="{2FCF0CAB-4713-83C7-28F8-0DB75DB26EBF}"/>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085E7157-9A69-4C00-8DC2-A825B4264B10}" type="datetime4">
              <a:rPr lang="en-US" smtClean="0"/>
              <a:t>May 17, 2025</a:t>
            </a:fld>
            <a:endParaRPr lang="en-US" dirty="0"/>
          </a:p>
        </p:txBody>
      </p:sp>
      <p:sp>
        <p:nvSpPr>
          <p:cNvPr id="18" name="Text Placeholder 3">
            <a:extLst>
              <a:ext uri="{FF2B5EF4-FFF2-40B4-BE49-F238E27FC236}">
                <a16:creationId xmlns:a16="http://schemas.microsoft.com/office/drawing/2014/main" id="{CFF9B5B2-AFF3-F577-FA6F-C489CB3AA65F}"/>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19" name="Text Placeholder 7">
            <a:extLst>
              <a:ext uri="{FF2B5EF4-FFF2-40B4-BE49-F238E27FC236}">
                <a16:creationId xmlns:a16="http://schemas.microsoft.com/office/drawing/2014/main" id="{C93F1CC1-A1A5-8BDC-DE12-111548DAB9BC}"/>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1" name="Text Placeholder 20">
            <a:extLst>
              <a:ext uri="{FF2B5EF4-FFF2-40B4-BE49-F238E27FC236}">
                <a16:creationId xmlns:a16="http://schemas.microsoft.com/office/drawing/2014/main" id="{D194AD06-F4DA-BD6D-FAFC-B444C31568F5}"/>
              </a:ext>
            </a:extLst>
          </p:cNvPr>
          <p:cNvSpPr>
            <a:spLocks noGrp="1"/>
          </p:cNvSpPr>
          <p:nvPr>
            <p:ph type="body" sz="quarter" idx="29"/>
          </p:nvPr>
        </p:nvSpPr>
        <p:spPr>
          <a:xfrm>
            <a:off x="608584" y="2748438"/>
            <a:ext cx="3099816" cy="923544"/>
          </a:xfrm>
        </p:spPr>
        <p:txBody>
          <a:bodyPr anchor="b">
            <a:noAutofit/>
          </a:bodyPr>
          <a:lstStyle>
            <a:lvl1pPr>
              <a:defRPr>
                <a:latin typeface="+mn-lt"/>
              </a:defRPr>
            </a:lvl1pPr>
          </a:lstStyle>
          <a:p>
            <a:pPr lvl="0"/>
            <a:r>
              <a:rPr lang="en-US"/>
              <a:t>Click to edit Master text styles</a:t>
            </a:r>
          </a:p>
        </p:txBody>
      </p:sp>
      <p:sp>
        <p:nvSpPr>
          <p:cNvPr id="23" name="Text Placeholder 22">
            <a:extLst>
              <a:ext uri="{FF2B5EF4-FFF2-40B4-BE49-F238E27FC236}">
                <a16:creationId xmlns:a16="http://schemas.microsoft.com/office/drawing/2014/main" id="{D31D0F84-196A-D07B-028F-08F39BEB0A65}"/>
              </a:ext>
            </a:extLst>
          </p:cNvPr>
          <p:cNvSpPr>
            <a:spLocks noGrp="1"/>
          </p:cNvSpPr>
          <p:nvPr>
            <p:ph type="body" sz="quarter" idx="30"/>
          </p:nvPr>
        </p:nvSpPr>
        <p:spPr>
          <a:xfrm>
            <a:off x="608584" y="4185186"/>
            <a:ext cx="3099816" cy="128930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24" name="Text Placeholder 20">
            <a:extLst>
              <a:ext uri="{FF2B5EF4-FFF2-40B4-BE49-F238E27FC236}">
                <a16:creationId xmlns:a16="http://schemas.microsoft.com/office/drawing/2014/main" id="{7881F15A-C59A-E4E8-FC0E-FE9792F2ECAD}"/>
              </a:ext>
            </a:extLst>
          </p:cNvPr>
          <p:cNvSpPr>
            <a:spLocks noGrp="1"/>
          </p:cNvSpPr>
          <p:nvPr>
            <p:ph type="body" sz="quarter" idx="31"/>
          </p:nvPr>
        </p:nvSpPr>
        <p:spPr>
          <a:xfrm>
            <a:off x="4545584" y="2748438"/>
            <a:ext cx="3099816" cy="923544"/>
          </a:xfrm>
        </p:spPr>
        <p:txBody>
          <a:bodyPr anchor="b">
            <a:noAutofit/>
          </a:bodyPr>
          <a:lstStyle>
            <a:lvl1pPr>
              <a:defRPr>
                <a:latin typeface="+mn-lt"/>
              </a:defRPr>
            </a:lvl1pPr>
          </a:lstStyle>
          <a:p>
            <a:pPr lvl="0"/>
            <a:r>
              <a:rPr lang="en-US"/>
              <a:t>Click to edit Master text styles</a:t>
            </a:r>
          </a:p>
        </p:txBody>
      </p:sp>
      <p:sp>
        <p:nvSpPr>
          <p:cNvPr id="25" name="Text Placeholder 22">
            <a:extLst>
              <a:ext uri="{FF2B5EF4-FFF2-40B4-BE49-F238E27FC236}">
                <a16:creationId xmlns:a16="http://schemas.microsoft.com/office/drawing/2014/main" id="{05C2575A-267E-CB78-E7D3-0A82086DF69F}"/>
              </a:ext>
            </a:extLst>
          </p:cNvPr>
          <p:cNvSpPr>
            <a:spLocks noGrp="1"/>
          </p:cNvSpPr>
          <p:nvPr>
            <p:ph type="body" sz="quarter" idx="32"/>
          </p:nvPr>
        </p:nvSpPr>
        <p:spPr>
          <a:xfrm>
            <a:off x="4545584" y="4185186"/>
            <a:ext cx="3099816" cy="128930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26" name="Text Placeholder 20">
            <a:extLst>
              <a:ext uri="{FF2B5EF4-FFF2-40B4-BE49-F238E27FC236}">
                <a16:creationId xmlns:a16="http://schemas.microsoft.com/office/drawing/2014/main" id="{D1253B36-5212-1DA8-01E7-81750827B17F}"/>
              </a:ext>
            </a:extLst>
          </p:cNvPr>
          <p:cNvSpPr>
            <a:spLocks noGrp="1"/>
          </p:cNvSpPr>
          <p:nvPr>
            <p:ph type="body" sz="quarter" idx="33"/>
          </p:nvPr>
        </p:nvSpPr>
        <p:spPr>
          <a:xfrm>
            <a:off x="8482583" y="2748438"/>
            <a:ext cx="3099816" cy="923544"/>
          </a:xfrm>
        </p:spPr>
        <p:txBody>
          <a:bodyPr anchor="b">
            <a:noAutofit/>
          </a:bodyPr>
          <a:lstStyle>
            <a:lvl1pPr>
              <a:defRPr>
                <a:latin typeface="+mn-lt"/>
              </a:defRPr>
            </a:lvl1pPr>
          </a:lstStyle>
          <a:p>
            <a:pPr lvl="0"/>
            <a:r>
              <a:rPr lang="en-US"/>
              <a:t>Click to edit Master text styles</a:t>
            </a:r>
          </a:p>
        </p:txBody>
      </p:sp>
      <p:sp>
        <p:nvSpPr>
          <p:cNvPr id="27" name="Text Placeholder 22">
            <a:extLst>
              <a:ext uri="{FF2B5EF4-FFF2-40B4-BE49-F238E27FC236}">
                <a16:creationId xmlns:a16="http://schemas.microsoft.com/office/drawing/2014/main" id="{DB009249-FD49-BBAC-D4A3-BCAEB78F276E}"/>
              </a:ext>
            </a:extLst>
          </p:cNvPr>
          <p:cNvSpPr>
            <a:spLocks noGrp="1"/>
          </p:cNvSpPr>
          <p:nvPr>
            <p:ph type="body" sz="quarter" idx="34"/>
          </p:nvPr>
        </p:nvSpPr>
        <p:spPr>
          <a:xfrm>
            <a:off x="8482583" y="4185186"/>
            <a:ext cx="3099816" cy="1289304"/>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8962983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column">
    <p:bg>
      <p:bgPr>
        <a:solidFill>
          <a:srgbClr val="F3F3F3"/>
        </a:solidFill>
        <a:effectLst/>
      </p:bgPr>
    </p:bg>
    <p:spTree>
      <p:nvGrpSpPr>
        <p:cNvPr id="1" name=""/>
        <p:cNvGrpSpPr/>
        <p:nvPr/>
      </p:nvGrpSpPr>
      <p:grpSpPr>
        <a:xfrm>
          <a:off x="0" y="0"/>
          <a:ext cx="0" cy="0"/>
          <a:chOff x="0" y="0"/>
          <a:chExt cx="0" cy="0"/>
        </a:xfrm>
      </p:grpSpPr>
      <p:sp>
        <p:nvSpPr>
          <p:cNvPr id="38" name="Picture Placeholder 44">
            <a:extLst>
              <a:ext uri="{FF2B5EF4-FFF2-40B4-BE49-F238E27FC236}">
                <a16:creationId xmlns:a16="http://schemas.microsoft.com/office/drawing/2014/main" id="{89769F5D-1EE4-9650-C101-9BA367A72865}"/>
              </a:ext>
            </a:extLst>
          </p:cNvPr>
          <p:cNvSpPr>
            <a:spLocks noGrp="1"/>
          </p:cNvSpPr>
          <p:nvPr>
            <p:ph type="pic" sz="quarter" idx="37"/>
          </p:nvPr>
        </p:nvSpPr>
        <p:spPr>
          <a:xfrm>
            <a:off x="567068" y="1992598"/>
            <a:ext cx="521208" cy="521208"/>
          </a:xfrm>
          <a:noFill/>
        </p:spPr>
        <p:txBody>
          <a:bodyPr/>
          <a:lstStyle>
            <a:lvl1pPr>
              <a:defRPr sz="1100"/>
            </a:lvl1pPr>
          </a:lstStyle>
          <a:p>
            <a:r>
              <a:rPr lang="en-US" dirty="0"/>
              <a:t>Click icon to add picture</a:t>
            </a:r>
          </a:p>
        </p:txBody>
      </p:sp>
      <p:sp>
        <p:nvSpPr>
          <p:cNvPr id="39" name="Picture Placeholder 44">
            <a:extLst>
              <a:ext uri="{FF2B5EF4-FFF2-40B4-BE49-F238E27FC236}">
                <a16:creationId xmlns:a16="http://schemas.microsoft.com/office/drawing/2014/main" id="{672A93A6-7142-4A8E-6BE9-C934050E0B26}"/>
              </a:ext>
            </a:extLst>
          </p:cNvPr>
          <p:cNvSpPr>
            <a:spLocks noGrp="1"/>
          </p:cNvSpPr>
          <p:nvPr>
            <p:ph type="pic" sz="quarter" idx="38"/>
          </p:nvPr>
        </p:nvSpPr>
        <p:spPr>
          <a:xfrm>
            <a:off x="3427226" y="1992598"/>
            <a:ext cx="521208" cy="521208"/>
          </a:xfrm>
          <a:noFill/>
        </p:spPr>
        <p:txBody>
          <a:bodyPr/>
          <a:lstStyle>
            <a:lvl1pPr>
              <a:defRPr sz="1100"/>
            </a:lvl1pPr>
          </a:lstStyle>
          <a:p>
            <a:r>
              <a:rPr lang="en-US" dirty="0"/>
              <a:t>Click icon to add picture</a:t>
            </a:r>
          </a:p>
        </p:txBody>
      </p:sp>
      <p:sp>
        <p:nvSpPr>
          <p:cNvPr id="40" name="Picture Placeholder 44">
            <a:extLst>
              <a:ext uri="{FF2B5EF4-FFF2-40B4-BE49-F238E27FC236}">
                <a16:creationId xmlns:a16="http://schemas.microsoft.com/office/drawing/2014/main" id="{F055298F-0647-AD6D-DB65-6EFF4D715DA4}"/>
              </a:ext>
            </a:extLst>
          </p:cNvPr>
          <p:cNvSpPr>
            <a:spLocks noGrp="1"/>
          </p:cNvSpPr>
          <p:nvPr>
            <p:ph type="pic" sz="quarter" idx="39"/>
          </p:nvPr>
        </p:nvSpPr>
        <p:spPr>
          <a:xfrm>
            <a:off x="6319282" y="1992598"/>
            <a:ext cx="521208" cy="521208"/>
          </a:xfrm>
          <a:noFill/>
        </p:spPr>
        <p:txBody>
          <a:bodyPr/>
          <a:lstStyle>
            <a:lvl1pPr>
              <a:defRPr sz="1100"/>
            </a:lvl1pPr>
          </a:lstStyle>
          <a:p>
            <a:r>
              <a:rPr lang="en-US" dirty="0"/>
              <a:t>Click icon to add picture</a:t>
            </a:r>
          </a:p>
        </p:txBody>
      </p:sp>
      <p:sp>
        <p:nvSpPr>
          <p:cNvPr id="41" name="Picture Placeholder 44">
            <a:extLst>
              <a:ext uri="{FF2B5EF4-FFF2-40B4-BE49-F238E27FC236}">
                <a16:creationId xmlns:a16="http://schemas.microsoft.com/office/drawing/2014/main" id="{D17283F2-B533-508F-96A7-9A4AAFB4DF2A}"/>
              </a:ext>
            </a:extLst>
          </p:cNvPr>
          <p:cNvSpPr>
            <a:spLocks noGrp="1"/>
          </p:cNvSpPr>
          <p:nvPr>
            <p:ph type="pic" sz="quarter" idx="40"/>
          </p:nvPr>
        </p:nvSpPr>
        <p:spPr>
          <a:xfrm>
            <a:off x="9211339" y="1992598"/>
            <a:ext cx="521208" cy="521208"/>
          </a:xfrm>
          <a:noFill/>
        </p:spPr>
        <p:txBody>
          <a:bodyPr/>
          <a:lstStyle>
            <a:lvl1pPr>
              <a:defRPr sz="1100"/>
            </a:lvl1pPr>
          </a:lstStyle>
          <a:p>
            <a:r>
              <a:rPr lang="en-US" dirty="0"/>
              <a:t>Click icon to add picture</a:t>
            </a:r>
          </a:p>
        </p:txBody>
      </p:sp>
      <p:sp>
        <p:nvSpPr>
          <p:cNvPr id="2" name="Title 1">
            <a:extLst>
              <a:ext uri="{FF2B5EF4-FFF2-40B4-BE49-F238E27FC236}">
                <a16:creationId xmlns:a16="http://schemas.microsoft.com/office/drawing/2014/main" id="{2424CD20-5516-7DC5-C33D-FEC81A57BF0E}"/>
              </a:ext>
            </a:extLst>
          </p:cNvPr>
          <p:cNvSpPr>
            <a:spLocks noGrp="1"/>
          </p:cNvSpPr>
          <p:nvPr>
            <p:ph type="title"/>
          </p:nvPr>
        </p:nvSpPr>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476B3B0D-3559-99F8-077B-940302BF51AF}"/>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32710ACD-357C-D3F8-AFC4-B9909D8E326C}"/>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 name="Date Placeholder 4">
            <a:extLst>
              <a:ext uri="{FF2B5EF4-FFF2-40B4-BE49-F238E27FC236}">
                <a16:creationId xmlns:a16="http://schemas.microsoft.com/office/drawing/2014/main" id="{2FCF0CAB-4713-83C7-28F8-0DB75DB26EBF}"/>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6CBEA0C4-9756-47E6-99B4-9C02C7FF2B77}" type="datetime4">
              <a:rPr lang="en-US" smtClean="0"/>
              <a:t>May 17, 2025</a:t>
            </a:fld>
            <a:endParaRPr lang="en-US" dirty="0"/>
          </a:p>
        </p:txBody>
      </p:sp>
      <p:sp>
        <p:nvSpPr>
          <p:cNvPr id="18" name="Text Placeholder 3">
            <a:extLst>
              <a:ext uri="{FF2B5EF4-FFF2-40B4-BE49-F238E27FC236}">
                <a16:creationId xmlns:a16="http://schemas.microsoft.com/office/drawing/2014/main" id="{CFF9B5B2-AFF3-F577-FA6F-C489CB3AA65F}"/>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19" name="Text Placeholder 7">
            <a:extLst>
              <a:ext uri="{FF2B5EF4-FFF2-40B4-BE49-F238E27FC236}">
                <a16:creationId xmlns:a16="http://schemas.microsoft.com/office/drawing/2014/main" id="{C93F1CC1-A1A5-8BDC-DE12-111548DAB9BC}"/>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1" name="Text Placeholder 20">
            <a:extLst>
              <a:ext uri="{FF2B5EF4-FFF2-40B4-BE49-F238E27FC236}">
                <a16:creationId xmlns:a16="http://schemas.microsoft.com/office/drawing/2014/main" id="{D194AD06-F4DA-BD6D-FAFC-B444C31568F5}"/>
              </a:ext>
            </a:extLst>
          </p:cNvPr>
          <p:cNvSpPr>
            <a:spLocks noGrp="1"/>
          </p:cNvSpPr>
          <p:nvPr>
            <p:ph type="body" sz="quarter" idx="29"/>
          </p:nvPr>
        </p:nvSpPr>
        <p:spPr>
          <a:xfrm>
            <a:off x="608584" y="2748438"/>
            <a:ext cx="2358830" cy="923544"/>
          </a:xfrm>
        </p:spPr>
        <p:txBody>
          <a:bodyPr anchor="b">
            <a:noAutofit/>
          </a:bodyPr>
          <a:lstStyle>
            <a:lvl1pPr>
              <a:defRPr>
                <a:latin typeface="+mn-lt"/>
              </a:defRPr>
            </a:lvl1pPr>
          </a:lstStyle>
          <a:p>
            <a:pPr lvl="0"/>
            <a:r>
              <a:rPr lang="en-US"/>
              <a:t>Click to edit Master text styles</a:t>
            </a:r>
          </a:p>
        </p:txBody>
      </p:sp>
      <p:sp>
        <p:nvSpPr>
          <p:cNvPr id="23" name="Text Placeholder 22">
            <a:extLst>
              <a:ext uri="{FF2B5EF4-FFF2-40B4-BE49-F238E27FC236}">
                <a16:creationId xmlns:a16="http://schemas.microsoft.com/office/drawing/2014/main" id="{D31D0F84-196A-D07B-028F-08F39BEB0A65}"/>
              </a:ext>
            </a:extLst>
          </p:cNvPr>
          <p:cNvSpPr>
            <a:spLocks noGrp="1"/>
          </p:cNvSpPr>
          <p:nvPr>
            <p:ph type="body" sz="quarter" idx="30"/>
          </p:nvPr>
        </p:nvSpPr>
        <p:spPr>
          <a:xfrm>
            <a:off x="608584" y="4185186"/>
            <a:ext cx="2358830" cy="1735690"/>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22" name="Text Placeholder 20">
            <a:extLst>
              <a:ext uri="{FF2B5EF4-FFF2-40B4-BE49-F238E27FC236}">
                <a16:creationId xmlns:a16="http://schemas.microsoft.com/office/drawing/2014/main" id="{2F984C37-EA47-C212-F04D-1F9B8FCA81C9}"/>
              </a:ext>
            </a:extLst>
          </p:cNvPr>
          <p:cNvSpPr>
            <a:spLocks noGrp="1"/>
          </p:cNvSpPr>
          <p:nvPr>
            <p:ph type="body" sz="quarter" idx="31"/>
          </p:nvPr>
        </p:nvSpPr>
        <p:spPr>
          <a:xfrm>
            <a:off x="3479907" y="2748438"/>
            <a:ext cx="2358830" cy="923544"/>
          </a:xfrm>
        </p:spPr>
        <p:txBody>
          <a:bodyPr anchor="b">
            <a:noAutofit/>
          </a:bodyPr>
          <a:lstStyle>
            <a:lvl1pPr>
              <a:defRPr>
                <a:latin typeface="+mn-lt"/>
              </a:defRPr>
            </a:lvl1pPr>
          </a:lstStyle>
          <a:p>
            <a:pPr lvl="0"/>
            <a:r>
              <a:rPr lang="en-US"/>
              <a:t>Click to edit Master text styles</a:t>
            </a:r>
          </a:p>
        </p:txBody>
      </p:sp>
      <p:sp>
        <p:nvSpPr>
          <p:cNvPr id="28" name="Text Placeholder 22">
            <a:extLst>
              <a:ext uri="{FF2B5EF4-FFF2-40B4-BE49-F238E27FC236}">
                <a16:creationId xmlns:a16="http://schemas.microsoft.com/office/drawing/2014/main" id="{156FF9F4-E1C1-A3BD-5282-9E0865EE337F}"/>
              </a:ext>
            </a:extLst>
          </p:cNvPr>
          <p:cNvSpPr>
            <a:spLocks noGrp="1"/>
          </p:cNvSpPr>
          <p:nvPr>
            <p:ph type="body" sz="quarter" idx="32"/>
          </p:nvPr>
        </p:nvSpPr>
        <p:spPr>
          <a:xfrm>
            <a:off x="3479907" y="4185186"/>
            <a:ext cx="2358830" cy="1735690"/>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31" name="Text Placeholder 20">
            <a:extLst>
              <a:ext uri="{FF2B5EF4-FFF2-40B4-BE49-F238E27FC236}">
                <a16:creationId xmlns:a16="http://schemas.microsoft.com/office/drawing/2014/main" id="{554334A6-9BBA-FA97-AA97-4DDDF2D4707A}"/>
              </a:ext>
            </a:extLst>
          </p:cNvPr>
          <p:cNvSpPr>
            <a:spLocks noGrp="1"/>
          </p:cNvSpPr>
          <p:nvPr>
            <p:ph type="body" sz="quarter" idx="33"/>
          </p:nvPr>
        </p:nvSpPr>
        <p:spPr>
          <a:xfrm>
            <a:off x="6351231" y="2748438"/>
            <a:ext cx="2358830" cy="923544"/>
          </a:xfrm>
        </p:spPr>
        <p:txBody>
          <a:bodyPr anchor="b">
            <a:noAutofit/>
          </a:bodyPr>
          <a:lstStyle>
            <a:lvl1pPr>
              <a:defRPr>
                <a:latin typeface="+mn-lt"/>
              </a:defRPr>
            </a:lvl1pPr>
          </a:lstStyle>
          <a:p>
            <a:pPr lvl="0"/>
            <a:r>
              <a:rPr lang="en-US"/>
              <a:t>Click to edit Master text styles</a:t>
            </a:r>
          </a:p>
        </p:txBody>
      </p:sp>
      <p:sp>
        <p:nvSpPr>
          <p:cNvPr id="32" name="Text Placeholder 22">
            <a:extLst>
              <a:ext uri="{FF2B5EF4-FFF2-40B4-BE49-F238E27FC236}">
                <a16:creationId xmlns:a16="http://schemas.microsoft.com/office/drawing/2014/main" id="{4830E38D-A113-06E0-E740-A6C3F6DDD6EC}"/>
              </a:ext>
            </a:extLst>
          </p:cNvPr>
          <p:cNvSpPr>
            <a:spLocks noGrp="1"/>
          </p:cNvSpPr>
          <p:nvPr>
            <p:ph type="body" sz="quarter" idx="34"/>
          </p:nvPr>
        </p:nvSpPr>
        <p:spPr>
          <a:xfrm>
            <a:off x="6351231" y="4185186"/>
            <a:ext cx="2358830" cy="1735690"/>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
        <p:nvSpPr>
          <p:cNvPr id="35" name="Text Placeholder 20">
            <a:extLst>
              <a:ext uri="{FF2B5EF4-FFF2-40B4-BE49-F238E27FC236}">
                <a16:creationId xmlns:a16="http://schemas.microsoft.com/office/drawing/2014/main" id="{15C3EF92-C5EE-05D2-2CD7-E2C1DFBE54A5}"/>
              </a:ext>
            </a:extLst>
          </p:cNvPr>
          <p:cNvSpPr>
            <a:spLocks noGrp="1"/>
          </p:cNvSpPr>
          <p:nvPr>
            <p:ph type="body" sz="quarter" idx="35"/>
          </p:nvPr>
        </p:nvSpPr>
        <p:spPr>
          <a:xfrm>
            <a:off x="9222554" y="2748438"/>
            <a:ext cx="2358830" cy="923544"/>
          </a:xfrm>
        </p:spPr>
        <p:txBody>
          <a:bodyPr anchor="b">
            <a:noAutofit/>
          </a:bodyPr>
          <a:lstStyle>
            <a:lvl1pPr>
              <a:defRPr>
                <a:latin typeface="+mn-lt"/>
              </a:defRPr>
            </a:lvl1pPr>
          </a:lstStyle>
          <a:p>
            <a:pPr lvl="0"/>
            <a:r>
              <a:rPr lang="en-US"/>
              <a:t>Click to edit Master text styles</a:t>
            </a:r>
          </a:p>
        </p:txBody>
      </p:sp>
      <p:sp>
        <p:nvSpPr>
          <p:cNvPr id="36" name="Text Placeholder 22">
            <a:extLst>
              <a:ext uri="{FF2B5EF4-FFF2-40B4-BE49-F238E27FC236}">
                <a16:creationId xmlns:a16="http://schemas.microsoft.com/office/drawing/2014/main" id="{57BAEA13-CFA9-38DC-DF38-AACD6D8FAFDE}"/>
              </a:ext>
            </a:extLst>
          </p:cNvPr>
          <p:cNvSpPr>
            <a:spLocks noGrp="1"/>
          </p:cNvSpPr>
          <p:nvPr>
            <p:ph type="body" sz="quarter" idx="36"/>
          </p:nvPr>
        </p:nvSpPr>
        <p:spPr>
          <a:xfrm>
            <a:off x="9222554" y="4185186"/>
            <a:ext cx="2358830" cy="1735690"/>
          </a:xfrm>
        </p:spPr>
        <p:txBody>
          <a:bodyPr>
            <a:noAutofit/>
          </a:bodyPr>
          <a:lstStyle>
            <a:lvl1pPr>
              <a:defRPr sz="1400"/>
            </a:lvl1pPr>
            <a:lvl2pPr marL="0" indent="0">
              <a:buNone/>
              <a:defRPr sz="1400"/>
            </a:lvl2pPr>
            <a:lvl3pPr>
              <a:defRPr sz="1400"/>
            </a:lvl3pPr>
            <a:lvl4pPr>
              <a:defRPr sz="1400"/>
            </a:lvl4pPr>
            <a:lvl5pPr>
              <a:defRPr sz="1400"/>
            </a:lvl5pPr>
          </a:lstStyle>
          <a:p>
            <a:pPr lvl="0"/>
            <a:r>
              <a:rPr lang="en-US"/>
              <a:t>Click to edit Master text styles</a:t>
            </a:r>
          </a:p>
        </p:txBody>
      </p:sp>
    </p:spTree>
    <p:extLst>
      <p:ext uri="{BB962C8B-B14F-4D97-AF65-F5344CB8AC3E}">
        <p14:creationId xmlns:p14="http://schemas.microsoft.com/office/powerpoint/2010/main" val="30073310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Column Slide - Light">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9855B-9E52-C109-BB22-81D9DEC99F5B}"/>
              </a:ext>
            </a:extLst>
          </p:cNvPr>
          <p:cNvSpPr>
            <a:spLocks noGrp="1"/>
          </p:cNvSpPr>
          <p:nvPr>
            <p:ph type="title"/>
          </p:nvPr>
        </p:nvSpPr>
        <p:spPr/>
        <p:txBody>
          <a:bodyPr>
            <a:noAutofit/>
          </a:bodyPr>
          <a:lstStyle/>
          <a:p>
            <a:r>
              <a:rPr lang="en-US"/>
              <a:t>Click to edit Master title style</a:t>
            </a:r>
          </a:p>
        </p:txBody>
      </p:sp>
      <p:sp>
        <p:nvSpPr>
          <p:cNvPr id="35" name="Text Placeholder 35">
            <a:extLst>
              <a:ext uri="{FF2B5EF4-FFF2-40B4-BE49-F238E27FC236}">
                <a16:creationId xmlns:a16="http://schemas.microsoft.com/office/drawing/2014/main" id="{17F8DA8A-8A83-2E82-D082-E4E4BF0C3593}"/>
              </a:ext>
            </a:extLst>
          </p:cNvPr>
          <p:cNvSpPr>
            <a:spLocks noGrp="1"/>
          </p:cNvSpPr>
          <p:nvPr>
            <p:ph type="body" sz="quarter" idx="15" hasCustomPrompt="1"/>
          </p:nvPr>
        </p:nvSpPr>
        <p:spPr>
          <a:xfrm>
            <a:off x="609600"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36" name="Text Placeholder 37">
            <a:extLst>
              <a:ext uri="{FF2B5EF4-FFF2-40B4-BE49-F238E27FC236}">
                <a16:creationId xmlns:a16="http://schemas.microsoft.com/office/drawing/2014/main" id="{E39C0855-30DA-35F6-A578-7BEC38F29FC0}"/>
              </a:ext>
            </a:extLst>
          </p:cNvPr>
          <p:cNvSpPr>
            <a:spLocks noGrp="1"/>
          </p:cNvSpPr>
          <p:nvPr>
            <p:ph type="body" sz="quarter" idx="16"/>
          </p:nvPr>
        </p:nvSpPr>
        <p:spPr>
          <a:xfrm>
            <a:off x="609600"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39" name="Text Placeholder 35">
            <a:extLst>
              <a:ext uri="{FF2B5EF4-FFF2-40B4-BE49-F238E27FC236}">
                <a16:creationId xmlns:a16="http://schemas.microsoft.com/office/drawing/2014/main" id="{8D6FA3CA-013B-6D3F-E406-40575493F284}"/>
              </a:ext>
            </a:extLst>
          </p:cNvPr>
          <p:cNvSpPr>
            <a:spLocks noGrp="1"/>
          </p:cNvSpPr>
          <p:nvPr>
            <p:ph type="body" sz="quarter" idx="17" hasCustomPrompt="1"/>
          </p:nvPr>
        </p:nvSpPr>
        <p:spPr>
          <a:xfrm>
            <a:off x="2884017"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40" name="Text Placeholder 37">
            <a:extLst>
              <a:ext uri="{FF2B5EF4-FFF2-40B4-BE49-F238E27FC236}">
                <a16:creationId xmlns:a16="http://schemas.microsoft.com/office/drawing/2014/main" id="{D7DA436C-CDB7-AF89-F0B6-17B79E2F370A}"/>
              </a:ext>
            </a:extLst>
          </p:cNvPr>
          <p:cNvSpPr>
            <a:spLocks noGrp="1"/>
          </p:cNvSpPr>
          <p:nvPr>
            <p:ph type="body" sz="quarter" idx="18"/>
          </p:nvPr>
        </p:nvSpPr>
        <p:spPr>
          <a:xfrm>
            <a:off x="2884017"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43" name="Text Placeholder 35">
            <a:extLst>
              <a:ext uri="{FF2B5EF4-FFF2-40B4-BE49-F238E27FC236}">
                <a16:creationId xmlns:a16="http://schemas.microsoft.com/office/drawing/2014/main" id="{F85FA32E-317C-3728-F052-86E0456C984F}"/>
              </a:ext>
            </a:extLst>
          </p:cNvPr>
          <p:cNvSpPr>
            <a:spLocks noGrp="1"/>
          </p:cNvSpPr>
          <p:nvPr>
            <p:ph type="body" sz="quarter" idx="19" hasCustomPrompt="1"/>
          </p:nvPr>
        </p:nvSpPr>
        <p:spPr>
          <a:xfrm>
            <a:off x="5155571"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44" name="Text Placeholder 37">
            <a:extLst>
              <a:ext uri="{FF2B5EF4-FFF2-40B4-BE49-F238E27FC236}">
                <a16:creationId xmlns:a16="http://schemas.microsoft.com/office/drawing/2014/main" id="{B8A6C3D4-FCE5-36CA-C2C3-2F5035AD3775}"/>
              </a:ext>
            </a:extLst>
          </p:cNvPr>
          <p:cNvSpPr>
            <a:spLocks noGrp="1"/>
          </p:cNvSpPr>
          <p:nvPr>
            <p:ph type="body" sz="quarter" idx="20"/>
          </p:nvPr>
        </p:nvSpPr>
        <p:spPr>
          <a:xfrm>
            <a:off x="5155571"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47" name="Text Placeholder 35">
            <a:extLst>
              <a:ext uri="{FF2B5EF4-FFF2-40B4-BE49-F238E27FC236}">
                <a16:creationId xmlns:a16="http://schemas.microsoft.com/office/drawing/2014/main" id="{645A059E-6755-4667-7A55-595DC3BA9D45}"/>
              </a:ext>
            </a:extLst>
          </p:cNvPr>
          <p:cNvSpPr>
            <a:spLocks noGrp="1"/>
          </p:cNvSpPr>
          <p:nvPr>
            <p:ph type="body" sz="quarter" idx="21" hasCustomPrompt="1"/>
          </p:nvPr>
        </p:nvSpPr>
        <p:spPr>
          <a:xfrm>
            <a:off x="7429988"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48" name="Text Placeholder 37">
            <a:extLst>
              <a:ext uri="{FF2B5EF4-FFF2-40B4-BE49-F238E27FC236}">
                <a16:creationId xmlns:a16="http://schemas.microsoft.com/office/drawing/2014/main" id="{FF1E85DF-94A0-E95A-E21C-3CCA97B6CD50}"/>
              </a:ext>
            </a:extLst>
          </p:cNvPr>
          <p:cNvSpPr>
            <a:spLocks noGrp="1"/>
          </p:cNvSpPr>
          <p:nvPr>
            <p:ph type="body" sz="quarter" idx="22"/>
          </p:nvPr>
        </p:nvSpPr>
        <p:spPr>
          <a:xfrm>
            <a:off x="7429988"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51" name="Text Placeholder 35">
            <a:extLst>
              <a:ext uri="{FF2B5EF4-FFF2-40B4-BE49-F238E27FC236}">
                <a16:creationId xmlns:a16="http://schemas.microsoft.com/office/drawing/2014/main" id="{B706580B-D0EC-DB84-AF34-412C13B5B155}"/>
              </a:ext>
            </a:extLst>
          </p:cNvPr>
          <p:cNvSpPr>
            <a:spLocks noGrp="1"/>
          </p:cNvSpPr>
          <p:nvPr>
            <p:ph type="body" sz="quarter" idx="23" hasCustomPrompt="1"/>
          </p:nvPr>
        </p:nvSpPr>
        <p:spPr>
          <a:xfrm>
            <a:off x="9709796" y="2913171"/>
            <a:ext cx="1874520" cy="738664"/>
          </a:xfrm>
        </p:spPr>
        <p:txBody>
          <a:bodyPr anchor="b">
            <a:noAutofit/>
          </a:bodyPr>
          <a:lstStyle>
            <a:lvl1pPr>
              <a:spcAft>
                <a:spcPts val="0"/>
              </a:spcAft>
              <a:defRPr sz="2400" b="1">
                <a:latin typeface="+mj-lt"/>
              </a:defRPr>
            </a:lvl1pPr>
            <a:lvl2pPr marL="0" indent="0">
              <a:spcAft>
                <a:spcPts val="0"/>
              </a:spcAft>
              <a:buNone/>
              <a:defRPr sz="1600"/>
            </a:lvl2pPr>
          </a:lstStyle>
          <a:p>
            <a:pPr lvl="0"/>
            <a:r>
              <a:rPr lang="en-US"/>
              <a:t>Insert </a:t>
            </a:r>
            <a:br>
              <a:rPr lang="en-US"/>
            </a:br>
            <a:r>
              <a:rPr lang="en-US"/>
              <a:t>header here</a:t>
            </a:r>
          </a:p>
        </p:txBody>
      </p:sp>
      <p:sp>
        <p:nvSpPr>
          <p:cNvPr id="52" name="Text Placeholder 37">
            <a:extLst>
              <a:ext uri="{FF2B5EF4-FFF2-40B4-BE49-F238E27FC236}">
                <a16:creationId xmlns:a16="http://schemas.microsoft.com/office/drawing/2014/main" id="{0EBCED8E-EB08-0B1B-43D9-1EF6B19BC0E1}"/>
              </a:ext>
            </a:extLst>
          </p:cNvPr>
          <p:cNvSpPr>
            <a:spLocks noGrp="1"/>
          </p:cNvSpPr>
          <p:nvPr>
            <p:ph type="body" sz="quarter" idx="24"/>
          </p:nvPr>
        </p:nvSpPr>
        <p:spPr>
          <a:xfrm>
            <a:off x="9709796" y="4162378"/>
            <a:ext cx="1874520" cy="1481328"/>
          </a:xfrm>
        </p:spPr>
        <p:txBody>
          <a:bodyPr>
            <a:noAutofit/>
          </a:bodyPr>
          <a:lstStyle>
            <a:lvl1pPr>
              <a:defRPr sz="1600"/>
            </a:lvl1pPr>
            <a:lvl2pPr marL="0" indent="0">
              <a:buNone/>
              <a:defRPr/>
            </a:lvl2pPr>
          </a:lstStyle>
          <a:p>
            <a:pPr lvl="0"/>
            <a:r>
              <a:rPr lang="en-US"/>
              <a:t>Click to edit Master text styles</a:t>
            </a:r>
          </a:p>
        </p:txBody>
      </p:sp>
      <p:sp>
        <p:nvSpPr>
          <p:cNvPr id="53" name="Text Placeholder 3">
            <a:extLst>
              <a:ext uri="{FF2B5EF4-FFF2-40B4-BE49-F238E27FC236}">
                <a16:creationId xmlns:a16="http://schemas.microsoft.com/office/drawing/2014/main" id="{8EE55DB9-26FC-E53D-E41F-DC7CFF12732F}"/>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50000"/>
                    <a:lumOff val="50000"/>
                  </a:schemeClr>
                </a:solidFill>
              </a:defRPr>
            </a:lvl1pPr>
          </a:lstStyle>
          <a:p>
            <a:pPr lvl="0"/>
            <a:r>
              <a:rPr lang="en-US"/>
              <a:t>Subtitle</a:t>
            </a:r>
          </a:p>
        </p:txBody>
      </p:sp>
      <p:sp>
        <p:nvSpPr>
          <p:cNvPr id="3" name="Date Placeholder 49">
            <a:extLst>
              <a:ext uri="{FF2B5EF4-FFF2-40B4-BE49-F238E27FC236}">
                <a16:creationId xmlns:a16="http://schemas.microsoft.com/office/drawing/2014/main" id="{00167179-650B-E4CD-4B6C-C90D792F9EB5}"/>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6486C6F8-2C78-4FAB-B8FE-38F1BA981F1E}" type="datetime4">
              <a:rPr lang="en-US" smtClean="0"/>
              <a:t>May 17, 2025</a:t>
            </a:fld>
            <a:endParaRPr lang="en-US" dirty="0"/>
          </a:p>
        </p:txBody>
      </p:sp>
      <p:sp>
        <p:nvSpPr>
          <p:cNvPr id="10" name="Text Placeholder 7">
            <a:extLst>
              <a:ext uri="{FF2B5EF4-FFF2-40B4-BE49-F238E27FC236}">
                <a16:creationId xmlns:a16="http://schemas.microsoft.com/office/drawing/2014/main" id="{9A38227B-AA85-94A0-F87C-53F33910EF09}"/>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1" name="Footer Placeholder 4">
            <a:extLst>
              <a:ext uri="{FF2B5EF4-FFF2-40B4-BE49-F238E27FC236}">
                <a16:creationId xmlns:a16="http://schemas.microsoft.com/office/drawing/2014/main" id="{F5FA1229-D4C4-899E-5ACB-C07E219A9ED0}"/>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12" name="Slide Number Placeholder 5">
            <a:extLst>
              <a:ext uri="{FF2B5EF4-FFF2-40B4-BE49-F238E27FC236}">
                <a16:creationId xmlns:a16="http://schemas.microsoft.com/office/drawing/2014/main" id="{77D5AB0F-905C-0611-2B43-272D4492B44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16" name="Picture Placeholder 44">
            <a:extLst>
              <a:ext uri="{FF2B5EF4-FFF2-40B4-BE49-F238E27FC236}">
                <a16:creationId xmlns:a16="http://schemas.microsoft.com/office/drawing/2014/main" id="{3DB86532-7B42-6C5F-7210-B1AD1D8EFD48}"/>
              </a:ext>
            </a:extLst>
          </p:cNvPr>
          <p:cNvSpPr>
            <a:spLocks noGrp="1"/>
          </p:cNvSpPr>
          <p:nvPr>
            <p:ph type="pic" sz="quarter" idx="37"/>
          </p:nvPr>
        </p:nvSpPr>
        <p:spPr>
          <a:xfrm>
            <a:off x="567068" y="2152093"/>
            <a:ext cx="521208" cy="521208"/>
          </a:xfrm>
          <a:noFill/>
        </p:spPr>
        <p:txBody>
          <a:bodyPr/>
          <a:lstStyle>
            <a:lvl1pPr>
              <a:defRPr sz="1100">
                <a:solidFill>
                  <a:schemeClr val="tx1"/>
                </a:solidFill>
              </a:defRPr>
            </a:lvl1pPr>
          </a:lstStyle>
          <a:p>
            <a:r>
              <a:rPr lang="en-US" dirty="0"/>
              <a:t>Click icon to add picture</a:t>
            </a:r>
          </a:p>
        </p:txBody>
      </p:sp>
      <p:sp>
        <p:nvSpPr>
          <p:cNvPr id="17" name="Picture Placeholder 44">
            <a:extLst>
              <a:ext uri="{FF2B5EF4-FFF2-40B4-BE49-F238E27FC236}">
                <a16:creationId xmlns:a16="http://schemas.microsoft.com/office/drawing/2014/main" id="{615249C2-8716-C802-5DF2-890AA231FE68}"/>
              </a:ext>
            </a:extLst>
          </p:cNvPr>
          <p:cNvSpPr>
            <a:spLocks noGrp="1"/>
          </p:cNvSpPr>
          <p:nvPr>
            <p:ph type="pic" sz="quarter" idx="38"/>
          </p:nvPr>
        </p:nvSpPr>
        <p:spPr>
          <a:xfrm>
            <a:off x="2821168" y="2152093"/>
            <a:ext cx="521208" cy="521208"/>
          </a:xfrm>
          <a:noFill/>
        </p:spPr>
        <p:txBody>
          <a:bodyPr/>
          <a:lstStyle>
            <a:lvl1pPr>
              <a:defRPr sz="1100">
                <a:solidFill>
                  <a:schemeClr val="tx1"/>
                </a:solidFill>
              </a:defRPr>
            </a:lvl1pPr>
          </a:lstStyle>
          <a:p>
            <a:r>
              <a:rPr lang="en-US" dirty="0"/>
              <a:t>Click icon to add picture</a:t>
            </a:r>
          </a:p>
        </p:txBody>
      </p:sp>
      <p:sp>
        <p:nvSpPr>
          <p:cNvPr id="18" name="Picture Placeholder 44">
            <a:extLst>
              <a:ext uri="{FF2B5EF4-FFF2-40B4-BE49-F238E27FC236}">
                <a16:creationId xmlns:a16="http://schemas.microsoft.com/office/drawing/2014/main" id="{6DADB10F-3C0F-9A07-1512-1847FA653FEB}"/>
              </a:ext>
            </a:extLst>
          </p:cNvPr>
          <p:cNvSpPr>
            <a:spLocks noGrp="1"/>
          </p:cNvSpPr>
          <p:nvPr>
            <p:ph type="pic" sz="quarter" idx="39"/>
          </p:nvPr>
        </p:nvSpPr>
        <p:spPr>
          <a:xfrm>
            <a:off x="5128424" y="2152093"/>
            <a:ext cx="521208" cy="521208"/>
          </a:xfrm>
          <a:noFill/>
        </p:spPr>
        <p:txBody>
          <a:bodyPr/>
          <a:lstStyle>
            <a:lvl1pPr>
              <a:defRPr sz="1100">
                <a:solidFill>
                  <a:schemeClr val="tx1"/>
                </a:solidFill>
              </a:defRPr>
            </a:lvl1pPr>
          </a:lstStyle>
          <a:p>
            <a:r>
              <a:rPr lang="en-US" dirty="0"/>
              <a:t>Click icon to add picture</a:t>
            </a:r>
          </a:p>
        </p:txBody>
      </p:sp>
      <p:sp>
        <p:nvSpPr>
          <p:cNvPr id="19" name="Picture Placeholder 44">
            <a:extLst>
              <a:ext uri="{FF2B5EF4-FFF2-40B4-BE49-F238E27FC236}">
                <a16:creationId xmlns:a16="http://schemas.microsoft.com/office/drawing/2014/main" id="{F718D4CF-81B4-5AA5-CE52-6D7D7126E209}"/>
              </a:ext>
            </a:extLst>
          </p:cNvPr>
          <p:cNvSpPr>
            <a:spLocks noGrp="1"/>
          </p:cNvSpPr>
          <p:nvPr>
            <p:ph type="pic" sz="quarter" idx="40"/>
          </p:nvPr>
        </p:nvSpPr>
        <p:spPr>
          <a:xfrm>
            <a:off x="7382518" y="2152093"/>
            <a:ext cx="521208" cy="521208"/>
          </a:xfrm>
          <a:noFill/>
        </p:spPr>
        <p:txBody>
          <a:bodyPr/>
          <a:lstStyle>
            <a:lvl1pPr>
              <a:defRPr sz="1100">
                <a:solidFill>
                  <a:schemeClr val="tx1"/>
                </a:solidFill>
              </a:defRPr>
            </a:lvl1pPr>
          </a:lstStyle>
          <a:p>
            <a:r>
              <a:rPr lang="en-US" dirty="0"/>
              <a:t>Click icon to add picture</a:t>
            </a:r>
          </a:p>
        </p:txBody>
      </p:sp>
      <p:sp>
        <p:nvSpPr>
          <p:cNvPr id="20" name="Picture Placeholder 44">
            <a:extLst>
              <a:ext uri="{FF2B5EF4-FFF2-40B4-BE49-F238E27FC236}">
                <a16:creationId xmlns:a16="http://schemas.microsoft.com/office/drawing/2014/main" id="{7426D371-E5D0-3DF9-8D30-17B6F413B34D}"/>
              </a:ext>
            </a:extLst>
          </p:cNvPr>
          <p:cNvSpPr>
            <a:spLocks noGrp="1"/>
          </p:cNvSpPr>
          <p:nvPr>
            <p:ph type="pic" sz="quarter" idx="41"/>
          </p:nvPr>
        </p:nvSpPr>
        <p:spPr>
          <a:xfrm>
            <a:off x="9668518" y="2152093"/>
            <a:ext cx="521208" cy="521208"/>
          </a:xfrm>
          <a:noFill/>
        </p:spPr>
        <p:txBody>
          <a:bodyPr/>
          <a:lstStyle>
            <a:lvl1pPr>
              <a:defRPr sz="1100">
                <a:solidFill>
                  <a:schemeClr val="tx1"/>
                </a:solidFill>
              </a:defRPr>
            </a:lvl1pPr>
          </a:lstStyle>
          <a:p>
            <a:r>
              <a:rPr lang="en-US" dirty="0"/>
              <a:t>Click icon to add picture</a:t>
            </a:r>
          </a:p>
        </p:txBody>
      </p:sp>
    </p:spTree>
    <p:extLst>
      <p:ext uri="{BB962C8B-B14F-4D97-AF65-F5344CB8AC3E}">
        <p14:creationId xmlns:p14="http://schemas.microsoft.com/office/powerpoint/2010/main" val="2112058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Column Slide - Dark">
    <p:bg>
      <p:bgPr>
        <a:solidFill>
          <a:schemeClr val="tx2"/>
        </a:solidFill>
        <a:effectLst/>
      </p:bgPr>
    </p:bg>
    <p:spTree>
      <p:nvGrpSpPr>
        <p:cNvPr id="1" name=""/>
        <p:cNvGrpSpPr/>
        <p:nvPr/>
      </p:nvGrpSpPr>
      <p:grpSpPr>
        <a:xfrm>
          <a:off x="0" y="0"/>
          <a:ext cx="0" cy="0"/>
          <a:chOff x="0" y="0"/>
          <a:chExt cx="0" cy="0"/>
        </a:xfrm>
      </p:grpSpPr>
      <p:sp>
        <p:nvSpPr>
          <p:cNvPr id="29" name="Picture Placeholder 44">
            <a:extLst>
              <a:ext uri="{FF2B5EF4-FFF2-40B4-BE49-F238E27FC236}">
                <a16:creationId xmlns:a16="http://schemas.microsoft.com/office/drawing/2014/main" id="{13784C03-FBF4-1B5A-7C2E-B178574279A4}"/>
              </a:ext>
            </a:extLst>
          </p:cNvPr>
          <p:cNvSpPr>
            <a:spLocks noGrp="1"/>
          </p:cNvSpPr>
          <p:nvPr>
            <p:ph type="pic" sz="quarter" idx="37"/>
          </p:nvPr>
        </p:nvSpPr>
        <p:spPr>
          <a:xfrm>
            <a:off x="567068" y="2152093"/>
            <a:ext cx="521208" cy="521208"/>
          </a:xfrm>
          <a:noFill/>
        </p:spPr>
        <p:txBody>
          <a:bodyPr/>
          <a:lstStyle>
            <a:lvl1pPr>
              <a:defRPr sz="1100">
                <a:solidFill>
                  <a:schemeClr val="bg1"/>
                </a:solidFill>
              </a:defRPr>
            </a:lvl1pPr>
          </a:lstStyle>
          <a:p>
            <a:r>
              <a:rPr lang="en-US" dirty="0"/>
              <a:t>Click icon to add picture</a:t>
            </a:r>
          </a:p>
        </p:txBody>
      </p:sp>
      <p:sp>
        <p:nvSpPr>
          <p:cNvPr id="30" name="Picture Placeholder 44">
            <a:extLst>
              <a:ext uri="{FF2B5EF4-FFF2-40B4-BE49-F238E27FC236}">
                <a16:creationId xmlns:a16="http://schemas.microsoft.com/office/drawing/2014/main" id="{3CFF7CBB-4E9D-0B39-DA7A-FD8271833160}"/>
              </a:ext>
            </a:extLst>
          </p:cNvPr>
          <p:cNvSpPr>
            <a:spLocks noGrp="1"/>
          </p:cNvSpPr>
          <p:nvPr>
            <p:ph type="pic" sz="quarter" idx="38"/>
          </p:nvPr>
        </p:nvSpPr>
        <p:spPr>
          <a:xfrm>
            <a:off x="2821168" y="2152093"/>
            <a:ext cx="521208" cy="521208"/>
          </a:xfrm>
          <a:noFill/>
        </p:spPr>
        <p:txBody>
          <a:bodyPr/>
          <a:lstStyle>
            <a:lvl1pPr>
              <a:defRPr sz="1100">
                <a:solidFill>
                  <a:schemeClr val="bg1"/>
                </a:solidFill>
              </a:defRPr>
            </a:lvl1pPr>
          </a:lstStyle>
          <a:p>
            <a:r>
              <a:rPr lang="en-US" dirty="0"/>
              <a:t>Click icon to add picture</a:t>
            </a:r>
          </a:p>
        </p:txBody>
      </p:sp>
      <p:sp>
        <p:nvSpPr>
          <p:cNvPr id="31" name="Picture Placeholder 44">
            <a:extLst>
              <a:ext uri="{FF2B5EF4-FFF2-40B4-BE49-F238E27FC236}">
                <a16:creationId xmlns:a16="http://schemas.microsoft.com/office/drawing/2014/main" id="{76668B8C-4BF3-E7F5-C6F1-F1891A5295CA}"/>
              </a:ext>
            </a:extLst>
          </p:cNvPr>
          <p:cNvSpPr>
            <a:spLocks noGrp="1"/>
          </p:cNvSpPr>
          <p:nvPr>
            <p:ph type="pic" sz="quarter" idx="39"/>
          </p:nvPr>
        </p:nvSpPr>
        <p:spPr>
          <a:xfrm>
            <a:off x="5128424" y="2152093"/>
            <a:ext cx="521208" cy="521208"/>
          </a:xfrm>
          <a:noFill/>
        </p:spPr>
        <p:txBody>
          <a:bodyPr/>
          <a:lstStyle>
            <a:lvl1pPr>
              <a:defRPr sz="1100">
                <a:solidFill>
                  <a:schemeClr val="bg1"/>
                </a:solidFill>
              </a:defRPr>
            </a:lvl1pPr>
          </a:lstStyle>
          <a:p>
            <a:r>
              <a:rPr lang="en-US" dirty="0"/>
              <a:t>Click icon to add picture</a:t>
            </a:r>
          </a:p>
        </p:txBody>
      </p:sp>
      <p:sp>
        <p:nvSpPr>
          <p:cNvPr id="32" name="Picture Placeholder 44">
            <a:extLst>
              <a:ext uri="{FF2B5EF4-FFF2-40B4-BE49-F238E27FC236}">
                <a16:creationId xmlns:a16="http://schemas.microsoft.com/office/drawing/2014/main" id="{BFDC18ED-AC2D-C92F-27D7-7EB549D74B9A}"/>
              </a:ext>
            </a:extLst>
          </p:cNvPr>
          <p:cNvSpPr>
            <a:spLocks noGrp="1"/>
          </p:cNvSpPr>
          <p:nvPr>
            <p:ph type="pic" sz="quarter" idx="40"/>
          </p:nvPr>
        </p:nvSpPr>
        <p:spPr>
          <a:xfrm>
            <a:off x="7382518" y="2152093"/>
            <a:ext cx="521208" cy="521208"/>
          </a:xfrm>
          <a:noFill/>
        </p:spPr>
        <p:txBody>
          <a:bodyPr/>
          <a:lstStyle>
            <a:lvl1pPr>
              <a:defRPr sz="1100">
                <a:solidFill>
                  <a:schemeClr val="bg1"/>
                </a:solidFill>
              </a:defRPr>
            </a:lvl1pPr>
          </a:lstStyle>
          <a:p>
            <a:r>
              <a:rPr lang="en-US" dirty="0"/>
              <a:t>Click icon to add picture</a:t>
            </a:r>
          </a:p>
        </p:txBody>
      </p:sp>
      <p:sp>
        <p:nvSpPr>
          <p:cNvPr id="33" name="Picture Placeholder 44">
            <a:extLst>
              <a:ext uri="{FF2B5EF4-FFF2-40B4-BE49-F238E27FC236}">
                <a16:creationId xmlns:a16="http://schemas.microsoft.com/office/drawing/2014/main" id="{F2CCA429-706B-FCC9-0689-520F98CA52A6}"/>
              </a:ext>
            </a:extLst>
          </p:cNvPr>
          <p:cNvSpPr>
            <a:spLocks noGrp="1"/>
          </p:cNvSpPr>
          <p:nvPr>
            <p:ph type="pic" sz="quarter" idx="41"/>
          </p:nvPr>
        </p:nvSpPr>
        <p:spPr>
          <a:xfrm>
            <a:off x="9668518" y="2152093"/>
            <a:ext cx="521208" cy="521208"/>
          </a:xfrm>
          <a:noFill/>
        </p:spPr>
        <p:txBody>
          <a:bodyPr/>
          <a:lstStyle>
            <a:lvl1pPr>
              <a:defRPr sz="1100">
                <a:solidFill>
                  <a:schemeClr val="bg1"/>
                </a:solidFill>
              </a:defRPr>
            </a:lvl1pPr>
          </a:lstStyle>
          <a:p>
            <a:r>
              <a:rPr lang="en-US" dirty="0"/>
              <a:t>Click icon to add picture</a:t>
            </a:r>
          </a:p>
        </p:txBody>
      </p:sp>
      <p:sp>
        <p:nvSpPr>
          <p:cNvPr id="2" name="Title 1">
            <a:extLst>
              <a:ext uri="{FF2B5EF4-FFF2-40B4-BE49-F238E27FC236}">
                <a16:creationId xmlns:a16="http://schemas.microsoft.com/office/drawing/2014/main" id="{0949855B-9E52-C109-BB22-81D9DEC99F5B}"/>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
        <p:nvSpPr>
          <p:cNvPr id="35" name="Text Placeholder 35">
            <a:extLst>
              <a:ext uri="{FF2B5EF4-FFF2-40B4-BE49-F238E27FC236}">
                <a16:creationId xmlns:a16="http://schemas.microsoft.com/office/drawing/2014/main" id="{17F8DA8A-8A83-2E82-D082-E4E4BF0C3593}"/>
              </a:ext>
            </a:extLst>
          </p:cNvPr>
          <p:cNvSpPr>
            <a:spLocks noGrp="1"/>
          </p:cNvSpPr>
          <p:nvPr>
            <p:ph type="body" sz="quarter" idx="15" hasCustomPrompt="1"/>
          </p:nvPr>
        </p:nvSpPr>
        <p:spPr>
          <a:xfrm>
            <a:off x="609600"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36" name="Text Placeholder 37">
            <a:extLst>
              <a:ext uri="{FF2B5EF4-FFF2-40B4-BE49-F238E27FC236}">
                <a16:creationId xmlns:a16="http://schemas.microsoft.com/office/drawing/2014/main" id="{E39C0855-30DA-35F6-A578-7BEC38F29FC0}"/>
              </a:ext>
            </a:extLst>
          </p:cNvPr>
          <p:cNvSpPr>
            <a:spLocks noGrp="1"/>
          </p:cNvSpPr>
          <p:nvPr>
            <p:ph type="body" sz="quarter" idx="16"/>
          </p:nvPr>
        </p:nvSpPr>
        <p:spPr>
          <a:xfrm>
            <a:off x="609600"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39" name="Text Placeholder 35">
            <a:extLst>
              <a:ext uri="{FF2B5EF4-FFF2-40B4-BE49-F238E27FC236}">
                <a16:creationId xmlns:a16="http://schemas.microsoft.com/office/drawing/2014/main" id="{8D6FA3CA-013B-6D3F-E406-40575493F284}"/>
              </a:ext>
            </a:extLst>
          </p:cNvPr>
          <p:cNvSpPr>
            <a:spLocks noGrp="1"/>
          </p:cNvSpPr>
          <p:nvPr>
            <p:ph type="body" sz="quarter" idx="17" hasCustomPrompt="1"/>
          </p:nvPr>
        </p:nvSpPr>
        <p:spPr>
          <a:xfrm>
            <a:off x="2884017"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40" name="Text Placeholder 37">
            <a:extLst>
              <a:ext uri="{FF2B5EF4-FFF2-40B4-BE49-F238E27FC236}">
                <a16:creationId xmlns:a16="http://schemas.microsoft.com/office/drawing/2014/main" id="{D7DA436C-CDB7-AF89-F0B6-17B79E2F370A}"/>
              </a:ext>
            </a:extLst>
          </p:cNvPr>
          <p:cNvSpPr>
            <a:spLocks noGrp="1"/>
          </p:cNvSpPr>
          <p:nvPr>
            <p:ph type="body" sz="quarter" idx="18"/>
          </p:nvPr>
        </p:nvSpPr>
        <p:spPr>
          <a:xfrm>
            <a:off x="2884017"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43" name="Text Placeholder 35">
            <a:extLst>
              <a:ext uri="{FF2B5EF4-FFF2-40B4-BE49-F238E27FC236}">
                <a16:creationId xmlns:a16="http://schemas.microsoft.com/office/drawing/2014/main" id="{F85FA32E-317C-3728-F052-86E0456C984F}"/>
              </a:ext>
            </a:extLst>
          </p:cNvPr>
          <p:cNvSpPr>
            <a:spLocks noGrp="1"/>
          </p:cNvSpPr>
          <p:nvPr>
            <p:ph type="body" sz="quarter" idx="19" hasCustomPrompt="1"/>
          </p:nvPr>
        </p:nvSpPr>
        <p:spPr>
          <a:xfrm>
            <a:off x="5155571"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44" name="Text Placeholder 37">
            <a:extLst>
              <a:ext uri="{FF2B5EF4-FFF2-40B4-BE49-F238E27FC236}">
                <a16:creationId xmlns:a16="http://schemas.microsoft.com/office/drawing/2014/main" id="{B8A6C3D4-FCE5-36CA-C2C3-2F5035AD3775}"/>
              </a:ext>
            </a:extLst>
          </p:cNvPr>
          <p:cNvSpPr>
            <a:spLocks noGrp="1"/>
          </p:cNvSpPr>
          <p:nvPr>
            <p:ph type="body" sz="quarter" idx="20"/>
          </p:nvPr>
        </p:nvSpPr>
        <p:spPr>
          <a:xfrm>
            <a:off x="5155571"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47" name="Text Placeholder 35">
            <a:extLst>
              <a:ext uri="{FF2B5EF4-FFF2-40B4-BE49-F238E27FC236}">
                <a16:creationId xmlns:a16="http://schemas.microsoft.com/office/drawing/2014/main" id="{645A059E-6755-4667-7A55-595DC3BA9D45}"/>
              </a:ext>
            </a:extLst>
          </p:cNvPr>
          <p:cNvSpPr>
            <a:spLocks noGrp="1"/>
          </p:cNvSpPr>
          <p:nvPr>
            <p:ph type="body" sz="quarter" idx="21" hasCustomPrompt="1"/>
          </p:nvPr>
        </p:nvSpPr>
        <p:spPr>
          <a:xfrm>
            <a:off x="7429988"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48" name="Text Placeholder 37">
            <a:extLst>
              <a:ext uri="{FF2B5EF4-FFF2-40B4-BE49-F238E27FC236}">
                <a16:creationId xmlns:a16="http://schemas.microsoft.com/office/drawing/2014/main" id="{FF1E85DF-94A0-E95A-E21C-3CCA97B6CD50}"/>
              </a:ext>
            </a:extLst>
          </p:cNvPr>
          <p:cNvSpPr>
            <a:spLocks noGrp="1"/>
          </p:cNvSpPr>
          <p:nvPr>
            <p:ph type="body" sz="quarter" idx="22"/>
          </p:nvPr>
        </p:nvSpPr>
        <p:spPr>
          <a:xfrm>
            <a:off x="7429988"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51" name="Text Placeholder 35">
            <a:extLst>
              <a:ext uri="{FF2B5EF4-FFF2-40B4-BE49-F238E27FC236}">
                <a16:creationId xmlns:a16="http://schemas.microsoft.com/office/drawing/2014/main" id="{B706580B-D0EC-DB84-AF34-412C13B5B155}"/>
              </a:ext>
            </a:extLst>
          </p:cNvPr>
          <p:cNvSpPr>
            <a:spLocks noGrp="1"/>
          </p:cNvSpPr>
          <p:nvPr>
            <p:ph type="body" sz="quarter" idx="23" hasCustomPrompt="1"/>
          </p:nvPr>
        </p:nvSpPr>
        <p:spPr>
          <a:xfrm>
            <a:off x="9709796" y="2913171"/>
            <a:ext cx="1874520" cy="738664"/>
          </a:xfrm>
        </p:spPr>
        <p:txBody>
          <a:bodyPr anchor="b">
            <a:noAutofit/>
          </a:bodyPr>
          <a:lstStyle>
            <a:lvl1pPr>
              <a:spcAft>
                <a:spcPts val="0"/>
              </a:spcAft>
              <a:defRPr sz="2400" b="1">
                <a:solidFill>
                  <a:schemeClr val="bg1"/>
                </a:solidFill>
                <a:latin typeface="+mj-lt"/>
              </a:defRPr>
            </a:lvl1pPr>
            <a:lvl2pPr marL="0" indent="0">
              <a:spcAft>
                <a:spcPts val="0"/>
              </a:spcAft>
              <a:buNone/>
              <a:defRPr sz="1600"/>
            </a:lvl2pPr>
          </a:lstStyle>
          <a:p>
            <a:pPr lvl="0"/>
            <a:r>
              <a:rPr lang="en-US"/>
              <a:t>Insert </a:t>
            </a:r>
            <a:br>
              <a:rPr lang="en-US"/>
            </a:br>
            <a:r>
              <a:rPr lang="en-US"/>
              <a:t>header here</a:t>
            </a:r>
          </a:p>
        </p:txBody>
      </p:sp>
      <p:sp>
        <p:nvSpPr>
          <p:cNvPr id="52" name="Text Placeholder 37">
            <a:extLst>
              <a:ext uri="{FF2B5EF4-FFF2-40B4-BE49-F238E27FC236}">
                <a16:creationId xmlns:a16="http://schemas.microsoft.com/office/drawing/2014/main" id="{0EBCED8E-EB08-0B1B-43D9-1EF6B19BC0E1}"/>
              </a:ext>
            </a:extLst>
          </p:cNvPr>
          <p:cNvSpPr>
            <a:spLocks noGrp="1"/>
          </p:cNvSpPr>
          <p:nvPr>
            <p:ph type="body" sz="quarter" idx="24"/>
          </p:nvPr>
        </p:nvSpPr>
        <p:spPr>
          <a:xfrm>
            <a:off x="9709796" y="4162378"/>
            <a:ext cx="1874520" cy="1481328"/>
          </a:xfrm>
        </p:spPr>
        <p:txBody>
          <a:bodyPr>
            <a:noAutofit/>
          </a:bodyPr>
          <a:lstStyle>
            <a:lvl1pPr>
              <a:defRPr sz="1600">
                <a:solidFill>
                  <a:schemeClr val="bg1"/>
                </a:solidFill>
              </a:defRPr>
            </a:lvl1pPr>
            <a:lvl2pPr marL="0" indent="0">
              <a:buNone/>
              <a:defRPr/>
            </a:lvl2pPr>
          </a:lstStyle>
          <a:p>
            <a:pPr lvl="0"/>
            <a:r>
              <a:rPr lang="en-US"/>
              <a:t>Click to edit Master text styles</a:t>
            </a:r>
          </a:p>
        </p:txBody>
      </p:sp>
      <p:sp>
        <p:nvSpPr>
          <p:cNvPr id="53" name="Text Placeholder 3">
            <a:extLst>
              <a:ext uri="{FF2B5EF4-FFF2-40B4-BE49-F238E27FC236}">
                <a16:creationId xmlns:a16="http://schemas.microsoft.com/office/drawing/2014/main" id="{8EE55DB9-26FC-E53D-E41F-DC7CFF12732F}"/>
              </a:ext>
            </a:extLst>
          </p:cNvPr>
          <p:cNvSpPr>
            <a:spLocks noGrp="1"/>
          </p:cNvSpPr>
          <p:nvPr>
            <p:ph type="body" sz="quarter" idx="13" hasCustomPrompt="1"/>
          </p:nvPr>
        </p:nvSpPr>
        <p:spPr>
          <a:xfrm>
            <a:off x="609600" y="1371912"/>
            <a:ext cx="10972800" cy="307777"/>
          </a:xfrm>
        </p:spPr>
        <p:txBody>
          <a:bodyPr>
            <a:noAutofit/>
          </a:bodyPr>
          <a:lstStyle>
            <a:lvl1pPr>
              <a:defRPr>
                <a:solidFill>
                  <a:schemeClr val="bg1"/>
                </a:solidFill>
              </a:defRPr>
            </a:lvl1pPr>
          </a:lstStyle>
          <a:p>
            <a:pPr lvl="0"/>
            <a:r>
              <a:rPr lang="en-US"/>
              <a:t>Subtitle</a:t>
            </a:r>
          </a:p>
        </p:txBody>
      </p:sp>
      <p:sp>
        <p:nvSpPr>
          <p:cNvPr id="3" name="Text Placeholder 7">
            <a:extLst>
              <a:ext uri="{FF2B5EF4-FFF2-40B4-BE49-F238E27FC236}">
                <a16:creationId xmlns:a16="http://schemas.microsoft.com/office/drawing/2014/main" id="{9CF81027-B92C-3715-B3B8-0AA5AEBC1A2C}"/>
              </a:ext>
            </a:extLst>
          </p:cNvPr>
          <p:cNvSpPr>
            <a:spLocks noGrp="1"/>
          </p:cNvSpPr>
          <p:nvPr>
            <p:ph type="body" sz="quarter" idx="25"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4" name="Date Placeholder 12">
            <a:extLst>
              <a:ext uri="{FF2B5EF4-FFF2-40B4-BE49-F238E27FC236}">
                <a16:creationId xmlns:a16="http://schemas.microsoft.com/office/drawing/2014/main" id="{68B22D36-3282-7602-31C9-EEE78DC5A22A}"/>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2E532ACB-1314-45C6-998F-CFCCA7A58407}" type="datetime4">
              <a:rPr lang="en-US" smtClean="0"/>
              <a:t>May 17, 2025</a:t>
            </a:fld>
            <a:endParaRPr lang="en-US" dirty="0"/>
          </a:p>
        </p:txBody>
      </p:sp>
      <p:sp>
        <p:nvSpPr>
          <p:cNvPr id="5" name="Footer Placeholder 13">
            <a:extLst>
              <a:ext uri="{FF2B5EF4-FFF2-40B4-BE49-F238E27FC236}">
                <a16:creationId xmlns:a16="http://schemas.microsoft.com/office/drawing/2014/main" id="{E9408875-4247-F6C9-BA4A-1C1255D2D0D5}"/>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sp>
        <p:nvSpPr>
          <p:cNvPr id="15" name="Slide Number Placeholder 14">
            <a:extLst>
              <a:ext uri="{FF2B5EF4-FFF2-40B4-BE49-F238E27FC236}">
                <a16:creationId xmlns:a16="http://schemas.microsoft.com/office/drawing/2014/main" id="{FE6C9A4D-DB20-F5D9-67E5-661A2E468791}"/>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pic>
        <p:nvPicPr>
          <p:cNvPr id="16" name="Graphic 15">
            <a:extLst>
              <a:ext uri="{FF2B5EF4-FFF2-40B4-BE49-F238E27FC236}">
                <a16:creationId xmlns:a16="http://schemas.microsoft.com/office/drawing/2014/main" id="{B44132BF-63D7-EDBB-8062-09CEDBF903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17" name="Straight Connector 16">
            <a:extLst>
              <a:ext uri="{FF2B5EF4-FFF2-40B4-BE49-F238E27FC236}">
                <a16:creationId xmlns:a16="http://schemas.microsoft.com/office/drawing/2014/main" id="{D9AA6A45-58A1-ECA9-622F-69F4D2BDCCEE}"/>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B36F4EB-7F41-9412-B8E4-4E989911B223}"/>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6DEDC02D-8AF2-C5AE-14D7-410BAC85D4EE}"/>
              </a:ext>
            </a:extLst>
          </p:cNvPr>
          <p:cNvGrpSpPr/>
          <p:nvPr userDrawn="1"/>
        </p:nvGrpSpPr>
        <p:grpSpPr>
          <a:xfrm>
            <a:off x="0" y="426998"/>
            <a:ext cx="12192000" cy="6004005"/>
            <a:chOff x="0" y="426998"/>
            <a:chExt cx="12192000" cy="6004005"/>
          </a:xfrm>
        </p:grpSpPr>
        <p:cxnSp>
          <p:nvCxnSpPr>
            <p:cNvPr id="24" name="Straight Connector 23">
              <a:extLst>
                <a:ext uri="{FF2B5EF4-FFF2-40B4-BE49-F238E27FC236}">
                  <a16:creationId xmlns:a16="http://schemas.microsoft.com/office/drawing/2014/main" id="{6A10C43D-9D28-CF07-F1C3-0188CC01673B}"/>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AF94324-3EC5-1E9A-9848-3AB33B32689D}"/>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632045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our-quadrant A">
    <p:bg>
      <p:bgPr>
        <a:solidFill>
          <a:srgbClr val="F3F3F3"/>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F51D2EF4-5001-F13C-F78E-C3CD30675C37}"/>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9F35C9-63E6-2126-5191-C8E8DE1823BD}"/>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35B575CD-A0F4-D05B-49D1-AAC0DA3F142F}"/>
              </a:ext>
            </a:extLst>
          </p:cNvPr>
          <p:cNvSpPr>
            <a:spLocks noGrp="1"/>
          </p:cNvSpPr>
          <p:nvPr userDrawn="1">
            <p:ph type="body" sz="quarter" idx="3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81" name="Title 1">
            <a:extLst>
              <a:ext uri="{FF2B5EF4-FFF2-40B4-BE49-F238E27FC236}">
                <a16:creationId xmlns:a16="http://schemas.microsoft.com/office/drawing/2014/main" id="{4D986523-65F7-CA58-BE9F-95D9B42E6D58}"/>
              </a:ext>
            </a:extLst>
          </p:cNvPr>
          <p:cNvSpPr>
            <a:spLocks noGrp="1"/>
          </p:cNvSpPr>
          <p:nvPr userDrawn="1">
            <p:ph type="title"/>
          </p:nvPr>
        </p:nvSpPr>
        <p:spPr>
          <a:xfrm>
            <a:off x="609600" y="800754"/>
            <a:ext cx="7078980" cy="553998"/>
          </a:xfrm>
        </p:spPr>
        <p:txBody>
          <a:bodyPr>
            <a:noAutofit/>
          </a:bodyPr>
          <a:lstStyle/>
          <a:p>
            <a:r>
              <a:rPr lang="en-US"/>
              <a:t>Click to edit Master title style</a:t>
            </a:r>
          </a:p>
        </p:txBody>
      </p:sp>
      <p:sp>
        <p:nvSpPr>
          <p:cNvPr id="82" name="Footer Placeholder 2">
            <a:extLst>
              <a:ext uri="{FF2B5EF4-FFF2-40B4-BE49-F238E27FC236}">
                <a16:creationId xmlns:a16="http://schemas.microsoft.com/office/drawing/2014/main" id="{E36D4873-2E50-8B23-FB19-DDF3582A4B90}"/>
              </a:ext>
            </a:extLst>
          </p:cNvPr>
          <p:cNvSpPr>
            <a:spLocks noGrp="1"/>
          </p:cNvSpPr>
          <p:nvPr userDrawn="1">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84" name="Text Placeholder 24">
            <a:extLst>
              <a:ext uri="{FF2B5EF4-FFF2-40B4-BE49-F238E27FC236}">
                <a16:creationId xmlns:a16="http://schemas.microsoft.com/office/drawing/2014/main" id="{0771B77D-36A1-4EBD-304A-B385904204BE}"/>
              </a:ext>
            </a:extLst>
          </p:cNvPr>
          <p:cNvSpPr>
            <a:spLocks noGrp="1"/>
          </p:cNvSpPr>
          <p:nvPr userDrawn="1">
            <p:ph type="body" sz="quarter" idx="29"/>
          </p:nvPr>
        </p:nvSpPr>
        <p:spPr>
          <a:xfrm>
            <a:off x="609600" y="2515283"/>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85" name="Text Placeholder 26">
            <a:extLst>
              <a:ext uri="{FF2B5EF4-FFF2-40B4-BE49-F238E27FC236}">
                <a16:creationId xmlns:a16="http://schemas.microsoft.com/office/drawing/2014/main" id="{EDD43944-89C8-A706-4272-8607BBCA2B02}"/>
              </a:ext>
            </a:extLst>
          </p:cNvPr>
          <p:cNvSpPr>
            <a:spLocks noGrp="1"/>
          </p:cNvSpPr>
          <p:nvPr userDrawn="1">
            <p:ph type="body" sz="quarter" idx="30" hasCustomPrompt="1"/>
          </p:nvPr>
        </p:nvSpPr>
        <p:spPr>
          <a:xfrm>
            <a:off x="609600" y="1795047"/>
            <a:ext cx="442911" cy="430887"/>
          </a:xfrm>
          <a:noFill/>
        </p:spPr>
        <p:txBody>
          <a:bodyPr anchor="b">
            <a:noAutofit/>
          </a:bodyPr>
          <a:lstStyle>
            <a:lvl1pPr algn="l">
              <a:defRPr sz="2800">
                <a:solidFill>
                  <a:schemeClr val="tx2"/>
                </a:solidFill>
              </a:defRPr>
            </a:lvl1pPr>
          </a:lstStyle>
          <a:p>
            <a:pPr lvl="0"/>
            <a:r>
              <a:rPr lang="en-US"/>
              <a:t>00</a:t>
            </a:r>
          </a:p>
        </p:txBody>
      </p:sp>
      <p:sp>
        <p:nvSpPr>
          <p:cNvPr id="87" name="Text Placeholder 24">
            <a:extLst>
              <a:ext uri="{FF2B5EF4-FFF2-40B4-BE49-F238E27FC236}">
                <a16:creationId xmlns:a16="http://schemas.microsoft.com/office/drawing/2014/main" id="{B662D300-DDAF-6F6B-8E39-A7418E15931D}"/>
              </a:ext>
            </a:extLst>
          </p:cNvPr>
          <p:cNvSpPr>
            <a:spLocks noGrp="1"/>
          </p:cNvSpPr>
          <p:nvPr userDrawn="1">
            <p:ph type="body" sz="quarter" idx="31"/>
          </p:nvPr>
        </p:nvSpPr>
        <p:spPr>
          <a:xfrm>
            <a:off x="4500880" y="2515283"/>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88" name="Text Placeholder 26">
            <a:extLst>
              <a:ext uri="{FF2B5EF4-FFF2-40B4-BE49-F238E27FC236}">
                <a16:creationId xmlns:a16="http://schemas.microsoft.com/office/drawing/2014/main" id="{16EEBDC3-7C5A-0C72-D3E0-741A60E0E06F}"/>
              </a:ext>
            </a:extLst>
          </p:cNvPr>
          <p:cNvSpPr>
            <a:spLocks noGrp="1"/>
          </p:cNvSpPr>
          <p:nvPr userDrawn="1">
            <p:ph type="body" sz="quarter" idx="32" hasCustomPrompt="1"/>
          </p:nvPr>
        </p:nvSpPr>
        <p:spPr>
          <a:xfrm>
            <a:off x="4500880" y="1795047"/>
            <a:ext cx="442911" cy="430887"/>
          </a:xfrm>
          <a:noFill/>
        </p:spPr>
        <p:txBody>
          <a:bodyPr anchor="b">
            <a:noAutofit/>
          </a:bodyPr>
          <a:lstStyle>
            <a:lvl1pPr algn="l">
              <a:defRPr sz="2800">
                <a:solidFill>
                  <a:schemeClr val="tx2"/>
                </a:solidFill>
              </a:defRPr>
            </a:lvl1pPr>
          </a:lstStyle>
          <a:p>
            <a:pPr lvl="0"/>
            <a:r>
              <a:rPr lang="en-US"/>
              <a:t>00</a:t>
            </a:r>
          </a:p>
        </p:txBody>
      </p:sp>
      <p:sp>
        <p:nvSpPr>
          <p:cNvPr id="90" name="Text Placeholder 24">
            <a:extLst>
              <a:ext uri="{FF2B5EF4-FFF2-40B4-BE49-F238E27FC236}">
                <a16:creationId xmlns:a16="http://schemas.microsoft.com/office/drawing/2014/main" id="{A24F53DB-EA07-419C-E02D-D0E94FD045F8}"/>
              </a:ext>
            </a:extLst>
          </p:cNvPr>
          <p:cNvSpPr>
            <a:spLocks noGrp="1"/>
          </p:cNvSpPr>
          <p:nvPr userDrawn="1">
            <p:ph type="body" sz="quarter" idx="33"/>
          </p:nvPr>
        </p:nvSpPr>
        <p:spPr>
          <a:xfrm>
            <a:off x="609600" y="4654479"/>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91" name="Text Placeholder 26">
            <a:extLst>
              <a:ext uri="{FF2B5EF4-FFF2-40B4-BE49-F238E27FC236}">
                <a16:creationId xmlns:a16="http://schemas.microsoft.com/office/drawing/2014/main" id="{3A78A5E1-A2A6-7C74-75F4-720FD2C10167}"/>
              </a:ext>
            </a:extLst>
          </p:cNvPr>
          <p:cNvSpPr>
            <a:spLocks noGrp="1"/>
          </p:cNvSpPr>
          <p:nvPr userDrawn="1">
            <p:ph type="body" sz="quarter" idx="34" hasCustomPrompt="1"/>
          </p:nvPr>
        </p:nvSpPr>
        <p:spPr>
          <a:xfrm>
            <a:off x="609600" y="3934243"/>
            <a:ext cx="442911" cy="430887"/>
          </a:xfrm>
          <a:noFill/>
        </p:spPr>
        <p:txBody>
          <a:bodyPr anchor="b">
            <a:noAutofit/>
          </a:bodyPr>
          <a:lstStyle>
            <a:lvl1pPr algn="l">
              <a:defRPr sz="2800">
                <a:solidFill>
                  <a:schemeClr val="tx2"/>
                </a:solidFill>
              </a:defRPr>
            </a:lvl1pPr>
          </a:lstStyle>
          <a:p>
            <a:pPr lvl="0"/>
            <a:r>
              <a:rPr lang="en-US"/>
              <a:t>00</a:t>
            </a:r>
          </a:p>
        </p:txBody>
      </p:sp>
      <p:sp>
        <p:nvSpPr>
          <p:cNvPr id="93" name="Text Placeholder 24">
            <a:extLst>
              <a:ext uri="{FF2B5EF4-FFF2-40B4-BE49-F238E27FC236}">
                <a16:creationId xmlns:a16="http://schemas.microsoft.com/office/drawing/2014/main" id="{299D343F-259D-AA0D-D7CC-4D2F2C059A3A}"/>
              </a:ext>
            </a:extLst>
          </p:cNvPr>
          <p:cNvSpPr>
            <a:spLocks noGrp="1"/>
          </p:cNvSpPr>
          <p:nvPr userDrawn="1">
            <p:ph type="body" sz="quarter" idx="35"/>
          </p:nvPr>
        </p:nvSpPr>
        <p:spPr>
          <a:xfrm>
            <a:off x="4500880" y="4654479"/>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94" name="Text Placeholder 26">
            <a:extLst>
              <a:ext uri="{FF2B5EF4-FFF2-40B4-BE49-F238E27FC236}">
                <a16:creationId xmlns:a16="http://schemas.microsoft.com/office/drawing/2014/main" id="{3AE29A0E-322A-0149-80CB-2224AB498D1E}"/>
              </a:ext>
            </a:extLst>
          </p:cNvPr>
          <p:cNvSpPr>
            <a:spLocks noGrp="1"/>
          </p:cNvSpPr>
          <p:nvPr userDrawn="1">
            <p:ph type="body" sz="quarter" idx="36" hasCustomPrompt="1"/>
          </p:nvPr>
        </p:nvSpPr>
        <p:spPr>
          <a:xfrm>
            <a:off x="4500880" y="3934243"/>
            <a:ext cx="442911" cy="430887"/>
          </a:xfrm>
          <a:noFill/>
        </p:spPr>
        <p:txBody>
          <a:bodyPr anchor="b">
            <a:noAutofit/>
          </a:bodyPr>
          <a:lstStyle>
            <a:lvl1pPr algn="l">
              <a:defRPr sz="2800">
                <a:solidFill>
                  <a:schemeClr val="tx2"/>
                </a:solidFill>
              </a:defRPr>
            </a:lvl1pPr>
          </a:lstStyle>
          <a:p>
            <a:pPr lvl="0"/>
            <a:r>
              <a:rPr lang="en-US"/>
              <a:t>00</a:t>
            </a:r>
          </a:p>
        </p:txBody>
      </p:sp>
      <p:sp>
        <p:nvSpPr>
          <p:cNvPr id="95" name="Text Placeholder 3">
            <a:extLst>
              <a:ext uri="{FF2B5EF4-FFF2-40B4-BE49-F238E27FC236}">
                <a16:creationId xmlns:a16="http://schemas.microsoft.com/office/drawing/2014/main" id="{E79CC756-FCC7-0E3C-8EE7-C039DC9CA4BE}"/>
              </a:ext>
            </a:extLst>
          </p:cNvPr>
          <p:cNvSpPr>
            <a:spLocks noGrp="1"/>
          </p:cNvSpPr>
          <p:nvPr userDrawn="1">
            <p:ph type="body" sz="quarter" idx="13" hasCustomPrompt="1"/>
          </p:nvPr>
        </p:nvSpPr>
        <p:spPr>
          <a:xfrm>
            <a:off x="609600" y="1371912"/>
            <a:ext cx="7078980" cy="307777"/>
          </a:xfrm>
        </p:spPr>
        <p:txBody>
          <a:bodyPr wrap="square">
            <a:noAutofit/>
          </a:bodyPr>
          <a:lstStyle>
            <a:lvl1pPr>
              <a:defRPr>
                <a:solidFill>
                  <a:schemeClr val="tx1">
                    <a:lumMod val="75000"/>
                    <a:lumOff val="25000"/>
                  </a:schemeClr>
                </a:solidFill>
              </a:defRPr>
            </a:lvl1pPr>
          </a:lstStyle>
          <a:p>
            <a:pPr lvl="0"/>
            <a:r>
              <a:rPr lang="en-US"/>
              <a:t>Subtitle</a:t>
            </a:r>
          </a:p>
        </p:txBody>
      </p:sp>
      <p:pic>
        <p:nvPicPr>
          <p:cNvPr id="121" name="Graphic 120">
            <a:extLst>
              <a:ext uri="{FF2B5EF4-FFF2-40B4-BE49-F238E27FC236}">
                <a16:creationId xmlns:a16="http://schemas.microsoft.com/office/drawing/2014/main" id="{6A763AC6-A1BF-3217-C428-6A96C5F278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5" y="88565"/>
            <a:ext cx="984250" cy="250052"/>
          </a:xfrm>
          <a:prstGeom prst="rect">
            <a:avLst/>
          </a:prstGeom>
        </p:spPr>
      </p:pic>
      <p:sp>
        <p:nvSpPr>
          <p:cNvPr id="10" name="Date Placeholder 49">
            <a:extLst>
              <a:ext uri="{FF2B5EF4-FFF2-40B4-BE49-F238E27FC236}">
                <a16:creationId xmlns:a16="http://schemas.microsoft.com/office/drawing/2014/main" id="{B6B4F7AA-D801-2536-6EE3-F4B99BF9D20C}"/>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ED734FD3-1022-4EF1-9EEE-DC71863AE71C}" type="datetime4">
              <a:rPr lang="en-US" smtClean="0"/>
              <a:t>May 17, 2025</a:t>
            </a:fld>
            <a:endParaRPr lang="en-US" dirty="0"/>
          </a:p>
        </p:txBody>
      </p:sp>
      <p:sp>
        <p:nvSpPr>
          <p:cNvPr id="11" name="Slide Number Placeholder 5">
            <a:extLst>
              <a:ext uri="{FF2B5EF4-FFF2-40B4-BE49-F238E27FC236}">
                <a16:creationId xmlns:a16="http://schemas.microsoft.com/office/drawing/2014/main" id="{A8FCD07A-5585-B12C-E039-0E70F1069B93}"/>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 name="Text Placeholder 4">
            <a:extLst>
              <a:ext uri="{FF2B5EF4-FFF2-40B4-BE49-F238E27FC236}">
                <a16:creationId xmlns:a16="http://schemas.microsoft.com/office/drawing/2014/main" id="{A2CEBDD6-7A45-1DCB-6DD9-837A9D6953A6}"/>
              </a:ext>
            </a:extLst>
          </p:cNvPr>
          <p:cNvSpPr>
            <a:spLocks noGrp="1"/>
          </p:cNvSpPr>
          <p:nvPr>
            <p:ph type="body" sz="quarter" idx="38"/>
          </p:nvPr>
        </p:nvSpPr>
        <p:spPr>
          <a:xfrm>
            <a:off x="609600" y="3078123"/>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9" name="Text Placeholder 8">
            <a:extLst>
              <a:ext uri="{FF2B5EF4-FFF2-40B4-BE49-F238E27FC236}">
                <a16:creationId xmlns:a16="http://schemas.microsoft.com/office/drawing/2014/main" id="{01C9D9A6-A4A2-3FF9-B2A9-B6C7854452D7}"/>
              </a:ext>
            </a:extLst>
          </p:cNvPr>
          <p:cNvSpPr>
            <a:spLocks noGrp="1"/>
          </p:cNvSpPr>
          <p:nvPr>
            <p:ph type="body" sz="quarter" idx="39"/>
          </p:nvPr>
        </p:nvSpPr>
        <p:spPr>
          <a:xfrm>
            <a:off x="4500563" y="3081489"/>
            <a:ext cx="3187700" cy="731520"/>
          </a:xfrm>
        </p:spPr>
        <p:txBody>
          <a:bodyPr/>
          <a:lstStyle>
            <a:lvl1pPr marL="0" indent="0">
              <a:buFont typeface="Arial" panose="020B0604020202020204" pitchFamily="34" charset="0"/>
              <a:buNone/>
              <a:defRPr sz="14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4" name="Text Placeholder 13">
            <a:extLst>
              <a:ext uri="{FF2B5EF4-FFF2-40B4-BE49-F238E27FC236}">
                <a16:creationId xmlns:a16="http://schemas.microsoft.com/office/drawing/2014/main" id="{1ABE8072-909A-8BAD-8CA7-5013DF7F7234}"/>
              </a:ext>
            </a:extLst>
          </p:cNvPr>
          <p:cNvSpPr>
            <a:spLocks noGrp="1"/>
          </p:cNvSpPr>
          <p:nvPr>
            <p:ph type="body" sz="quarter" idx="40"/>
          </p:nvPr>
        </p:nvSpPr>
        <p:spPr>
          <a:xfrm>
            <a:off x="609600" y="5221224"/>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15" name="Text Placeholder 13">
            <a:extLst>
              <a:ext uri="{FF2B5EF4-FFF2-40B4-BE49-F238E27FC236}">
                <a16:creationId xmlns:a16="http://schemas.microsoft.com/office/drawing/2014/main" id="{177CCA37-B289-D95E-8C0E-BC5B98271196}"/>
              </a:ext>
            </a:extLst>
          </p:cNvPr>
          <p:cNvSpPr>
            <a:spLocks noGrp="1"/>
          </p:cNvSpPr>
          <p:nvPr>
            <p:ph type="body" sz="quarter" idx="41"/>
          </p:nvPr>
        </p:nvSpPr>
        <p:spPr>
          <a:xfrm>
            <a:off x="4505008" y="5221224"/>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pic>
        <p:nvPicPr>
          <p:cNvPr id="4" name="Picture 3" descr="A screenshot of a video game&#10;&#10;Description automatically generated">
            <a:extLst>
              <a:ext uri="{FF2B5EF4-FFF2-40B4-BE49-F238E27FC236}">
                <a16:creationId xmlns:a16="http://schemas.microsoft.com/office/drawing/2014/main" id="{37647DFC-6A3B-B517-AE8C-24502C125240}"/>
              </a:ext>
            </a:extLst>
          </p:cNvPr>
          <p:cNvPicPr/>
          <p:nvPr userDrawn="1"/>
        </p:nvPicPr>
        <p:blipFill rotWithShape="1">
          <a:blip r:embed="rId4">
            <a:extLst>
              <a:ext uri="{28A0092B-C50C-407E-A947-70E740481C1C}">
                <a14:useLocalDpi xmlns:a14="http://schemas.microsoft.com/office/drawing/2010/main" val="0"/>
              </a:ext>
            </a:extLst>
          </a:blip>
          <a:srcRect l="11677" t="34373" r="8007" b="2938"/>
          <a:stretch/>
        </p:blipFill>
        <p:spPr>
          <a:xfrm>
            <a:off x="8359253" y="539087"/>
            <a:ext cx="3261815" cy="5786650"/>
          </a:xfrm>
          <a:prstGeom prst="rect">
            <a:avLst/>
          </a:prstGeom>
        </p:spPr>
      </p:pic>
    </p:spTree>
    <p:extLst>
      <p:ext uri="{BB962C8B-B14F-4D97-AF65-F5344CB8AC3E}">
        <p14:creationId xmlns:p14="http://schemas.microsoft.com/office/powerpoint/2010/main" val="39582137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our Quadrant A (Dark)">
    <p:bg>
      <p:bgPr>
        <a:solidFill>
          <a:schemeClr val="tx2"/>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35B575CD-A0F4-D05B-49D1-AAC0DA3F142F}"/>
              </a:ext>
            </a:extLst>
          </p:cNvPr>
          <p:cNvSpPr>
            <a:spLocks noGrp="1"/>
          </p:cNvSpPr>
          <p:nvPr userDrawn="1">
            <p:ph type="body" sz="quarter" idx="37" hasCustomPrompt="1"/>
          </p:nvPr>
        </p:nvSpPr>
        <p:spPr>
          <a:xfrm>
            <a:off x="609600" y="136647"/>
            <a:ext cx="4076700" cy="153888"/>
          </a:xfrm>
        </p:spPr>
        <p:txBody>
          <a:bodyPr vert="horz" wrap="square" lIns="0" tIns="0" rIns="0" bIns="0" rtlCol="0" anchor="ctr">
            <a:noAutofit/>
          </a:bodyPr>
          <a:lstStyle>
            <a:lvl1pPr>
              <a:defRPr lang="en-US" sz="1000" b="0" cap="all" spc="0" baseline="0" dirty="0">
                <a:solidFill>
                  <a:schemeClr val="accent1"/>
                </a:solidFill>
                <a:latin typeface="+mj-lt"/>
              </a:defRPr>
            </a:lvl1pPr>
          </a:lstStyle>
          <a:p>
            <a:pPr lvl="0">
              <a:spcAft>
                <a:spcPts val="0"/>
              </a:spcAft>
            </a:pPr>
            <a:r>
              <a:rPr lang="en-US"/>
              <a:t>Industry Name / Section Title</a:t>
            </a:r>
          </a:p>
        </p:txBody>
      </p:sp>
      <p:sp>
        <p:nvSpPr>
          <p:cNvPr id="81" name="Title 1">
            <a:extLst>
              <a:ext uri="{FF2B5EF4-FFF2-40B4-BE49-F238E27FC236}">
                <a16:creationId xmlns:a16="http://schemas.microsoft.com/office/drawing/2014/main" id="{4D986523-65F7-CA58-BE9F-95D9B42E6D58}"/>
              </a:ext>
            </a:extLst>
          </p:cNvPr>
          <p:cNvSpPr>
            <a:spLocks noGrp="1"/>
          </p:cNvSpPr>
          <p:nvPr>
            <p:ph type="title"/>
          </p:nvPr>
        </p:nvSpPr>
        <p:spPr>
          <a:xfrm>
            <a:off x="609600" y="800754"/>
            <a:ext cx="7078980" cy="553998"/>
          </a:xfrm>
        </p:spPr>
        <p:txBody>
          <a:bodyPr>
            <a:noAutofit/>
          </a:bodyPr>
          <a:lstStyle>
            <a:lvl1pPr>
              <a:defRPr>
                <a:solidFill>
                  <a:schemeClr val="bg1"/>
                </a:solidFill>
              </a:defRPr>
            </a:lvl1pPr>
          </a:lstStyle>
          <a:p>
            <a:r>
              <a:rPr lang="en-US"/>
              <a:t>Click to edit Master title style</a:t>
            </a:r>
          </a:p>
        </p:txBody>
      </p:sp>
      <p:sp>
        <p:nvSpPr>
          <p:cNvPr id="82" name="Footer Placeholder 2">
            <a:extLst>
              <a:ext uri="{FF2B5EF4-FFF2-40B4-BE49-F238E27FC236}">
                <a16:creationId xmlns:a16="http://schemas.microsoft.com/office/drawing/2014/main" id="{E36D4873-2E50-8B23-FB19-DDF3582A4B90}"/>
              </a:ext>
            </a:extLst>
          </p:cNvPr>
          <p:cNvSpPr>
            <a:spLocks noGrp="1"/>
          </p:cNvSpPr>
          <p:nvPr>
            <p:ph type="ftr" sz="quarter" idx="10"/>
          </p:nvPr>
        </p:nvSpPr>
        <p:spPr>
          <a:xfrm>
            <a:off x="609600" y="6567465"/>
            <a:ext cx="10083800" cy="153888"/>
          </a:xfrm>
          <a:prstGeom prst="rect">
            <a:avLst/>
          </a:prstGeom>
        </p:spPr>
        <p:txBody>
          <a:bodyPr vert="horz" lIns="0" tIns="0" rIns="0" bIns="0" rtlCol="0" anchor="ctr">
            <a:noAutofit/>
          </a:bodyPr>
          <a:lstStyle>
            <a:lvl1pPr>
              <a:defRPr lang="en-US" smtClean="0">
                <a:solidFill>
                  <a:schemeClr val="bg1">
                    <a:lumMod val="65000"/>
                  </a:schemeClr>
                </a:solidFill>
              </a:defRPr>
            </a:lvl1pPr>
          </a:lstStyle>
          <a:p>
            <a:r>
              <a:rPr lang="en-US" dirty="0"/>
              <a:t>© 2025 Guidehouse Inc.</a:t>
            </a:r>
          </a:p>
        </p:txBody>
      </p:sp>
      <p:sp>
        <p:nvSpPr>
          <p:cNvPr id="85" name="Text Placeholder 26">
            <a:extLst>
              <a:ext uri="{FF2B5EF4-FFF2-40B4-BE49-F238E27FC236}">
                <a16:creationId xmlns:a16="http://schemas.microsoft.com/office/drawing/2014/main" id="{EDD43944-89C8-A706-4272-8607BBCA2B02}"/>
              </a:ext>
            </a:extLst>
          </p:cNvPr>
          <p:cNvSpPr>
            <a:spLocks noGrp="1"/>
          </p:cNvSpPr>
          <p:nvPr>
            <p:ph type="body" sz="quarter" idx="30" hasCustomPrompt="1"/>
          </p:nvPr>
        </p:nvSpPr>
        <p:spPr>
          <a:xfrm>
            <a:off x="609600" y="1795047"/>
            <a:ext cx="442911" cy="430887"/>
          </a:xfrm>
          <a:noFill/>
        </p:spPr>
        <p:txBody>
          <a:bodyPr anchor="b">
            <a:noAutofit/>
          </a:bodyPr>
          <a:lstStyle>
            <a:lvl1pPr algn="l">
              <a:defRPr sz="2800">
                <a:solidFill>
                  <a:schemeClr val="accent1"/>
                </a:solidFill>
              </a:defRPr>
            </a:lvl1pPr>
          </a:lstStyle>
          <a:p>
            <a:pPr lvl="0"/>
            <a:r>
              <a:rPr lang="en-US"/>
              <a:t>00</a:t>
            </a:r>
          </a:p>
        </p:txBody>
      </p:sp>
      <p:sp>
        <p:nvSpPr>
          <p:cNvPr id="88" name="Text Placeholder 26">
            <a:extLst>
              <a:ext uri="{FF2B5EF4-FFF2-40B4-BE49-F238E27FC236}">
                <a16:creationId xmlns:a16="http://schemas.microsoft.com/office/drawing/2014/main" id="{16EEBDC3-7C5A-0C72-D3E0-741A60E0E06F}"/>
              </a:ext>
            </a:extLst>
          </p:cNvPr>
          <p:cNvSpPr>
            <a:spLocks noGrp="1"/>
          </p:cNvSpPr>
          <p:nvPr>
            <p:ph type="body" sz="quarter" idx="32" hasCustomPrompt="1"/>
          </p:nvPr>
        </p:nvSpPr>
        <p:spPr>
          <a:xfrm>
            <a:off x="4500880" y="1795047"/>
            <a:ext cx="442911" cy="430887"/>
          </a:xfrm>
          <a:noFill/>
        </p:spPr>
        <p:txBody>
          <a:bodyPr anchor="b">
            <a:noAutofit/>
          </a:bodyPr>
          <a:lstStyle>
            <a:lvl1pPr algn="l">
              <a:defRPr sz="2800">
                <a:solidFill>
                  <a:schemeClr val="accent1"/>
                </a:solidFill>
              </a:defRPr>
            </a:lvl1pPr>
          </a:lstStyle>
          <a:p>
            <a:pPr lvl="0"/>
            <a:r>
              <a:rPr lang="en-US"/>
              <a:t>00</a:t>
            </a:r>
          </a:p>
        </p:txBody>
      </p:sp>
      <p:sp>
        <p:nvSpPr>
          <p:cNvPr id="91" name="Text Placeholder 26">
            <a:extLst>
              <a:ext uri="{FF2B5EF4-FFF2-40B4-BE49-F238E27FC236}">
                <a16:creationId xmlns:a16="http://schemas.microsoft.com/office/drawing/2014/main" id="{3A78A5E1-A2A6-7C74-75F4-720FD2C10167}"/>
              </a:ext>
            </a:extLst>
          </p:cNvPr>
          <p:cNvSpPr>
            <a:spLocks noGrp="1"/>
          </p:cNvSpPr>
          <p:nvPr>
            <p:ph type="body" sz="quarter" idx="34" hasCustomPrompt="1"/>
          </p:nvPr>
        </p:nvSpPr>
        <p:spPr>
          <a:xfrm>
            <a:off x="609600" y="3934243"/>
            <a:ext cx="442911" cy="430887"/>
          </a:xfrm>
          <a:noFill/>
        </p:spPr>
        <p:txBody>
          <a:bodyPr anchor="b">
            <a:noAutofit/>
          </a:bodyPr>
          <a:lstStyle>
            <a:lvl1pPr algn="l">
              <a:defRPr sz="2800">
                <a:solidFill>
                  <a:schemeClr val="accent1"/>
                </a:solidFill>
              </a:defRPr>
            </a:lvl1pPr>
          </a:lstStyle>
          <a:p>
            <a:pPr lvl="0"/>
            <a:r>
              <a:rPr lang="en-US"/>
              <a:t>00</a:t>
            </a:r>
          </a:p>
        </p:txBody>
      </p:sp>
      <p:sp>
        <p:nvSpPr>
          <p:cNvPr id="94" name="Text Placeholder 26">
            <a:extLst>
              <a:ext uri="{FF2B5EF4-FFF2-40B4-BE49-F238E27FC236}">
                <a16:creationId xmlns:a16="http://schemas.microsoft.com/office/drawing/2014/main" id="{3AE29A0E-322A-0149-80CB-2224AB498D1E}"/>
              </a:ext>
            </a:extLst>
          </p:cNvPr>
          <p:cNvSpPr>
            <a:spLocks noGrp="1"/>
          </p:cNvSpPr>
          <p:nvPr>
            <p:ph type="body" sz="quarter" idx="36" hasCustomPrompt="1"/>
          </p:nvPr>
        </p:nvSpPr>
        <p:spPr>
          <a:xfrm>
            <a:off x="4500880" y="3934243"/>
            <a:ext cx="442911" cy="430887"/>
          </a:xfrm>
          <a:noFill/>
        </p:spPr>
        <p:txBody>
          <a:bodyPr anchor="b">
            <a:noAutofit/>
          </a:bodyPr>
          <a:lstStyle>
            <a:lvl1pPr algn="l">
              <a:defRPr sz="2800">
                <a:solidFill>
                  <a:schemeClr val="accent1"/>
                </a:solidFill>
              </a:defRPr>
            </a:lvl1pPr>
          </a:lstStyle>
          <a:p>
            <a:pPr lvl="0"/>
            <a:r>
              <a:rPr lang="en-US"/>
              <a:t>00</a:t>
            </a:r>
          </a:p>
        </p:txBody>
      </p:sp>
      <p:sp>
        <p:nvSpPr>
          <p:cNvPr id="95" name="Text Placeholder 3">
            <a:extLst>
              <a:ext uri="{FF2B5EF4-FFF2-40B4-BE49-F238E27FC236}">
                <a16:creationId xmlns:a16="http://schemas.microsoft.com/office/drawing/2014/main" id="{E79CC756-FCC7-0E3C-8EE7-C039DC9CA4BE}"/>
              </a:ext>
            </a:extLst>
          </p:cNvPr>
          <p:cNvSpPr>
            <a:spLocks noGrp="1"/>
          </p:cNvSpPr>
          <p:nvPr>
            <p:ph type="body" sz="quarter" idx="13" hasCustomPrompt="1"/>
          </p:nvPr>
        </p:nvSpPr>
        <p:spPr>
          <a:xfrm>
            <a:off x="609600" y="1371912"/>
            <a:ext cx="7078980" cy="307777"/>
          </a:xfrm>
        </p:spPr>
        <p:txBody>
          <a:bodyPr wrap="square">
            <a:noAutofit/>
          </a:bodyPr>
          <a:lstStyle>
            <a:lvl1pPr>
              <a:defRPr>
                <a:solidFill>
                  <a:schemeClr val="bg1"/>
                </a:solidFill>
              </a:defRPr>
            </a:lvl1pPr>
          </a:lstStyle>
          <a:p>
            <a:pPr lvl="0"/>
            <a:r>
              <a:rPr lang="en-US"/>
              <a:t>Subtitle</a:t>
            </a:r>
          </a:p>
        </p:txBody>
      </p:sp>
      <p:pic>
        <p:nvPicPr>
          <p:cNvPr id="2" name="Graphic 1">
            <a:extLst>
              <a:ext uri="{FF2B5EF4-FFF2-40B4-BE49-F238E27FC236}">
                <a16:creationId xmlns:a16="http://schemas.microsoft.com/office/drawing/2014/main" id="{152800FE-FBF0-49F7-F7E8-1489412E6B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sp>
        <p:nvSpPr>
          <p:cNvPr id="12" name="Slide Number Placeholder 3">
            <a:extLst>
              <a:ext uri="{FF2B5EF4-FFF2-40B4-BE49-F238E27FC236}">
                <a16:creationId xmlns:a16="http://schemas.microsoft.com/office/drawing/2014/main" id="{46EB6B38-7D72-D320-6E8A-6DD383343B55}"/>
              </a:ext>
            </a:extLst>
          </p:cNvPr>
          <p:cNvSpPr>
            <a:spLocks noGrp="1"/>
          </p:cNvSpPr>
          <p:nvPr>
            <p:ph type="sldNum" sz="quarter" idx="11"/>
          </p:nvPr>
        </p:nvSpPr>
        <p:spPr>
          <a:xfrm>
            <a:off x="11248008" y="6567465"/>
            <a:ext cx="334392" cy="153888"/>
          </a:xfrm>
          <a:prstGeom prst="rect">
            <a:avLst/>
          </a:prstGeom>
        </p:spPr>
        <p:txBody>
          <a:bodyPr vert="horz" lIns="0" tIns="0" rIns="0" bIns="0" rtlCol="0" anchor="ctr">
            <a:noAutofit/>
          </a:bodyPr>
          <a:lstStyle>
            <a:lvl1pPr>
              <a:defRPr lang="en-US" smtClean="0">
                <a:solidFill>
                  <a:schemeClr val="bg1">
                    <a:lumMod val="65000"/>
                  </a:schemeClr>
                </a:solidFill>
              </a:defRPr>
            </a:lvl1pPr>
          </a:lstStyle>
          <a:p>
            <a:fld id="{FD814145-5B10-4F3F-A6BF-3641B91211CF}" type="slidenum">
              <a:rPr lang="en-US" smtClean="0"/>
              <a:pPr/>
              <a:t>‹#›</a:t>
            </a:fld>
            <a:endParaRPr lang="en-US" dirty="0"/>
          </a:p>
        </p:txBody>
      </p:sp>
      <p:sp>
        <p:nvSpPr>
          <p:cNvPr id="13" name="Date Placeholder 4">
            <a:extLst>
              <a:ext uri="{FF2B5EF4-FFF2-40B4-BE49-F238E27FC236}">
                <a16:creationId xmlns:a16="http://schemas.microsoft.com/office/drawing/2014/main" id="{8F1CC0A0-41F7-468C-8E0E-468227CB93D9}"/>
              </a:ext>
            </a:extLst>
          </p:cNvPr>
          <p:cNvSpPr>
            <a:spLocks noGrp="1"/>
          </p:cNvSpPr>
          <p:nvPr>
            <p:ph type="dt" sz="half" idx="12"/>
          </p:nvPr>
        </p:nvSpPr>
        <p:spPr>
          <a:xfrm>
            <a:off x="10236555" y="136647"/>
            <a:ext cx="1345845" cy="153888"/>
          </a:xfrm>
        </p:spPr>
        <p:txBody>
          <a:bodyPr vert="horz" wrap="square" lIns="0" tIns="0" rIns="0" bIns="0" rtlCol="0" anchor="ctr">
            <a:noAutofit/>
          </a:bodyPr>
          <a:lstStyle>
            <a:lvl1pPr>
              <a:defRPr lang="en-US" smtClean="0">
                <a:solidFill>
                  <a:schemeClr val="bg1">
                    <a:lumMod val="65000"/>
                  </a:schemeClr>
                </a:solidFill>
              </a:defRPr>
            </a:lvl1pPr>
          </a:lstStyle>
          <a:p>
            <a:fld id="{C3B46C02-003B-48AE-876D-3A7AE8CF956F}" type="datetime4">
              <a:rPr lang="en-US" smtClean="0"/>
              <a:t>May 17, 2025</a:t>
            </a:fld>
            <a:endParaRPr lang="en-US" dirty="0"/>
          </a:p>
        </p:txBody>
      </p:sp>
      <p:grpSp>
        <p:nvGrpSpPr>
          <p:cNvPr id="24" name="Group 23">
            <a:extLst>
              <a:ext uri="{FF2B5EF4-FFF2-40B4-BE49-F238E27FC236}">
                <a16:creationId xmlns:a16="http://schemas.microsoft.com/office/drawing/2014/main" id="{3A822572-CA27-14A6-5889-83EDE56BC82E}"/>
              </a:ext>
            </a:extLst>
          </p:cNvPr>
          <p:cNvGrpSpPr/>
          <p:nvPr userDrawn="1"/>
        </p:nvGrpSpPr>
        <p:grpSpPr>
          <a:xfrm>
            <a:off x="0" y="426998"/>
            <a:ext cx="12192000" cy="6004005"/>
            <a:chOff x="0" y="426998"/>
            <a:chExt cx="12192000" cy="6004005"/>
          </a:xfrm>
        </p:grpSpPr>
        <p:cxnSp>
          <p:nvCxnSpPr>
            <p:cNvPr id="22" name="Straight Connector 21">
              <a:extLst>
                <a:ext uri="{FF2B5EF4-FFF2-40B4-BE49-F238E27FC236}">
                  <a16:creationId xmlns:a16="http://schemas.microsoft.com/office/drawing/2014/main" id="{5CBBC9AB-1658-0BED-4B6F-984327C6AC9D}"/>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113BDAA-1D3C-579F-793D-B1665481C19B}"/>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sp>
        <p:nvSpPr>
          <p:cNvPr id="3" name="Text Placeholder 24">
            <a:extLst>
              <a:ext uri="{FF2B5EF4-FFF2-40B4-BE49-F238E27FC236}">
                <a16:creationId xmlns:a16="http://schemas.microsoft.com/office/drawing/2014/main" id="{45D52899-4691-F249-E334-9C8EEA6FB816}"/>
              </a:ext>
            </a:extLst>
          </p:cNvPr>
          <p:cNvSpPr>
            <a:spLocks noGrp="1"/>
          </p:cNvSpPr>
          <p:nvPr>
            <p:ph type="body" sz="quarter" idx="29"/>
          </p:nvPr>
        </p:nvSpPr>
        <p:spPr>
          <a:xfrm>
            <a:off x="609600" y="2515283"/>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6" name="Text Placeholder 24">
            <a:extLst>
              <a:ext uri="{FF2B5EF4-FFF2-40B4-BE49-F238E27FC236}">
                <a16:creationId xmlns:a16="http://schemas.microsoft.com/office/drawing/2014/main" id="{8F149C85-589D-6AE5-DB05-DB3C98D020AD}"/>
              </a:ext>
            </a:extLst>
          </p:cNvPr>
          <p:cNvSpPr>
            <a:spLocks noGrp="1"/>
          </p:cNvSpPr>
          <p:nvPr>
            <p:ph type="body" sz="quarter" idx="31"/>
          </p:nvPr>
        </p:nvSpPr>
        <p:spPr>
          <a:xfrm>
            <a:off x="4500880" y="2515283"/>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7" name="Text Placeholder 24">
            <a:extLst>
              <a:ext uri="{FF2B5EF4-FFF2-40B4-BE49-F238E27FC236}">
                <a16:creationId xmlns:a16="http://schemas.microsoft.com/office/drawing/2014/main" id="{DA8ED140-709E-CA2D-621B-29A679B246CD}"/>
              </a:ext>
            </a:extLst>
          </p:cNvPr>
          <p:cNvSpPr>
            <a:spLocks noGrp="1"/>
          </p:cNvSpPr>
          <p:nvPr>
            <p:ph type="body" sz="quarter" idx="33"/>
          </p:nvPr>
        </p:nvSpPr>
        <p:spPr>
          <a:xfrm>
            <a:off x="609600" y="4654479"/>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8" name="Text Placeholder 24">
            <a:extLst>
              <a:ext uri="{FF2B5EF4-FFF2-40B4-BE49-F238E27FC236}">
                <a16:creationId xmlns:a16="http://schemas.microsoft.com/office/drawing/2014/main" id="{04A8125B-0CA5-3DC6-8702-414763711E56}"/>
              </a:ext>
            </a:extLst>
          </p:cNvPr>
          <p:cNvSpPr>
            <a:spLocks noGrp="1"/>
          </p:cNvSpPr>
          <p:nvPr>
            <p:ph type="body" sz="quarter" idx="35"/>
          </p:nvPr>
        </p:nvSpPr>
        <p:spPr>
          <a:xfrm>
            <a:off x="4500880" y="4654479"/>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9" name="Text Placeholder 4">
            <a:extLst>
              <a:ext uri="{FF2B5EF4-FFF2-40B4-BE49-F238E27FC236}">
                <a16:creationId xmlns:a16="http://schemas.microsoft.com/office/drawing/2014/main" id="{886C5878-34C0-8518-3E55-9A63948F70C5}"/>
              </a:ext>
            </a:extLst>
          </p:cNvPr>
          <p:cNvSpPr>
            <a:spLocks noGrp="1"/>
          </p:cNvSpPr>
          <p:nvPr>
            <p:ph type="body" sz="quarter" idx="38"/>
          </p:nvPr>
        </p:nvSpPr>
        <p:spPr>
          <a:xfrm>
            <a:off x="609600" y="3078123"/>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10" name="Text Placeholder 8">
            <a:extLst>
              <a:ext uri="{FF2B5EF4-FFF2-40B4-BE49-F238E27FC236}">
                <a16:creationId xmlns:a16="http://schemas.microsoft.com/office/drawing/2014/main" id="{2753D67B-4715-32EA-D98B-1D06782D63AB}"/>
              </a:ext>
            </a:extLst>
          </p:cNvPr>
          <p:cNvSpPr>
            <a:spLocks noGrp="1"/>
          </p:cNvSpPr>
          <p:nvPr>
            <p:ph type="body" sz="quarter" idx="39"/>
          </p:nvPr>
        </p:nvSpPr>
        <p:spPr>
          <a:xfrm>
            <a:off x="4500563" y="3081489"/>
            <a:ext cx="3187700" cy="731520"/>
          </a:xfrm>
        </p:spPr>
        <p:txBody>
          <a:bodyPr/>
          <a:lstStyle>
            <a:lvl1pPr marL="0" indent="0">
              <a:buFont typeface="Arial" panose="020B0604020202020204" pitchFamily="34" charset="0"/>
              <a:buNone/>
              <a:defRPr sz="14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5" name="Text Placeholder 13">
            <a:extLst>
              <a:ext uri="{FF2B5EF4-FFF2-40B4-BE49-F238E27FC236}">
                <a16:creationId xmlns:a16="http://schemas.microsoft.com/office/drawing/2014/main" id="{8860125C-77DA-74AC-CBAD-8839DC140DBB}"/>
              </a:ext>
            </a:extLst>
          </p:cNvPr>
          <p:cNvSpPr>
            <a:spLocks noGrp="1"/>
          </p:cNvSpPr>
          <p:nvPr>
            <p:ph type="body" sz="quarter" idx="40"/>
          </p:nvPr>
        </p:nvSpPr>
        <p:spPr>
          <a:xfrm>
            <a:off x="609600" y="5221224"/>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17" name="Text Placeholder 13">
            <a:extLst>
              <a:ext uri="{FF2B5EF4-FFF2-40B4-BE49-F238E27FC236}">
                <a16:creationId xmlns:a16="http://schemas.microsoft.com/office/drawing/2014/main" id="{0A5D10B8-DCE6-EB63-E982-EB602BB12715}"/>
              </a:ext>
            </a:extLst>
          </p:cNvPr>
          <p:cNvSpPr>
            <a:spLocks noGrp="1"/>
          </p:cNvSpPr>
          <p:nvPr>
            <p:ph type="body" sz="quarter" idx="41"/>
          </p:nvPr>
        </p:nvSpPr>
        <p:spPr>
          <a:xfrm>
            <a:off x="4505008" y="5221224"/>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pic>
        <p:nvPicPr>
          <p:cNvPr id="16" name="Picture 15" descr="A green circles in a circle&#10;&#10;Description automatically generated">
            <a:extLst>
              <a:ext uri="{FF2B5EF4-FFF2-40B4-BE49-F238E27FC236}">
                <a16:creationId xmlns:a16="http://schemas.microsoft.com/office/drawing/2014/main" id="{5ED3FFB8-3733-52A8-213E-38BC8DFB5E12}"/>
              </a:ext>
            </a:extLst>
          </p:cNvPr>
          <p:cNvPicPr/>
          <p:nvPr userDrawn="1"/>
        </p:nvPicPr>
        <p:blipFill rotWithShape="1">
          <a:blip r:embed="rId4">
            <a:extLst>
              <a:ext uri="{28A0092B-C50C-407E-A947-70E740481C1C}">
                <a14:useLocalDpi xmlns:a14="http://schemas.microsoft.com/office/drawing/2010/main" val="0"/>
              </a:ext>
            </a:extLst>
          </a:blip>
          <a:srcRect l="7621" t="34126" r="5301" b="2732"/>
          <a:stretch/>
        </p:blipFill>
        <p:spPr>
          <a:xfrm>
            <a:off x="8352430" y="525439"/>
            <a:ext cx="3275463" cy="5800298"/>
          </a:xfrm>
          <a:prstGeom prst="rect">
            <a:avLst/>
          </a:prstGeom>
        </p:spPr>
      </p:pic>
    </p:spTree>
    <p:extLst>
      <p:ext uri="{BB962C8B-B14F-4D97-AF65-F5344CB8AC3E}">
        <p14:creationId xmlns:p14="http://schemas.microsoft.com/office/powerpoint/2010/main" val="42274428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1 - Dark">
    <p:bg>
      <p:bgPr>
        <a:solidFill>
          <a:schemeClr val="bg1">
            <a:lumMod val="75000"/>
          </a:schemeClr>
        </a:solidFill>
        <a:effectLst/>
      </p:bgPr>
    </p:bg>
    <p:spTree>
      <p:nvGrpSpPr>
        <p:cNvPr id="1" name=""/>
        <p:cNvGrpSpPr/>
        <p:nvPr/>
      </p:nvGrpSpPr>
      <p:grpSpPr>
        <a:xfrm>
          <a:off x="0" y="0"/>
          <a:ext cx="0" cy="0"/>
          <a:chOff x="0" y="0"/>
          <a:chExt cx="0" cy="0"/>
        </a:xfrm>
      </p:grpSpPr>
      <p:grpSp>
        <p:nvGrpSpPr>
          <p:cNvPr id="3" name="Graphic 7">
            <a:extLst>
              <a:ext uri="{FF2B5EF4-FFF2-40B4-BE49-F238E27FC236}">
                <a16:creationId xmlns:a16="http://schemas.microsoft.com/office/drawing/2014/main" id="{C5A0A539-4BAC-8953-4BBA-6D59087AD769}"/>
              </a:ext>
            </a:extLst>
          </p:cNvPr>
          <p:cNvGrpSpPr/>
          <p:nvPr userDrawn="1"/>
        </p:nvGrpSpPr>
        <p:grpSpPr>
          <a:xfrm>
            <a:off x="609600" y="557212"/>
            <a:ext cx="1729317" cy="437558"/>
            <a:chOff x="609600" y="557212"/>
            <a:chExt cx="2670098" cy="675598"/>
          </a:xfrm>
        </p:grpSpPr>
        <p:sp>
          <p:nvSpPr>
            <p:cNvPr id="4" name="Freeform: Shape 3">
              <a:extLst>
                <a:ext uri="{FF2B5EF4-FFF2-40B4-BE49-F238E27FC236}">
                  <a16:creationId xmlns:a16="http://schemas.microsoft.com/office/drawing/2014/main" id="{CABD304E-130C-E81B-7AD9-4DF1D35529F5}"/>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420A9100-D517-D472-CEFD-D0D3A5BCF545}"/>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A4E6CE2-336C-0213-9FF5-26E16386C047}"/>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dirty="0"/>
            </a:p>
          </p:txBody>
        </p:sp>
      </p:grpSp>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4594548"/>
            <a:ext cx="5376672"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sp>
        <p:nvSpPr>
          <p:cNvPr id="34" name="Text Placeholder 33">
            <a:extLst>
              <a:ext uri="{FF2B5EF4-FFF2-40B4-BE49-F238E27FC236}">
                <a16:creationId xmlns:a16="http://schemas.microsoft.com/office/drawing/2014/main" id="{D7147827-288A-C738-6D39-15FD117D3583}"/>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cxnSp>
        <p:nvCxnSpPr>
          <p:cNvPr id="2" name="Straight Connector 1">
            <a:extLst>
              <a:ext uri="{FF2B5EF4-FFF2-40B4-BE49-F238E27FC236}">
                <a16:creationId xmlns:a16="http://schemas.microsoft.com/office/drawing/2014/main" id="{6FCC54D6-1CD8-DA15-70A3-BCCDE81CDB97}"/>
              </a:ext>
            </a:extLst>
          </p:cNvPr>
          <p:cNvCxnSpPr>
            <a:cxnSpLocks/>
          </p:cNvCxnSpPr>
          <p:nvPr userDrawn="1"/>
        </p:nvCxnSpPr>
        <p:spPr>
          <a:xfrm>
            <a:off x="609600" y="4594548"/>
            <a:ext cx="537667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2CE2077C-8DE3-6BD5-5043-2657C9192082}"/>
              </a:ext>
            </a:extLst>
          </p:cNvPr>
          <p:cNvSpPr>
            <a:spLocks noGrp="1"/>
          </p:cNvSpPr>
          <p:nvPr>
            <p:ph type="body" sz="quarter" idx="15" hasCustomPrompt="1"/>
          </p:nvPr>
        </p:nvSpPr>
        <p:spPr>
          <a:xfrm>
            <a:off x="612648" y="1527048"/>
            <a:ext cx="2468880" cy="255587"/>
          </a:xfrm>
        </p:spPr>
        <p:txBody>
          <a:bodyPr>
            <a:noAutofit/>
          </a:bodyPr>
          <a:lstStyle>
            <a:lvl1pPr>
              <a:defRPr sz="1400" b="1" spc="300" baseline="0">
                <a:solidFill>
                  <a:schemeClr val="bg1"/>
                </a:solidFill>
                <a:latin typeface="+mj-lt"/>
              </a:defRPr>
            </a:lvl1pPr>
          </a:lstStyle>
          <a:p>
            <a:pPr lvl="0"/>
            <a:r>
              <a:rPr lang="en-US"/>
              <a:t>DATE</a:t>
            </a:r>
          </a:p>
        </p:txBody>
      </p:sp>
      <p:sp>
        <p:nvSpPr>
          <p:cNvPr id="14" name="Text Placeholder 33">
            <a:extLst>
              <a:ext uri="{FF2B5EF4-FFF2-40B4-BE49-F238E27FC236}">
                <a16:creationId xmlns:a16="http://schemas.microsoft.com/office/drawing/2014/main" id="{CE47B4CB-AA1E-6A37-74DA-E065D5DBDA43}"/>
              </a:ext>
            </a:extLst>
          </p:cNvPr>
          <p:cNvSpPr>
            <a:spLocks noGrp="1"/>
          </p:cNvSpPr>
          <p:nvPr>
            <p:ph type="body" sz="quarter" idx="16"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1">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2900752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quadrant B">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FB671-7288-F24D-B614-7485A1EB4769}"/>
              </a:ext>
            </a:extLst>
          </p:cNvPr>
          <p:cNvSpPr>
            <a:spLocks noGrp="1"/>
          </p:cNvSpPr>
          <p:nvPr>
            <p:ph type="title"/>
          </p:nvPr>
        </p:nvSpPr>
        <p:spPr>
          <a:xfrm>
            <a:off x="609600" y="800754"/>
            <a:ext cx="707898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4A06DE4C-2824-F86F-176F-D7CEE692CA7D}"/>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FD3D05B5-3984-8ED5-ECAF-B676C5833515}"/>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 name="Date Placeholder 4">
            <a:extLst>
              <a:ext uri="{FF2B5EF4-FFF2-40B4-BE49-F238E27FC236}">
                <a16:creationId xmlns:a16="http://schemas.microsoft.com/office/drawing/2014/main" id="{F9A9FAB2-9497-583D-67D2-92656EBD96E1}"/>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3E8D147B-20B8-41F8-9C65-D6EE371733C4}" type="datetime4">
              <a:rPr lang="en-US" smtClean="0"/>
              <a:t>May 17, 2025</a:t>
            </a:fld>
            <a:endParaRPr lang="en-US" dirty="0"/>
          </a:p>
        </p:txBody>
      </p:sp>
      <p:sp>
        <p:nvSpPr>
          <p:cNvPr id="23" name="Text Placeholder 7">
            <a:extLst>
              <a:ext uri="{FF2B5EF4-FFF2-40B4-BE49-F238E27FC236}">
                <a16:creationId xmlns:a16="http://schemas.microsoft.com/office/drawing/2014/main" id="{1E90DC0E-D394-DFF1-20FF-E4F025C29CC4}"/>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7" name="Text Placeholder 26">
            <a:extLst>
              <a:ext uri="{FF2B5EF4-FFF2-40B4-BE49-F238E27FC236}">
                <a16:creationId xmlns:a16="http://schemas.microsoft.com/office/drawing/2014/main" id="{53C5C91F-539C-50A5-74CB-E57859E7C44B}"/>
              </a:ext>
            </a:extLst>
          </p:cNvPr>
          <p:cNvSpPr>
            <a:spLocks noGrp="1"/>
          </p:cNvSpPr>
          <p:nvPr>
            <p:ph type="body" sz="quarter" idx="30" hasCustomPrompt="1"/>
          </p:nvPr>
        </p:nvSpPr>
        <p:spPr>
          <a:xfrm>
            <a:off x="609600" y="1795047"/>
            <a:ext cx="442911" cy="430887"/>
          </a:xfrm>
          <a:noFill/>
        </p:spPr>
        <p:txBody>
          <a:bodyPr anchor="b">
            <a:noAutofit/>
          </a:bodyPr>
          <a:lstStyle>
            <a:lvl1pPr algn="l">
              <a:defRPr sz="2800">
                <a:solidFill>
                  <a:schemeClr val="tx2"/>
                </a:solidFill>
              </a:defRPr>
            </a:lvl1pPr>
          </a:lstStyle>
          <a:p>
            <a:pPr lvl="0"/>
            <a:r>
              <a:rPr lang="en-US"/>
              <a:t>00</a:t>
            </a:r>
          </a:p>
        </p:txBody>
      </p:sp>
      <p:sp>
        <p:nvSpPr>
          <p:cNvPr id="30" name="Text Placeholder 26">
            <a:extLst>
              <a:ext uri="{FF2B5EF4-FFF2-40B4-BE49-F238E27FC236}">
                <a16:creationId xmlns:a16="http://schemas.microsoft.com/office/drawing/2014/main" id="{3F52A92B-F518-04CD-762D-7E421D327B3D}"/>
              </a:ext>
            </a:extLst>
          </p:cNvPr>
          <p:cNvSpPr>
            <a:spLocks noGrp="1"/>
          </p:cNvSpPr>
          <p:nvPr>
            <p:ph type="body" sz="quarter" idx="32" hasCustomPrompt="1"/>
          </p:nvPr>
        </p:nvSpPr>
        <p:spPr>
          <a:xfrm>
            <a:off x="4500880" y="1795047"/>
            <a:ext cx="442911" cy="430887"/>
          </a:xfrm>
          <a:noFill/>
        </p:spPr>
        <p:txBody>
          <a:bodyPr anchor="b">
            <a:noAutofit/>
          </a:bodyPr>
          <a:lstStyle>
            <a:lvl1pPr algn="l">
              <a:defRPr sz="2800">
                <a:solidFill>
                  <a:schemeClr val="tx2"/>
                </a:solidFill>
              </a:defRPr>
            </a:lvl1pPr>
          </a:lstStyle>
          <a:p>
            <a:pPr lvl="0"/>
            <a:r>
              <a:rPr lang="en-US"/>
              <a:t>00</a:t>
            </a:r>
          </a:p>
        </p:txBody>
      </p:sp>
      <p:sp>
        <p:nvSpPr>
          <p:cNvPr id="33" name="Text Placeholder 26">
            <a:extLst>
              <a:ext uri="{FF2B5EF4-FFF2-40B4-BE49-F238E27FC236}">
                <a16:creationId xmlns:a16="http://schemas.microsoft.com/office/drawing/2014/main" id="{2E6139D6-5C1F-9984-933D-05C6245DDEE9}"/>
              </a:ext>
            </a:extLst>
          </p:cNvPr>
          <p:cNvSpPr>
            <a:spLocks noGrp="1"/>
          </p:cNvSpPr>
          <p:nvPr>
            <p:ph type="body" sz="quarter" idx="34" hasCustomPrompt="1"/>
          </p:nvPr>
        </p:nvSpPr>
        <p:spPr>
          <a:xfrm>
            <a:off x="609600" y="3934243"/>
            <a:ext cx="442911" cy="430887"/>
          </a:xfrm>
          <a:noFill/>
        </p:spPr>
        <p:txBody>
          <a:bodyPr anchor="b">
            <a:noAutofit/>
          </a:bodyPr>
          <a:lstStyle>
            <a:lvl1pPr algn="l">
              <a:defRPr sz="2800">
                <a:solidFill>
                  <a:schemeClr val="tx2"/>
                </a:solidFill>
              </a:defRPr>
            </a:lvl1pPr>
          </a:lstStyle>
          <a:p>
            <a:pPr lvl="0"/>
            <a:r>
              <a:rPr lang="en-US"/>
              <a:t>00</a:t>
            </a:r>
          </a:p>
        </p:txBody>
      </p:sp>
      <p:sp>
        <p:nvSpPr>
          <p:cNvPr id="36" name="Text Placeholder 26">
            <a:extLst>
              <a:ext uri="{FF2B5EF4-FFF2-40B4-BE49-F238E27FC236}">
                <a16:creationId xmlns:a16="http://schemas.microsoft.com/office/drawing/2014/main" id="{59081576-9853-F2AC-596D-5E4837628CC1}"/>
              </a:ext>
            </a:extLst>
          </p:cNvPr>
          <p:cNvSpPr>
            <a:spLocks noGrp="1"/>
          </p:cNvSpPr>
          <p:nvPr>
            <p:ph type="body" sz="quarter" idx="36" hasCustomPrompt="1"/>
          </p:nvPr>
        </p:nvSpPr>
        <p:spPr>
          <a:xfrm>
            <a:off x="4500880" y="3934243"/>
            <a:ext cx="442911" cy="430887"/>
          </a:xfrm>
          <a:noFill/>
        </p:spPr>
        <p:txBody>
          <a:bodyPr anchor="b">
            <a:noAutofit/>
          </a:bodyPr>
          <a:lstStyle>
            <a:lvl1pPr algn="l">
              <a:defRPr sz="2800">
                <a:solidFill>
                  <a:schemeClr val="tx2"/>
                </a:solidFill>
              </a:defRPr>
            </a:lvl1pPr>
          </a:lstStyle>
          <a:p>
            <a:pPr lvl="0"/>
            <a:r>
              <a:rPr lang="en-US"/>
              <a:t>00</a:t>
            </a:r>
          </a:p>
        </p:txBody>
      </p:sp>
      <p:sp>
        <p:nvSpPr>
          <p:cNvPr id="37" name="Text Placeholder 3">
            <a:extLst>
              <a:ext uri="{FF2B5EF4-FFF2-40B4-BE49-F238E27FC236}">
                <a16:creationId xmlns:a16="http://schemas.microsoft.com/office/drawing/2014/main" id="{277C43D7-C00C-7DE6-0BB0-C5E8CE8207B8}"/>
              </a:ext>
            </a:extLst>
          </p:cNvPr>
          <p:cNvSpPr>
            <a:spLocks noGrp="1"/>
          </p:cNvSpPr>
          <p:nvPr>
            <p:ph type="body" sz="quarter" idx="13" hasCustomPrompt="1"/>
          </p:nvPr>
        </p:nvSpPr>
        <p:spPr>
          <a:xfrm>
            <a:off x="609600" y="1371912"/>
            <a:ext cx="7078980" cy="307777"/>
          </a:xfrm>
        </p:spPr>
        <p:txBody>
          <a:bodyPr wrap="square">
            <a:noAutofit/>
          </a:bodyPr>
          <a:lstStyle>
            <a:lvl1pPr>
              <a:defRPr>
                <a:solidFill>
                  <a:schemeClr val="tx1">
                    <a:lumMod val="75000"/>
                    <a:lumOff val="25000"/>
                  </a:schemeClr>
                </a:solidFill>
              </a:defRPr>
            </a:lvl1pPr>
          </a:lstStyle>
          <a:p>
            <a:pPr lvl="0"/>
            <a:r>
              <a:rPr lang="en-US"/>
              <a:t>Subtitle</a:t>
            </a:r>
          </a:p>
        </p:txBody>
      </p:sp>
      <p:sp>
        <p:nvSpPr>
          <p:cNvPr id="19" name="Text Placeholder 24">
            <a:extLst>
              <a:ext uri="{FF2B5EF4-FFF2-40B4-BE49-F238E27FC236}">
                <a16:creationId xmlns:a16="http://schemas.microsoft.com/office/drawing/2014/main" id="{6124C7D0-2EB5-CCA2-1131-CD42AFA531EE}"/>
              </a:ext>
            </a:extLst>
          </p:cNvPr>
          <p:cNvSpPr>
            <a:spLocks noGrp="1"/>
          </p:cNvSpPr>
          <p:nvPr>
            <p:ph type="body" sz="quarter" idx="29"/>
          </p:nvPr>
        </p:nvSpPr>
        <p:spPr>
          <a:xfrm>
            <a:off x="609600" y="2515283"/>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20" name="Text Placeholder 24">
            <a:extLst>
              <a:ext uri="{FF2B5EF4-FFF2-40B4-BE49-F238E27FC236}">
                <a16:creationId xmlns:a16="http://schemas.microsoft.com/office/drawing/2014/main" id="{4EE4B5A0-6227-F787-6A54-C2A60161F7D3}"/>
              </a:ext>
            </a:extLst>
          </p:cNvPr>
          <p:cNvSpPr>
            <a:spLocks noGrp="1"/>
          </p:cNvSpPr>
          <p:nvPr>
            <p:ph type="body" sz="quarter" idx="31"/>
          </p:nvPr>
        </p:nvSpPr>
        <p:spPr>
          <a:xfrm>
            <a:off x="4500880" y="2515283"/>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21" name="Text Placeholder 24">
            <a:extLst>
              <a:ext uri="{FF2B5EF4-FFF2-40B4-BE49-F238E27FC236}">
                <a16:creationId xmlns:a16="http://schemas.microsoft.com/office/drawing/2014/main" id="{5B9A97B2-2B34-59ED-CE30-23518BEB029D}"/>
              </a:ext>
            </a:extLst>
          </p:cNvPr>
          <p:cNvSpPr>
            <a:spLocks noGrp="1"/>
          </p:cNvSpPr>
          <p:nvPr>
            <p:ph type="body" sz="quarter" idx="33"/>
          </p:nvPr>
        </p:nvSpPr>
        <p:spPr>
          <a:xfrm>
            <a:off x="609600" y="4654479"/>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22" name="Text Placeholder 24">
            <a:extLst>
              <a:ext uri="{FF2B5EF4-FFF2-40B4-BE49-F238E27FC236}">
                <a16:creationId xmlns:a16="http://schemas.microsoft.com/office/drawing/2014/main" id="{C7D1D394-778B-6918-5F27-84D4E90ADBCE}"/>
              </a:ext>
            </a:extLst>
          </p:cNvPr>
          <p:cNvSpPr>
            <a:spLocks noGrp="1"/>
          </p:cNvSpPr>
          <p:nvPr>
            <p:ph type="body" sz="quarter" idx="35"/>
          </p:nvPr>
        </p:nvSpPr>
        <p:spPr>
          <a:xfrm>
            <a:off x="4500880" y="4654479"/>
            <a:ext cx="3191256" cy="521208"/>
          </a:xfrm>
        </p:spPr>
        <p:txBody>
          <a:bodyPr>
            <a:noAutofit/>
          </a:bodyPr>
          <a:lstStyle>
            <a:lvl1pPr marL="0" indent="0">
              <a:buFont typeface="Arial" panose="020B0604020202020204" pitchFamily="34" charset="0"/>
              <a:buNone/>
              <a:defRPr sz="1600" b="1">
                <a:latin typeface="+mj-lt"/>
              </a:defRPr>
            </a:lvl1pPr>
            <a:lvl2pPr marL="0" indent="0">
              <a:buNone/>
              <a:defRPr sz="1400"/>
            </a:lvl2pPr>
            <a:lvl3pPr marL="182880" indent="0">
              <a:buNone/>
              <a:defRPr/>
            </a:lvl3pPr>
          </a:lstStyle>
          <a:p>
            <a:pPr lvl="0"/>
            <a:r>
              <a:rPr lang="en-US"/>
              <a:t>Click to edit Master text styles</a:t>
            </a:r>
          </a:p>
        </p:txBody>
      </p:sp>
      <p:sp>
        <p:nvSpPr>
          <p:cNvPr id="39" name="Text Placeholder 4">
            <a:extLst>
              <a:ext uri="{FF2B5EF4-FFF2-40B4-BE49-F238E27FC236}">
                <a16:creationId xmlns:a16="http://schemas.microsoft.com/office/drawing/2014/main" id="{E38DC567-338B-E0F7-CF67-AFE622A0CC97}"/>
              </a:ext>
            </a:extLst>
          </p:cNvPr>
          <p:cNvSpPr>
            <a:spLocks noGrp="1"/>
          </p:cNvSpPr>
          <p:nvPr>
            <p:ph type="body" sz="quarter" idx="38"/>
          </p:nvPr>
        </p:nvSpPr>
        <p:spPr>
          <a:xfrm>
            <a:off x="609600" y="3078123"/>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40" name="Text Placeholder 8">
            <a:extLst>
              <a:ext uri="{FF2B5EF4-FFF2-40B4-BE49-F238E27FC236}">
                <a16:creationId xmlns:a16="http://schemas.microsoft.com/office/drawing/2014/main" id="{D0DFD801-9B31-CBB2-FEAE-5C0FCD87BC1F}"/>
              </a:ext>
            </a:extLst>
          </p:cNvPr>
          <p:cNvSpPr>
            <a:spLocks noGrp="1"/>
          </p:cNvSpPr>
          <p:nvPr>
            <p:ph type="body" sz="quarter" idx="39"/>
          </p:nvPr>
        </p:nvSpPr>
        <p:spPr>
          <a:xfrm>
            <a:off x="4500563" y="3081489"/>
            <a:ext cx="3187700" cy="731520"/>
          </a:xfrm>
        </p:spPr>
        <p:txBody>
          <a:bodyPr/>
          <a:lstStyle>
            <a:lvl1pPr marL="0" indent="0">
              <a:buFont typeface="Arial" panose="020B0604020202020204" pitchFamily="34" charset="0"/>
              <a:buNone/>
              <a:defRPr sz="14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41" name="Text Placeholder 13">
            <a:extLst>
              <a:ext uri="{FF2B5EF4-FFF2-40B4-BE49-F238E27FC236}">
                <a16:creationId xmlns:a16="http://schemas.microsoft.com/office/drawing/2014/main" id="{2B46E368-9937-4345-14E3-49FF8C68F0AD}"/>
              </a:ext>
            </a:extLst>
          </p:cNvPr>
          <p:cNvSpPr>
            <a:spLocks noGrp="1"/>
          </p:cNvSpPr>
          <p:nvPr>
            <p:ph type="body" sz="quarter" idx="40"/>
          </p:nvPr>
        </p:nvSpPr>
        <p:spPr>
          <a:xfrm>
            <a:off x="609600" y="5221224"/>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42" name="Text Placeholder 13">
            <a:extLst>
              <a:ext uri="{FF2B5EF4-FFF2-40B4-BE49-F238E27FC236}">
                <a16:creationId xmlns:a16="http://schemas.microsoft.com/office/drawing/2014/main" id="{1303312D-25DE-1166-642A-6673876FFE04}"/>
              </a:ext>
            </a:extLst>
          </p:cNvPr>
          <p:cNvSpPr>
            <a:spLocks noGrp="1"/>
          </p:cNvSpPr>
          <p:nvPr>
            <p:ph type="body" sz="quarter" idx="41"/>
          </p:nvPr>
        </p:nvSpPr>
        <p:spPr>
          <a:xfrm>
            <a:off x="4505008" y="5221224"/>
            <a:ext cx="3190875" cy="731520"/>
          </a:xfrm>
        </p:spPr>
        <p:txBody>
          <a:bodyPr/>
          <a:lstStyle>
            <a:lvl1pPr marL="0" indent="0">
              <a:buFont typeface="Arial" panose="020B0604020202020204" pitchFamily="34" charset="0"/>
              <a:buNone/>
              <a:defRPr sz="1400"/>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grpSp>
        <p:nvGrpSpPr>
          <p:cNvPr id="38" name="Group 37">
            <a:extLst>
              <a:ext uri="{FF2B5EF4-FFF2-40B4-BE49-F238E27FC236}">
                <a16:creationId xmlns:a16="http://schemas.microsoft.com/office/drawing/2014/main" id="{E02B04E6-DFE4-8F61-77A7-3BAE91280415}"/>
              </a:ext>
            </a:extLst>
          </p:cNvPr>
          <p:cNvGrpSpPr/>
          <p:nvPr userDrawn="1"/>
        </p:nvGrpSpPr>
        <p:grpSpPr>
          <a:xfrm>
            <a:off x="8668767" y="2176216"/>
            <a:ext cx="2913628" cy="2916483"/>
            <a:chOff x="8477772" y="2176216"/>
            <a:chExt cx="3104627" cy="3107669"/>
          </a:xfrm>
        </p:grpSpPr>
        <p:sp>
          <p:nvSpPr>
            <p:cNvPr id="12" name="Freeform: Shape 11">
              <a:extLst>
                <a:ext uri="{FF2B5EF4-FFF2-40B4-BE49-F238E27FC236}">
                  <a16:creationId xmlns:a16="http://schemas.microsoft.com/office/drawing/2014/main" id="{1DDAB8FB-291B-E617-AD35-5D0D2C85B979}"/>
                </a:ext>
              </a:extLst>
            </p:cNvPr>
            <p:cNvSpPr/>
            <p:nvPr/>
          </p:nvSpPr>
          <p:spPr>
            <a:xfrm>
              <a:off x="8477772" y="4040792"/>
              <a:ext cx="1243092" cy="1243092"/>
            </a:xfrm>
            <a:custGeom>
              <a:avLst/>
              <a:gdLst>
                <a:gd name="connsiteX0" fmla="*/ 0 w 1243092"/>
                <a:gd name="connsiteY0" fmla="*/ 1243093 h 1243092"/>
                <a:gd name="connsiteX1" fmla="*/ 0 w 1243092"/>
                <a:gd name="connsiteY1" fmla="*/ 0 h 1243092"/>
                <a:gd name="connsiteX2" fmla="*/ 1243093 w 1243092"/>
                <a:gd name="connsiteY2" fmla="*/ 0 h 1243092"/>
                <a:gd name="connsiteX3" fmla="*/ 0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0" y="1243093"/>
                  </a:moveTo>
                  <a:lnTo>
                    <a:pt x="0" y="0"/>
                  </a:lnTo>
                  <a:lnTo>
                    <a:pt x="1243093" y="0"/>
                  </a:lnTo>
                  <a:lnTo>
                    <a:pt x="0" y="1243093"/>
                  </a:lnTo>
                  <a:close/>
                </a:path>
              </a:pathLst>
            </a:custGeom>
            <a:solidFill>
              <a:srgbClr val="000000"/>
            </a:solidFill>
            <a:ln w="6191"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1D8CFF20-FCFC-BF39-5C69-44CA783859FC}"/>
                </a:ext>
              </a:extLst>
            </p:cNvPr>
            <p:cNvSpPr/>
            <p:nvPr/>
          </p:nvSpPr>
          <p:spPr>
            <a:xfrm>
              <a:off x="8477772" y="4040792"/>
              <a:ext cx="1243092" cy="1243092"/>
            </a:xfrm>
            <a:custGeom>
              <a:avLst/>
              <a:gdLst>
                <a:gd name="connsiteX0" fmla="*/ 1243093 w 1243092"/>
                <a:gd name="connsiteY0" fmla="*/ 1243093 h 1243092"/>
                <a:gd name="connsiteX1" fmla="*/ 0 w 1243092"/>
                <a:gd name="connsiteY1" fmla="*/ 1243093 h 1243092"/>
                <a:gd name="connsiteX2" fmla="*/ 1243093 w 1243092"/>
                <a:gd name="connsiteY2" fmla="*/ 0 h 1243092"/>
                <a:gd name="connsiteX3" fmla="*/ 1243093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1243093" y="1243093"/>
                  </a:moveTo>
                  <a:lnTo>
                    <a:pt x="0" y="1243093"/>
                  </a:lnTo>
                  <a:lnTo>
                    <a:pt x="1243093" y="0"/>
                  </a:lnTo>
                  <a:lnTo>
                    <a:pt x="1243093" y="1243093"/>
                  </a:lnTo>
                  <a:close/>
                </a:path>
              </a:pathLst>
            </a:custGeom>
            <a:solidFill>
              <a:srgbClr val="93D500"/>
            </a:solidFill>
            <a:ln w="6191"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F8E7DB0F-57F2-0BB1-A359-3F2B24747527}"/>
                </a:ext>
              </a:extLst>
            </p:cNvPr>
            <p:cNvSpPr/>
            <p:nvPr/>
          </p:nvSpPr>
          <p:spPr>
            <a:xfrm>
              <a:off x="10339306" y="2176216"/>
              <a:ext cx="1243092" cy="1243092"/>
            </a:xfrm>
            <a:custGeom>
              <a:avLst/>
              <a:gdLst>
                <a:gd name="connsiteX0" fmla="*/ 0 w 1243092"/>
                <a:gd name="connsiteY0" fmla="*/ 1243093 h 1243092"/>
                <a:gd name="connsiteX1" fmla="*/ 0 w 1243092"/>
                <a:gd name="connsiteY1" fmla="*/ 0 h 1243092"/>
                <a:gd name="connsiteX2" fmla="*/ 1243093 w 1243092"/>
                <a:gd name="connsiteY2" fmla="*/ 0 h 1243092"/>
                <a:gd name="connsiteX3" fmla="*/ 0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0" y="1243093"/>
                  </a:moveTo>
                  <a:lnTo>
                    <a:pt x="0" y="0"/>
                  </a:lnTo>
                  <a:lnTo>
                    <a:pt x="1243093" y="0"/>
                  </a:lnTo>
                  <a:lnTo>
                    <a:pt x="0" y="1243093"/>
                  </a:lnTo>
                  <a:close/>
                </a:path>
              </a:pathLst>
            </a:custGeom>
            <a:solidFill>
              <a:srgbClr val="000000"/>
            </a:solidFill>
            <a:ln w="6191"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2766101B-1B7C-33CC-AB9A-2BCEB9054770}"/>
                </a:ext>
              </a:extLst>
            </p:cNvPr>
            <p:cNvSpPr/>
            <p:nvPr/>
          </p:nvSpPr>
          <p:spPr>
            <a:xfrm>
              <a:off x="10339306" y="2176216"/>
              <a:ext cx="1243092" cy="1243092"/>
            </a:xfrm>
            <a:custGeom>
              <a:avLst/>
              <a:gdLst>
                <a:gd name="connsiteX0" fmla="*/ 1243093 w 1243092"/>
                <a:gd name="connsiteY0" fmla="*/ 1243093 h 1243092"/>
                <a:gd name="connsiteX1" fmla="*/ 0 w 1243092"/>
                <a:gd name="connsiteY1" fmla="*/ 1243093 h 1243092"/>
                <a:gd name="connsiteX2" fmla="*/ 1243093 w 1243092"/>
                <a:gd name="connsiteY2" fmla="*/ 0 h 1243092"/>
                <a:gd name="connsiteX3" fmla="*/ 1243093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1243093" y="1243093"/>
                  </a:moveTo>
                  <a:lnTo>
                    <a:pt x="0" y="1243093"/>
                  </a:lnTo>
                  <a:lnTo>
                    <a:pt x="1243093" y="0"/>
                  </a:lnTo>
                  <a:lnTo>
                    <a:pt x="1243093" y="1243093"/>
                  </a:lnTo>
                  <a:close/>
                </a:path>
              </a:pathLst>
            </a:custGeom>
            <a:solidFill>
              <a:srgbClr val="93D500"/>
            </a:solidFill>
            <a:ln w="6191"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97FF00E8-12B1-0F1C-1F00-424A505ED697}"/>
                </a:ext>
              </a:extLst>
            </p:cNvPr>
            <p:cNvSpPr/>
            <p:nvPr/>
          </p:nvSpPr>
          <p:spPr>
            <a:xfrm>
              <a:off x="8477772" y="2176216"/>
              <a:ext cx="1243093" cy="1243093"/>
            </a:xfrm>
            <a:custGeom>
              <a:avLst/>
              <a:gdLst>
                <a:gd name="connsiteX0" fmla="*/ 0 w 1243093"/>
                <a:gd name="connsiteY0" fmla="*/ 0 h 1243093"/>
                <a:gd name="connsiteX1" fmla="*/ 1243093 w 1243093"/>
                <a:gd name="connsiteY1" fmla="*/ 0 h 1243093"/>
                <a:gd name="connsiteX2" fmla="*/ 1243093 w 1243093"/>
                <a:gd name="connsiteY2" fmla="*/ 1243093 h 1243093"/>
                <a:gd name="connsiteX3" fmla="*/ 0 w 1243093"/>
                <a:gd name="connsiteY3" fmla="*/ 1243093 h 1243093"/>
              </a:gdLst>
              <a:ahLst/>
              <a:cxnLst>
                <a:cxn ang="0">
                  <a:pos x="connsiteX0" y="connsiteY0"/>
                </a:cxn>
                <a:cxn ang="0">
                  <a:pos x="connsiteX1" y="connsiteY1"/>
                </a:cxn>
                <a:cxn ang="0">
                  <a:pos x="connsiteX2" y="connsiteY2"/>
                </a:cxn>
                <a:cxn ang="0">
                  <a:pos x="connsiteX3" y="connsiteY3"/>
                </a:cxn>
              </a:cxnLst>
              <a:rect l="l" t="t" r="r" b="b"/>
              <a:pathLst>
                <a:path w="1243093" h="1243093">
                  <a:moveTo>
                    <a:pt x="0" y="0"/>
                  </a:moveTo>
                  <a:lnTo>
                    <a:pt x="1243093" y="0"/>
                  </a:lnTo>
                  <a:lnTo>
                    <a:pt x="1243093" y="1243093"/>
                  </a:lnTo>
                  <a:lnTo>
                    <a:pt x="0" y="1243093"/>
                  </a:lnTo>
                  <a:close/>
                </a:path>
              </a:pathLst>
            </a:custGeom>
            <a:solidFill>
              <a:srgbClr val="000000"/>
            </a:solidFill>
            <a:ln w="6191"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A3390EB0-ABE0-10C4-D3D4-8DECDA33B7D6}"/>
                </a:ext>
              </a:extLst>
            </p:cNvPr>
            <p:cNvSpPr/>
            <p:nvPr/>
          </p:nvSpPr>
          <p:spPr>
            <a:xfrm>
              <a:off x="10339306" y="4040792"/>
              <a:ext cx="1243093" cy="1243093"/>
            </a:xfrm>
            <a:custGeom>
              <a:avLst/>
              <a:gdLst>
                <a:gd name="connsiteX0" fmla="*/ 0 w 1243093"/>
                <a:gd name="connsiteY0" fmla="*/ 0 h 1243093"/>
                <a:gd name="connsiteX1" fmla="*/ 1243093 w 1243093"/>
                <a:gd name="connsiteY1" fmla="*/ 0 h 1243093"/>
                <a:gd name="connsiteX2" fmla="*/ 1243093 w 1243093"/>
                <a:gd name="connsiteY2" fmla="*/ 1243093 h 1243093"/>
                <a:gd name="connsiteX3" fmla="*/ 0 w 1243093"/>
                <a:gd name="connsiteY3" fmla="*/ 1243093 h 1243093"/>
              </a:gdLst>
              <a:ahLst/>
              <a:cxnLst>
                <a:cxn ang="0">
                  <a:pos x="connsiteX0" y="connsiteY0"/>
                </a:cxn>
                <a:cxn ang="0">
                  <a:pos x="connsiteX1" y="connsiteY1"/>
                </a:cxn>
                <a:cxn ang="0">
                  <a:pos x="connsiteX2" y="connsiteY2"/>
                </a:cxn>
                <a:cxn ang="0">
                  <a:pos x="connsiteX3" y="connsiteY3"/>
                </a:cxn>
              </a:cxnLst>
              <a:rect l="l" t="t" r="r" b="b"/>
              <a:pathLst>
                <a:path w="1243093" h="1243093">
                  <a:moveTo>
                    <a:pt x="0" y="0"/>
                  </a:moveTo>
                  <a:lnTo>
                    <a:pt x="1243093" y="0"/>
                  </a:lnTo>
                  <a:lnTo>
                    <a:pt x="1243093" y="1243093"/>
                  </a:lnTo>
                  <a:lnTo>
                    <a:pt x="0" y="1243093"/>
                  </a:lnTo>
                  <a:close/>
                </a:path>
              </a:pathLst>
            </a:custGeom>
            <a:solidFill>
              <a:srgbClr val="93D500"/>
            </a:solidFill>
            <a:ln w="6191"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3309297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quadrant B (Dark)">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FB671-7288-F24D-B614-7485A1EB4769}"/>
              </a:ext>
            </a:extLst>
          </p:cNvPr>
          <p:cNvSpPr>
            <a:spLocks noGrp="1"/>
          </p:cNvSpPr>
          <p:nvPr>
            <p:ph type="title"/>
          </p:nvPr>
        </p:nvSpPr>
        <p:spPr>
          <a:xfrm>
            <a:off x="609600" y="800754"/>
            <a:ext cx="7078980" cy="553998"/>
          </a:xfrm>
        </p:spPr>
        <p:txBody>
          <a:bodyPr>
            <a:noAutofit/>
          </a:bodyPr>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4A06DE4C-2824-F86F-176F-D7CEE692CA7D}"/>
              </a:ext>
            </a:extLst>
          </p:cNvPr>
          <p:cNvSpPr>
            <a:spLocks noGrp="1"/>
          </p:cNvSpPr>
          <p:nvPr>
            <p:ph type="ftr" sz="quarter" idx="10"/>
          </p:nvPr>
        </p:nvSpPr>
        <p:spPr>
          <a:xfrm>
            <a:off x="609600" y="6567465"/>
            <a:ext cx="10083800" cy="153888"/>
          </a:xfrm>
          <a:prstGeom prst="rect">
            <a:avLst/>
          </a:prstGeom>
        </p:spPr>
        <p:txBody>
          <a:bodyPr vert="horz" lIns="0" tIns="0" rIns="0" bIns="0" rtlCol="0" anchor="ctr">
            <a:noAutofit/>
          </a:bodyPr>
          <a:lstStyle>
            <a:lvl1pPr>
              <a:defRPr lang="en-US" smtClean="0">
                <a:solidFill>
                  <a:schemeClr val="bg1">
                    <a:lumMod val="6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FD3D05B5-3984-8ED5-ECAF-B676C5833515}"/>
              </a:ext>
            </a:extLst>
          </p:cNvPr>
          <p:cNvSpPr>
            <a:spLocks noGrp="1"/>
          </p:cNvSpPr>
          <p:nvPr>
            <p:ph type="sldNum" sz="quarter" idx="11"/>
          </p:nvPr>
        </p:nvSpPr>
        <p:spPr>
          <a:xfrm>
            <a:off x="11248008" y="6567465"/>
            <a:ext cx="334392" cy="153888"/>
          </a:xfrm>
          <a:prstGeom prst="rect">
            <a:avLst/>
          </a:prstGeom>
        </p:spPr>
        <p:txBody>
          <a:bodyPr vert="horz" lIns="0" tIns="0" rIns="0" bIns="0" rtlCol="0" anchor="ctr">
            <a:noAutofit/>
          </a:bodyPr>
          <a:lstStyle>
            <a:lvl1pPr>
              <a:defRPr lang="en-US" smtClean="0">
                <a:solidFill>
                  <a:schemeClr val="bg1">
                    <a:lumMod val="65000"/>
                  </a:schemeClr>
                </a:solidFill>
              </a:defRPr>
            </a:lvl1pPr>
          </a:lstStyle>
          <a:p>
            <a:fld id="{FD814145-5B10-4F3F-A6BF-3641B91211CF}" type="slidenum">
              <a:rPr lang="en-US" smtClean="0"/>
              <a:pPr/>
              <a:t>‹#›</a:t>
            </a:fld>
            <a:endParaRPr lang="en-US" dirty="0"/>
          </a:p>
        </p:txBody>
      </p:sp>
      <p:sp>
        <p:nvSpPr>
          <p:cNvPr id="5" name="Date Placeholder 4">
            <a:extLst>
              <a:ext uri="{FF2B5EF4-FFF2-40B4-BE49-F238E27FC236}">
                <a16:creationId xmlns:a16="http://schemas.microsoft.com/office/drawing/2014/main" id="{F9A9FAB2-9497-583D-67D2-92656EBD96E1}"/>
              </a:ext>
            </a:extLst>
          </p:cNvPr>
          <p:cNvSpPr>
            <a:spLocks noGrp="1"/>
          </p:cNvSpPr>
          <p:nvPr>
            <p:ph type="dt" sz="half" idx="12"/>
          </p:nvPr>
        </p:nvSpPr>
        <p:spPr>
          <a:xfrm>
            <a:off x="10236555" y="136647"/>
            <a:ext cx="1345845" cy="153888"/>
          </a:xfrm>
        </p:spPr>
        <p:txBody>
          <a:bodyPr vert="horz" wrap="square" lIns="0" tIns="0" rIns="0" bIns="0" rtlCol="0" anchor="ctr">
            <a:noAutofit/>
          </a:bodyPr>
          <a:lstStyle>
            <a:lvl1pPr>
              <a:defRPr lang="en-US" smtClean="0">
                <a:solidFill>
                  <a:schemeClr val="bg1">
                    <a:lumMod val="65000"/>
                  </a:schemeClr>
                </a:solidFill>
              </a:defRPr>
            </a:lvl1pPr>
          </a:lstStyle>
          <a:p>
            <a:fld id="{09708D96-D14B-468B-AFA7-AF17343FD0E8}" type="datetime4">
              <a:rPr lang="en-US" smtClean="0"/>
              <a:t>May 17, 2025</a:t>
            </a:fld>
            <a:endParaRPr lang="en-US" dirty="0"/>
          </a:p>
        </p:txBody>
      </p:sp>
      <p:sp>
        <p:nvSpPr>
          <p:cNvPr id="23" name="Text Placeholder 7">
            <a:extLst>
              <a:ext uri="{FF2B5EF4-FFF2-40B4-BE49-F238E27FC236}">
                <a16:creationId xmlns:a16="http://schemas.microsoft.com/office/drawing/2014/main" id="{1E90DC0E-D394-DFF1-20FF-E4F025C29CC4}"/>
              </a:ext>
            </a:extLst>
          </p:cNvPr>
          <p:cNvSpPr>
            <a:spLocks noGrp="1"/>
          </p:cNvSpPr>
          <p:nvPr>
            <p:ph type="body" sz="quarter" idx="28" hasCustomPrompt="1"/>
          </p:nvPr>
        </p:nvSpPr>
        <p:spPr>
          <a:xfrm>
            <a:off x="609600" y="136647"/>
            <a:ext cx="4076700" cy="153888"/>
          </a:xfrm>
        </p:spPr>
        <p:txBody>
          <a:bodyPr vert="horz" wrap="square" lIns="0" tIns="0" rIns="0" bIns="0" rtlCol="0" anchor="ctr">
            <a:noAutofit/>
          </a:bodyPr>
          <a:lstStyle>
            <a:lvl1pPr>
              <a:defRPr lang="en-US" sz="1000" b="0" cap="all" spc="0" baseline="0" dirty="0">
                <a:solidFill>
                  <a:schemeClr val="accent1"/>
                </a:solidFill>
                <a:latin typeface="+mj-lt"/>
              </a:defRPr>
            </a:lvl1pPr>
          </a:lstStyle>
          <a:p>
            <a:pPr lvl="0">
              <a:spcAft>
                <a:spcPts val="0"/>
              </a:spcAft>
            </a:pPr>
            <a:r>
              <a:rPr lang="en-US"/>
              <a:t>Industry Name / Section Title</a:t>
            </a:r>
          </a:p>
        </p:txBody>
      </p:sp>
      <p:sp>
        <p:nvSpPr>
          <p:cNvPr id="27" name="Text Placeholder 26">
            <a:extLst>
              <a:ext uri="{FF2B5EF4-FFF2-40B4-BE49-F238E27FC236}">
                <a16:creationId xmlns:a16="http://schemas.microsoft.com/office/drawing/2014/main" id="{53C5C91F-539C-50A5-74CB-E57859E7C44B}"/>
              </a:ext>
            </a:extLst>
          </p:cNvPr>
          <p:cNvSpPr>
            <a:spLocks noGrp="1"/>
          </p:cNvSpPr>
          <p:nvPr>
            <p:ph type="body" sz="quarter" idx="30" hasCustomPrompt="1"/>
          </p:nvPr>
        </p:nvSpPr>
        <p:spPr>
          <a:xfrm>
            <a:off x="609600" y="1795047"/>
            <a:ext cx="442911" cy="430887"/>
          </a:xfrm>
          <a:noFill/>
        </p:spPr>
        <p:txBody>
          <a:bodyPr anchor="b">
            <a:noAutofit/>
          </a:bodyPr>
          <a:lstStyle>
            <a:lvl1pPr algn="l">
              <a:defRPr sz="2800">
                <a:solidFill>
                  <a:schemeClr val="accent1"/>
                </a:solidFill>
              </a:defRPr>
            </a:lvl1pPr>
          </a:lstStyle>
          <a:p>
            <a:pPr lvl="0"/>
            <a:r>
              <a:rPr lang="en-US"/>
              <a:t>00</a:t>
            </a:r>
          </a:p>
        </p:txBody>
      </p:sp>
      <p:sp>
        <p:nvSpPr>
          <p:cNvPr id="30" name="Text Placeholder 26">
            <a:extLst>
              <a:ext uri="{FF2B5EF4-FFF2-40B4-BE49-F238E27FC236}">
                <a16:creationId xmlns:a16="http://schemas.microsoft.com/office/drawing/2014/main" id="{3F52A92B-F518-04CD-762D-7E421D327B3D}"/>
              </a:ext>
            </a:extLst>
          </p:cNvPr>
          <p:cNvSpPr>
            <a:spLocks noGrp="1"/>
          </p:cNvSpPr>
          <p:nvPr>
            <p:ph type="body" sz="quarter" idx="32" hasCustomPrompt="1"/>
          </p:nvPr>
        </p:nvSpPr>
        <p:spPr>
          <a:xfrm>
            <a:off x="4500880" y="1795047"/>
            <a:ext cx="442911" cy="430887"/>
          </a:xfrm>
          <a:noFill/>
        </p:spPr>
        <p:txBody>
          <a:bodyPr anchor="b">
            <a:noAutofit/>
          </a:bodyPr>
          <a:lstStyle>
            <a:lvl1pPr algn="l">
              <a:defRPr sz="2800">
                <a:solidFill>
                  <a:schemeClr val="accent1"/>
                </a:solidFill>
              </a:defRPr>
            </a:lvl1pPr>
          </a:lstStyle>
          <a:p>
            <a:pPr lvl="0"/>
            <a:r>
              <a:rPr lang="en-US"/>
              <a:t>00</a:t>
            </a:r>
          </a:p>
        </p:txBody>
      </p:sp>
      <p:sp>
        <p:nvSpPr>
          <p:cNvPr id="33" name="Text Placeholder 26">
            <a:extLst>
              <a:ext uri="{FF2B5EF4-FFF2-40B4-BE49-F238E27FC236}">
                <a16:creationId xmlns:a16="http://schemas.microsoft.com/office/drawing/2014/main" id="{2E6139D6-5C1F-9984-933D-05C6245DDEE9}"/>
              </a:ext>
            </a:extLst>
          </p:cNvPr>
          <p:cNvSpPr>
            <a:spLocks noGrp="1"/>
          </p:cNvSpPr>
          <p:nvPr>
            <p:ph type="body" sz="quarter" idx="34" hasCustomPrompt="1"/>
          </p:nvPr>
        </p:nvSpPr>
        <p:spPr>
          <a:xfrm>
            <a:off x="609600" y="3934243"/>
            <a:ext cx="442911" cy="430887"/>
          </a:xfrm>
          <a:noFill/>
        </p:spPr>
        <p:txBody>
          <a:bodyPr anchor="b">
            <a:noAutofit/>
          </a:bodyPr>
          <a:lstStyle>
            <a:lvl1pPr algn="l">
              <a:defRPr sz="2800">
                <a:solidFill>
                  <a:schemeClr val="accent1"/>
                </a:solidFill>
              </a:defRPr>
            </a:lvl1pPr>
          </a:lstStyle>
          <a:p>
            <a:pPr lvl="0"/>
            <a:r>
              <a:rPr lang="en-US"/>
              <a:t>00</a:t>
            </a:r>
          </a:p>
        </p:txBody>
      </p:sp>
      <p:sp>
        <p:nvSpPr>
          <p:cNvPr id="36" name="Text Placeholder 26">
            <a:extLst>
              <a:ext uri="{FF2B5EF4-FFF2-40B4-BE49-F238E27FC236}">
                <a16:creationId xmlns:a16="http://schemas.microsoft.com/office/drawing/2014/main" id="{59081576-9853-F2AC-596D-5E4837628CC1}"/>
              </a:ext>
            </a:extLst>
          </p:cNvPr>
          <p:cNvSpPr>
            <a:spLocks noGrp="1"/>
          </p:cNvSpPr>
          <p:nvPr>
            <p:ph type="body" sz="quarter" idx="36" hasCustomPrompt="1"/>
          </p:nvPr>
        </p:nvSpPr>
        <p:spPr>
          <a:xfrm>
            <a:off x="4500880" y="3934243"/>
            <a:ext cx="442911" cy="430887"/>
          </a:xfrm>
          <a:noFill/>
        </p:spPr>
        <p:txBody>
          <a:bodyPr anchor="b">
            <a:noAutofit/>
          </a:bodyPr>
          <a:lstStyle>
            <a:lvl1pPr algn="l">
              <a:defRPr sz="2800">
                <a:solidFill>
                  <a:schemeClr val="accent1"/>
                </a:solidFill>
              </a:defRPr>
            </a:lvl1pPr>
          </a:lstStyle>
          <a:p>
            <a:pPr lvl="0"/>
            <a:r>
              <a:rPr lang="en-US"/>
              <a:t>00</a:t>
            </a:r>
          </a:p>
        </p:txBody>
      </p:sp>
      <p:sp>
        <p:nvSpPr>
          <p:cNvPr id="37" name="Text Placeholder 3">
            <a:extLst>
              <a:ext uri="{FF2B5EF4-FFF2-40B4-BE49-F238E27FC236}">
                <a16:creationId xmlns:a16="http://schemas.microsoft.com/office/drawing/2014/main" id="{277C43D7-C00C-7DE6-0BB0-C5E8CE8207B8}"/>
              </a:ext>
            </a:extLst>
          </p:cNvPr>
          <p:cNvSpPr>
            <a:spLocks noGrp="1"/>
          </p:cNvSpPr>
          <p:nvPr>
            <p:ph type="body" sz="quarter" idx="13" hasCustomPrompt="1"/>
          </p:nvPr>
        </p:nvSpPr>
        <p:spPr>
          <a:xfrm>
            <a:off x="609600" y="1371912"/>
            <a:ext cx="7078980" cy="307777"/>
          </a:xfrm>
        </p:spPr>
        <p:txBody>
          <a:bodyPr wrap="square">
            <a:noAutofit/>
          </a:bodyPr>
          <a:lstStyle>
            <a:lvl1pPr>
              <a:defRPr>
                <a:solidFill>
                  <a:schemeClr val="bg1"/>
                </a:solidFill>
              </a:defRPr>
            </a:lvl1pPr>
          </a:lstStyle>
          <a:p>
            <a:pPr lvl="0"/>
            <a:r>
              <a:rPr lang="en-US"/>
              <a:t>Subtitle</a:t>
            </a:r>
          </a:p>
        </p:txBody>
      </p:sp>
      <p:pic>
        <p:nvPicPr>
          <p:cNvPr id="6" name="Graphic 5">
            <a:extLst>
              <a:ext uri="{FF2B5EF4-FFF2-40B4-BE49-F238E27FC236}">
                <a16:creationId xmlns:a16="http://schemas.microsoft.com/office/drawing/2014/main" id="{9250C694-5F87-84DF-A0F9-B00F5BF6D5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pic>
        <p:nvPicPr>
          <p:cNvPr id="7" name="Graphic 6">
            <a:extLst>
              <a:ext uri="{FF2B5EF4-FFF2-40B4-BE49-F238E27FC236}">
                <a16:creationId xmlns:a16="http://schemas.microsoft.com/office/drawing/2014/main" id="{ECD61670-B7D7-5B2E-A14F-1BBBFB1B97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sp>
        <p:nvSpPr>
          <p:cNvPr id="21" name="Text Placeholder 24">
            <a:extLst>
              <a:ext uri="{FF2B5EF4-FFF2-40B4-BE49-F238E27FC236}">
                <a16:creationId xmlns:a16="http://schemas.microsoft.com/office/drawing/2014/main" id="{94067C25-3E3C-AE62-A2E0-B3D02FD9878B}"/>
              </a:ext>
            </a:extLst>
          </p:cNvPr>
          <p:cNvSpPr>
            <a:spLocks noGrp="1"/>
          </p:cNvSpPr>
          <p:nvPr>
            <p:ph type="body" sz="quarter" idx="29"/>
          </p:nvPr>
        </p:nvSpPr>
        <p:spPr>
          <a:xfrm>
            <a:off x="609600" y="2515283"/>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22" name="Text Placeholder 24">
            <a:extLst>
              <a:ext uri="{FF2B5EF4-FFF2-40B4-BE49-F238E27FC236}">
                <a16:creationId xmlns:a16="http://schemas.microsoft.com/office/drawing/2014/main" id="{C5F12A71-FC73-20E5-8E26-8A9BFDFC9E5A}"/>
              </a:ext>
            </a:extLst>
          </p:cNvPr>
          <p:cNvSpPr>
            <a:spLocks noGrp="1"/>
          </p:cNvSpPr>
          <p:nvPr>
            <p:ph type="body" sz="quarter" idx="31"/>
          </p:nvPr>
        </p:nvSpPr>
        <p:spPr>
          <a:xfrm>
            <a:off x="4500880" y="2515283"/>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39" name="Text Placeholder 24">
            <a:extLst>
              <a:ext uri="{FF2B5EF4-FFF2-40B4-BE49-F238E27FC236}">
                <a16:creationId xmlns:a16="http://schemas.microsoft.com/office/drawing/2014/main" id="{A35F2BAD-1C86-887D-465E-2B5EC8F3DC30}"/>
              </a:ext>
            </a:extLst>
          </p:cNvPr>
          <p:cNvSpPr>
            <a:spLocks noGrp="1"/>
          </p:cNvSpPr>
          <p:nvPr>
            <p:ph type="body" sz="quarter" idx="33"/>
          </p:nvPr>
        </p:nvSpPr>
        <p:spPr>
          <a:xfrm>
            <a:off x="609600" y="4654479"/>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40" name="Text Placeholder 24">
            <a:extLst>
              <a:ext uri="{FF2B5EF4-FFF2-40B4-BE49-F238E27FC236}">
                <a16:creationId xmlns:a16="http://schemas.microsoft.com/office/drawing/2014/main" id="{AB986AAD-0107-9A6C-2D91-5FCFC9F4FD8D}"/>
              </a:ext>
            </a:extLst>
          </p:cNvPr>
          <p:cNvSpPr>
            <a:spLocks noGrp="1"/>
          </p:cNvSpPr>
          <p:nvPr>
            <p:ph type="body" sz="quarter" idx="35"/>
          </p:nvPr>
        </p:nvSpPr>
        <p:spPr>
          <a:xfrm>
            <a:off x="4500880" y="4654479"/>
            <a:ext cx="3191256" cy="521208"/>
          </a:xfrm>
        </p:spPr>
        <p:txBody>
          <a:bodyPr>
            <a:noAutofit/>
          </a:bodyPr>
          <a:lstStyle>
            <a:lvl1pPr marL="0" indent="0">
              <a:buFont typeface="Arial" panose="020B0604020202020204" pitchFamily="34" charset="0"/>
              <a:buNone/>
              <a:defRPr sz="1600" b="1">
                <a:solidFill>
                  <a:schemeClr val="bg1"/>
                </a:solidFill>
                <a:latin typeface="+mj-lt"/>
              </a:defRPr>
            </a:lvl1pPr>
            <a:lvl2pPr marL="0" indent="0">
              <a:buNone/>
              <a:defRPr sz="1400"/>
            </a:lvl2pPr>
            <a:lvl3pPr marL="182880" indent="0">
              <a:buNone/>
              <a:defRPr/>
            </a:lvl3pPr>
          </a:lstStyle>
          <a:p>
            <a:pPr lvl="0"/>
            <a:r>
              <a:rPr lang="en-US"/>
              <a:t>Click to edit Master text styles</a:t>
            </a:r>
          </a:p>
        </p:txBody>
      </p:sp>
      <p:sp>
        <p:nvSpPr>
          <p:cNvPr id="41" name="Text Placeholder 4">
            <a:extLst>
              <a:ext uri="{FF2B5EF4-FFF2-40B4-BE49-F238E27FC236}">
                <a16:creationId xmlns:a16="http://schemas.microsoft.com/office/drawing/2014/main" id="{AD1F891E-7504-DEED-3613-32FDD29D9F3F}"/>
              </a:ext>
            </a:extLst>
          </p:cNvPr>
          <p:cNvSpPr>
            <a:spLocks noGrp="1"/>
          </p:cNvSpPr>
          <p:nvPr>
            <p:ph type="body" sz="quarter" idx="38"/>
          </p:nvPr>
        </p:nvSpPr>
        <p:spPr>
          <a:xfrm>
            <a:off x="609600" y="3078123"/>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42" name="Text Placeholder 8">
            <a:extLst>
              <a:ext uri="{FF2B5EF4-FFF2-40B4-BE49-F238E27FC236}">
                <a16:creationId xmlns:a16="http://schemas.microsoft.com/office/drawing/2014/main" id="{D41E9690-7F8F-BFF8-0D74-9EE3FBCE4010}"/>
              </a:ext>
            </a:extLst>
          </p:cNvPr>
          <p:cNvSpPr>
            <a:spLocks noGrp="1"/>
          </p:cNvSpPr>
          <p:nvPr>
            <p:ph type="body" sz="quarter" idx="39"/>
          </p:nvPr>
        </p:nvSpPr>
        <p:spPr>
          <a:xfrm>
            <a:off x="4500563" y="3081489"/>
            <a:ext cx="3187700" cy="731520"/>
          </a:xfrm>
        </p:spPr>
        <p:txBody>
          <a:bodyPr/>
          <a:lstStyle>
            <a:lvl1pPr marL="0" indent="0">
              <a:buFont typeface="Arial" panose="020B0604020202020204" pitchFamily="34" charset="0"/>
              <a:buNone/>
              <a:defRPr sz="14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43" name="Text Placeholder 13">
            <a:extLst>
              <a:ext uri="{FF2B5EF4-FFF2-40B4-BE49-F238E27FC236}">
                <a16:creationId xmlns:a16="http://schemas.microsoft.com/office/drawing/2014/main" id="{3D503F38-0B4E-C025-B3C9-A8D7076D23D5}"/>
              </a:ext>
            </a:extLst>
          </p:cNvPr>
          <p:cNvSpPr>
            <a:spLocks noGrp="1"/>
          </p:cNvSpPr>
          <p:nvPr>
            <p:ph type="body" sz="quarter" idx="40"/>
          </p:nvPr>
        </p:nvSpPr>
        <p:spPr>
          <a:xfrm>
            <a:off x="609600" y="5221224"/>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sp>
        <p:nvSpPr>
          <p:cNvPr id="44" name="Text Placeholder 13">
            <a:extLst>
              <a:ext uri="{FF2B5EF4-FFF2-40B4-BE49-F238E27FC236}">
                <a16:creationId xmlns:a16="http://schemas.microsoft.com/office/drawing/2014/main" id="{BD4EEAFE-3245-4E12-11AC-5F3D54A49B83}"/>
              </a:ext>
            </a:extLst>
          </p:cNvPr>
          <p:cNvSpPr>
            <a:spLocks noGrp="1"/>
          </p:cNvSpPr>
          <p:nvPr>
            <p:ph type="body" sz="quarter" idx="41"/>
          </p:nvPr>
        </p:nvSpPr>
        <p:spPr>
          <a:xfrm>
            <a:off x="4505008" y="5221224"/>
            <a:ext cx="3190875" cy="731520"/>
          </a:xfrm>
        </p:spPr>
        <p:txBody>
          <a:bodyPr/>
          <a:lstStyle>
            <a:lvl1pPr marL="0" indent="0">
              <a:buFont typeface="Arial" panose="020B0604020202020204" pitchFamily="34" charset="0"/>
              <a:buNone/>
              <a:defRPr sz="1400">
                <a:solidFill>
                  <a:schemeClr val="bg1"/>
                </a:solidFill>
              </a:defRPr>
            </a:lvl1pPr>
            <a:lvl2pPr marL="0" indent="0">
              <a:buNone/>
              <a:defRPr sz="1400"/>
            </a:lvl2pPr>
            <a:lvl3pPr marL="182880" indent="0">
              <a:buNone/>
              <a:defRPr sz="1400"/>
            </a:lvl3pPr>
            <a:lvl4pPr marL="365760" indent="0">
              <a:buNone/>
              <a:defRPr sz="1400"/>
            </a:lvl4pPr>
            <a:lvl5pPr marL="548640" indent="0">
              <a:buNone/>
              <a:defRPr sz="1400"/>
            </a:lvl5pPr>
          </a:lstStyle>
          <a:p>
            <a:pPr lvl="0"/>
            <a:r>
              <a:rPr lang="en-US"/>
              <a:t>Click to edit Master text styles</a:t>
            </a:r>
          </a:p>
        </p:txBody>
      </p:sp>
      <p:grpSp>
        <p:nvGrpSpPr>
          <p:cNvPr id="38" name="Group 37">
            <a:extLst>
              <a:ext uri="{FF2B5EF4-FFF2-40B4-BE49-F238E27FC236}">
                <a16:creationId xmlns:a16="http://schemas.microsoft.com/office/drawing/2014/main" id="{E02B04E6-DFE4-8F61-77A7-3BAE91280415}"/>
              </a:ext>
            </a:extLst>
          </p:cNvPr>
          <p:cNvGrpSpPr/>
          <p:nvPr userDrawn="1"/>
        </p:nvGrpSpPr>
        <p:grpSpPr>
          <a:xfrm>
            <a:off x="8668767" y="2176217"/>
            <a:ext cx="2913628" cy="2916485"/>
            <a:chOff x="8477772" y="2176216"/>
            <a:chExt cx="3104627" cy="3107669"/>
          </a:xfrm>
        </p:grpSpPr>
        <p:sp>
          <p:nvSpPr>
            <p:cNvPr id="17" name="Freeform: Shape 16">
              <a:extLst>
                <a:ext uri="{FF2B5EF4-FFF2-40B4-BE49-F238E27FC236}">
                  <a16:creationId xmlns:a16="http://schemas.microsoft.com/office/drawing/2014/main" id="{1DDAB8FB-291B-E617-AD35-5D0D2C85B979}"/>
                </a:ext>
              </a:extLst>
            </p:cNvPr>
            <p:cNvSpPr/>
            <p:nvPr/>
          </p:nvSpPr>
          <p:spPr>
            <a:xfrm>
              <a:off x="8477772" y="4040792"/>
              <a:ext cx="1243092" cy="1243091"/>
            </a:xfrm>
            <a:custGeom>
              <a:avLst/>
              <a:gdLst>
                <a:gd name="connsiteX0" fmla="*/ 0 w 1243092"/>
                <a:gd name="connsiteY0" fmla="*/ 1243093 h 1243092"/>
                <a:gd name="connsiteX1" fmla="*/ 0 w 1243092"/>
                <a:gd name="connsiteY1" fmla="*/ 0 h 1243092"/>
                <a:gd name="connsiteX2" fmla="*/ 1243093 w 1243092"/>
                <a:gd name="connsiteY2" fmla="*/ 0 h 1243092"/>
                <a:gd name="connsiteX3" fmla="*/ 0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0" y="1243093"/>
                  </a:moveTo>
                  <a:lnTo>
                    <a:pt x="0" y="0"/>
                  </a:lnTo>
                  <a:lnTo>
                    <a:pt x="1243093" y="0"/>
                  </a:lnTo>
                  <a:lnTo>
                    <a:pt x="0" y="1243093"/>
                  </a:lnTo>
                  <a:close/>
                </a:path>
              </a:pathLst>
            </a:custGeom>
            <a:solidFill>
              <a:schemeClr val="bg1"/>
            </a:solidFill>
            <a:ln w="6191"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1D8CFF20-FCFC-BF39-5C69-44CA783859FC}"/>
                </a:ext>
              </a:extLst>
            </p:cNvPr>
            <p:cNvSpPr/>
            <p:nvPr/>
          </p:nvSpPr>
          <p:spPr>
            <a:xfrm>
              <a:off x="8477772" y="4040792"/>
              <a:ext cx="1243092" cy="1243092"/>
            </a:xfrm>
            <a:custGeom>
              <a:avLst/>
              <a:gdLst>
                <a:gd name="connsiteX0" fmla="*/ 1243093 w 1243092"/>
                <a:gd name="connsiteY0" fmla="*/ 1243093 h 1243092"/>
                <a:gd name="connsiteX1" fmla="*/ 0 w 1243092"/>
                <a:gd name="connsiteY1" fmla="*/ 1243093 h 1243092"/>
                <a:gd name="connsiteX2" fmla="*/ 1243093 w 1243092"/>
                <a:gd name="connsiteY2" fmla="*/ 0 h 1243092"/>
                <a:gd name="connsiteX3" fmla="*/ 1243093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1243093" y="1243093"/>
                  </a:moveTo>
                  <a:lnTo>
                    <a:pt x="0" y="1243093"/>
                  </a:lnTo>
                  <a:lnTo>
                    <a:pt x="1243093" y="0"/>
                  </a:lnTo>
                  <a:lnTo>
                    <a:pt x="1243093" y="1243093"/>
                  </a:lnTo>
                  <a:close/>
                </a:path>
              </a:pathLst>
            </a:custGeom>
            <a:solidFill>
              <a:srgbClr val="93D500"/>
            </a:solidFill>
            <a:ln w="6191"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F8E7DB0F-57F2-0BB1-A359-3F2B24747527}"/>
                </a:ext>
              </a:extLst>
            </p:cNvPr>
            <p:cNvSpPr/>
            <p:nvPr/>
          </p:nvSpPr>
          <p:spPr>
            <a:xfrm>
              <a:off x="10339306" y="2176216"/>
              <a:ext cx="1243092" cy="1243091"/>
            </a:xfrm>
            <a:custGeom>
              <a:avLst/>
              <a:gdLst>
                <a:gd name="connsiteX0" fmla="*/ 0 w 1243092"/>
                <a:gd name="connsiteY0" fmla="*/ 1243093 h 1243092"/>
                <a:gd name="connsiteX1" fmla="*/ 0 w 1243092"/>
                <a:gd name="connsiteY1" fmla="*/ 0 h 1243092"/>
                <a:gd name="connsiteX2" fmla="*/ 1243093 w 1243092"/>
                <a:gd name="connsiteY2" fmla="*/ 0 h 1243092"/>
                <a:gd name="connsiteX3" fmla="*/ 0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0" y="1243093"/>
                  </a:moveTo>
                  <a:lnTo>
                    <a:pt x="0" y="0"/>
                  </a:lnTo>
                  <a:lnTo>
                    <a:pt x="1243093" y="0"/>
                  </a:lnTo>
                  <a:lnTo>
                    <a:pt x="0" y="1243093"/>
                  </a:lnTo>
                  <a:close/>
                </a:path>
              </a:pathLst>
            </a:custGeom>
            <a:solidFill>
              <a:schemeClr val="bg1"/>
            </a:solidFill>
            <a:ln w="6191"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2766101B-1B7C-33CC-AB9A-2BCEB9054770}"/>
                </a:ext>
              </a:extLst>
            </p:cNvPr>
            <p:cNvSpPr/>
            <p:nvPr/>
          </p:nvSpPr>
          <p:spPr>
            <a:xfrm>
              <a:off x="10339306" y="2176216"/>
              <a:ext cx="1243092" cy="1243092"/>
            </a:xfrm>
            <a:custGeom>
              <a:avLst/>
              <a:gdLst>
                <a:gd name="connsiteX0" fmla="*/ 1243093 w 1243092"/>
                <a:gd name="connsiteY0" fmla="*/ 1243093 h 1243092"/>
                <a:gd name="connsiteX1" fmla="*/ 0 w 1243092"/>
                <a:gd name="connsiteY1" fmla="*/ 1243093 h 1243092"/>
                <a:gd name="connsiteX2" fmla="*/ 1243093 w 1243092"/>
                <a:gd name="connsiteY2" fmla="*/ 0 h 1243092"/>
                <a:gd name="connsiteX3" fmla="*/ 1243093 w 1243092"/>
                <a:gd name="connsiteY3" fmla="*/ 1243093 h 1243092"/>
              </a:gdLst>
              <a:ahLst/>
              <a:cxnLst>
                <a:cxn ang="0">
                  <a:pos x="connsiteX0" y="connsiteY0"/>
                </a:cxn>
                <a:cxn ang="0">
                  <a:pos x="connsiteX1" y="connsiteY1"/>
                </a:cxn>
                <a:cxn ang="0">
                  <a:pos x="connsiteX2" y="connsiteY2"/>
                </a:cxn>
                <a:cxn ang="0">
                  <a:pos x="connsiteX3" y="connsiteY3"/>
                </a:cxn>
              </a:cxnLst>
              <a:rect l="l" t="t" r="r" b="b"/>
              <a:pathLst>
                <a:path w="1243092" h="1243092">
                  <a:moveTo>
                    <a:pt x="1243093" y="1243093"/>
                  </a:moveTo>
                  <a:lnTo>
                    <a:pt x="0" y="1243093"/>
                  </a:lnTo>
                  <a:lnTo>
                    <a:pt x="1243093" y="0"/>
                  </a:lnTo>
                  <a:lnTo>
                    <a:pt x="1243093" y="1243093"/>
                  </a:lnTo>
                  <a:close/>
                </a:path>
              </a:pathLst>
            </a:custGeom>
            <a:solidFill>
              <a:srgbClr val="93D500"/>
            </a:solidFill>
            <a:ln w="6191"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97FF00E8-12B1-0F1C-1F00-424A505ED697}"/>
                </a:ext>
              </a:extLst>
            </p:cNvPr>
            <p:cNvSpPr/>
            <p:nvPr/>
          </p:nvSpPr>
          <p:spPr>
            <a:xfrm>
              <a:off x="8477772" y="2176216"/>
              <a:ext cx="1243093" cy="1243093"/>
            </a:xfrm>
            <a:custGeom>
              <a:avLst/>
              <a:gdLst>
                <a:gd name="connsiteX0" fmla="*/ 0 w 1243093"/>
                <a:gd name="connsiteY0" fmla="*/ 0 h 1243093"/>
                <a:gd name="connsiteX1" fmla="*/ 1243093 w 1243093"/>
                <a:gd name="connsiteY1" fmla="*/ 0 h 1243093"/>
                <a:gd name="connsiteX2" fmla="*/ 1243093 w 1243093"/>
                <a:gd name="connsiteY2" fmla="*/ 1243093 h 1243093"/>
                <a:gd name="connsiteX3" fmla="*/ 0 w 1243093"/>
                <a:gd name="connsiteY3" fmla="*/ 1243093 h 1243093"/>
              </a:gdLst>
              <a:ahLst/>
              <a:cxnLst>
                <a:cxn ang="0">
                  <a:pos x="connsiteX0" y="connsiteY0"/>
                </a:cxn>
                <a:cxn ang="0">
                  <a:pos x="connsiteX1" y="connsiteY1"/>
                </a:cxn>
                <a:cxn ang="0">
                  <a:pos x="connsiteX2" y="connsiteY2"/>
                </a:cxn>
                <a:cxn ang="0">
                  <a:pos x="connsiteX3" y="connsiteY3"/>
                </a:cxn>
              </a:cxnLst>
              <a:rect l="l" t="t" r="r" b="b"/>
              <a:pathLst>
                <a:path w="1243093" h="1243093">
                  <a:moveTo>
                    <a:pt x="0" y="0"/>
                  </a:moveTo>
                  <a:lnTo>
                    <a:pt x="1243093" y="0"/>
                  </a:lnTo>
                  <a:lnTo>
                    <a:pt x="1243093" y="1243093"/>
                  </a:lnTo>
                  <a:lnTo>
                    <a:pt x="0" y="1243093"/>
                  </a:lnTo>
                  <a:close/>
                </a:path>
              </a:pathLst>
            </a:custGeom>
            <a:solidFill>
              <a:schemeClr val="bg1"/>
            </a:solidFill>
            <a:ln w="6191"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A3390EB0-ABE0-10C4-D3D4-8DECDA33B7D6}"/>
                </a:ext>
              </a:extLst>
            </p:cNvPr>
            <p:cNvSpPr/>
            <p:nvPr/>
          </p:nvSpPr>
          <p:spPr>
            <a:xfrm>
              <a:off x="10339306" y="4040792"/>
              <a:ext cx="1243093" cy="1243093"/>
            </a:xfrm>
            <a:custGeom>
              <a:avLst/>
              <a:gdLst>
                <a:gd name="connsiteX0" fmla="*/ 0 w 1243093"/>
                <a:gd name="connsiteY0" fmla="*/ 0 h 1243093"/>
                <a:gd name="connsiteX1" fmla="*/ 1243093 w 1243093"/>
                <a:gd name="connsiteY1" fmla="*/ 0 h 1243093"/>
                <a:gd name="connsiteX2" fmla="*/ 1243093 w 1243093"/>
                <a:gd name="connsiteY2" fmla="*/ 1243093 h 1243093"/>
                <a:gd name="connsiteX3" fmla="*/ 0 w 1243093"/>
                <a:gd name="connsiteY3" fmla="*/ 1243093 h 1243093"/>
              </a:gdLst>
              <a:ahLst/>
              <a:cxnLst>
                <a:cxn ang="0">
                  <a:pos x="connsiteX0" y="connsiteY0"/>
                </a:cxn>
                <a:cxn ang="0">
                  <a:pos x="connsiteX1" y="connsiteY1"/>
                </a:cxn>
                <a:cxn ang="0">
                  <a:pos x="connsiteX2" y="connsiteY2"/>
                </a:cxn>
                <a:cxn ang="0">
                  <a:pos x="connsiteX3" y="connsiteY3"/>
                </a:cxn>
              </a:cxnLst>
              <a:rect l="l" t="t" r="r" b="b"/>
              <a:pathLst>
                <a:path w="1243093" h="1243093">
                  <a:moveTo>
                    <a:pt x="0" y="0"/>
                  </a:moveTo>
                  <a:lnTo>
                    <a:pt x="1243093" y="0"/>
                  </a:lnTo>
                  <a:lnTo>
                    <a:pt x="1243093" y="1243093"/>
                  </a:lnTo>
                  <a:lnTo>
                    <a:pt x="0" y="1243093"/>
                  </a:lnTo>
                  <a:close/>
                </a:path>
              </a:pathLst>
            </a:custGeom>
            <a:solidFill>
              <a:srgbClr val="93D500"/>
            </a:solidFill>
            <a:ln w="6191"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5728779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quadrant C">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FB671-7288-F24D-B614-7485A1EB4769}"/>
              </a:ext>
            </a:extLst>
          </p:cNvPr>
          <p:cNvSpPr>
            <a:spLocks noGrp="1"/>
          </p:cNvSpPr>
          <p:nvPr>
            <p:ph type="title"/>
          </p:nvPr>
        </p:nvSpPr>
        <p:spPr>
          <a:xfrm>
            <a:off x="609600" y="4436344"/>
            <a:ext cx="3191256" cy="1107996"/>
          </a:xfrm>
        </p:spPr>
        <p:txBody>
          <a:bodyPr anchor="b">
            <a:noAutofit/>
          </a:bodyPr>
          <a:lstStyle>
            <a:lvl1pPr>
              <a:lnSpc>
                <a:spcPct val="100000"/>
              </a:lnSpc>
              <a:defRPr/>
            </a:lvl1pPr>
          </a:lstStyle>
          <a:p>
            <a:r>
              <a:rPr lang="en-US"/>
              <a:t>Click to edit Master title style</a:t>
            </a:r>
          </a:p>
        </p:txBody>
      </p:sp>
      <p:sp>
        <p:nvSpPr>
          <p:cNvPr id="5" name="Date Placeholder 4">
            <a:extLst>
              <a:ext uri="{FF2B5EF4-FFF2-40B4-BE49-F238E27FC236}">
                <a16:creationId xmlns:a16="http://schemas.microsoft.com/office/drawing/2014/main" id="{F9A9FAB2-9497-583D-67D2-92656EBD96E1}"/>
              </a:ext>
            </a:extLst>
          </p:cNvPr>
          <p:cNvSpPr>
            <a:spLocks noGrp="1"/>
          </p:cNvSpPr>
          <p:nvPr>
            <p:ph type="dt" sz="half" idx="12"/>
          </p:nvPr>
        </p:nvSpPr>
        <p:spPr/>
        <p:txBody>
          <a:bodyPr>
            <a:noAutofit/>
          </a:bodyPr>
          <a:lstStyle>
            <a:lvl1pPr>
              <a:defRPr>
                <a:solidFill>
                  <a:schemeClr val="tx1">
                    <a:lumMod val="75000"/>
                    <a:lumOff val="25000"/>
                  </a:schemeClr>
                </a:solidFill>
              </a:defRPr>
            </a:lvl1pPr>
          </a:lstStyle>
          <a:p>
            <a:fld id="{EF6117FD-339D-46D2-9342-B24BFDA76C15}" type="datetime4">
              <a:rPr lang="en-US" smtClean="0"/>
              <a:t>May 17, 2025</a:t>
            </a:fld>
            <a:endParaRPr lang="en-US" dirty="0"/>
          </a:p>
        </p:txBody>
      </p:sp>
      <p:sp>
        <p:nvSpPr>
          <p:cNvPr id="37" name="Text Placeholder 3">
            <a:extLst>
              <a:ext uri="{FF2B5EF4-FFF2-40B4-BE49-F238E27FC236}">
                <a16:creationId xmlns:a16="http://schemas.microsoft.com/office/drawing/2014/main" id="{277C43D7-C00C-7DE6-0BB0-C5E8CE8207B8}"/>
              </a:ext>
            </a:extLst>
          </p:cNvPr>
          <p:cNvSpPr>
            <a:spLocks noGrp="1"/>
          </p:cNvSpPr>
          <p:nvPr>
            <p:ph type="body" sz="quarter" idx="13" hasCustomPrompt="1"/>
          </p:nvPr>
        </p:nvSpPr>
        <p:spPr>
          <a:xfrm>
            <a:off x="609600" y="5569938"/>
            <a:ext cx="3191256" cy="307777"/>
          </a:xfrm>
        </p:spPr>
        <p:txBody>
          <a:bodyPr wrap="square">
            <a:noAutofit/>
          </a:bodyPr>
          <a:lstStyle>
            <a:lvl1pPr>
              <a:defRPr>
                <a:solidFill>
                  <a:schemeClr val="tx1">
                    <a:lumMod val="75000"/>
                    <a:lumOff val="25000"/>
                  </a:schemeClr>
                </a:solidFill>
              </a:defRPr>
            </a:lvl1pPr>
          </a:lstStyle>
          <a:p>
            <a:pPr lvl="0"/>
            <a:r>
              <a:rPr lang="en-US"/>
              <a:t>Subtitle</a:t>
            </a:r>
          </a:p>
        </p:txBody>
      </p:sp>
      <p:sp>
        <p:nvSpPr>
          <p:cNvPr id="45" name="Text Placeholder 24">
            <a:extLst>
              <a:ext uri="{FF2B5EF4-FFF2-40B4-BE49-F238E27FC236}">
                <a16:creationId xmlns:a16="http://schemas.microsoft.com/office/drawing/2014/main" id="{81AC28DC-93A6-48C2-61B4-B0DC8EB32656}"/>
              </a:ext>
            </a:extLst>
          </p:cNvPr>
          <p:cNvSpPr>
            <a:spLocks noGrp="1"/>
          </p:cNvSpPr>
          <p:nvPr>
            <p:ph type="body" sz="quarter" idx="29"/>
          </p:nvPr>
        </p:nvSpPr>
        <p:spPr>
          <a:xfrm>
            <a:off x="4503420" y="1372989"/>
            <a:ext cx="3191256" cy="612648"/>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49" name="Text Placeholder 24">
            <a:extLst>
              <a:ext uri="{FF2B5EF4-FFF2-40B4-BE49-F238E27FC236}">
                <a16:creationId xmlns:a16="http://schemas.microsoft.com/office/drawing/2014/main" id="{38AC06FF-9423-61D1-DBC8-0E2170D5E89F}"/>
              </a:ext>
            </a:extLst>
          </p:cNvPr>
          <p:cNvSpPr>
            <a:spLocks noGrp="1"/>
          </p:cNvSpPr>
          <p:nvPr>
            <p:ph type="body" sz="quarter" idx="32"/>
          </p:nvPr>
        </p:nvSpPr>
        <p:spPr>
          <a:xfrm>
            <a:off x="8394700" y="1372989"/>
            <a:ext cx="3191256" cy="612648"/>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52" name="Text Placeholder 24">
            <a:extLst>
              <a:ext uri="{FF2B5EF4-FFF2-40B4-BE49-F238E27FC236}">
                <a16:creationId xmlns:a16="http://schemas.microsoft.com/office/drawing/2014/main" id="{E7F60AF1-6C7F-C09E-8079-CCC041BCCFD6}"/>
              </a:ext>
            </a:extLst>
          </p:cNvPr>
          <p:cNvSpPr>
            <a:spLocks noGrp="1"/>
          </p:cNvSpPr>
          <p:nvPr>
            <p:ph type="body" sz="quarter" idx="34"/>
          </p:nvPr>
        </p:nvSpPr>
        <p:spPr>
          <a:xfrm>
            <a:off x="4503420" y="4259227"/>
            <a:ext cx="3191256" cy="612648"/>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55" name="Text Placeholder 24">
            <a:extLst>
              <a:ext uri="{FF2B5EF4-FFF2-40B4-BE49-F238E27FC236}">
                <a16:creationId xmlns:a16="http://schemas.microsoft.com/office/drawing/2014/main" id="{24B848A0-46B3-5A33-8405-3915F72C91E4}"/>
              </a:ext>
            </a:extLst>
          </p:cNvPr>
          <p:cNvSpPr>
            <a:spLocks noGrp="1"/>
          </p:cNvSpPr>
          <p:nvPr>
            <p:ph type="body" sz="quarter" idx="36"/>
          </p:nvPr>
        </p:nvSpPr>
        <p:spPr>
          <a:xfrm>
            <a:off x="8394700" y="4259227"/>
            <a:ext cx="3191256" cy="612648"/>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57" name="Text Placeholder 26">
            <a:extLst>
              <a:ext uri="{FF2B5EF4-FFF2-40B4-BE49-F238E27FC236}">
                <a16:creationId xmlns:a16="http://schemas.microsoft.com/office/drawing/2014/main" id="{FA258B65-F95C-ACE5-EDC8-47341FB793E2}"/>
              </a:ext>
            </a:extLst>
          </p:cNvPr>
          <p:cNvSpPr>
            <a:spLocks noGrp="1"/>
          </p:cNvSpPr>
          <p:nvPr>
            <p:ph type="body" sz="quarter" idx="37" hasCustomPrompt="1"/>
          </p:nvPr>
        </p:nvSpPr>
        <p:spPr>
          <a:xfrm>
            <a:off x="4503420" y="655490"/>
            <a:ext cx="442911" cy="430887"/>
          </a:xfrm>
          <a:noFill/>
        </p:spPr>
        <p:txBody>
          <a:bodyPr anchor="b">
            <a:noAutofit/>
          </a:bodyPr>
          <a:lstStyle>
            <a:lvl1pPr algn="l">
              <a:defRPr sz="2800">
                <a:solidFill>
                  <a:schemeClr val="tx2"/>
                </a:solidFill>
              </a:defRPr>
            </a:lvl1pPr>
          </a:lstStyle>
          <a:p>
            <a:pPr lvl="0"/>
            <a:r>
              <a:rPr lang="en-US"/>
              <a:t>00</a:t>
            </a:r>
          </a:p>
        </p:txBody>
      </p:sp>
      <p:sp>
        <p:nvSpPr>
          <p:cNvPr id="59" name="Text Placeholder 26">
            <a:extLst>
              <a:ext uri="{FF2B5EF4-FFF2-40B4-BE49-F238E27FC236}">
                <a16:creationId xmlns:a16="http://schemas.microsoft.com/office/drawing/2014/main" id="{3E006ACC-8BC5-A8A5-BBDD-31E52AE25FDB}"/>
              </a:ext>
            </a:extLst>
          </p:cNvPr>
          <p:cNvSpPr>
            <a:spLocks noGrp="1"/>
          </p:cNvSpPr>
          <p:nvPr>
            <p:ph type="body" sz="quarter" idx="38" hasCustomPrompt="1"/>
          </p:nvPr>
        </p:nvSpPr>
        <p:spPr>
          <a:xfrm>
            <a:off x="8394700" y="656457"/>
            <a:ext cx="442911" cy="430887"/>
          </a:xfrm>
          <a:noFill/>
        </p:spPr>
        <p:txBody>
          <a:bodyPr anchor="b">
            <a:noAutofit/>
          </a:bodyPr>
          <a:lstStyle>
            <a:lvl1pPr algn="l">
              <a:defRPr sz="2800">
                <a:solidFill>
                  <a:schemeClr val="tx2"/>
                </a:solidFill>
              </a:defRPr>
            </a:lvl1pPr>
          </a:lstStyle>
          <a:p>
            <a:pPr lvl="0"/>
            <a:r>
              <a:rPr lang="en-US"/>
              <a:t>00</a:t>
            </a:r>
          </a:p>
        </p:txBody>
      </p:sp>
      <p:sp>
        <p:nvSpPr>
          <p:cNvPr id="61" name="Text Placeholder 26">
            <a:extLst>
              <a:ext uri="{FF2B5EF4-FFF2-40B4-BE49-F238E27FC236}">
                <a16:creationId xmlns:a16="http://schemas.microsoft.com/office/drawing/2014/main" id="{111CB98A-C475-0E30-46AE-C2931827AFD1}"/>
              </a:ext>
            </a:extLst>
          </p:cNvPr>
          <p:cNvSpPr>
            <a:spLocks noGrp="1"/>
          </p:cNvSpPr>
          <p:nvPr>
            <p:ph type="body" sz="quarter" idx="39" hasCustomPrompt="1"/>
          </p:nvPr>
        </p:nvSpPr>
        <p:spPr>
          <a:xfrm>
            <a:off x="4503420" y="3542695"/>
            <a:ext cx="442911" cy="430887"/>
          </a:xfrm>
          <a:noFill/>
        </p:spPr>
        <p:txBody>
          <a:bodyPr anchor="b">
            <a:noAutofit/>
          </a:bodyPr>
          <a:lstStyle>
            <a:lvl1pPr algn="l">
              <a:defRPr sz="2800">
                <a:solidFill>
                  <a:schemeClr val="tx2"/>
                </a:solidFill>
              </a:defRPr>
            </a:lvl1pPr>
          </a:lstStyle>
          <a:p>
            <a:pPr lvl="0"/>
            <a:r>
              <a:rPr lang="en-US"/>
              <a:t>00</a:t>
            </a:r>
          </a:p>
        </p:txBody>
      </p:sp>
      <p:sp>
        <p:nvSpPr>
          <p:cNvPr id="63" name="Text Placeholder 26">
            <a:extLst>
              <a:ext uri="{FF2B5EF4-FFF2-40B4-BE49-F238E27FC236}">
                <a16:creationId xmlns:a16="http://schemas.microsoft.com/office/drawing/2014/main" id="{17CB2B64-4FE7-7D72-ECF9-B226A53F939A}"/>
              </a:ext>
            </a:extLst>
          </p:cNvPr>
          <p:cNvSpPr>
            <a:spLocks noGrp="1"/>
          </p:cNvSpPr>
          <p:nvPr>
            <p:ph type="body" sz="quarter" idx="40" hasCustomPrompt="1"/>
          </p:nvPr>
        </p:nvSpPr>
        <p:spPr>
          <a:xfrm>
            <a:off x="8394700" y="3542695"/>
            <a:ext cx="442911" cy="430887"/>
          </a:xfrm>
          <a:noFill/>
        </p:spPr>
        <p:txBody>
          <a:bodyPr anchor="b">
            <a:noAutofit/>
          </a:bodyPr>
          <a:lstStyle>
            <a:lvl1pPr algn="l">
              <a:defRPr sz="2800">
                <a:solidFill>
                  <a:schemeClr val="tx2"/>
                </a:solidFill>
              </a:defRPr>
            </a:lvl1pPr>
          </a:lstStyle>
          <a:p>
            <a:pPr lvl="0"/>
            <a:r>
              <a:rPr lang="en-US"/>
              <a:t>00</a:t>
            </a:r>
          </a:p>
        </p:txBody>
      </p:sp>
      <p:sp>
        <p:nvSpPr>
          <p:cNvPr id="3" name="Footer Placeholder 4">
            <a:extLst>
              <a:ext uri="{FF2B5EF4-FFF2-40B4-BE49-F238E27FC236}">
                <a16:creationId xmlns:a16="http://schemas.microsoft.com/office/drawing/2014/main" id="{6B693173-4AED-2995-3081-BC3352EE7AFD}"/>
              </a:ext>
            </a:extLst>
          </p:cNvPr>
          <p:cNvSpPr>
            <a:spLocks noGrp="1"/>
          </p:cNvSpPr>
          <p:nvPr>
            <p:ph type="ftr" sz="quarter" idx="3"/>
          </p:nvPr>
        </p:nvSpPr>
        <p:spPr>
          <a:xfrm>
            <a:off x="609600" y="6567465"/>
            <a:ext cx="10083800" cy="153888"/>
          </a:xfrm>
          <a:prstGeom prst="rect">
            <a:avLst/>
          </a:prstGeom>
        </p:spPr>
        <p:txBody>
          <a:bodyPr vert="horz" lIns="0" tIns="0" rIns="0" bIns="0" rtlCol="0" anchor="ctr">
            <a:noAutofit/>
          </a:bodyPr>
          <a:lstStyle>
            <a:lvl1pPr algn="l">
              <a:lnSpc>
                <a:spcPct val="100000"/>
              </a:lnSpc>
              <a:defRPr sz="1000">
                <a:solidFill>
                  <a:schemeClr val="tx1">
                    <a:lumMod val="75000"/>
                    <a:lumOff val="25000"/>
                  </a:schemeClr>
                </a:solidFill>
              </a:defRPr>
            </a:lvl1pPr>
          </a:lstStyle>
          <a:p>
            <a:r>
              <a:rPr lang="en-US" dirty="0"/>
              <a:t>© 2025 Guidehouse Inc.</a:t>
            </a:r>
          </a:p>
        </p:txBody>
      </p:sp>
      <p:sp>
        <p:nvSpPr>
          <p:cNvPr id="4" name="Slide Number Placeholder 5">
            <a:extLst>
              <a:ext uri="{FF2B5EF4-FFF2-40B4-BE49-F238E27FC236}">
                <a16:creationId xmlns:a16="http://schemas.microsoft.com/office/drawing/2014/main" id="{2531E312-FA6B-91E7-BD98-02E52DBCB8AF}"/>
              </a:ext>
            </a:extLst>
          </p:cNvPr>
          <p:cNvSpPr>
            <a:spLocks noGrp="1"/>
          </p:cNvSpPr>
          <p:nvPr>
            <p:ph type="sldNum" sz="quarter" idx="4"/>
          </p:nvPr>
        </p:nvSpPr>
        <p:spPr>
          <a:xfrm>
            <a:off x="11248008" y="6567465"/>
            <a:ext cx="334392" cy="153888"/>
          </a:xfrm>
          <a:prstGeom prst="rect">
            <a:avLst/>
          </a:prstGeom>
        </p:spPr>
        <p:txBody>
          <a:bodyPr vert="horz" lIns="0" tIns="0" rIns="0" bIns="0" rtlCol="0" anchor="ctr">
            <a:noAutofit/>
          </a:bodyPr>
          <a:lstStyle>
            <a:lvl1pPr algn="r">
              <a:lnSpc>
                <a:spcPct val="100000"/>
              </a:lnSpc>
              <a:defRPr sz="1000">
                <a:solidFill>
                  <a:schemeClr val="tx1">
                    <a:lumMod val="75000"/>
                    <a:lumOff val="25000"/>
                  </a:schemeClr>
                </a:solidFill>
              </a:defRPr>
            </a:lvl1pPr>
          </a:lstStyle>
          <a:p>
            <a:fld id="{FD814145-5B10-4F3F-A6BF-3641B91211CF}" type="slidenum">
              <a:rPr lang="en-US" smtClean="0"/>
              <a:pPr/>
              <a:t>‹#›</a:t>
            </a:fld>
            <a:endParaRPr lang="en-US" dirty="0"/>
          </a:p>
        </p:txBody>
      </p:sp>
      <p:sp>
        <p:nvSpPr>
          <p:cNvPr id="8" name="Text Placeholder 7">
            <a:extLst>
              <a:ext uri="{FF2B5EF4-FFF2-40B4-BE49-F238E27FC236}">
                <a16:creationId xmlns:a16="http://schemas.microsoft.com/office/drawing/2014/main" id="{36801A41-6901-C085-44D0-685FA3E1A66D}"/>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Text Placeholder 11">
            <a:extLst>
              <a:ext uri="{FF2B5EF4-FFF2-40B4-BE49-F238E27FC236}">
                <a16:creationId xmlns:a16="http://schemas.microsoft.com/office/drawing/2014/main" id="{4C5D5E21-197E-9FAF-EE30-DF02893C567B}"/>
              </a:ext>
            </a:extLst>
          </p:cNvPr>
          <p:cNvSpPr>
            <a:spLocks noGrp="1"/>
          </p:cNvSpPr>
          <p:nvPr>
            <p:ph type="body" sz="quarter" idx="41"/>
          </p:nvPr>
        </p:nvSpPr>
        <p:spPr>
          <a:xfrm>
            <a:off x="4503738" y="1997829"/>
            <a:ext cx="3190875" cy="993645"/>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3" name="Text Placeholder 11">
            <a:extLst>
              <a:ext uri="{FF2B5EF4-FFF2-40B4-BE49-F238E27FC236}">
                <a16:creationId xmlns:a16="http://schemas.microsoft.com/office/drawing/2014/main" id="{FCC6C2EF-F367-CABC-9873-EB1DDAB421C5}"/>
              </a:ext>
            </a:extLst>
          </p:cNvPr>
          <p:cNvSpPr>
            <a:spLocks noGrp="1"/>
          </p:cNvSpPr>
          <p:nvPr>
            <p:ph type="body" sz="quarter" idx="42"/>
          </p:nvPr>
        </p:nvSpPr>
        <p:spPr>
          <a:xfrm>
            <a:off x="8391525" y="1997829"/>
            <a:ext cx="3190875" cy="993645"/>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4" name="Text Placeholder 11">
            <a:extLst>
              <a:ext uri="{FF2B5EF4-FFF2-40B4-BE49-F238E27FC236}">
                <a16:creationId xmlns:a16="http://schemas.microsoft.com/office/drawing/2014/main" id="{3A777F17-3D5B-2101-D67A-B7BD60069919}"/>
              </a:ext>
            </a:extLst>
          </p:cNvPr>
          <p:cNvSpPr>
            <a:spLocks noGrp="1"/>
          </p:cNvSpPr>
          <p:nvPr>
            <p:ph type="body" sz="quarter" idx="43"/>
          </p:nvPr>
        </p:nvSpPr>
        <p:spPr>
          <a:xfrm>
            <a:off x="4503738" y="4892040"/>
            <a:ext cx="3190875" cy="993645"/>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15" name="Text Placeholder 11">
            <a:extLst>
              <a:ext uri="{FF2B5EF4-FFF2-40B4-BE49-F238E27FC236}">
                <a16:creationId xmlns:a16="http://schemas.microsoft.com/office/drawing/2014/main" id="{CEFC7221-44C7-32C6-C0CC-AA1920777AC3}"/>
              </a:ext>
            </a:extLst>
          </p:cNvPr>
          <p:cNvSpPr>
            <a:spLocks noGrp="1"/>
          </p:cNvSpPr>
          <p:nvPr>
            <p:ph type="body" sz="quarter" idx="44"/>
          </p:nvPr>
        </p:nvSpPr>
        <p:spPr>
          <a:xfrm>
            <a:off x="8391525" y="4892040"/>
            <a:ext cx="3190875" cy="993645"/>
          </a:xfrm>
        </p:spPr>
        <p:txBody>
          <a:bodyPr/>
          <a:lstStyle>
            <a:lvl1pPr marL="0" indent="0">
              <a:buFont typeface="Arial" panose="020B0604020202020204" pitchFamily="34" charset="0"/>
              <a:buNone/>
              <a:defRPr sz="1600"/>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Tree>
    <p:extLst>
      <p:ext uri="{BB962C8B-B14F-4D97-AF65-F5344CB8AC3E}">
        <p14:creationId xmlns:p14="http://schemas.microsoft.com/office/powerpoint/2010/main" val="12020420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ur-quadrant 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FB671-7288-F24D-B614-7485A1EB4769}"/>
              </a:ext>
            </a:extLst>
          </p:cNvPr>
          <p:cNvSpPr>
            <a:spLocks noGrp="1"/>
          </p:cNvSpPr>
          <p:nvPr>
            <p:ph type="title"/>
          </p:nvPr>
        </p:nvSpPr>
        <p:spPr>
          <a:xfrm>
            <a:off x="609600" y="4436344"/>
            <a:ext cx="3191256" cy="1107996"/>
          </a:xfrm>
        </p:spPr>
        <p:txBody>
          <a:bodyPr anchor="b">
            <a:noAutofit/>
          </a:bodyPr>
          <a:lstStyle>
            <a:lvl1pPr>
              <a:lnSpc>
                <a:spcPct val="100000"/>
              </a:lnSpc>
              <a:defRPr>
                <a:solidFill>
                  <a:schemeClr val="bg1"/>
                </a:solidFill>
              </a:defRPr>
            </a:lvl1pPr>
          </a:lstStyle>
          <a:p>
            <a:r>
              <a:rPr lang="en-US"/>
              <a:t>Click to edit Master title style</a:t>
            </a:r>
          </a:p>
        </p:txBody>
      </p:sp>
      <p:sp>
        <p:nvSpPr>
          <p:cNvPr id="5" name="Date Placeholder 4">
            <a:extLst>
              <a:ext uri="{FF2B5EF4-FFF2-40B4-BE49-F238E27FC236}">
                <a16:creationId xmlns:a16="http://schemas.microsoft.com/office/drawing/2014/main" id="{F9A9FAB2-9497-583D-67D2-92656EBD96E1}"/>
              </a:ext>
            </a:extLst>
          </p:cNvPr>
          <p:cNvSpPr>
            <a:spLocks noGrp="1"/>
          </p:cNvSpPr>
          <p:nvPr>
            <p:ph type="dt" sz="half" idx="12"/>
          </p:nvPr>
        </p:nvSpPr>
        <p:spPr/>
        <p:txBody>
          <a:bodyPr>
            <a:noAutofit/>
          </a:bodyPr>
          <a:lstStyle>
            <a:lvl1pPr>
              <a:defRPr>
                <a:solidFill>
                  <a:schemeClr val="bg1">
                    <a:lumMod val="65000"/>
                  </a:schemeClr>
                </a:solidFill>
              </a:defRPr>
            </a:lvl1pPr>
          </a:lstStyle>
          <a:p>
            <a:fld id="{BBDD2723-EEF1-4DD5-8241-DD6A3D586244}" type="datetime4">
              <a:rPr lang="en-US" smtClean="0"/>
              <a:t>May 17, 2025</a:t>
            </a:fld>
            <a:endParaRPr lang="en-US" dirty="0"/>
          </a:p>
        </p:txBody>
      </p:sp>
      <p:sp>
        <p:nvSpPr>
          <p:cNvPr id="37" name="Text Placeholder 3">
            <a:extLst>
              <a:ext uri="{FF2B5EF4-FFF2-40B4-BE49-F238E27FC236}">
                <a16:creationId xmlns:a16="http://schemas.microsoft.com/office/drawing/2014/main" id="{277C43D7-C00C-7DE6-0BB0-C5E8CE8207B8}"/>
              </a:ext>
            </a:extLst>
          </p:cNvPr>
          <p:cNvSpPr>
            <a:spLocks noGrp="1"/>
          </p:cNvSpPr>
          <p:nvPr>
            <p:ph type="body" sz="quarter" idx="13" hasCustomPrompt="1"/>
          </p:nvPr>
        </p:nvSpPr>
        <p:spPr>
          <a:xfrm>
            <a:off x="609600" y="5569938"/>
            <a:ext cx="3191256" cy="307777"/>
          </a:xfrm>
        </p:spPr>
        <p:txBody>
          <a:bodyPr wrap="square">
            <a:noAutofit/>
          </a:bodyPr>
          <a:lstStyle>
            <a:lvl1pPr>
              <a:defRPr>
                <a:solidFill>
                  <a:schemeClr val="bg1"/>
                </a:solidFill>
              </a:defRPr>
            </a:lvl1pPr>
          </a:lstStyle>
          <a:p>
            <a:pPr lvl="0"/>
            <a:r>
              <a:rPr lang="en-US"/>
              <a:t>Subtitle</a:t>
            </a:r>
          </a:p>
        </p:txBody>
      </p:sp>
      <p:sp>
        <p:nvSpPr>
          <p:cNvPr id="20" name="Text Placeholder 26">
            <a:extLst>
              <a:ext uri="{FF2B5EF4-FFF2-40B4-BE49-F238E27FC236}">
                <a16:creationId xmlns:a16="http://schemas.microsoft.com/office/drawing/2014/main" id="{C0C50244-9E21-6A87-6F2A-F211E712EF68}"/>
              </a:ext>
            </a:extLst>
          </p:cNvPr>
          <p:cNvSpPr>
            <a:spLocks noGrp="1"/>
          </p:cNvSpPr>
          <p:nvPr>
            <p:ph type="body" sz="quarter" idx="37" hasCustomPrompt="1"/>
          </p:nvPr>
        </p:nvSpPr>
        <p:spPr>
          <a:xfrm>
            <a:off x="4503420" y="656457"/>
            <a:ext cx="442911" cy="430887"/>
          </a:xfrm>
          <a:noFill/>
        </p:spPr>
        <p:txBody>
          <a:bodyPr anchor="b">
            <a:noAutofit/>
          </a:bodyPr>
          <a:lstStyle>
            <a:lvl1pPr algn="l">
              <a:defRPr sz="2800">
                <a:solidFill>
                  <a:schemeClr val="accent1"/>
                </a:solidFill>
              </a:defRPr>
            </a:lvl1pPr>
          </a:lstStyle>
          <a:p>
            <a:pPr lvl="0"/>
            <a:r>
              <a:rPr lang="en-US"/>
              <a:t>00</a:t>
            </a:r>
          </a:p>
        </p:txBody>
      </p:sp>
      <p:sp>
        <p:nvSpPr>
          <p:cNvPr id="21" name="Text Placeholder 26">
            <a:extLst>
              <a:ext uri="{FF2B5EF4-FFF2-40B4-BE49-F238E27FC236}">
                <a16:creationId xmlns:a16="http://schemas.microsoft.com/office/drawing/2014/main" id="{37FF0FC2-D0A4-C98D-6FA9-36A70B03299A}"/>
              </a:ext>
            </a:extLst>
          </p:cNvPr>
          <p:cNvSpPr>
            <a:spLocks noGrp="1"/>
          </p:cNvSpPr>
          <p:nvPr>
            <p:ph type="body" sz="quarter" idx="38" hasCustomPrompt="1"/>
          </p:nvPr>
        </p:nvSpPr>
        <p:spPr>
          <a:xfrm>
            <a:off x="8394700" y="656457"/>
            <a:ext cx="442911" cy="430887"/>
          </a:xfrm>
          <a:noFill/>
        </p:spPr>
        <p:txBody>
          <a:bodyPr anchor="b">
            <a:noAutofit/>
          </a:bodyPr>
          <a:lstStyle>
            <a:lvl1pPr algn="l">
              <a:defRPr sz="2800">
                <a:solidFill>
                  <a:schemeClr val="accent1"/>
                </a:solidFill>
              </a:defRPr>
            </a:lvl1pPr>
          </a:lstStyle>
          <a:p>
            <a:pPr lvl="0"/>
            <a:r>
              <a:rPr lang="en-US"/>
              <a:t>00</a:t>
            </a:r>
          </a:p>
        </p:txBody>
      </p:sp>
      <p:sp>
        <p:nvSpPr>
          <p:cNvPr id="22" name="Text Placeholder 26">
            <a:extLst>
              <a:ext uri="{FF2B5EF4-FFF2-40B4-BE49-F238E27FC236}">
                <a16:creationId xmlns:a16="http://schemas.microsoft.com/office/drawing/2014/main" id="{A66E84F9-7E79-CBE4-8BF0-EB295B78C841}"/>
              </a:ext>
            </a:extLst>
          </p:cNvPr>
          <p:cNvSpPr>
            <a:spLocks noGrp="1"/>
          </p:cNvSpPr>
          <p:nvPr>
            <p:ph type="body" sz="quarter" idx="39" hasCustomPrompt="1"/>
          </p:nvPr>
        </p:nvSpPr>
        <p:spPr>
          <a:xfrm>
            <a:off x="4503420" y="3542695"/>
            <a:ext cx="442911" cy="430887"/>
          </a:xfrm>
          <a:noFill/>
        </p:spPr>
        <p:txBody>
          <a:bodyPr anchor="b">
            <a:noAutofit/>
          </a:bodyPr>
          <a:lstStyle>
            <a:lvl1pPr algn="l">
              <a:defRPr sz="2800">
                <a:solidFill>
                  <a:schemeClr val="accent1"/>
                </a:solidFill>
              </a:defRPr>
            </a:lvl1pPr>
          </a:lstStyle>
          <a:p>
            <a:pPr lvl="0"/>
            <a:r>
              <a:rPr lang="en-US"/>
              <a:t>00</a:t>
            </a:r>
          </a:p>
        </p:txBody>
      </p:sp>
      <p:sp>
        <p:nvSpPr>
          <p:cNvPr id="23" name="Text Placeholder 26">
            <a:extLst>
              <a:ext uri="{FF2B5EF4-FFF2-40B4-BE49-F238E27FC236}">
                <a16:creationId xmlns:a16="http://schemas.microsoft.com/office/drawing/2014/main" id="{71007FB7-9D94-ECE5-1BEF-E00EDE0ED885}"/>
              </a:ext>
            </a:extLst>
          </p:cNvPr>
          <p:cNvSpPr>
            <a:spLocks noGrp="1"/>
          </p:cNvSpPr>
          <p:nvPr>
            <p:ph type="body" sz="quarter" idx="40" hasCustomPrompt="1"/>
          </p:nvPr>
        </p:nvSpPr>
        <p:spPr>
          <a:xfrm>
            <a:off x="8394700" y="3542695"/>
            <a:ext cx="442911" cy="430887"/>
          </a:xfrm>
          <a:noFill/>
        </p:spPr>
        <p:txBody>
          <a:bodyPr anchor="b">
            <a:noAutofit/>
          </a:bodyPr>
          <a:lstStyle>
            <a:lvl1pPr algn="l">
              <a:defRPr sz="2800">
                <a:solidFill>
                  <a:schemeClr val="accent1"/>
                </a:solidFill>
              </a:defRPr>
            </a:lvl1pPr>
          </a:lstStyle>
          <a:p>
            <a:pPr lvl="0"/>
            <a:r>
              <a:rPr lang="en-US"/>
              <a:t>00</a:t>
            </a:r>
          </a:p>
        </p:txBody>
      </p:sp>
      <p:sp>
        <p:nvSpPr>
          <p:cNvPr id="3" name="Footer Placeholder 13">
            <a:extLst>
              <a:ext uri="{FF2B5EF4-FFF2-40B4-BE49-F238E27FC236}">
                <a16:creationId xmlns:a16="http://schemas.microsoft.com/office/drawing/2014/main" id="{171CAC7F-5BD2-9973-E271-C4800EE82631}"/>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sp>
        <p:nvSpPr>
          <p:cNvPr id="4" name="Slide Number Placeholder 14">
            <a:extLst>
              <a:ext uri="{FF2B5EF4-FFF2-40B4-BE49-F238E27FC236}">
                <a16:creationId xmlns:a16="http://schemas.microsoft.com/office/drawing/2014/main" id="{9B713C4B-36F9-E5DB-37B8-DF15BB99547D}"/>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sp>
        <p:nvSpPr>
          <p:cNvPr id="7" name="Text Placeholder 7">
            <a:extLst>
              <a:ext uri="{FF2B5EF4-FFF2-40B4-BE49-F238E27FC236}">
                <a16:creationId xmlns:a16="http://schemas.microsoft.com/office/drawing/2014/main" id="{01E6768F-1A5B-7106-9769-0A5AE998BB81}"/>
              </a:ext>
            </a:extLst>
          </p:cNvPr>
          <p:cNvSpPr>
            <a:spLocks noGrp="1"/>
          </p:cNvSpPr>
          <p:nvPr>
            <p:ph type="body" sz="quarter" idx="41" hasCustomPrompt="1"/>
          </p:nvPr>
        </p:nvSpPr>
        <p:spPr>
          <a:xfrm>
            <a:off x="609600" y="136647"/>
            <a:ext cx="4076700" cy="153888"/>
          </a:xfrm>
        </p:spPr>
        <p:txBody>
          <a:bodyPr vert="horz" wrap="square" lIns="0" tIns="0" rIns="0" bIns="0" rtlCol="0" anchor="ctr">
            <a:noAutofit/>
          </a:bodyPr>
          <a:lstStyle>
            <a:lvl1pPr>
              <a:defRPr lang="en-US" sz="1000" b="0" cap="all" spc="0" baseline="0" dirty="0">
                <a:solidFill>
                  <a:schemeClr val="accent1"/>
                </a:solidFill>
                <a:latin typeface="+mj-lt"/>
              </a:defRPr>
            </a:lvl1pPr>
          </a:lstStyle>
          <a:p>
            <a:pPr lvl="0">
              <a:spcAft>
                <a:spcPts val="0"/>
              </a:spcAft>
            </a:pPr>
            <a:r>
              <a:rPr lang="en-US"/>
              <a:t>Industry Name / Section Title</a:t>
            </a:r>
          </a:p>
        </p:txBody>
      </p:sp>
      <p:pic>
        <p:nvPicPr>
          <p:cNvPr id="8" name="Graphic 7">
            <a:extLst>
              <a:ext uri="{FF2B5EF4-FFF2-40B4-BE49-F238E27FC236}">
                <a16:creationId xmlns:a16="http://schemas.microsoft.com/office/drawing/2014/main" id="{FABBED0B-B428-09B2-BF1F-6C5529E4AD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sp>
        <p:nvSpPr>
          <p:cNvPr id="28" name="Text Placeholder 24">
            <a:extLst>
              <a:ext uri="{FF2B5EF4-FFF2-40B4-BE49-F238E27FC236}">
                <a16:creationId xmlns:a16="http://schemas.microsoft.com/office/drawing/2014/main" id="{319CB39C-37C2-D5B7-1E9F-893FF233310B}"/>
              </a:ext>
            </a:extLst>
          </p:cNvPr>
          <p:cNvSpPr>
            <a:spLocks noGrp="1"/>
          </p:cNvSpPr>
          <p:nvPr>
            <p:ph type="body" sz="quarter" idx="29"/>
          </p:nvPr>
        </p:nvSpPr>
        <p:spPr>
          <a:xfrm>
            <a:off x="4503420" y="1372989"/>
            <a:ext cx="3191256" cy="612648"/>
          </a:xfrm>
        </p:spPr>
        <p:txBody>
          <a:bodyPr>
            <a:noAutofit/>
          </a:bodyPr>
          <a:lstStyle>
            <a:lvl1pPr marL="0" indent="0">
              <a:buFont typeface="Arial" panose="020B0604020202020204" pitchFamily="34" charset="0"/>
              <a:buNone/>
              <a:defRPr sz="1800" b="1">
                <a:solidFill>
                  <a:schemeClr val="bg1"/>
                </a:solidFill>
                <a:latin typeface="+mj-lt"/>
              </a:defRPr>
            </a:lvl1pPr>
            <a:lvl2pPr marL="0" indent="0">
              <a:buNone/>
              <a:defRPr sz="1600"/>
            </a:lvl2pPr>
            <a:lvl3pPr marL="182880" indent="0">
              <a:buNone/>
              <a:defRPr/>
            </a:lvl3pPr>
          </a:lstStyle>
          <a:p>
            <a:pPr lvl="0"/>
            <a:r>
              <a:rPr lang="en-US"/>
              <a:t>Click to edit Master text styles</a:t>
            </a:r>
          </a:p>
        </p:txBody>
      </p:sp>
      <p:sp>
        <p:nvSpPr>
          <p:cNvPr id="29" name="Text Placeholder 24">
            <a:extLst>
              <a:ext uri="{FF2B5EF4-FFF2-40B4-BE49-F238E27FC236}">
                <a16:creationId xmlns:a16="http://schemas.microsoft.com/office/drawing/2014/main" id="{7AD212FF-7D10-F86A-78D8-8E030C102500}"/>
              </a:ext>
            </a:extLst>
          </p:cNvPr>
          <p:cNvSpPr>
            <a:spLocks noGrp="1"/>
          </p:cNvSpPr>
          <p:nvPr>
            <p:ph type="body" sz="quarter" idx="32"/>
          </p:nvPr>
        </p:nvSpPr>
        <p:spPr>
          <a:xfrm>
            <a:off x="8394700" y="1372989"/>
            <a:ext cx="3191256" cy="612648"/>
          </a:xfrm>
        </p:spPr>
        <p:txBody>
          <a:bodyPr>
            <a:noAutofit/>
          </a:bodyPr>
          <a:lstStyle>
            <a:lvl1pPr marL="0" indent="0">
              <a:buFont typeface="Arial" panose="020B0604020202020204" pitchFamily="34" charset="0"/>
              <a:buNone/>
              <a:defRPr sz="1800" b="1">
                <a:solidFill>
                  <a:schemeClr val="bg1"/>
                </a:solidFill>
                <a:latin typeface="+mj-lt"/>
              </a:defRPr>
            </a:lvl1pPr>
            <a:lvl2pPr marL="0" indent="0">
              <a:buNone/>
              <a:defRPr sz="1600"/>
            </a:lvl2pPr>
            <a:lvl3pPr marL="182880" indent="0">
              <a:buNone/>
              <a:defRPr/>
            </a:lvl3pPr>
          </a:lstStyle>
          <a:p>
            <a:pPr lvl="0"/>
            <a:r>
              <a:rPr lang="en-US"/>
              <a:t>Click to edit Master text styles</a:t>
            </a:r>
          </a:p>
        </p:txBody>
      </p:sp>
      <p:sp>
        <p:nvSpPr>
          <p:cNvPr id="30" name="Text Placeholder 24">
            <a:extLst>
              <a:ext uri="{FF2B5EF4-FFF2-40B4-BE49-F238E27FC236}">
                <a16:creationId xmlns:a16="http://schemas.microsoft.com/office/drawing/2014/main" id="{D4B57AA8-A9AA-B59D-3BE9-C0653FA00976}"/>
              </a:ext>
            </a:extLst>
          </p:cNvPr>
          <p:cNvSpPr>
            <a:spLocks noGrp="1"/>
          </p:cNvSpPr>
          <p:nvPr>
            <p:ph type="body" sz="quarter" idx="34"/>
          </p:nvPr>
        </p:nvSpPr>
        <p:spPr>
          <a:xfrm>
            <a:off x="4503420" y="4259227"/>
            <a:ext cx="3191256" cy="612648"/>
          </a:xfrm>
        </p:spPr>
        <p:txBody>
          <a:bodyPr>
            <a:noAutofit/>
          </a:bodyPr>
          <a:lstStyle>
            <a:lvl1pPr marL="0" indent="0">
              <a:buFont typeface="Arial" panose="020B0604020202020204" pitchFamily="34" charset="0"/>
              <a:buNone/>
              <a:defRPr sz="1800" b="1">
                <a:solidFill>
                  <a:schemeClr val="bg1"/>
                </a:solidFill>
                <a:latin typeface="+mj-lt"/>
              </a:defRPr>
            </a:lvl1pPr>
            <a:lvl2pPr marL="0" indent="0">
              <a:buNone/>
              <a:defRPr sz="1600"/>
            </a:lvl2pPr>
            <a:lvl3pPr marL="182880" indent="0">
              <a:buNone/>
              <a:defRPr/>
            </a:lvl3pPr>
          </a:lstStyle>
          <a:p>
            <a:pPr lvl="0"/>
            <a:r>
              <a:rPr lang="en-US"/>
              <a:t>Click to edit Master text styles</a:t>
            </a:r>
          </a:p>
        </p:txBody>
      </p:sp>
      <p:sp>
        <p:nvSpPr>
          <p:cNvPr id="31" name="Text Placeholder 24">
            <a:extLst>
              <a:ext uri="{FF2B5EF4-FFF2-40B4-BE49-F238E27FC236}">
                <a16:creationId xmlns:a16="http://schemas.microsoft.com/office/drawing/2014/main" id="{D28E0066-694B-5AEA-9CF0-31AC10EB9A6C}"/>
              </a:ext>
            </a:extLst>
          </p:cNvPr>
          <p:cNvSpPr>
            <a:spLocks noGrp="1"/>
          </p:cNvSpPr>
          <p:nvPr>
            <p:ph type="body" sz="quarter" idx="36"/>
          </p:nvPr>
        </p:nvSpPr>
        <p:spPr>
          <a:xfrm>
            <a:off x="8394700" y="4259227"/>
            <a:ext cx="3191256" cy="612648"/>
          </a:xfrm>
        </p:spPr>
        <p:txBody>
          <a:bodyPr>
            <a:noAutofit/>
          </a:bodyPr>
          <a:lstStyle>
            <a:lvl1pPr marL="0" indent="0">
              <a:buFont typeface="Arial" panose="020B0604020202020204" pitchFamily="34" charset="0"/>
              <a:buNone/>
              <a:defRPr sz="1800" b="1">
                <a:solidFill>
                  <a:schemeClr val="bg1"/>
                </a:solidFill>
                <a:latin typeface="+mj-lt"/>
              </a:defRPr>
            </a:lvl1pPr>
            <a:lvl2pPr marL="0" indent="0">
              <a:buNone/>
              <a:defRPr sz="1600"/>
            </a:lvl2pPr>
            <a:lvl3pPr marL="182880" indent="0">
              <a:buNone/>
              <a:defRPr/>
            </a:lvl3pPr>
          </a:lstStyle>
          <a:p>
            <a:pPr lvl="0"/>
            <a:r>
              <a:rPr lang="en-US"/>
              <a:t>Click to edit Master text styles</a:t>
            </a:r>
          </a:p>
        </p:txBody>
      </p:sp>
      <p:sp>
        <p:nvSpPr>
          <p:cNvPr id="32" name="Text Placeholder 11">
            <a:extLst>
              <a:ext uri="{FF2B5EF4-FFF2-40B4-BE49-F238E27FC236}">
                <a16:creationId xmlns:a16="http://schemas.microsoft.com/office/drawing/2014/main" id="{2DD06C76-DED9-CB6C-69D9-32BBA81693E2}"/>
              </a:ext>
            </a:extLst>
          </p:cNvPr>
          <p:cNvSpPr>
            <a:spLocks noGrp="1"/>
          </p:cNvSpPr>
          <p:nvPr>
            <p:ph type="body" sz="quarter" idx="42"/>
          </p:nvPr>
        </p:nvSpPr>
        <p:spPr>
          <a:xfrm>
            <a:off x="4503738" y="1997829"/>
            <a:ext cx="3190875" cy="993645"/>
          </a:xfrm>
        </p:spPr>
        <p:txBody>
          <a:bodyPr/>
          <a:lstStyle>
            <a:lvl1pPr marL="0" indent="0">
              <a:buFont typeface="Arial" panose="020B0604020202020204" pitchFamily="34" charset="0"/>
              <a:buNone/>
              <a:defRPr sz="16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33" name="Text Placeholder 11">
            <a:extLst>
              <a:ext uri="{FF2B5EF4-FFF2-40B4-BE49-F238E27FC236}">
                <a16:creationId xmlns:a16="http://schemas.microsoft.com/office/drawing/2014/main" id="{01AB02C8-83DF-C2F2-975C-29A5DE0ECCB3}"/>
              </a:ext>
            </a:extLst>
          </p:cNvPr>
          <p:cNvSpPr>
            <a:spLocks noGrp="1"/>
          </p:cNvSpPr>
          <p:nvPr>
            <p:ph type="body" sz="quarter" idx="43"/>
          </p:nvPr>
        </p:nvSpPr>
        <p:spPr>
          <a:xfrm>
            <a:off x="8391525" y="1997829"/>
            <a:ext cx="3190875" cy="993645"/>
          </a:xfrm>
        </p:spPr>
        <p:txBody>
          <a:bodyPr/>
          <a:lstStyle>
            <a:lvl1pPr marL="0" indent="0">
              <a:buFont typeface="Arial" panose="020B0604020202020204" pitchFamily="34" charset="0"/>
              <a:buNone/>
              <a:defRPr sz="16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34" name="Text Placeholder 11">
            <a:extLst>
              <a:ext uri="{FF2B5EF4-FFF2-40B4-BE49-F238E27FC236}">
                <a16:creationId xmlns:a16="http://schemas.microsoft.com/office/drawing/2014/main" id="{FF4AD7C0-4147-D089-5241-B057AA9E291E}"/>
              </a:ext>
            </a:extLst>
          </p:cNvPr>
          <p:cNvSpPr>
            <a:spLocks noGrp="1"/>
          </p:cNvSpPr>
          <p:nvPr>
            <p:ph type="body" sz="quarter" idx="44"/>
          </p:nvPr>
        </p:nvSpPr>
        <p:spPr>
          <a:xfrm>
            <a:off x="4503738" y="4892040"/>
            <a:ext cx="3190875" cy="993645"/>
          </a:xfrm>
        </p:spPr>
        <p:txBody>
          <a:bodyPr/>
          <a:lstStyle>
            <a:lvl1pPr marL="0" indent="0">
              <a:buFont typeface="Arial" panose="020B0604020202020204" pitchFamily="34" charset="0"/>
              <a:buNone/>
              <a:defRPr sz="16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
        <p:nvSpPr>
          <p:cNvPr id="35" name="Text Placeholder 11">
            <a:extLst>
              <a:ext uri="{FF2B5EF4-FFF2-40B4-BE49-F238E27FC236}">
                <a16:creationId xmlns:a16="http://schemas.microsoft.com/office/drawing/2014/main" id="{C12C4410-0BC8-E932-C599-6950BD64B279}"/>
              </a:ext>
            </a:extLst>
          </p:cNvPr>
          <p:cNvSpPr>
            <a:spLocks noGrp="1"/>
          </p:cNvSpPr>
          <p:nvPr>
            <p:ph type="body" sz="quarter" idx="45"/>
          </p:nvPr>
        </p:nvSpPr>
        <p:spPr>
          <a:xfrm>
            <a:off x="8391525" y="4892040"/>
            <a:ext cx="3190875" cy="993645"/>
          </a:xfrm>
        </p:spPr>
        <p:txBody>
          <a:bodyPr/>
          <a:lstStyle>
            <a:lvl1pPr marL="0" indent="0">
              <a:buFont typeface="Arial" panose="020B0604020202020204" pitchFamily="34" charset="0"/>
              <a:buNone/>
              <a:defRPr sz="1600">
                <a:solidFill>
                  <a:schemeClr val="bg1"/>
                </a:solidFill>
              </a:defRPr>
            </a:lvl1pPr>
            <a:lvl2pPr marL="0" indent="0">
              <a:buNone/>
              <a:defRPr sz="1600"/>
            </a:lvl2pPr>
            <a:lvl3pPr marL="182880" indent="0">
              <a:buNone/>
              <a:defRPr sz="1600"/>
            </a:lvl3pPr>
            <a:lvl4pPr marL="365760" indent="0">
              <a:buNone/>
              <a:defRPr sz="1600"/>
            </a:lvl4pPr>
            <a:lvl5pPr marL="548640" indent="0">
              <a:buNone/>
              <a:defRPr sz="1600"/>
            </a:lvl5pPr>
          </a:lstStyle>
          <a:p>
            <a:pPr lvl="0"/>
            <a:r>
              <a:rPr lang="en-US"/>
              <a:t>Click to edit Master text styles</a:t>
            </a:r>
          </a:p>
        </p:txBody>
      </p:sp>
    </p:spTree>
    <p:extLst>
      <p:ext uri="{BB962C8B-B14F-4D97-AF65-F5344CB8AC3E}">
        <p14:creationId xmlns:p14="http://schemas.microsoft.com/office/powerpoint/2010/main" val="9099439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Image + Content A">
    <p:bg>
      <p:bgPr>
        <a:solidFill>
          <a:srgbClr val="F3F3F3"/>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7395C30-7718-F2A9-4ACA-588234BCD773}"/>
              </a:ext>
            </a:extLst>
          </p:cNvPr>
          <p:cNvGrpSpPr/>
          <p:nvPr userDrawn="1"/>
        </p:nvGrpSpPr>
        <p:grpSpPr>
          <a:xfrm>
            <a:off x="0" y="426998"/>
            <a:ext cx="6096000" cy="6004005"/>
            <a:chOff x="0" y="426998"/>
            <a:chExt cx="4064000" cy="6004005"/>
          </a:xfrm>
        </p:grpSpPr>
        <p:cxnSp>
          <p:nvCxnSpPr>
            <p:cNvPr id="6" name="Straight Connector 5">
              <a:extLst>
                <a:ext uri="{FF2B5EF4-FFF2-40B4-BE49-F238E27FC236}">
                  <a16:creationId xmlns:a16="http://schemas.microsoft.com/office/drawing/2014/main" id="{B63D4F01-75C5-CFBB-6DBF-04760D2C3993}"/>
                </a:ext>
              </a:extLst>
            </p:cNvPr>
            <p:cNvCxnSpPr>
              <a:cxnSpLocks/>
            </p:cNvCxnSpPr>
            <p:nvPr userDrawn="1"/>
          </p:nvCxnSpPr>
          <p:spPr>
            <a:xfrm>
              <a:off x="0" y="426998"/>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2F8D0A0-25DD-860D-FA90-F42106BE618A}"/>
                </a:ext>
              </a:extLst>
            </p:cNvPr>
            <p:cNvCxnSpPr>
              <a:cxnSpLocks/>
            </p:cNvCxnSpPr>
            <p:nvPr userDrawn="1"/>
          </p:nvCxnSpPr>
          <p:spPr>
            <a:xfrm>
              <a:off x="0" y="6431003"/>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420A254F-BDD5-C9AF-1DD7-05ACB129B577}"/>
              </a:ext>
            </a:extLst>
          </p:cNvPr>
          <p:cNvSpPr/>
          <p:nvPr/>
        </p:nvSpPr>
        <p:spPr>
          <a:xfrm>
            <a:off x="6096001" y="0"/>
            <a:ext cx="6096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6141C210-892D-24A5-E574-B59C507782C4}"/>
              </a:ext>
            </a:extLst>
          </p:cNvPr>
          <p:cNvSpPr>
            <a:spLocks noGrp="1"/>
          </p:cNvSpPr>
          <p:nvPr>
            <p:ph type="sldNum" sz="quarter" idx="11"/>
          </p:nvPr>
        </p:nvSpPr>
        <p:spPr>
          <a:xfrm>
            <a:off x="11248008" y="6567465"/>
            <a:ext cx="334392" cy="153888"/>
          </a:xfrm>
          <a:prstGeom prst="rect">
            <a:avLst/>
          </a:prstGeom>
        </p:spPr>
        <p:txBody>
          <a:bodyPr>
            <a:noAutofit/>
          </a:bodyPr>
          <a:lstStyle/>
          <a:p>
            <a:fld id="{FD814145-5B10-4F3F-A6BF-3641B91211CF}" type="slidenum">
              <a:rPr lang="en-US" smtClean="0"/>
              <a:pPr/>
              <a:t>‹#›</a:t>
            </a:fld>
            <a:endParaRPr lang="en-US" dirty="0"/>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010928"/>
            <a:ext cx="4876799" cy="1231106"/>
          </a:xfrm>
        </p:spPr>
        <p:txBody>
          <a:bodyPr>
            <a:noAutofit/>
          </a:bodyPr>
          <a:lstStyle>
            <a:lvl1pPr>
              <a:defRPr sz="2000">
                <a:solidFill>
                  <a:schemeClr val="tx2"/>
                </a:solidFill>
              </a:defRPr>
            </a:lvl1pPr>
            <a:lvl2pPr marL="0" indent="0">
              <a:buNone/>
              <a:defRPr/>
            </a:lvl2pPr>
          </a:lstStyle>
          <a:p>
            <a:pPr lvl="0"/>
            <a:r>
              <a:rPr lang="en-US"/>
              <a:t>Click to edit Master text styles</a:t>
            </a:r>
          </a:p>
        </p:txBody>
      </p:sp>
      <p:sp>
        <p:nvSpPr>
          <p:cNvPr id="43" name="Text Placeholder 7">
            <a:extLst>
              <a:ext uri="{FF2B5EF4-FFF2-40B4-BE49-F238E27FC236}">
                <a16:creationId xmlns:a16="http://schemas.microsoft.com/office/drawing/2014/main" id="{42D5A6F2-908D-2D67-A69F-7F8AC3E161A6}"/>
              </a:ext>
            </a:extLst>
          </p:cNvPr>
          <p:cNvSpPr>
            <a:spLocks noGrp="1"/>
          </p:cNvSpPr>
          <p:nvPr>
            <p:ph type="body" sz="quarter" idx="28" hasCustomPrompt="1"/>
          </p:nvPr>
        </p:nvSpPr>
        <p:spPr>
          <a:xfrm>
            <a:off x="609600" y="1600200"/>
            <a:ext cx="4876799" cy="215444"/>
          </a:xfrm>
        </p:spPr>
        <p:txBody>
          <a:bodyPr wrap="square" anchor="ctr">
            <a:noAutofit/>
          </a:bodyPr>
          <a:lstStyle>
            <a:lvl1pPr>
              <a:spcAft>
                <a:spcPts val="0"/>
              </a:spcAft>
              <a:defRPr lang="en-US" sz="1400" b="1" kern="1200" cap="all" spc="300" baseline="0" dirty="0">
                <a:solidFill>
                  <a:schemeClr val="tx2"/>
                </a:solidFill>
                <a:latin typeface="+mj-lt"/>
                <a:ea typeface="+mn-ea"/>
                <a:cs typeface="+mn-cs"/>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Optional Eyebrow</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hasCustomPrompt="1"/>
          </p:nvPr>
        </p:nvSpPr>
        <p:spPr>
          <a:xfrm>
            <a:off x="609601" y="2024185"/>
            <a:ext cx="4876799" cy="1354217"/>
          </a:xfrm>
        </p:spPr>
        <p:txBody>
          <a:bodyPr anchor="b">
            <a:noAutofit/>
          </a:bodyPr>
          <a:lstStyle>
            <a:lvl1pPr>
              <a:defRPr sz="4400"/>
            </a:lvl1pPr>
          </a:lstStyle>
          <a:p>
            <a:pPr lvl="0"/>
            <a:r>
              <a:rPr lang="en-US"/>
              <a:t>Click to edit </a:t>
            </a:r>
            <a:br>
              <a:rPr lang="en-US"/>
            </a:br>
            <a:r>
              <a:rPr lang="en-US"/>
              <a:t>Master text styles</a:t>
            </a:r>
          </a:p>
        </p:txBody>
      </p:sp>
      <p:sp>
        <p:nvSpPr>
          <p:cNvPr id="5" name="Chart Placeholder 2">
            <a:extLst>
              <a:ext uri="{FF2B5EF4-FFF2-40B4-BE49-F238E27FC236}">
                <a16:creationId xmlns:a16="http://schemas.microsoft.com/office/drawing/2014/main" id="{6F3345E8-85EF-AE93-A578-743D05885994}"/>
              </a:ext>
            </a:extLst>
          </p:cNvPr>
          <p:cNvSpPr>
            <a:spLocks noGrp="1"/>
          </p:cNvSpPr>
          <p:nvPr>
            <p:ph type="chart" sz="quarter" idx="31"/>
          </p:nvPr>
        </p:nvSpPr>
        <p:spPr>
          <a:xfrm>
            <a:off x="6705602" y="668338"/>
            <a:ext cx="4876798" cy="5503862"/>
          </a:xfrm>
        </p:spPr>
        <p:txBody>
          <a:bodyPr/>
          <a:lstStyle/>
          <a:p>
            <a:r>
              <a:rPr lang="en-US" dirty="0"/>
              <a:t>Click icon to add chart</a:t>
            </a:r>
          </a:p>
        </p:txBody>
      </p:sp>
      <p:sp>
        <p:nvSpPr>
          <p:cNvPr id="2" name="Date Placeholder 4">
            <a:extLst>
              <a:ext uri="{FF2B5EF4-FFF2-40B4-BE49-F238E27FC236}">
                <a16:creationId xmlns:a16="http://schemas.microsoft.com/office/drawing/2014/main" id="{9B809583-71D6-430B-A541-2B72791DEAB7}"/>
              </a:ext>
            </a:extLst>
          </p:cNvPr>
          <p:cNvSpPr>
            <a:spLocks noGrp="1"/>
          </p:cNvSpPr>
          <p:nvPr>
            <p:ph type="dt" sz="half" idx="12"/>
          </p:nvPr>
        </p:nvSpPr>
        <p:spPr>
          <a:xfrm>
            <a:off x="10236555" y="136647"/>
            <a:ext cx="1345845" cy="153888"/>
          </a:xfrm>
        </p:spPr>
        <p:txBody>
          <a:bodyPr>
            <a:noAutofit/>
          </a:bodyPr>
          <a:lstStyle>
            <a:lvl1pPr>
              <a:defRPr>
                <a:solidFill>
                  <a:schemeClr val="bg1">
                    <a:lumMod val="65000"/>
                  </a:schemeClr>
                </a:solidFill>
              </a:defRPr>
            </a:lvl1pPr>
          </a:lstStyle>
          <a:p>
            <a:fld id="{EEA19F89-1E55-4F65-A2F4-F330EB73013A}" type="datetime4">
              <a:rPr lang="en-US" smtClean="0"/>
              <a:t>May 17, 2025</a:t>
            </a:fld>
            <a:endParaRPr lang="en-US" dirty="0"/>
          </a:p>
        </p:txBody>
      </p:sp>
      <p:sp>
        <p:nvSpPr>
          <p:cNvPr id="3" name="Footer Placeholder 2">
            <a:extLst>
              <a:ext uri="{FF2B5EF4-FFF2-40B4-BE49-F238E27FC236}">
                <a16:creationId xmlns:a16="http://schemas.microsoft.com/office/drawing/2014/main" id="{0C3F1776-D765-4702-8CB4-664547CC1EB6}"/>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7" name="Text Placeholder 7">
            <a:extLst>
              <a:ext uri="{FF2B5EF4-FFF2-40B4-BE49-F238E27FC236}">
                <a16:creationId xmlns:a16="http://schemas.microsoft.com/office/drawing/2014/main" id="{D4B153A3-0661-E455-EE3A-3CA0317DCFFF}"/>
              </a:ext>
            </a:extLst>
          </p:cNvPr>
          <p:cNvSpPr>
            <a:spLocks noGrp="1"/>
          </p:cNvSpPr>
          <p:nvPr>
            <p:ph type="body" sz="quarter" idx="32"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Tree>
    <p:extLst>
      <p:ext uri="{BB962C8B-B14F-4D97-AF65-F5344CB8AC3E}">
        <p14:creationId xmlns:p14="http://schemas.microsoft.com/office/powerpoint/2010/main" val="29195241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Image + Content A">
    <p:bg>
      <p:bgPr>
        <a:solidFill>
          <a:srgbClr val="F3F3F3"/>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999FA53E-003A-F4D8-E720-3A0FA7F3B9C0}"/>
              </a:ext>
            </a:extLst>
          </p:cNvPr>
          <p:cNvGrpSpPr/>
          <p:nvPr userDrawn="1"/>
        </p:nvGrpSpPr>
        <p:grpSpPr>
          <a:xfrm>
            <a:off x="5981701" y="426998"/>
            <a:ext cx="6210300" cy="6004005"/>
            <a:chOff x="0" y="426998"/>
            <a:chExt cx="4064000" cy="6004005"/>
          </a:xfrm>
        </p:grpSpPr>
        <p:cxnSp>
          <p:nvCxnSpPr>
            <p:cNvPr id="15" name="Straight Connector 14">
              <a:extLst>
                <a:ext uri="{FF2B5EF4-FFF2-40B4-BE49-F238E27FC236}">
                  <a16:creationId xmlns:a16="http://schemas.microsoft.com/office/drawing/2014/main" id="{D4DC1E47-BF2C-9C0E-A6C0-BEACA87A44F3}"/>
                </a:ext>
              </a:extLst>
            </p:cNvPr>
            <p:cNvCxnSpPr>
              <a:cxnSpLocks/>
            </p:cNvCxnSpPr>
            <p:nvPr userDrawn="1"/>
          </p:nvCxnSpPr>
          <p:spPr>
            <a:xfrm>
              <a:off x="0" y="426998"/>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28009A-09CD-0E80-19F4-3753A7B6DA78}"/>
                </a:ext>
              </a:extLst>
            </p:cNvPr>
            <p:cNvCxnSpPr>
              <a:cxnSpLocks/>
            </p:cNvCxnSpPr>
            <p:nvPr userDrawn="1"/>
          </p:nvCxnSpPr>
          <p:spPr>
            <a:xfrm>
              <a:off x="0" y="6431003"/>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420A254F-BDD5-C9AF-1DD7-05ACB129B577}"/>
              </a:ext>
            </a:extLst>
          </p:cNvPr>
          <p:cNvSpPr/>
          <p:nvPr/>
        </p:nvSpPr>
        <p:spPr>
          <a:xfrm>
            <a:off x="-1" y="0"/>
            <a:ext cx="6096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6141C210-892D-24A5-E574-B59C507782C4}"/>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705603" y="4010928"/>
            <a:ext cx="4876799" cy="1231106"/>
          </a:xfrm>
        </p:spPr>
        <p:txBody>
          <a:bodyPr>
            <a:noAutofit/>
          </a:bodyPr>
          <a:lstStyle>
            <a:lvl1pPr>
              <a:defRPr sz="2000">
                <a:solidFill>
                  <a:schemeClr val="tx2"/>
                </a:solidFill>
              </a:defRPr>
            </a:lvl1pPr>
            <a:lvl2pPr marL="0" indent="0">
              <a:buNone/>
              <a:defRPr/>
            </a:lvl2pPr>
          </a:lstStyle>
          <a:p>
            <a:pPr lvl="0"/>
            <a:r>
              <a:rPr lang="en-US"/>
              <a:t>Click to edit Master text styles</a:t>
            </a:r>
          </a:p>
        </p:txBody>
      </p:sp>
      <p:sp>
        <p:nvSpPr>
          <p:cNvPr id="43" name="Text Placeholder 7">
            <a:extLst>
              <a:ext uri="{FF2B5EF4-FFF2-40B4-BE49-F238E27FC236}">
                <a16:creationId xmlns:a16="http://schemas.microsoft.com/office/drawing/2014/main" id="{42D5A6F2-908D-2D67-A69F-7F8AC3E161A6}"/>
              </a:ext>
            </a:extLst>
          </p:cNvPr>
          <p:cNvSpPr>
            <a:spLocks noGrp="1"/>
          </p:cNvSpPr>
          <p:nvPr>
            <p:ph type="body" sz="quarter" idx="28" hasCustomPrompt="1"/>
          </p:nvPr>
        </p:nvSpPr>
        <p:spPr>
          <a:xfrm>
            <a:off x="6705602" y="1600200"/>
            <a:ext cx="4876799" cy="215444"/>
          </a:xfrm>
        </p:spPr>
        <p:txBody>
          <a:bodyPr wrap="square" anchor="ctr">
            <a:noAutofit/>
          </a:bodyPr>
          <a:lstStyle>
            <a:lvl1pPr>
              <a:spcAft>
                <a:spcPts val="0"/>
              </a:spcAft>
              <a:defRPr lang="en-US" sz="1400" b="1" kern="1200" cap="all" spc="300" baseline="0" dirty="0">
                <a:solidFill>
                  <a:schemeClr val="tx2"/>
                </a:solidFill>
                <a:latin typeface="+mj-lt"/>
                <a:ea typeface="+mn-ea"/>
                <a:cs typeface="+mn-cs"/>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Optional Eyebrow</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hasCustomPrompt="1"/>
          </p:nvPr>
        </p:nvSpPr>
        <p:spPr>
          <a:xfrm>
            <a:off x="6705603" y="2024185"/>
            <a:ext cx="4876799" cy="1354217"/>
          </a:xfrm>
        </p:spPr>
        <p:txBody>
          <a:bodyPr anchor="b">
            <a:noAutofit/>
          </a:bodyPr>
          <a:lstStyle>
            <a:lvl1pPr>
              <a:defRPr sz="4400"/>
            </a:lvl1pPr>
          </a:lstStyle>
          <a:p>
            <a:pPr lvl="0"/>
            <a:r>
              <a:rPr lang="en-US"/>
              <a:t>Click to edit </a:t>
            </a:r>
            <a:br>
              <a:rPr lang="en-US"/>
            </a:br>
            <a:r>
              <a:rPr lang="en-US"/>
              <a:t>Master text styles</a:t>
            </a:r>
          </a:p>
        </p:txBody>
      </p:sp>
      <p:sp>
        <p:nvSpPr>
          <p:cNvPr id="5" name="Chart Placeholder 2">
            <a:extLst>
              <a:ext uri="{FF2B5EF4-FFF2-40B4-BE49-F238E27FC236}">
                <a16:creationId xmlns:a16="http://schemas.microsoft.com/office/drawing/2014/main" id="{6F3345E8-85EF-AE93-A578-743D05885994}"/>
              </a:ext>
            </a:extLst>
          </p:cNvPr>
          <p:cNvSpPr>
            <a:spLocks noGrp="1"/>
          </p:cNvSpPr>
          <p:nvPr>
            <p:ph type="chart" sz="quarter" idx="31"/>
          </p:nvPr>
        </p:nvSpPr>
        <p:spPr>
          <a:xfrm>
            <a:off x="609600" y="668338"/>
            <a:ext cx="4876798" cy="5503862"/>
          </a:xfrm>
        </p:spPr>
        <p:txBody>
          <a:bodyPr/>
          <a:lstStyle/>
          <a:p>
            <a:r>
              <a:rPr lang="en-US" dirty="0"/>
              <a:t>Click icon to add chart</a:t>
            </a:r>
          </a:p>
        </p:txBody>
      </p:sp>
      <p:sp>
        <p:nvSpPr>
          <p:cNvPr id="2" name="Date Placeholder 4">
            <a:extLst>
              <a:ext uri="{FF2B5EF4-FFF2-40B4-BE49-F238E27FC236}">
                <a16:creationId xmlns:a16="http://schemas.microsoft.com/office/drawing/2014/main" id="{39483F8E-539E-6FDB-EFDE-8AE61624AEE0}"/>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C681CFC5-FDB9-4659-93ED-9C31C6C21403}" type="datetime4">
              <a:rPr lang="en-US" smtClean="0"/>
              <a:t>May 17, 2025</a:t>
            </a:fld>
            <a:endParaRPr lang="en-US" dirty="0"/>
          </a:p>
        </p:txBody>
      </p:sp>
      <p:sp>
        <p:nvSpPr>
          <p:cNvPr id="3" name="Footer Placeholder 13">
            <a:extLst>
              <a:ext uri="{FF2B5EF4-FFF2-40B4-BE49-F238E27FC236}">
                <a16:creationId xmlns:a16="http://schemas.microsoft.com/office/drawing/2014/main" id="{2A9426C7-2F9A-A497-B558-05C626DD8682}"/>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sp>
        <p:nvSpPr>
          <p:cNvPr id="7" name="Text Placeholder 7">
            <a:extLst>
              <a:ext uri="{FF2B5EF4-FFF2-40B4-BE49-F238E27FC236}">
                <a16:creationId xmlns:a16="http://schemas.microsoft.com/office/drawing/2014/main" id="{7D9D1A8E-FFEA-17D7-1469-A803D5DBAB5A}"/>
              </a:ext>
            </a:extLst>
          </p:cNvPr>
          <p:cNvSpPr>
            <a:spLocks noGrp="1"/>
          </p:cNvSpPr>
          <p:nvPr>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Tree>
    <p:extLst>
      <p:ext uri="{BB962C8B-B14F-4D97-AF65-F5344CB8AC3E}">
        <p14:creationId xmlns:p14="http://schemas.microsoft.com/office/powerpoint/2010/main" val="6342215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Image + Content B">
    <p:bg>
      <p:bgPr>
        <a:solidFill>
          <a:schemeClr val="tx2"/>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141C210-892D-24A5-E574-B59C507782C4}"/>
              </a:ext>
            </a:extLst>
          </p:cNvPr>
          <p:cNvSpPr>
            <a:spLocks noGrp="1"/>
          </p:cNvSpPr>
          <p:nvPr>
            <p:ph type="sldNum" sz="quarter" idx="11"/>
          </p:nvPr>
        </p:nvSpPr>
        <p:spPr>
          <a:xfrm>
            <a:off x="11248008" y="6567465"/>
            <a:ext cx="334392" cy="153888"/>
          </a:xfrm>
          <a:prstGeom prst="rect">
            <a:avLst/>
          </a:prstGeom>
        </p:spPr>
        <p:txBody>
          <a:bodyPr>
            <a:noAutofit/>
          </a:bodyPr>
          <a:lstStyle/>
          <a:p>
            <a:fld id="{FD814145-5B10-4F3F-A6BF-3641B91211CF}" type="slidenum">
              <a:rPr lang="en-US" smtClean="0"/>
              <a:pPr/>
              <a:t>‹#›</a:t>
            </a:fld>
            <a:endParaRPr lang="en-US" dirty="0"/>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161514" y="4010928"/>
            <a:ext cx="5420886" cy="1231106"/>
          </a:xfrm>
        </p:spPr>
        <p:txBody>
          <a:bodyPr>
            <a:noAutofit/>
          </a:bodyPr>
          <a:lstStyle>
            <a:lvl1pPr>
              <a:defRPr sz="2000">
                <a:solidFill>
                  <a:schemeClr val="bg1"/>
                </a:solidFill>
              </a:defRPr>
            </a:lvl1pPr>
            <a:lvl2pPr marL="0" indent="0">
              <a:buNone/>
              <a:defRPr/>
            </a:lvl2pPr>
          </a:lstStyle>
          <a:p>
            <a:pPr lvl="0"/>
            <a:r>
              <a:rPr lang="en-US"/>
              <a:t>Click to edit Master text styles</a:t>
            </a:r>
          </a:p>
        </p:txBody>
      </p:sp>
      <p:sp>
        <p:nvSpPr>
          <p:cNvPr id="43" name="Text Placeholder 7">
            <a:extLst>
              <a:ext uri="{FF2B5EF4-FFF2-40B4-BE49-F238E27FC236}">
                <a16:creationId xmlns:a16="http://schemas.microsoft.com/office/drawing/2014/main" id="{42D5A6F2-908D-2D67-A69F-7F8AC3E161A6}"/>
              </a:ext>
            </a:extLst>
          </p:cNvPr>
          <p:cNvSpPr>
            <a:spLocks noGrp="1"/>
          </p:cNvSpPr>
          <p:nvPr>
            <p:ph type="body" sz="quarter" idx="28" hasCustomPrompt="1"/>
          </p:nvPr>
        </p:nvSpPr>
        <p:spPr>
          <a:xfrm>
            <a:off x="6161513" y="1600200"/>
            <a:ext cx="5420886" cy="215444"/>
          </a:xfrm>
        </p:spPr>
        <p:txBody>
          <a:bodyPr wrap="square" anchor="ctr">
            <a:noAutofit/>
          </a:bodyPr>
          <a:lstStyle>
            <a:lvl1pPr>
              <a:spcAft>
                <a:spcPts val="0"/>
              </a:spcAft>
              <a:defRPr lang="en-US" sz="1400" b="1" kern="1200" cap="all" spc="300" baseline="0" dirty="0">
                <a:solidFill>
                  <a:schemeClr val="bg1"/>
                </a:solidFill>
                <a:latin typeface="+mj-lt"/>
                <a:ea typeface="+mn-ea"/>
                <a:cs typeface="+mn-cs"/>
              </a:defRPr>
            </a:lvl1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Optional Eyebrow</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hasCustomPrompt="1"/>
          </p:nvPr>
        </p:nvSpPr>
        <p:spPr>
          <a:xfrm>
            <a:off x="6161514" y="2024185"/>
            <a:ext cx="5420886" cy="1354217"/>
          </a:xfrm>
        </p:spPr>
        <p:txBody>
          <a:bodyPr anchor="b">
            <a:noAutofit/>
          </a:bodyPr>
          <a:lstStyle>
            <a:lvl1pPr>
              <a:defRPr sz="4400">
                <a:solidFill>
                  <a:schemeClr val="bg1"/>
                </a:solidFill>
              </a:defRPr>
            </a:lvl1pPr>
          </a:lstStyle>
          <a:p>
            <a:pPr lvl="0"/>
            <a:r>
              <a:rPr lang="en-US"/>
              <a:t>Click to edit </a:t>
            </a:r>
            <a:br>
              <a:rPr lang="en-US"/>
            </a:br>
            <a:r>
              <a:rPr lang="en-US"/>
              <a:t>Master text styles</a:t>
            </a:r>
          </a:p>
        </p:txBody>
      </p:sp>
      <p:sp>
        <p:nvSpPr>
          <p:cNvPr id="2" name="Date Placeholder 4">
            <a:extLst>
              <a:ext uri="{FF2B5EF4-FFF2-40B4-BE49-F238E27FC236}">
                <a16:creationId xmlns:a16="http://schemas.microsoft.com/office/drawing/2014/main" id="{709E5C72-0B80-7784-B781-1ACADFF2CB13}"/>
              </a:ext>
            </a:extLst>
          </p:cNvPr>
          <p:cNvSpPr>
            <a:spLocks noGrp="1"/>
          </p:cNvSpPr>
          <p:nvPr>
            <p:ph type="dt" sz="half" idx="12"/>
          </p:nvPr>
        </p:nvSpPr>
        <p:spPr>
          <a:xfrm>
            <a:off x="10236555" y="136647"/>
            <a:ext cx="1345845" cy="153888"/>
          </a:xfrm>
        </p:spPr>
        <p:txBody>
          <a:bodyPr>
            <a:noAutofit/>
          </a:bodyPr>
          <a:lstStyle>
            <a:lvl1pPr>
              <a:defRPr>
                <a:solidFill>
                  <a:schemeClr val="bg1">
                    <a:lumMod val="65000"/>
                  </a:schemeClr>
                </a:solidFill>
              </a:defRPr>
            </a:lvl1pPr>
          </a:lstStyle>
          <a:p>
            <a:fld id="{EE8A1F5C-7366-40D3-992E-5B5A9A4B1C8D}" type="datetime4">
              <a:rPr lang="en-US" smtClean="0"/>
              <a:t>May 17, 2025</a:t>
            </a:fld>
            <a:endParaRPr lang="en-US" dirty="0"/>
          </a:p>
        </p:txBody>
      </p:sp>
      <p:pic>
        <p:nvPicPr>
          <p:cNvPr id="3" name="Picture 2" descr="A group of green and white circles&#10;&#10;Description automatically generated">
            <a:extLst>
              <a:ext uri="{FF2B5EF4-FFF2-40B4-BE49-F238E27FC236}">
                <a16:creationId xmlns:a16="http://schemas.microsoft.com/office/drawing/2014/main" id="{40A018C1-AD88-652E-E110-D0480FCEA323}"/>
              </a:ext>
            </a:extLst>
          </p:cNvPr>
          <p:cNvPicPr/>
          <p:nvPr userDrawn="1"/>
        </p:nvPicPr>
        <p:blipFill>
          <a:blip r:embed="rId2">
            <a:extLst>
              <a:ext uri="{28A0092B-C50C-407E-A947-70E740481C1C}">
                <a14:useLocalDpi xmlns:a14="http://schemas.microsoft.com/office/drawing/2010/main" val="0"/>
              </a:ext>
            </a:extLst>
          </a:blip>
          <a:srcRect l="26311" t="10281" r="15111" b="10381"/>
          <a:stretch/>
        </p:blipFill>
        <p:spPr>
          <a:xfrm>
            <a:off x="10161" y="-8669"/>
            <a:ext cx="5069840" cy="6866669"/>
          </a:xfrm>
          <a:prstGeom prst="rect">
            <a:avLst/>
          </a:prstGeom>
        </p:spPr>
      </p:pic>
    </p:spTree>
    <p:extLst>
      <p:ext uri="{BB962C8B-B14F-4D97-AF65-F5344CB8AC3E}">
        <p14:creationId xmlns:p14="http://schemas.microsoft.com/office/powerpoint/2010/main" val="5866141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Numbered List">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2556BBD-E905-984B-4075-604E21C91A06}"/>
              </a:ext>
            </a:extLst>
          </p:cNvPr>
          <p:cNvSpPr>
            <a:spLocks noGrp="1"/>
          </p:cNvSpPr>
          <p:nvPr>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21" name="Text Placeholder 3">
            <a:extLst>
              <a:ext uri="{FF2B5EF4-FFF2-40B4-BE49-F238E27FC236}">
                <a16:creationId xmlns:a16="http://schemas.microsoft.com/office/drawing/2014/main" id="{71143EDC-4B43-463B-C8D7-7625E5355C55}"/>
              </a:ext>
            </a:extLst>
          </p:cNvPr>
          <p:cNvSpPr>
            <a:spLocks noGrp="1"/>
          </p:cNvSpPr>
          <p:nvPr>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
        <p:nvSpPr>
          <p:cNvPr id="22" name="Text Placeholder 35">
            <a:extLst>
              <a:ext uri="{FF2B5EF4-FFF2-40B4-BE49-F238E27FC236}">
                <a16:creationId xmlns:a16="http://schemas.microsoft.com/office/drawing/2014/main" id="{6411CE3E-CF5E-1A4F-C684-DD36FC30311C}"/>
              </a:ext>
            </a:extLst>
          </p:cNvPr>
          <p:cNvSpPr>
            <a:spLocks noGrp="1"/>
          </p:cNvSpPr>
          <p:nvPr>
            <p:ph type="body" sz="quarter" idx="15" hasCustomPrompt="1"/>
          </p:nvPr>
        </p:nvSpPr>
        <p:spPr>
          <a:xfrm>
            <a:off x="609599" y="2476503"/>
            <a:ext cx="2843783" cy="292608"/>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8" name="Slide Number Placeholder 3">
            <a:extLst>
              <a:ext uri="{FF2B5EF4-FFF2-40B4-BE49-F238E27FC236}">
                <a16:creationId xmlns:a16="http://schemas.microsoft.com/office/drawing/2014/main" id="{D3E9CE75-DDC1-172A-CEDF-9BDA4CC23FC1}"/>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9" name="Footer Placeholder 13">
            <a:extLst>
              <a:ext uri="{FF2B5EF4-FFF2-40B4-BE49-F238E27FC236}">
                <a16:creationId xmlns:a16="http://schemas.microsoft.com/office/drawing/2014/main" id="{BB97D0C9-0DE0-7FAA-BA0B-740774724C61}"/>
              </a:ext>
            </a:extLst>
          </p:cNvPr>
          <p:cNvSpPr>
            <a:spLocks noGrp="1"/>
          </p:cNvSpPr>
          <p:nvPr>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cxnSp>
        <p:nvCxnSpPr>
          <p:cNvPr id="10" name="Straight Connector 9">
            <a:extLst>
              <a:ext uri="{FF2B5EF4-FFF2-40B4-BE49-F238E27FC236}">
                <a16:creationId xmlns:a16="http://schemas.microsoft.com/office/drawing/2014/main" id="{0E22E7FA-BD3A-A8FB-1329-A12981820EAC}"/>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F8FFCB73-844B-F5B3-7A75-E7CC0A3001E5}"/>
              </a:ext>
            </a:extLst>
          </p:cNvPr>
          <p:cNvSpPr>
            <a:spLocks noGrp="1"/>
          </p:cNvSpPr>
          <p:nvPr>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cxnSp>
        <p:nvCxnSpPr>
          <p:cNvPr id="6" name="Straight Connector 5">
            <a:extLst>
              <a:ext uri="{FF2B5EF4-FFF2-40B4-BE49-F238E27FC236}">
                <a16:creationId xmlns:a16="http://schemas.microsoft.com/office/drawing/2014/main" id="{CAEE6556-E5DE-AECB-1B90-3D84DB7F1903}"/>
              </a:ext>
            </a:extLst>
          </p:cNvPr>
          <p:cNvCxnSpPr>
            <a:cxnSpLocks/>
          </p:cNvCxnSpPr>
          <p:nvPr userDrawn="1"/>
        </p:nvCxnSpPr>
        <p:spPr>
          <a:xfrm>
            <a:off x="0" y="426998"/>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C3EF4F4A-6920-E94C-8B0A-FB283F049952}"/>
              </a:ext>
            </a:extLst>
          </p:cNvPr>
          <p:cNvSpPr>
            <a:spLocks noGrp="1"/>
          </p:cNvSpPr>
          <p:nvPr>
            <p:ph type="body" sz="quarter" idx="30"/>
          </p:nvPr>
        </p:nvSpPr>
        <p:spPr>
          <a:xfrm>
            <a:off x="609600" y="2862072"/>
            <a:ext cx="2843213" cy="2139950"/>
          </a:xfrm>
        </p:spPr>
        <p:txBody>
          <a:bodyPr/>
          <a:lstStyle>
            <a:lvl1pPr marL="0" indent="0">
              <a:buFont typeface="Arial" panose="020B0604020202020204" pitchFamily="34" charset="0"/>
              <a:buNone/>
              <a:defRPr sz="1600">
                <a:solidFill>
                  <a:schemeClr val="bg1"/>
                </a:solidFill>
              </a:defRPr>
            </a:lvl1pPr>
            <a:lvl2pPr marL="0" indent="0">
              <a:buNone/>
              <a:defRPr sz="1600">
                <a:solidFill>
                  <a:schemeClr val="bg1"/>
                </a:solidFill>
              </a:defRPr>
            </a:lvl2pPr>
            <a:lvl3pPr marL="182880" indent="0">
              <a:buNone/>
              <a:defRPr sz="1600">
                <a:solidFill>
                  <a:schemeClr val="bg1"/>
                </a:solidFill>
              </a:defRPr>
            </a:lvl3pPr>
            <a:lvl4pPr marL="365760" indent="0">
              <a:buNone/>
              <a:defRPr sz="1600">
                <a:solidFill>
                  <a:schemeClr val="bg1"/>
                </a:solidFill>
              </a:defRPr>
            </a:lvl4pPr>
            <a:lvl5pPr marL="548640" indent="0">
              <a:buNone/>
              <a:defRPr sz="1600">
                <a:solidFill>
                  <a:schemeClr val="bg1"/>
                </a:solidFill>
              </a:defRPr>
            </a:lvl5pPr>
          </a:lstStyle>
          <a:p>
            <a:pPr lvl="0"/>
            <a:r>
              <a:rPr lang="en-US"/>
              <a:t>Click to edit Master text styles</a:t>
            </a:r>
          </a:p>
        </p:txBody>
      </p:sp>
      <p:sp>
        <p:nvSpPr>
          <p:cNvPr id="7" name="Text Placeholder 7">
            <a:extLst>
              <a:ext uri="{FF2B5EF4-FFF2-40B4-BE49-F238E27FC236}">
                <a16:creationId xmlns:a16="http://schemas.microsoft.com/office/drawing/2014/main" id="{AE684734-B289-4A74-3949-5159F3955569}"/>
              </a:ext>
            </a:extLst>
          </p:cNvPr>
          <p:cNvSpPr>
            <a:spLocks noGrp="1"/>
          </p:cNvSpPr>
          <p:nvPr>
            <p:ph type="body" sz="quarter" idx="19"/>
          </p:nvPr>
        </p:nvSpPr>
        <p:spPr>
          <a:xfrm>
            <a:off x="5161280" y="709131"/>
            <a:ext cx="2641598" cy="349250"/>
          </a:xfrm>
        </p:spPr>
        <p:txBody>
          <a:bodyPr>
            <a:noAutofit/>
          </a:bodyPr>
          <a:lstStyle>
            <a:lvl1pPr>
              <a:defRPr sz="1600"/>
            </a:lvl1pPr>
          </a:lstStyle>
          <a:p>
            <a:pPr lvl="0"/>
            <a:r>
              <a:rPr lang="en-US"/>
              <a:t>Click to edit Master text styles</a:t>
            </a:r>
          </a:p>
        </p:txBody>
      </p:sp>
      <p:sp>
        <p:nvSpPr>
          <p:cNvPr id="11" name="Text Placeholder 7">
            <a:extLst>
              <a:ext uri="{FF2B5EF4-FFF2-40B4-BE49-F238E27FC236}">
                <a16:creationId xmlns:a16="http://schemas.microsoft.com/office/drawing/2014/main" id="{AB53C653-88C9-3E91-B671-829BF45735BC}"/>
              </a:ext>
            </a:extLst>
          </p:cNvPr>
          <p:cNvSpPr>
            <a:spLocks noGrp="1"/>
          </p:cNvSpPr>
          <p:nvPr>
            <p:ph type="body" sz="quarter" idx="20"/>
          </p:nvPr>
        </p:nvSpPr>
        <p:spPr>
          <a:xfrm>
            <a:off x="5161280" y="1273143"/>
            <a:ext cx="2641598" cy="349250"/>
          </a:xfrm>
        </p:spPr>
        <p:txBody>
          <a:bodyPr>
            <a:noAutofit/>
          </a:bodyPr>
          <a:lstStyle>
            <a:lvl1pPr>
              <a:defRPr sz="1600"/>
            </a:lvl1pPr>
          </a:lstStyle>
          <a:p>
            <a:pPr lvl="0"/>
            <a:r>
              <a:rPr lang="en-US"/>
              <a:t>Click to edit Master text styles</a:t>
            </a:r>
          </a:p>
        </p:txBody>
      </p:sp>
      <p:sp>
        <p:nvSpPr>
          <p:cNvPr id="15" name="Text Placeholder 7">
            <a:extLst>
              <a:ext uri="{FF2B5EF4-FFF2-40B4-BE49-F238E27FC236}">
                <a16:creationId xmlns:a16="http://schemas.microsoft.com/office/drawing/2014/main" id="{5D32DD11-9A10-39E3-B132-186EAE2740EF}"/>
              </a:ext>
            </a:extLst>
          </p:cNvPr>
          <p:cNvSpPr>
            <a:spLocks noGrp="1"/>
          </p:cNvSpPr>
          <p:nvPr>
            <p:ph type="body" sz="quarter" idx="21"/>
          </p:nvPr>
        </p:nvSpPr>
        <p:spPr>
          <a:xfrm>
            <a:off x="5161280" y="1832075"/>
            <a:ext cx="2641598" cy="349250"/>
          </a:xfrm>
        </p:spPr>
        <p:txBody>
          <a:bodyPr>
            <a:noAutofit/>
          </a:bodyPr>
          <a:lstStyle>
            <a:lvl1pPr>
              <a:defRPr sz="1600"/>
            </a:lvl1pPr>
          </a:lstStyle>
          <a:p>
            <a:pPr lvl="0"/>
            <a:r>
              <a:rPr lang="en-US"/>
              <a:t>Click to edit Master text styles</a:t>
            </a:r>
          </a:p>
        </p:txBody>
      </p:sp>
      <p:sp>
        <p:nvSpPr>
          <p:cNvPr id="16" name="Text Placeholder 7">
            <a:extLst>
              <a:ext uri="{FF2B5EF4-FFF2-40B4-BE49-F238E27FC236}">
                <a16:creationId xmlns:a16="http://schemas.microsoft.com/office/drawing/2014/main" id="{120F12DA-8067-B1BB-5B5E-61D073DDABAF}"/>
              </a:ext>
            </a:extLst>
          </p:cNvPr>
          <p:cNvSpPr>
            <a:spLocks noGrp="1"/>
          </p:cNvSpPr>
          <p:nvPr>
            <p:ph type="body" sz="quarter" idx="22"/>
          </p:nvPr>
        </p:nvSpPr>
        <p:spPr>
          <a:xfrm>
            <a:off x="5161280" y="2391007"/>
            <a:ext cx="2641598" cy="349250"/>
          </a:xfrm>
        </p:spPr>
        <p:txBody>
          <a:bodyPr>
            <a:noAutofit/>
          </a:bodyPr>
          <a:lstStyle>
            <a:lvl1pPr>
              <a:defRPr sz="1600"/>
            </a:lvl1pPr>
          </a:lstStyle>
          <a:p>
            <a:pPr lvl="0"/>
            <a:r>
              <a:rPr lang="en-US"/>
              <a:t>Click to edit Master text styles</a:t>
            </a:r>
          </a:p>
        </p:txBody>
      </p:sp>
      <p:sp>
        <p:nvSpPr>
          <p:cNvPr id="17" name="Text Placeholder 7">
            <a:extLst>
              <a:ext uri="{FF2B5EF4-FFF2-40B4-BE49-F238E27FC236}">
                <a16:creationId xmlns:a16="http://schemas.microsoft.com/office/drawing/2014/main" id="{B5F28DF1-6B77-FCE0-991A-5282AAED553D}"/>
              </a:ext>
            </a:extLst>
          </p:cNvPr>
          <p:cNvSpPr>
            <a:spLocks noGrp="1"/>
          </p:cNvSpPr>
          <p:nvPr>
            <p:ph type="body" sz="quarter" idx="23"/>
          </p:nvPr>
        </p:nvSpPr>
        <p:spPr>
          <a:xfrm>
            <a:off x="5161280" y="2950436"/>
            <a:ext cx="2641598" cy="349250"/>
          </a:xfrm>
        </p:spPr>
        <p:txBody>
          <a:bodyPr>
            <a:noAutofit/>
          </a:bodyPr>
          <a:lstStyle>
            <a:lvl1pPr>
              <a:defRPr sz="1600"/>
            </a:lvl1pPr>
          </a:lstStyle>
          <a:p>
            <a:pPr lvl="0"/>
            <a:r>
              <a:rPr lang="en-US"/>
              <a:t>Click to edit Master text styles</a:t>
            </a:r>
          </a:p>
        </p:txBody>
      </p:sp>
      <p:sp>
        <p:nvSpPr>
          <p:cNvPr id="18" name="Text Placeholder 7">
            <a:extLst>
              <a:ext uri="{FF2B5EF4-FFF2-40B4-BE49-F238E27FC236}">
                <a16:creationId xmlns:a16="http://schemas.microsoft.com/office/drawing/2014/main" id="{CCEB4079-F621-5066-D9F4-BC0DA96F6D8B}"/>
              </a:ext>
            </a:extLst>
          </p:cNvPr>
          <p:cNvSpPr>
            <a:spLocks noGrp="1"/>
          </p:cNvSpPr>
          <p:nvPr>
            <p:ph type="body" sz="quarter" idx="24"/>
          </p:nvPr>
        </p:nvSpPr>
        <p:spPr>
          <a:xfrm>
            <a:off x="5161280" y="3508098"/>
            <a:ext cx="2641598" cy="349250"/>
          </a:xfrm>
        </p:spPr>
        <p:txBody>
          <a:bodyPr>
            <a:noAutofit/>
          </a:bodyPr>
          <a:lstStyle>
            <a:lvl1pPr>
              <a:defRPr sz="1600"/>
            </a:lvl1pPr>
          </a:lstStyle>
          <a:p>
            <a:pPr lvl="0"/>
            <a:r>
              <a:rPr lang="en-US"/>
              <a:t>Click to edit Master text styles</a:t>
            </a:r>
          </a:p>
        </p:txBody>
      </p:sp>
      <p:sp>
        <p:nvSpPr>
          <p:cNvPr id="19" name="Text Placeholder 7">
            <a:extLst>
              <a:ext uri="{FF2B5EF4-FFF2-40B4-BE49-F238E27FC236}">
                <a16:creationId xmlns:a16="http://schemas.microsoft.com/office/drawing/2014/main" id="{A47D6751-917D-333E-896D-483C0697D880}"/>
              </a:ext>
            </a:extLst>
          </p:cNvPr>
          <p:cNvSpPr>
            <a:spLocks noGrp="1"/>
          </p:cNvSpPr>
          <p:nvPr>
            <p:ph type="body" sz="quarter" idx="31"/>
          </p:nvPr>
        </p:nvSpPr>
        <p:spPr>
          <a:xfrm>
            <a:off x="5161280" y="4069570"/>
            <a:ext cx="2641598" cy="349250"/>
          </a:xfrm>
        </p:spPr>
        <p:txBody>
          <a:bodyPr>
            <a:noAutofit/>
          </a:bodyPr>
          <a:lstStyle>
            <a:lvl1pPr>
              <a:defRPr sz="1600"/>
            </a:lvl1pPr>
          </a:lstStyle>
          <a:p>
            <a:pPr lvl="0"/>
            <a:r>
              <a:rPr lang="en-US"/>
              <a:t>Click to edit Master text styles</a:t>
            </a:r>
          </a:p>
        </p:txBody>
      </p:sp>
      <p:sp>
        <p:nvSpPr>
          <p:cNvPr id="20" name="Text Placeholder 7">
            <a:extLst>
              <a:ext uri="{FF2B5EF4-FFF2-40B4-BE49-F238E27FC236}">
                <a16:creationId xmlns:a16="http://schemas.microsoft.com/office/drawing/2014/main" id="{27DC68C9-0396-7E3A-204E-3CBC52EAC32F}"/>
              </a:ext>
            </a:extLst>
          </p:cNvPr>
          <p:cNvSpPr>
            <a:spLocks noGrp="1"/>
          </p:cNvSpPr>
          <p:nvPr>
            <p:ph type="body" sz="quarter" idx="26"/>
          </p:nvPr>
        </p:nvSpPr>
        <p:spPr>
          <a:xfrm>
            <a:off x="5161280" y="4629246"/>
            <a:ext cx="2641598" cy="349250"/>
          </a:xfrm>
        </p:spPr>
        <p:txBody>
          <a:bodyPr>
            <a:noAutofit/>
          </a:bodyPr>
          <a:lstStyle>
            <a:lvl1pPr>
              <a:defRPr sz="1600"/>
            </a:lvl1pPr>
          </a:lstStyle>
          <a:p>
            <a:pPr lvl="0"/>
            <a:r>
              <a:rPr lang="en-US"/>
              <a:t>Click to edit Master text styles</a:t>
            </a:r>
          </a:p>
        </p:txBody>
      </p:sp>
      <p:sp>
        <p:nvSpPr>
          <p:cNvPr id="23" name="Text Placeholder 7">
            <a:extLst>
              <a:ext uri="{FF2B5EF4-FFF2-40B4-BE49-F238E27FC236}">
                <a16:creationId xmlns:a16="http://schemas.microsoft.com/office/drawing/2014/main" id="{1810B557-15AD-CE33-7D45-9B8E262E064F}"/>
              </a:ext>
            </a:extLst>
          </p:cNvPr>
          <p:cNvSpPr>
            <a:spLocks noGrp="1"/>
          </p:cNvSpPr>
          <p:nvPr>
            <p:ph type="body" sz="quarter" idx="32" hasCustomPrompt="1"/>
          </p:nvPr>
        </p:nvSpPr>
        <p:spPr>
          <a:xfrm>
            <a:off x="4678365" y="709131"/>
            <a:ext cx="386079" cy="349250"/>
          </a:xfrm>
        </p:spPr>
        <p:txBody>
          <a:bodyPr>
            <a:noAutofit/>
          </a:bodyPr>
          <a:lstStyle>
            <a:lvl1pPr algn="l">
              <a:defRPr sz="1600"/>
            </a:lvl1pPr>
          </a:lstStyle>
          <a:p>
            <a:pPr lvl="0"/>
            <a:r>
              <a:rPr lang="en-US"/>
              <a:t>00</a:t>
            </a:r>
          </a:p>
        </p:txBody>
      </p:sp>
      <p:sp>
        <p:nvSpPr>
          <p:cNvPr id="24" name="Text Placeholder 7">
            <a:extLst>
              <a:ext uri="{FF2B5EF4-FFF2-40B4-BE49-F238E27FC236}">
                <a16:creationId xmlns:a16="http://schemas.microsoft.com/office/drawing/2014/main" id="{9D4B8303-F23C-6399-4089-F04D8815B8D0}"/>
              </a:ext>
            </a:extLst>
          </p:cNvPr>
          <p:cNvSpPr>
            <a:spLocks noGrp="1"/>
          </p:cNvSpPr>
          <p:nvPr>
            <p:ph type="body" sz="quarter" idx="33" hasCustomPrompt="1"/>
          </p:nvPr>
        </p:nvSpPr>
        <p:spPr>
          <a:xfrm>
            <a:off x="4678365" y="1273143"/>
            <a:ext cx="386079" cy="349250"/>
          </a:xfrm>
        </p:spPr>
        <p:txBody>
          <a:bodyPr>
            <a:noAutofit/>
          </a:bodyPr>
          <a:lstStyle>
            <a:lvl1pPr algn="l">
              <a:defRPr sz="1600"/>
            </a:lvl1pPr>
          </a:lstStyle>
          <a:p>
            <a:pPr lvl="0"/>
            <a:r>
              <a:rPr lang="en-US"/>
              <a:t>00</a:t>
            </a:r>
          </a:p>
        </p:txBody>
      </p:sp>
      <p:sp>
        <p:nvSpPr>
          <p:cNvPr id="25" name="Text Placeholder 7">
            <a:extLst>
              <a:ext uri="{FF2B5EF4-FFF2-40B4-BE49-F238E27FC236}">
                <a16:creationId xmlns:a16="http://schemas.microsoft.com/office/drawing/2014/main" id="{90319C4D-08EE-82DD-68E8-74E07690CBBA}"/>
              </a:ext>
            </a:extLst>
          </p:cNvPr>
          <p:cNvSpPr>
            <a:spLocks noGrp="1"/>
          </p:cNvSpPr>
          <p:nvPr>
            <p:ph type="body" sz="quarter" idx="34" hasCustomPrompt="1"/>
          </p:nvPr>
        </p:nvSpPr>
        <p:spPr>
          <a:xfrm>
            <a:off x="4678365" y="1832075"/>
            <a:ext cx="386079" cy="349250"/>
          </a:xfrm>
        </p:spPr>
        <p:txBody>
          <a:bodyPr>
            <a:noAutofit/>
          </a:bodyPr>
          <a:lstStyle>
            <a:lvl1pPr algn="l">
              <a:defRPr sz="1600"/>
            </a:lvl1pPr>
          </a:lstStyle>
          <a:p>
            <a:pPr lvl="0"/>
            <a:r>
              <a:rPr lang="en-US"/>
              <a:t>00</a:t>
            </a:r>
          </a:p>
        </p:txBody>
      </p:sp>
      <p:sp>
        <p:nvSpPr>
          <p:cNvPr id="26" name="Text Placeholder 7">
            <a:extLst>
              <a:ext uri="{FF2B5EF4-FFF2-40B4-BE49-F238E27FC236}">
                <a16:creationId xmlns:a16="http://schemas.microsoft.com/office/drawing/2014/main" id="{CAF3EE2C-8BED-737B-8328-68B109205EB5}"/>
              </a:ext>
            </a:extLst>
          </p:cNvPr>
          <p:cNvSpPr>
            <a:spLocks noGrp="1"/>
          </p:cNvSpPr>
          <p:nvPr>
            <p:ph type="body" sz="quarter" idx="35" hasCustomPrompt="1"/>
          </p:nvPr>
        </p:nvSpPr>
        <p:spPr>
          <a:xfrm>
            <a:off x="4678365" y="2391007"/>
            <a:ext cx="386079" cy="349250"/>
          </a:xfrm>
        </p:spPr>
        <p:txBody>
          <a:bodyPr>
            <a:noAutofit/>
          </a:bodyPr>
          <a:lstStyle>
            <a:lvl1pPr algn="l">
              <a:defRPr sz="1600"/>
            </a:lvl1pPr>
          </a:lstStyle>
          <a:p>
            <a:pPr lvl="0"/>
            <a:r>
              <a:rPr lang="en-US"/>
              <a:t>00</a:t>
            </a:r>
          </a:p>
        </p:txBody>
      </p:sp>
      <p:sp>
        <p:nvSpPr>
          <p:cNvPr id="27" name="Text Placeholder 7">
            <a:extLst>
              <a:ext uri="{FF2B5EF4-FFF2-40B4-BE49-F238E27FC236}">
                <a16:creationId xmlns:a16="http://schemas.microsoft.com/office/drawing/2014/main" id="{E33CFEC2-A17F-C949-5BF3-EE01C755A4C4}"/>
              </a:ext>
            </a:extLst>
          </p:cNvPr>
          <p:cNvSpPr>
            <a:spLocks noGrp="1"/>
          </p:cNvSpPr>
          <p:nvPr>
            <p:ph type="body" sz="quarter" idx="36" hasCustomPrompt="1"/>
          </p:nvPr>
        </p:nvSpPr>
        <p:spPr>
          <a:xfrm>
            <a:off x="4678365" y="2950436"/>
            <a:ext cx="386079" cy="349250"/>
          </a:xfrm>
        </p:spPr>
        <p:txBody>
          <a:bodyPr>
            <a:noAutofit/>
          </a:bodyPr>
          <a:lstStyle>
            <a:lvl1pPr algn="l">
              <a:defRPr sz="1600"/>
            </a:lvl1pPr>
          </a:lstStyle>
          <a:p>
            <a:pPr lvl="0"/>
            <a:r>
              <a:rPr lang="en-US"/>
              <a:t>00</a:t>
            </a:r>
          </a:p>
        </p:txBody>
      </p:sp>
      <p:sp>
        <p:nvSpPr>
          <p:cNvPr id="28" name="Text Placeholder 7">
            <a:extLst>
              <a:ext uri="{FF2B5EF4-FFF2-40B4-BE49-F238E27FC236}">
                <a16:creationId xmlns:a16="http://schemas.microsoft.com/office/drawing/2014/main" id="{E5355B9F-B50F-E888-2001-E48B6011B68E}"/>
              </a:ext>
            </a:extLst>
          </p:cNvPr>
          <p:cNvSpPr>
            <a:spLocks noGrp="1"/>
          </p:cNvSpPr>
          <p:nvPr>
            <p:ph type="body" sz="quarter" idx="37" hasCustomPrompt="1"/>
          </p:nvPr>
        </p:nvSpPr>
        <p:spPr>
          <a:xfrm>
            <a:off x="4678365" y="3508098"/>
            <a:ext cx="386079" cy="349250"/>
          </a:xfrm>
        </p:spPr>
        <p:txBody>
          <a:bodyPr>
            <a:noAutofit/>
          </a:bodyPr>
          <a:lstStyle>
            <a:lvl1pPr algn="l">
              <a:defRPr sz="1600"/>
            </a:lvl1pPr>
          </a:lstStyle>
          <a:p>
            <a:pPr lvl="0"/>
            <a:r>
              <a:rPr lang="en-US"/>
              <a:t>00</a:t>
            </a:r>
          </a:p>
        </p:txBody>
      </p:sp>
      <p:sp>
        <p:nvSpPr>
          <p:cNvPr id="29" name="Text Placeholder 7">
            <a:extLst>
              <a:ext uri="{FF2B5EF4-FFF2-40B4-BE49-F238E27FC236}">
                <a16:creationId xmlns:a16="http://schemas.microsoft.com/office/drawing/2014/main" id="{078D5A0D-6B63-AA91-0EA2-DAF7F3405A75}"/>
              </a:ext>
            </a:extLst>
          </p:cNvPr>
          <p:cNvSpPr>
            <a:spLocks noGrp="1"/>
          </p:cNvSpPr>
          <p:nvPr>
            <p:ph type="body" sz="quarter" idx="38" hasCustomPrompt="1"/>
          </p:nvPr>
        </p:nvSpPr>
        <p:spPr>
          <a:xfrm>
            <a:off x="4678365" y="4069570"/>
            <a:ext cx="386079" cy="349250"/>
          </a:xfrm>
        </p:spPr>
        <p:txBody>
          <a:bodyPr>
            <a:noAutofit/>
          </a:bodyPr>
          <a:lstStyle>
            <a:lvl1pPr algn="l">
              <a:defRPr sz="1600"/>
            </a:lvl1pPr>
          </a:lstStyle>
          <a:p>
            <a:pPr lvl="0"/>
            <a:r>
              <a:rPr lang="en-US"/>
              <a:t>00</a:t>
            </a:r>
          </a:p>
        </p:txBody>
      </p:sp>
      <p:sp>
        <p:nvSpPr>
          <p:cNvPr id="30" name="Text Placeholder 7">
            <a:extLst>
              <a:ext uri="{FF2B5EF4-FFF2-40B4-BE49-F238E27FC236}">
                <a16:creationId xmlns:a16="http://schemas.microsoft.com/office/drawing/2014/main" id="{6A916165-7B0E-4454-109D-14973C674BAC}"/>
              </a:ext>
            </a:extLst>
          </p:cNvPr>
          <p:cNvSpPr>
            <a:spLocks noGrp="1"/>
          </p:cNvSpPr>
          <p:nvPr>
            <p:ph type="body" sz="quarter" idx="39" hasCustomPrompt="1"/>
          </p:nvPr>
        </p:nvSpPr>
        <p:spPr>
          <a:xfrm>
            <a:off x="4678365" y="4629246"/>
            <a:ext cx="386079" cy="349250"/>
          </a:xfrm>
        </p:spPr>
        <p:txBody>
          <a:bodyPr>
            <a:noAutofit/>
          </a:bodyPr>
          <a:lstStyle>
            <a:lvl1pPr algn="l">
              <a:defRPr sz="1600"/>
            </a:lvl1pPr>
          </a:lstStyle>
          <a:p>
            <a:pPr lvl="0"/>
            <a:r>
              <a:rPr lang="en-US"/>
              <a:t>00</a:t>
            </a:r>
          </a:p>
        </p:txBody>
      </p:sp>
      <p:cxnSp>
        <p:nvCxnSpPr>
          <p:cNvPr id="31" name="Straight Connector 30">
            <a:extLst>
              <a:ext uri="{FF2B5EF4-FFF2-40B4-BE49-F238E27FC236}">
                <a16:creationId xmlns:a16="http://schemas.microsoft.com/office/drawing/2014/main" id="{0193D19F-D3EF-547B-F979-CEB39B81A44E}"/>
              </a:ext>
            </a:extLst>
          </p:cNvPr>
          <p:cNvCxnSpPr/>
          <p:nvPr userDrawn="1"/>
        </p:nvCxnSpPr>
        <p:spPr>
          <a:xfrm>
            <a:off x="4683760" y="546377"/>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74C04B4-16F6-FE0B-BB33-95869EB3F959}"/>
              </a:ext>
            </a:extLst>
          </p:cNvPr>
          <p:cNvCxnSpPr>
            <a:cxnSpLocks/>
          </p:cNvCxnSpPr>
          <p:nvPr userDrawn="1"/>
        </p:nvCxnSpPr>
        <p:spPr>
          <a:xfrm>
            <a:off x="4683760" y="1106605"/>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041A2B0-D002-55D8-3391-C40A2376B973}"/>
              </a:ext>
            </a:extLst>
          </p:cNvPr>
          <p:cNvCxnSpPr>
            <a:cxnSpLocks/>
          </p:cNvCxnSpPr>
          <p:nvPr userDrawn="1"/>
        </p:nvCxnSpPr>
        <p:spPr>
          <a:xfrm>
            <a:off x="4683760" y="1666833"/>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6BF753F-E7E1-7B8F-5D42-7A6CE933C064}"/>
              </a:ext>
            </a:extLst>
          </p:cNvPr>
          <p:cNvCxnSpPr/>
          <p:nvPr userDrawn="1"/>
        </p:nvCxnSpPr>
        <p:spPr>
          <a:xfrm>
            <a:off x="4683760" y="2227061"/>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3D28130-FCB5-1F2F-98D2-692A8292A362}"/>
              </a:ext>
            </a:extLst>
          </p:cNvPr>
          <p:cNvCxnSpPr/>
          <p:nvPr userDrawn="1"/>
        </p:nvCxnSpPr>
        <p:spPr>
          <a:xfrm>
            <a:off x="4683760" y="2787289"/>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C53E41A-0D10-66A1-DF0B-E9E1DBFBA413}"/>
              </a:ext>
            </a:extLst>
          </p:cNvPr>
          <p:cNvCxnSpPr/>
          <p:nvPr userDrawn="1"/>
        </p:nvCxnSpPr>
        <p:spPr>
          <a:xfrm>
            <a:off x="4683760" y="3347517"/>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07E1043-5BF0-ECEF-46A7-1683C71199D1}"/>
              </a:ext>
            </a:extLst>
          </p:cNvPr>
          <p:cNvCxnSpPr/>
          <p:nvPr userDrawn="1"/>
        </p:nvCxnSpPr>
        <p:spPr>
          <a:xfrm>
            <a:off x="4683760" y="5028201"/>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14496DD-EB04-CA87-D61C-45FE054D7918}"/>
              </a:ext>
            </a:extLst>
          </p:cNvPr>
          <p:cNvCxnSpPr/>
          <p:nvPr userDrawn="1"/>
        </p:nvCxnSpPr>
        <p:spPr>
          <a:xfrm>
            <a:off x="4683760" y="3907745"/>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34A481B-FE95-0D8F-3DA0-8424085FEB02}"/>
              </a:ext>
            </a:extLst>
          </p:cNvPr>
          <p:cNvCxnSpPr/>
          <p:nvPr userDrawn="1"/>
        </p:nvCxnSpPr>
        <p:spPr>
          <a:xfrm>
            <a:off x="4683760" y="4467973"/>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 Placeholder 7">
            <a:extLst>
              <a:ext uri="{FF2B5EF4-FFF2-40B4-BE49-F238E27FC236}">
                <a16:creationId xmlns:a16="http://schemas.microsoft.com/office/drawing/2014/main" id="{C5E58F99-4950-7E1B-730C-BBB51E0CA0EA}"/>
              </a:ext>
            </a:extLst>
          </p:cNvPr>
          <p:cNvSpPr>
            <a:spLocks noGrp="1"/>
          </p:cNvSpPr>
          <p:nvPr>
            <p:ph type="body" sz="quarter" idx="40"/>
          </p:nvPr>
        </p:nvSpPr>
        <p:spPr>
          <a:xfrm>
            <a:off x="5161280" y="5188634"/>
            <a:ext cx="2641598" cy="349250"/>
          </a:xfrm>
        </p:spPr>
        <p:txBody>
          <a:bodyPr>
            <a:noAutofit/>
          </a:bodyPr>
          <a:lstStyle>
            <a:lvl1pPr>
              <a:defRPr sz="1600"/>
            </a:lvl1pPr>
          </a:lstStyle>
          <a:p>
            <a:pPr lvl="0"/>
            <a:r>
              <a:rPr lang="en-US"/>
              <a:t>Click to edit Master text styles</a:t>
            </a:r>
          </a:p>
        </p:txBody>
      </p:sp>
      <p:sp>
        <p:nvSpPr>
          <p:cNvPr id="43" name="Text Placeholder 7">
            <a:extLst>
              <a:ext uri="{FF2B5EF4-FFF2-40B4-BE49-F238E27FC236}">
                <a16:creationId xmlns:a16="http://schemas.microsoft.com/office/drawing/2014/main" id="{FCC3E068-CB5B-9C71-7831-FF2B7AF10D76}"/>
              </a:ext>
            </a:extLst>
          </p:cNvPr>
          <p:cNvSpPr>
            <a:spLocks noGrp="1"/>
          </p:cNvSpPr>
          <p:nvPr>
            <p:ph type="body" sz="quarter" idx="41"/>
          </p:nvPr>
        </p:nvSpPr>
        <p:spPr>
          <a:xfrm>
            <a:off x="5161280" y="5748310"/>
            <a:ext cx="2641598" cy="349250"/>
          </a:xfrm>
        </p:spPr>
        <p:txBody>
          <a:bodyPr>
            <a:noAutofit/>
          </a:bodyPr>
          <a:lstStyle>
            <a:lvl1pPr>
              <a:defRPr sz="1600"/>
            </a:lvl1pPr>
          </a:lstStyle>
          <a:p>
            <a:pPr lvl="0"/>
            <a:r>
              <a:rPr lang="en-US"/>
              <a:t>Click to edit Master text styles</a:t>
            </a:r>
          </a:p>
        </p:txBody>
      </p:sp>
      <p:sp>
        <p:nvSpPr>
          <p:cNvPr id="44" name="Text Placeholder 7">
            <a:extLst>
              <a:ext uri="{FF2B5EF4-FFF2-40B4-BE49-F238E27FC236}">
                <a16:creationId xmlns:a16="http://schemas.microsoft.com/office/drawing/2014/main" id="{01048860-EBD7-1469-69CB-31F301E7AF47}"/>
              </a:ext>
            </a:extLst>
          </p:cNvPr>
          <p:cNvSpPr>
            <a:spLocks noGrp="1"/>
          </p:cNvSpPr>
          <p:nvPr>
            <p:ph type="body" sz="quarter" idx="42" hasCustomPrompt="1"/>
          </p:nvPr>
        </p:nvSpPr>
        <p:spPr>
          <a:xfrm>
            <a:off x="4678365" y="5188634"/>
            <a:ext cx="386079" cy="349250"/>
          </a:xfrm>
        </p:spPr>
        <p:txBody>
          <a:bodyPr>
            <a:noAutofit/>
          </a:bodyPr>
          <a:lstStyle>
            <a:lvl1pPr algn="l">
              <a:defRPr sz="1600"/>
            </a:lvl1pPr>
          </a:lstStyle>
          <a:p>
            <a:pPr lvl="0"/>
            <a:r>
              <a:rPr lang="en-US"/>
              <a:t>00</a:t>
            </a:r>
          </a:p>
        </p:txBody>
      </p:sp>
      <p:sp>
        <p:nvSpPr>
          <p:cNvPr id="45" name="Text Placeholder 7">
            <a:extLst>
              <a:ext uri="{FF2B5EF4-FFF2-40B4-BE49-F238E27FC236}">
                <a16:creationId xmlns:a16="http://schemas.microsoft.com/office/drawing/2014/main" id="{AD751179-54BF-A39B-7F47-219904227EB8}"/>
              </a:ext>
            </a:extLst>
          </p:cNvPr>
          <p:cNvSpPr>
            <a:spLocks noGrp="1"/>
          </p:cNvSpPr>
          <p:nvPr>
            <p:ph type="body" sz="quarter" idx="43" hasCustomPrompt="1"/>
          </p:nvPr>
        </p:nvSpPr>
        <p:spPr>
          <a:xfrm>
            <a:off x="4678365" y="5748310"/>
            <a:ext cx="386079" cy="349250"/>
          </a:xfrm>
        </p:spPr>
        <p:txBody>
          <a:bodyPr>
            <a:noAutofit/>
          </a:bodyPr>
          <a:lstStyle>
            <a:lvl1pPr algn="l">
              <a:defRPr sz="1600"/>
            </a:lvl1pPr>
          </a:lstStyle>
          <a:p>
            <a:pPr lvl="0"/>
            <a:r>
              <a:rPr lang="en-US"/>
              <a:t>00</a:t>
            </a:r>
          </a:p>
        </p:txBody>
      </p:sp>
      <p:cxnSp>
        <p:nvCxnSpPr>
          <p:cNvPr id="3" name="Straight Connector 2">
            <a:extLst>
              <a:ext uri="{FF2B5EF4-FFF2-40B4-BE49-F238E27FC236}">
                <a16:creationId xmlns:a16="http://schemas.microsoft.com/office/drawing/2014/main" id="{89986F41-4468-0CC2-AA85-2D97CF903A76}"/>
              </a:ext>
            </a:extLst>
          </p:cNvPr>
          <p:cNvCxnSpPr/>
          <p:nvPr userDrawn="1"/>
        </p:nvCxnSpPr>
        <p:spPr>
          <a:xfrm>
            <a:off x="4683760" y="5588426"/>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Text Placeholder 7">
            <a:extLst>
              <a:ext uri="{FF2B5EF4-FFF2-40B4-BE49-F238E27FC236}">
                <a16:creationId xmlns:a16="http://schemas.microsoft.com/office/drawing/2014/main" id="{5E47671A-7193-F115-335F-7F81F6692108}"/>
              </a:ext>
            </a:extLst>
          </p:cNvPr>
          <p:cNvSpPr>
            <a:spLocks noGrp="1"/>
          </p:cNvSpPr>
          <p:nvPr>
            <p:ph type="body" sz="quarter" idx="44"/>
          </p:nvPr>
        </p:nvSpPr>
        <p:spPr>
          <a:xfrm>
            <a:off x="8914384" y="709131"/>
            <a:ext cx="2641598" cy="349250"/>
          </a:xfrm>
        </p:spPr>
        <p:txBody>
          <a:bodyPr>
            <a:noAutofit/>
          </a:bodyPr>
          <a:lstStyle>
            <a:lvl1pPr>
              <a:defRPr sz="1600"/>
            </a:lvl1pPr>
          </a:lstStyle>
          <a:p>
            <a:pPr lvl="0"/>
            <a:r>
              <a:rPr lang="en-US"/>
              <a:t>Click to edit Master text styles</a:t>
            </a:r>
          </a:p>
        </p:txBody>
      </p:sp>
      <p:sp>
        <p:nvSpPr>
          <p:cNvPr id="76" name="Text Placeholder 7">
            <a:extLst>
              <a:ext uri="{FF2B5EF4-FFF2-40B4-BE49-F238E27FC236}">
                <a16:creationId xmlns:a16="http://schemas.microsoft.com/office/drawing/2014/main" id="{58052F57-46BA-5BCA-646A-BF4DB2FD2A0B}"/>
              </a:ext>
            </a:extLst>
          </p:cNvPr>
          <p:cNvSpPr>
            <a:spLocks noGrp="1"/>
          </p:cNvSpPr>
          <p:nvPr>
            <p:ph type="body" sz="quarter" idx="45"/>
          </p:nvPr>
        </p:nvSpPr>
        <p:spPr>
          <a:xfrm>
            <a:off x="8914384" y="1273143"/>
            <a:ext cx="2641598" cy="349250"/>
          </a:xfrm>
        </p:spPr>
        <p:txBody>
          <a:bodyPr>
            <a:noAutofit/>
          </a:bodyPr>
          <a:lstStyle>
            <a:lvl1pPr>
              <a:defRPr sz="1600"/>
            </a:lvl1pPr>
          </a:lstStyle>
          <a:p>
            <a:pPr lvl="0"/>
            <a:r>
              <a:rPr lang="en-US"/>
              <a:t>Click to edit Master text styles</a:t>
            </a:r>
          </a:p>
        </p:txBody>
      </p:sp>
      <p:sp>
        <p:nvSpPr>
          <p:cNvPr id="77" name="Text Placeholder 7">
            <a:extLst>
              <a:ext uri="{FF2B5EF4-FFF2-40B4-BE49-F238E27FC236}">
                <a16:creationId xmlns:a16="http://schemas.microsoft.com/office/drawing/2014/main" id="{146FB5CB-C80A-DEDC-8232-6257456AF665}"/>
              </a:ext>
            </a:extLst>
          </p:cNvPr>
          <p:cNvSpPr>
            <a:spLocks noGrp="1"/>
          </p:cNvSpPr>
          <p:nvPr>
            <p:ph type="body" sz="quarter" idx="46"/>
          </p:nvPr>
        </p:nvSpPr>
        <p:spPr>
          <a:xfrm>
            <a:off x="8914384" y="1832075"/>
            <a:ext cx="2641598" cy="349250"/>
          </a:xfrm>
        </p:spPr>
        <p:txBody>
          <a:bodyPr>
            <a:noAutofit/>
          </a:bodyPr>
          <a:lstStyle>
            <a:lvl1pPr>
              <a:defRPr sz="1600"/>
            </a:lvl1pPr>
          </a:lstStyle>
          <a:p>
            <a:pPr lvl="0"/>
            <a:r>
              <a:rPr lang="en-US"/>
              <a:t>Click to edit Master text styles</a:t>
            </a:r>
          </a:p>
        </p:txBody>
      </p:sp>
      <p:sp>
        <p:nvSpPr>
          <p:cNvPr id="78" name="Text Placeholder 7">
            <a:extLst>
              <a:ext uri="{FF2B5EF4-FFF2-40B4-BE49-F238E27FC236}">
                <a16:creationId xmlns:a16="http://schemas.microsoft.com/office/drawing/2014/main" id="{C5D45E84-8074-AA03-7271-25F21C58CFFE}"/>
              </a:ext>
            </a:extLst>
          </p:cNvPr>
          <p:cNvSpPr>
            <a:spLocks noGrp="1"/>
          </p:cNvSpPr>
          <p:nvPr>
            <p:ph type="body" sz="quarter" idx="47"/>
          </p:nvPr>
        </p:nvSpPr>
        <p:spPr>
          <a:xfrm>
            <a:off x="8914384" y="2391007"/>
            <a:ext cx="2641598" cy="349250"/>
          </a:xfrm>
        </p:spPr>
        <p:txBody>
          <a:bodyPr>
            <a:noAutofit/>
          </a:bodyPr>
          <a:lstStyle>
            <a:lvl1pPr>
              <a:defRPr sz="1600"/>
            </a:lvl1pPr>
          </a:lstStyle>
          <a:p>
            <a:pPr lvl="0"/>
            <a:r>
              <a:rPr lang="en-US"/>
              <a:t>Click to edit Master text styles</a:t>
            </a:r>
          </a:p>
        </p:txBody>
      </p:sp>
      <p:sp>
        <p:nvSpPr>
          <p:cNvPr id="79" name="Text Placeholder 7">
            <a:extLst>
              <a:ext uri="{FF2B5EF4-FFF2-40B4-BE49-F238E27FC236}">
                <a16:creationId xmlns:a16="http://schemas.microsoft.com/office/drawing/2014/main" id="{8F01BE2A-9270-E6F6-5F99-44B56DC6576E}"/>
              </a:ext>
            </a:extLst>
          </p:cNvPr>
          <p:cNvSpPr>
            <a:spLocks noGrp="1"/>
          </p:cNvSpPr>
          <p:nvPr>
            <p:ph type="body" sz="quarter" idx="48"/>
          </p:nvPr>
        </p:nvSpPr>
        <p:spPr>
          <a:xfrm>
            <a:off x="8914384" y="2950436"/>
            <a:ext cx="2641598" cy="349250"/>
          </a:xfrm>
        </p:spPr>
        <p:txBody>
          <a:bodyPr>
            <a:noAutofit/>
          </a:bodyPr>
          <a:lstStyle>
            <a:lvl1pPr>
              <a:defRPr sz="1600"/>
            </a:lvl1pPr>
          </a:lstStyle>
          <a:p>
            <a:pPr lvl="0"/>
            <a:r>
              <a:rPr lang="en-US"/>
              <a:t>Click to edit Master text styles</a:t>
            </a:r>
          </a:p>
        </p:txBody>
      </p:sp>
      <p:sp>
        <p:nvSpPr>
          <p:cNvPr id="80" name="Text Placeholder 7">
            <a:extLst>
              <a:ext uri="{FF2B5EF4-FFF2-40B4-BE49-F238E27FC236}">
                <a16:creationId xmlns:a16="http://schemas.microsoft.com/office/drawing/2014/main" id="{E58A412E-5960-202A-37D7-5031CC0F7037}"/>
              </a:ext>
            </a:extLst>
          </p:cNvPr>
          <p:cNvSpPr>
            <a:spLocks noGrp="1"/>
          </p:cNvSpPr>
          <p:nvPr>
            <p:ph type="body" sz="quarter" idx="49"/>
          </p:nvPr>
        </p:nvSpPr>
        <p:spPr>
          <a:xfrm>
            <a:off x="8914384" y="3508098"/>
            <a:ext cx="2641598" cy="349250"/>
          </a:xfrm>
        </p:spPr>
        <p:txBody>
          <a:bodyPr>
            <a:noAutofit/>
          </a:bodyPr>
          <a:lstStyle>
            <a:lvl1pPr>
              <a:defRPr sz="1600"/>
            </a:lvl1pPr>
          </a:lstStyle>
          <a:p>
            <a:pPr lvl="0"/>
            <a:r>
              <a:rPr lang="en-US"/>
              <a:t>Click to edit Master text styles</a:t>
            </a:r>
          </a:p>
        </p:txBody>
      </p:sp>
      <p:sp>
        <p:nvSpPr>
          <p:cNvPr id="81" name="Text Placeholder 7">
            <a:extLst>
              <a:ext uri="{FF2B5EF4-FFF2-40B4-BE49-F238E27FC236}">
                <a16:creationId xmlns:a16="http://schemas.microsoft.com/office/drawing/2014/main" id="{47876B55-ED56-0F8E-FF13-FE599A4E6501}"/>
              </a:ext>
            </a:extLst>
          </p:cNvPr>
          <p:cNvSpPr>
            <a:spLocks noGrp="1"/>
          </p:cNvSpPr>
          <p:nvPr>
            <p:ph type="body" sz="quarter" idx="50"/>
          </p:nvPr>
        </p:nvSpPr>
        <p:spPr>
          <a:xfrm>
            <a:off x="8914384" y="4069570"/>
            <a:ext cx="2641598" cy="349250"/>
          </a:xfrm>
        </p:spPr>
        <p:txBody>
          <a:bodyPr>
            <a:noAutofit/>
          </a:bodyPr>
          <a:lstStyle>
            <a:lvl1pPr>
              <a:defRPr sz="1600"/>
            </a:lvl1pPr>
          </a:lstStyle>
          <a:p>
            <a:pPr lvl="0"/>
            <a:r>
              <a:rPr lang="en-US"/>
              <a:t>Click to edit Master text styles</a:t>
            </a:r>
          </a:p>
        </p:txBody>
      </p:sp>
      <p:sp>
        <p:nvSpPr>
          <p:cNvPr id="82" name="Text Placeholder 7">
            <a:extLst>
              <a:ext uri="{FF2B5EF4-FFF2-40B4-BE49-F238E27FC236}">
                <a16:creationId xmlns:a16="http://schemas.microsoft.com/office/drawing/2014/main" id="{7BEE7469-6688-2E78-BB19-A3E75D35DDC7}"/>
              </a:ext>
            </a:extLst>
          </p:cNvPr>
          <p:cNvSpPr>
            <a:spLocks noGrp="1"/>
          </p:cNvSpPr>
          <p:nvPr>
            <p:ph type="body" sz="quarter" idx="51"/>
          </p:nvPr>
        </p:nvSpPr>
        <p:spPr>
          <a:xfrm>
            <a:off x="8914384" y="4629246"/>
            <a:ext cx="2641598" cy="349250"/>
          </a:xfrm>
        </p:spPr>
        <p:txBody>
          <a:bodyPr>
            <a:noAutofit/>
          </a:bodyPr>
          <a:lstStyle>
            <a:lvl1pPr>
              <a:defRPr sz="1600"/>
            </a:lvl1pPr>
          </a:lstStyle>
          <a:p>
            <a:pPr lvl="0"/>
            <a:r>
              <a:rPr lang="en-US"/>
              <a:t>Click to edit Master text styles</a:t>
            </a:r>
          </a:p>
        </p:txBody>
      </p:sp>
      <p:sp>
        <p:nvSpPr>
          <p:cNvPr id="83" name="Text Placeholder 7">
            <a:extLst>
              <a:ext uri="{FF2B5EF4-FFF2-40B4-BE49-F238E27FC236}">
                <a16:creationId xmlns:a16="http://schemas.microsoft.com/office/drawing/2014/main" id="{EFE62FBB-732D-F184-AD68-BDF81039DB33}"/>
              </a:ext>
            </a:extLst>
          </p:cNvPr>
          <p:cNvSpPr>
            <a:spLocks noGrp="1"/>
          </p:cNvSpPr>
          <p:nvPr>
            <p:ph type="body" sz="quarter" idx="52" hasCustomPrompt="1"/>
          </p:nvPr>
        </p:nvSpPr>
        <p:spPr>
          <a:xfrm>
            <a:off x="8431469" y="709131"/>
            <a:ext cx="386079" cy="349250"/>
          </a:xfrm>
        </p:spPr>
        <p:txBody>
          <a:bodyPr>
            <a:noAutofit/>
          </a:bodyPr>
          <a:lstStyle>
            <a:lvl1pPr algn="l">
              <a:defRPr sz="1600"/>
            </a:lvl1pPr>
          </a:lstStyle>
          <a:p>
            <a:pPr lvl="0"/>
            <a:r>
              <a:rPr lang="en-US"/>
              <a:t>00</a:t>
            </a:r>
          </a:p>
        </p:txBody>
      </p:sp>
      <p:sp>
        <p:nvSpPr>
          <p:cNvPr id="84" name="Text Placeholder 7">
            <a:extLst>
              <a:ext uri="{FF2B5EF4-FFF2-40B4-BE49-F238E27FC236}">
                <a16:creationId xmlns:a16="http://schemas.microsoft.com/office/drawing/2014/main" id="{79AA1B99-A482-5D4A-E5BD-E935BAC7F6B4}"/>
              </a:ext>
            </a:extLst>
          </p:cNvPr>
          <p:cNvSpPr>
            <a:spLocks noGrp="1"/>
          </p:cNvSpPr>
          <p:nvPr>
            <p:ph type="body" sz="quarter" idx="53" hasCustomPrompt="1"/>
          </p:nvPr>
        </p:nvSpPr>
        <p:spPr>
          <a:xfrm>
            <a:off x="8431469" y="1273143"/>
            <a:ext cx="386079" cy="349250"/>
          </a:xfrm>
        </p:spPr>
        <p:txBody>
          <a:bodyPr>
            <a:noAutofit/>
          </a:bodyPr>
          <a:lstStyle>
            <a:lvl1pPr algn="l">
              <a:defRPr sz="1600"/>
            </a:lvl1pPr>
          </a:lstStyle>
          <a:p>
            <a:pPr lvl="0"/>
            <a:r>
              <a:rPr lang="en-US"/>
              <a:t>00</a:t>
            </a:r>
          </a:p>
        </p:txBody>
      </p:sp>
      <p:sp>
        <p:nvSpPr>
          <p:cNvPr id="85" name="Text Placeholder 7">
            <a:extLst>
              <a:ext uri="{FF2B5EF4-FFF2-40B4-BE49-F238E27FC236}">
                <a16:creationId xmlns:a16="http://schemas.microsoft.com/office/drawing/2014/main" id="{0B4E7ECE-4E17-FD12-80FD-7D8514F8651C}"/>
              </a:ext>
            </a:extLst>
          </p:cNvPr>
          <p:cNvSpPr>
            <a:spLocks noGrp="1"/>
          </p:cNvSpPr>
          <p:nvPr>
            <p:ph type="body" sz="quarter" idx="54" hasCustomPrompt="1"/>
          </p:nvPr>
        </p:nvSpPr>
        <p:spPr>
          <a:xfrm>
            <a:off x="8431469" y="1832075"/>
            <a:ext cx="386079" cy="349250"/>
          </a:xfrm>
        </p:spPr>
        <p:txBody>
          <a:bodyPr>
            <a:noAutofit/>
          </a:bodyPr>
          <a:lstStyle>
            <a:lvl1pPr algn="l">
              <a:defRPr sz="1600"/>
            </a:lvl1pPr>
          </a:lstStyle>
          <a:p>
            <a:pPr lvl="0"/>
            <a:r>
              <a:rPr lang="en-US"/>
              <a:t>00</a:t>
            </a:r>
          </a:p>
        </p:txBody>
      </p:sp>
      <p:sp>
        <p:nvSpPr>
          <p:cNvPr id="86" name="Text Placeholder 7">
            <a:extLst>
              <a:ext uri="{FF2B5EF4-FFF2-40B4-BE49-F238E27FC236}">
                <a16:creationId xmlns:a16="http://schemas.microsoft.com/office/drawing/2014/main" id="{26F18B21-B2B9-513D-EE56-7C123BBC30EE}"/>
              </a:ext>
            </a:extLst>
          </p:cNvPr>
          <p:cNvSpPr>
            <a:spLocks noGrp="1"/>
          </p:cNvSpPr>
          <p:nvPr>
            <p:ph type="body" sz="quarter" idx="55" hasCustomPrompt="1"/>
          </p:nvPr>
        </p:nvSpPr>
        <p:spPr>
          <a:xfrm>
            <a:off x="8431469" y="2391007"/>
            <a:ext cx="386079" cy="349250"/>
          </a:xfrm>
        </p:spPr>
        <p:txBody>
          <a:bodyPr>
            <a:noAutofit/>
          </a:bodyPr>
          <a:lstStyle>
            <a:lvl1pPr algn="l">
              <a:defRPr sz="1600"/>
            </a:lvl1pPr>
          </a:lstStyle>
          <a:p>
            <a:pPr lvl="0"/>
            <a:r>
              <a:rPr lang="en-US"/>
              <a:t>00</a:t>
            </a:r>
          </a:p>
        </p:txBody>
      </p:sp>
      <p:sp>
        <p:nvSpPr>
          <p:cNvPr id="87" name="Text Placeholder 7">
            <a:extLst>
              <a:ext uri="{FF2B5EF4-FFF2-40B4-BE49-F238E27FC236}">
                <a16:creationId xmlns:a16="http://schemas.microsoft.com/office/drawing/2014/main" id="{545E1A05-D18E-1B39-B130-0B5373DF3CCF}"/>
              </a:ext>
            </a:extLst>
          </p:cNvPr>
          <p:cNvSpPr>
            <a:spLocks noGrp="1"/>
          </p:cNvSpPr>
          <p:nvPr>
            <p:ph type="body" sz="quarter" idx="56" hasCustomPrompt="1"/>
          </p:nvPr>
        </p:nvSpPr>
        <p:spPr>
          <a:xfrm>
            <a:off x="8431469" y="2950436"/>
            <a:ext cx="386079" cy="349250"/>
          </a:xfrm>
        </p:spPr>
        <p:txBody>
          <a:bodyPr>
            <a:noAutofit/>
          </a:bodyPr>
          <a:lstStyle>
            <a:lvl1pPr algn="l">
              <a:defRPr sz="1600"/>
            </a:lvl1pPr>
          </a:lstStyle>
          <a:p>
            <a:pPr lvl="0"/>
            <a:r>
              <a:rPr lang="en-US"/>
              <a:t>00</a:t>
            </a:r>
          </a:p>
        </p:txBody>
      </p:sp>
      <p:sp>
        <p:nvSpPr>
          <p:cNvPr id="88" name="Text Placeholder 7">
            <a:extLst>
              <a:ext uri="{FF2B5EF4-FFF2-40B4-BE49-F238E27FC236}">
                <a16:creationId xmlns:a16="http://schemas.microsoft.com/office/drawing/2014/main" id="{53FD3FA8-F7AA-9A96-9373-2471420EDFC4}"/>
              </a:ext>
            </a:extLst>
          </p:cNvPr>
          <p:cNvSpPr>
            <a:spLocks noGrp="1"/>
          </p:cNvSpPr>
          <p:nvPr>
            <p:ph type="body" sz="quarter" idx="57" hasCustomPrompt="1"/>
          </p:nvPr>
        </p:nvSpPr>
        <p:spPr>
          <a:xfrm>
            <a:off x="8431469" y="3508098"/>
            <a:ext cx="386079" cy="349250"/>
          </a:xfrm>
        </p:spPr>
        <p:txBody>
          <a:bodyPr>
            <a:noAutofit/>
          </a:bodyPr>
          <a:lstStyle>
            <a:lvl1pPr algn="l">
              <a:defRPr sz="1600"/>
            </a:lvl1pPr>
          </a:lstStyle>
          <a:p>
            <a:pPr lvl="0"/>
            <a:r>
              <a:rPr lang="en-US"/>
              <a:t>00</a:t>
            </a:r>
          </a:p>
        </p:txBody>
      </p:sp>
      <p:sp>
        <p:nvSpPr>
          <p:cNvPr id="89" name="Text Placeholder 7">
            <a:extLst>
              <a:ext uri="{FF2B5EF4-FFF2-40B4-BE49-F238E27FC236}">
                <a16:creationId xmlns:a16="http://schemas.microsoft.com/office/drawing/2014/main" id="{514F6B5C-F7CA-EE6E-9D8A-889974CF1446}"/>
              </a:ext>
            </a:extLst>
          </p:cNvPr>
          <p:cNvSpPr>
            <a:spLocks noGrp="1"/>
          </p:cNvSpPr>
          <p:nvPr>
            <p:ph type="body" sz="quarter" idx="58" hasCustomPrompt="1"/>
          </p:nvPr>
        </p:nvSpPr>
        <p:spPr>
          <a:xfrm>
            <a:off x="8431469" y="4069570"/>
            <a:ext cx="386079" cy="349250"/>
          </a:xfrm>
        </p:spPr>
        <p:txBody>
          <a:bodyPr>
            <a:noAutofit/>
          </a:bodyPr>
          <a:lstStyle>
            <a:lvl1pPr algn="l">
              <a:defRPr sz="1600"/>
            </a:lvl1pPr>
          </a:lstStyle>
          <a:p>
            <a:pPr lvl="0"/>
            <a:r>
              <a:rPr lang="en-US"/>
              <a:t>00</a:t>
            </a:r>
          </a:p>
        </p:txBody>
      </p:sp>
      <p:sp>
        <p:nvSpPr>
          <p:cNvPr id="90" name="Text Placeholder 7">
            <a:extLst>
              <a:ext uri="{FF2B5EF4-FFF2-40B4-BE49-F238E27FC236}">
                <a16:creationId xmlns:a16="http://schemas.microsoft.com/office/drawing/2014/main" id="{AB26ACFE-390C-FA98-6F7E-30F5880F5136}"/>
              </a:ext>
            </a:extLst>
          </p:cNvPr>
          <p:cNvSpPr>
            <a:spLocks noGrp="1"/>
          </p:cNvSpPr>
          <p:nvPr>
            <p:ph type="body" sz="quarter" idx="59" hasCustomPrompt="1"/>
          </p:nvPr>
        </p:nvSpPr>
        <p:spPr>
          <a:xfrm>
            <a:off x="8431469" y="4629246"/>
            <a:ext cx="386079" cy="349250"/>
          </a:xfrm>
        </p:spPr>
        <p:txBody>
          <a:bodyPr>
            <a:noAutofit/>
          </a:bodyPr>
          <a:lstStyle>
            <a:lvl1pPr algn="l">
              <a:defRPr sz="1600"/>
            </a:lvl1pPr>
          </a:lstStyle>
          <a:p>
            <a:pPr lvl="0"/>
            <a:r>
              <a:rPr lang="en-US"/>
              <a:t>00</a:t>
            </a:r>
          </a:p>
        </p:txBody>
      </p:sp>
      <p:cxnSp>
        <p:nvCxnSpPr>
          <p:cNvPr id="91" name="Straight Connector 90">
            <a:extLst>
              <a:ext uri="{FF2B5EF4-FFF2-40B4-BE49-F238E27FC236}">
                <a16:creationId xmlns:a16="http://schemas.microsoft.com/office/drawing/2014/main" id="{BCA728BD-EB20-0200-30AA-CC2E8BE2C31C}"/>
              </a:ext>
            </a:extLst>
          </p:cNvPr>
          <p:cNvCxnSpPr/>
          <p:nvPr userDrawn="1"/>
        </p:nvCxnSpPr>
        <p:spPr>
          <a:xfrm>
            <a:off x="8436864" y="546377"/>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A54F484E-1062-96FB-9772-A33DDC7DB459}"/>
              </a:ext>
            </a:extLst>
          </p:cNvPr>
          <p:cNvCxnSpPr>
            <a:cxnSpLocks/>
          </p:cNvCxnSpPr>
          <p:nvPr userDrawn="1"/>
        </p:nvCxnSpPr>
        <p:spPr>
          <a:xfrm>
            <a:off x="8436864" y="1106605"/>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A33404F-EA55-B570-58DC-A80E91C15CD5}"/>
              </a:ext>
            </a:extLst>
          </p:cNvPr>
          <p:cNvCxnSpPr>
            <a:cxnSpLocks/>
          </p:cNvCxnSpPr>
          <p:nvPr userDrawn="1"/>
        </p:nvCxnSpPr>
        <p:spPr>
          <a:xfrm>
            <a:off x="8436864" y="1666833"/>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04C10450-0952-FCD7-218B-B1BA64F421A9}"/>
              </a:ext>
            </a:extLst>
          </p:cNvPr>
          <p:cNvCxnSpPr/>
          <p:nvPr userDrawn="1"/>
        </p:nvCxnSpPr>
        <p:spPr>
          <a:xfrm>
            <a:off x="8436864" y="2227061"/>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D5D0B1-C9B7-70FA-D9F7-DB03909DAAB7}"/>
              </a:ext>
            </a:extLst>
          </p:cNvPr>
          <p:cNvCxnSpPr/>
          <p:nvPr userDrawn="1"/>
        </p:nvCxnSpPr>
        <p:spPr>
          <a:xfrm>
            <a:off x="8436864" y="2787289"/>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FE577B5-4E77-70F1-C858-26D7AAE05243}"/>
              </a:ext>
            </a:extLst>
          </p:cNvPr>
          <p:cNvCxnSpPr/>
          <p:nvPr userDrawn="1"/>
        </p:nvCxnSpPr>
        <p:spPr>
          <a:xfrm>
            <a:off x="8436864" y="3347517"/>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297698A-53AE-29B0-F1D7-AB8AD65FF4AF}"/>
              </a:ext>
            </a:extLst>
          </p:cNvPr>
          <p:cNvCxnSpPr/>
          <p:nvPr userDrawn="1"/>
        </p:nvCxnSpPr>
        <p:spPr>
          <a:xfrm>
            <a:off x="8436864" y="5028201"/>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D4626EA3-4976-72B0-B21B-847D38BBC037}"/>
              </a:ext>
            </a:extLst>
          </p:cNvPr>
          <p:cNvCxnSpPr/>
          <p:nvPr userDrawn="1"/>
        </p:nvCxnSpPr>
        <p:spPr>
          <a:xfrm>
            <a:off x="8436864" y="3907745"/>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933B1D61-7000-1613-792E-D419F44A721D}"/>
              </a:ext>
            </a:extLst>
          </p:cNvPr>
          <p:cNvCxnSpPr/>
          <p:nvPr userDrawn="1"/>
        </p:nvCxnSpPr>
        <p:spPr>
          <a:xfrm>
            <a:off x="8436864" y="4467973"/>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 Placeholder 7">
            <a:extLst>
              <a:ext uri="{FF2B5EF4-FFF2-40B4-BE49-F238E27FC236}">
                <a16:creationId xmlns:a16="http://schemas.microsoft.com/office/drawing/2014/main" id="{A9DCFA3D-2D63-9C11-626F-009081F37163}"/>
              </a:ext>
            </a:extLst>
          </p:cNvPr>
          <p:cNvSpPr>
            <a:spLocks noGrp="1"/>
          </p:cNvSpPr>
          <p:nvPr>
            <p:ph type="body" sz="quarter" idx="60"/>
          </p:nvPr>
        </p:nvSpPr>
        <p:spPr>
          <a:xfrm>
            <a:off x="8914384" y="5188634"/>
            <a:ext cx="2641598" cy="349250"/>
          </a:xfrm>
        </p:spPr>
        <p:txBody>
          <a:bodyPr>
            <a:noAutofit/>
          </a:bodyPr>
          <a:lstStyle>
            <a:lvl1pPr>
              <a:defRPr sz="1600"/>
            </a:lvl1pPr>
          </a:lstStyle>
          <a:p>
            <a:pPr lvl="0"/>
            <a:r>
              <a:rPr lang="en-US"/>
              <a:t>Click to edit Master text styles</a:t>
            </a:r>
          </a:p>
        </p:txBody>
      </p:sp>
      <p:sp>
        <p:nvSpPr>
          <p:cNvPr id="101" name="Text Placeholder 7">
            <a:extLst>
              <a:ext uri="{FF2B5EF4-FFF2-40B4-BE49-F238E27FC236}">
                <a16:creationId xmlns:a16="http://schemas.microsoft.com/office/drawing/2014/main" id="{A39E1836-28CF-5341-A972-EA3BA17B52BF}"/>
              </a:ext>
            </a:extLst>
          </p:cNvPr>
          <p:cNvSpPr>
            <a:spLocks noGrp="1"/>
          </p:cNvSpPr>
          <p:nvPr>
            <p:ph type="body" sz="quarter" idx="61"/>
          </p:nvPr>
        </p:nvSpPr>
        <p:spPr>
          <a:xfrm>
            <a:off x="8914384" y="5748310"/>
            <a:ext cx="2641598" cy="349250"/>
          </a:xfrm>
        </p:spPr>
        <p:txBody>
          <a:bodyPr>
            <a:noAutofit/>
          </a:bodyPr>
          <a:lstStyle>
            <a:lvl1pPr>
              <a:defRPr sz="1600"/>
            </a:lvl1pPr>
          </a:lstStyle>
          <a:p>
            <a:pPr lvl="0"/>
            <a:r>
              <a:rPr lang="en-US"/>
              <a:t>Click to edit Master text styles</a:t>
            </a:r>
          </a:p>
        </p:txBody>
      </p:sp>
      <p:sp>
        <p:nvSpPr>
          <p:cNvPr id="102" name="Text Placeholder 7">
            <a:extLst>
              <a:ext uri="{FF2B5EF4-FFF2-40B4-BE49-F238E27FC236}">
                <a16:creationId xmlns:a16="http://schemas.microsoft.com/office/drawing/2014/main" id="{C5053EC7-3723-6190-C161-169DC1E5DD7B}"/>
              </a:ext>
            </a:extLst>
          </p:cNvPr>
          <p:cNvSpPr>
            <a:spLocks noGrp="1"/>
          </p:cNvSpPr>
          <p:nvPr>
            <p:ph type="body" sz="quarter" idx="62" hasCustomPrompt="1"/>
          </p:nvPr>
        </p:nvSpPr>
        <p:spPr>
          <a:xfrm>
            <a:off x="8431469" y="5188634"/>
            <a:ext cx="386079" cy="349250"/>
          </a:xfrm>
        </p:spPr>
        <p:txBody>
          <a:bodyPr>
            <a:noAutofit/>
          </a:bodyPr>
          <a:lstStyle>
            <a:lvl1pPr algn="l">
              <a:defRPr sz="1600"/>
            </a:lvl1pPr>
          </a:lstStyle>
          <a:p>
            <a:pPr lvl="0"/>
            <a:r>
              <a:rPr lang="en-US"/>
              <a:t>00</a:t>
            </a:r>
          </a:p>
        </p:txBody>
      </p:sp>
      <p:sp>
        <p:nvSpPr>
          <p:cNvPr id="103" name="Text Placeholder 7">
            <a:extLst>
              <a:ext uri="{FF2B5EF4-FFF2-40B4-BE49-F238E27FC236}">
                <a16:creationId xmlns:a16="http://schemas.microsoft.com/office/drawing/2014/main" id="{984AB201-4E11-E823-D4F7-476E854E3AA9}"/>
              </a:ext>
            </a:extLst>
          </p:cNvPr>
          <p:cNvSpPr>
            <a:spLocks noGrp="1"/>
          </p:cNvSpPr>
          <p:nvPr>
            <p:ph type="body" sz="quarter" idx="63" hasCustomPrompt="1"/>
          </p:nvPr>
        </p:nvSpPr>
        <p:spPr>
          <a:xfrm>
            <a:off x="8431469" y="5748310"/>
            <a:ext cx="386079" cy="349250"/>
          </a:xfrm>
        </p:spPr>
        <p:txBody>
          <a:bodyPr>
            <a:noAutofit/>
          </a:bodyPr>
          <a:lstStyle>
            <a:lvl1pPr algn="l">
              <a:defRPr sz="1600"/>
            </a:lvl1pPr>
          </a:lstStyle>
          <a:p>
            <a:pPr lvl="0"/>
            <a:r>
              <a:rPr lang="en-US"/>
              <a:t>00</a:t>
            </a:r>
          </a:p>
        </p:txBody>
      </p:sp>
      <p:cxnSp>
        <p:nvCxnSpPr>
          <p:cNvPr id="104" name="Straight Connector 103">
            <a:extLst>
              <a:ext uri="{FF2B5EF4-FFF2-40B4-BE49-F238E27FC236}">
                <a16:creationId xmlns:a16="http://schemas.microsoft.com/office/drawing/2014/main" id="{19C9D6FF-7925-3B79-A3F7-1AF23F4C080D}"/>
              </a:ext>
            </a:extLst>
          </p:cNvPr>
          <p:cNvCxnSpPr/>
          <p:nvPr userDrawn="1"/>
        </p:nvCxnSpPr>
        <p:spPr>
          <a:xfrm>
            <a:off x="8436864" y="5588426"/>
            <a:ext cx="314553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1015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ulleted List">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2556BBD-E905-984B-4075-604E21C91A06}"/>
              </a:ext>
            </a:extLst>
          </p:cNvPr>
          <p:cNvSpPr>
            <a:spLocks noGrp="1"/>
          </p:cNvSpPr>
          <p:nvPr>
            <p:ph type="title"/>
          </p:nvPr>
        </p:nvSpPr>
        <p:spPr>
          <a:xfrm>
            <a:off x="609600" y="800754"/>
            <a:ext cx="2844800" cy="1000402"/>
          </a:xfrm>
        </p:spPr>
        <p:txBody>
          <a:bodyPr>
            <a:noAutofit/>
          </a:bodyPr>
          <a:lstStyle>
            <a:lvl1pPr>
              <a:lnSpc>
                <a:spcPct val="90000"/>
              </a:lnSpc>
              <a:defRPr>
                <a:solidFill>
                  <a:schemeClr val="bg1"/>
                </a:solidFill>
              </a:defRPr>
            </a:lvl1pPr>
          </a:lstStyle>
          <a:p>
            <a:r>
              <a:rPr lang="en-US"/>
              <a:t>Click to edit Master title style</a:t>
            </a:r>
          </a:p>
        </p:txBody>
      </p:sp>
      <p:sp>
        <p:nvSpPr>
          <p:cNvPr id="21" name="Text Placeholder 3">
            <a:extLst>
              <a:ext uri="{FF2B5EF4-FFF2-40B4-BE49-F238E27FC236}">
                <a16:creationId xmlns:a16="http://schemas.microsoft.com/office/drawing/2014/main" id="{71143EDC-4B43-463B-C8D7-7625E5355C55}"/>
              </a:ext>
            </a:extLst>
          </p:cNvPr>
          <p:cNvSpPr>
            <a:spLocks noGrp="1"/>
          </p:cNvSpPr>
          <p:nvPr>
            <p:ph type="body" sz="quarter" idx="13" hasCustomPrompt="1"/>
          </p:nvPr>
        </p:nvSpPr>
        <p:spPr>
          <a:xfrm>
            <a:off x="609600" y="1813242"/>
            <a:ext cx="2843784" cy="307777"/>
          </a:xfrm>
        </p:spPr>
        <p:txBody>
          <a:bodyPr>
            <a:noAutofit/>
          </a:bodyPr>
          <a:lstStyle>
            <a:lvl1pPr>
              <a:defRPr>
                <a:solidFill>
                  <a:schemeClr val="bg1"/>
                </a:solidFill>
              </a:defRPr>
            </a:lvl1pPr>
          </a:lstStyle>
          <a:p>
            <a:pPr lvl="0"/>
            <a:r>
              <a:rPr lang="en-US"/>
              <a:t>Subtitle</a:t>
            </a:r>
          </a:p>
        </p:txBody>
      </p:sp>
      <p:sp>
        <p:nvSpPr>
          <p:cNvPr id="22" name="Text Placeholder 35">
            <a:extLst>
              <a:ext uri="{FF2B5EF4-FFF2-40B4-BE49-F238E27FC236}">
                <a16:creationId xmlns:a16="http://schemas.microsoft.com/office/drawing/2014/main" id="{6411CE3E-CF5E-1A4F-C684-DD36FC30311C}"/>
              </a:ext>
            </a:extLst>
          </p:cNvPr>
          <p:cNvSpPr>
            <a:spLocks noGrp="1"/>
          </p:cNvSpPr>
          <p:nvPr>
            <p:ph type="body" sz="quarter" idx="15" hasCustomPrompt="1"/>
          </p:nvPr>
        </p:nvSpPr>
        <p:spPr>
          <a:xfrm>
            <a:off x="609599" y="2476503"/>
            <a:ext cx="2843783" cy="292608"/>
          </a:xfrm>
        </p:spPr>
        <p:txBody>
          <a:bodyPr anchor="t">
            <a:noAutofit/>
          </a:bodyPr>
          <a:lstStyle>
            <a:lvl1pPr>
              <a:spcAft>
                <a:spcPts val="1200"/>
              </a:spcAft>
              <a:defRPr sz="1400" b="1" cap="all" spc="300" baseline="0">
                <a:solidFill>
                  <a:schemeClr val="accent1"/>
                </a:solidFill>
                <a:latin typeface="+mj-lt"/>
              </a:defRPr>
            </a:lvl1pPr>
            <a:lvl2pPr marL="0" indent="0">
              <a:spcAft>
                <a:spcPts val="1200"/>
              </a:spcAft>
              <a:buNone/>
              <a:defRPr lang="en-US" sz="1600" kern="1200" dirty="0" smtClean="0">
                <a:solidFill>
                  <a:schemeClr val="bg1"/>
                </a:solidFill>
                <a:latin typeface="+mn-lt"/>
                <a:ea typeface="+mn-ea"/>
                <a:cs typeface="+mn-cs"/>
              </a:defRPr>
            </a:lvl2pPr>
          </a:lstStyle>
          <a:p>
            <a:pPr lvl="0"/>
            <a:r>
              <a:rPr lang="en-US"/>
              <a:t>Header</a:t>
            </a:r>
          </a:p>
        </p:txBody>
      </p:sp>
      <p:sp>
        <p:nvSpPr>
          <p:cNvPr id="9" name="Text Placeholder 8">
            <a:extLst>
              <a:ext uri="{FF2B5EF4-FFF2-40B4-BE49-F238E27FC236}">
                <a16:creationId xmlns:a16="http://schemas.microsoft.com/office/drawing/2014/main" id="{EDDF3BDE-4A54-41C8-10FC-69B08AE6B997}"/>
              </a:ext>
            </a:extLst>
          </p:cNvPr>
          <p:cNvSpPr>
            <a:spLocks noGrp="1"/>
          </p:cNvSpPr>
          <p:nvPr>
            <p:ph type="body" sz="quarter" idx="30"/>
          </p:nvPr>
        </p:nvSpPr>
        <p:spPr>
          <a:xfrm>
            <a:off x="4677663" y="553997"/>
            <a:ext cx="3145536" cy="5618202"/>
          </a:xfrm>
        </p:spPr>
        <p:txBody>
          <a:bodyPr>
            <a:noAutofit/>
          </a:bodyPr>
          <a:lstStyle>
            <a:lvl1pPr marL="182880" indent="-182880">
              <a:spcAft>
                <a:spcPts val="900"/>
              </a:spcAft>
              <a:buFont typeface="Arial" panose="020B0604020202020204" pitchFamily="34" charset="0"/>
              <a:buChar char="•"/>
              <a:defRPr sz="1600"/>
            </a:lvl1pPr>
            <a:lvl2pPr marL="0" indent="0">
              <a:buNone/>
              <a:defRPr/>
            </a:lvl2pPr>
          </a:lstStyle>
          <a:p>
            <a:pPr lvl="0"/>
            <a:r>
              <a:rPr lang="en-US"/>
              <a:t>Click to edit Master text styles</a:t>
            </a:r>
          </a:p>
        </p:txBody>
      </p:sp>
      <p:sp>
        <p:nvSpPr>
          <p:cNvPr id="10" name="Text Placeholder 8">
            <a:extLst>
              <a:ext uri="{FF2B5EF4-FFF2-40B4-BE49-F238E27FC236}">
                <a16:creationId xmlns:a16="http://schemas.microsoft.com/office/drawing/2014/main" id="{ECA029A4-033F-F1AD-7DA5-37222638AB58}"/>
              </a:ext>
            </a:extLst>
          </p:cNvPr>
          <p:cNvSpPr>
            <a:spLocks noGrp="1"/>
          </p:cNvSpPr>
          <p:nvPr>
            <p:ph type="body" sz="quarter" idx="31"/>
          </p:nvPr>
        </p:nvSpPr>
        <p:spPr>
          <a:xfrm>
            <a:off x="8436864" y="553997"/>
            <a:ext cx="3145536" cy="5618202"/>
          </a:xfrm>
        </p:spPr>
        <p:txBody>
          <a:bodyPr>
            <a:noAutofit/>
          </a:bodyPr>
          <a:lstStyle>
            <a:lvl1pPr marL="182880" indent="-182880">
              <a:spcAft>
                <a:spcPts val="900"/>
              </a:spcAft>
              <a:buFont typeface="Arial" panose="020B0604020202020204" pitchFamily="34" charset="0"/>
              <a:buChar char="•"/>
              <a:defRPr sz="1600"/>
            </a:lvl1pPr>
            <a:lvl2pPr marL="0" indent="0">
              <a:buNone/>
              <a:defRPr/>
            </a:lvl2pPr>
          </a:lstStyle>
          <a:p>
            <a:pPr lvl="0"/>
            <a:r>
              <a:rPr lang="en-US"/>
              <a:t>Click to edit Master text styles</a:t>
            </a:r>
          </a:p>
        </p:txBody>
      </p:sp>
      <p:sp>
        <p:nvSpPr>
          <p:cNvPr id="8" name="Footer Placeholder 13">
            <a:extLst>
              <a:ext uri="{FF2B5EF4-FFF2-40B4-BE49-F238E27FC236}">
                <a16:creationId xmlns:a16="http://schemas.microsoft.com/office/drawing/2014/main" id="{E81C2C82-98A2-C7FB-445B-86F4D738263E}"/>
              </a:ext>
            </a:extLst>
          </p:cNvPr>
          <p:cNvSpPr>
            <a:spLocks noGrp="1"/>
          </p:cNvSpPr>
          <p:nvPr>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cxnSp>
        <p:nvCxnSpPr>
          <p:cNvPr id="12" name="Straight Connector 11">
            <a:extLst>
              <a:ext uri="{FF2B5EF4-FFF2-40B4-BE49-F238E27FC236}">
                <a16:creationId xmlns:a16="http://schemas.microsoft.com/office/drawing/2014/main" id="{A3DE3797-A47A-C183-05E6-01133D289C78}"/>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403BD6AD-90DB-79A5-E68E-D51E7258BC09}"/>
              </a:ext>
            </a:extLst>
          </p:cNvPr>
          <p:cNvSpPr>
            <a:spLocks noGrp="1"/>
          </p:cNvSpPr>
          <p:nvPr>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cxnSp>
        <p:nvCxnSpPr>
          <p:cNvPr id="14" name="Straight Connector 13">
            <a:extLst>
              <a:ext uri="{FF2B5EF4-FFF2-40B4-BE49-F238E27FC236}">
                <a16:creationId xmlns:a16="http://schemas.microsoft.com/office/drawing/2014/main" id="{45F1349B-9632-CF50-3847-363E87A5E570}"/>
              </a:ext>
            </a:extLst>
          </p:cNvPr>
          <p:cNvCxnSpPr>
            <a:cxnSpLocks/>
          </p:cNvCxnSpPr>
          <p:nvPr/>
        </p:nvCxnSpPr>
        <p:spPr>
          <a:xfrm>
            <a:off x="0" y="426998"/>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3">
            <a:extLst>
              <a:ext uri="{FF2B5EF4-FFF2-40B4-BE49-F238E27FC236}">
                <a16:creationId xmlns:a16="http://schemas.microsoft.com/office/drawing/2014/main" id="{0B9E1423-2A39-F742-D076-4FC2FF26337E}"/>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 name="Text Placeholder 3">
            <a:extLst>
              <a:ext uri="{FF2B5EF4-FFF2-40B4-BE49-F238E27FC236}">
                <a16:creationId xmlns:a16="http://schemas.microsoft.com/office/drawing/2014/main" id="{C9FF2EEA-635A-FFF6-FCE1-B3EF9F77088F}"/>
              </a:ext>
            </a:extLst>
          </p:cNvPr>
          <p:cNvSpPr>
            <a:spLocks noGrp="1"/>
          </p:cNvSpPr>
          <p:nvPr>
            <p:ph type="body" sz="quarter" idx="32"/>
          </p:nvPr>
        </p:nvSpPr>
        <p:spPr>
          <a:xfrm>
            <a:off x="609600" y="2862072"/>
            <a:ext cx="2843213" cy="2139696"/>
          </a:xfrm>
        </p:spPr>
        <p:txBody>
          <a:bodyPr/>
          <a:lstStyle>
            <a:lvl1pPr marL="0" indent="0">
              <a:buFont typeface="Arial" panose="020B0604020202020204" pitchFamily="34" charset="0"/>
              <a:buNone/>
              <a:defRPr sz="1600">
                <a:solidFill>
                  <a:schemeClr val="bg1"/>
                </a:solidFill>
              </a:defRPr>
            </a:lvl1pPr>
            <a:lvl2pPr marL="0" indent="0">
              <a:buNone/>
              <a:defRPr sz="1600">
                <a:solidFill>
                  <a:schemeClr val="bg1"/>
                </a:solidFill>
              </a:defRPr>
            </a:lvl2pPr>
            <a:lvl3pPr marL="182880" indent="0">
              <a:buNone/>
              <a:defRPr sz="1600">
                <a:solidFill>
                  <a:schemeClr val="bg1"/>
                </a:solidFill>
              </a:defRPr>
            </a:lvl3pPr>
            <a:lvl4pPr marL="365760" indent="0">
              <a:buNone/>
              <a:defRPr sz="1600">
                <a:solidFill>
                  <a:schemeClr val="bg1"/>
                </a:solidFill>
              </a:defRPr>
            </a:lvl4pPr>
            <a:lvl5pPr marL="548640" indent="0">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060033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F3F3F3"/>
        </a:solidFill>
        <a:effectLst/>
      </p:bgPr>
    </p:bg>
    <p:spTree>
      <p:nvGrpSpPr>
        <p:cNvPr id="1" name=""/>
        <p:cNvGrpSpPr/>
        <p:nvPr/>
      </p:nvGrpSpPr>
      <p:grpSpPr>
        <a:xfrm>
          <a:off x="0" y="0"/>
          <a:ext cx="0" cy="0"/>
          <a:chOff x="0" y="0"/>
          <a:chExt cx="0" cy="0"/>
        </a:xfrm>
      </p:grpSpPr>
      <p:sp>
        <p:nvSpPr>
          <p:cNvPr id="20" name="Picture Placeholder 44">
            <a:extLst>
              <a:ext uri="{FF2B5EF4-FFF2-40B4-BE49-F238E27FC236}">
                <a16:creationId xmlns:a16="http://schemas.microsoft.com/office/drawing/2014/main" id="{60FE08F7-7923-25E3-9EA0-3AA8E7EDEAB2}"/>
              </a:ext>
            </a:extLst>
          </p:cNvPr>
          <p:cNvSpPr>
            <a:spLocks noGrp="1"/>
          </p:cNvSpPr>
          <p:nvPr>
            <p:ph type="pic" sz="quarter" idx="37"/>
          </p:nvPr>
        </p:nvSpPr>
        <p:spPr>
          <a:xfrm>
            <a:off x="577701" y="1981968"/>
            <a:ext cx="521208" cy="521208"/>
          </a:xfrm>
          <a:noFill/>
        </p:spPr>
        <p:txBody>
          <a:bodyPr/>
          <a:lstStyle>
            <a:lvl1pPr>
              <a:defRPr sz="1100">
                <a:solidFill>
                  <a:schemeClr val="tx1"/>
                </a:solidFill>
              </a:defRPr>
            </a:lvl1pPr>
          </a:lstStyle>
          <a:p>
            <a:r>
              <a:rPr lang="en-US" dirty="0"/>
              <a:t>Click icon to add picture</a:t>
            </a:r>
          </a:p>
        </p:txBody>
      </p:sp>
      <p:sp>
        <p:nvSpPr>
          <p:cNvPr id="27" name="Picture Placeholder 44">
            <a:extLst>
              <a:ext uri="{FF2B5EF4-FFF2-40B4-BE49-F238E27FC236}">
                <a16:creationId xmlns:a16="http://schemas.microsoft.com/office/drawing/2014/main" id="{1063C6E9-E6BD-D1B4-9AC7-855E6CE8BA25}"/>
              </a:ext>
            </a:extLst>
          </p:cNvPr>
          <p:cNvSpPr>
            <a:spLocks noGrp="1"/>
          </p:cNvSpPr>
          <p:nvPr>
            <p:ph type="pic" sz="quarter" idx="45"/>
          </p:nvPr>
        </p:nvSpPr>
        <p:spPr>
          <a:xfrm>
            <a:off x="577701" y="3087755"/>
            <a:ext cx="521208" cy="521208"/>
          </a:xfrm>
          <a:noFill/>
        </p:spPr>
        <p:txBody>
          <a:bodyPr/>
          <a:lstStyle>
            <a:lvl1pPr>
              <a:defRPr sz="1100">
                <a:solidFill>
                  <a:schemeClr val="tx1"/>
                </a:solidFill>
              </a:defRPr>
            </a:lvl1pPr>
          </a:lstStyle>
          <a:p>
            <a:r>
              <a:rPr lang="en-US" dirty="0"/>
              <a:t>Click icon to add picture</a:t>
            </a:r>
          </a:p>
        </p:txBody>
      </p:sp>
      <p:sp>
        <p:nvSpPr>
          <p:cNvPr id="29" name="Picture Placeholder 44">
            <a:extLst>
              <a:ext uri="{FF2B5EF4-FFF2-40B4-BE49-F238E27FC236}">
                <a16:creationId xmlns:a16="http://schemas.microsoft.com/office/drawing/2014/main" id="{F499B38D-38B5-7F85-7F74-FBFA68AA8C87}"/>
              </a:ext>
            </a:extLst>
          </p:cNvPr>
          <p:cNvSpPr>
            <a:spLocks noGrp="1"/>
          </p:cNvSpPr>
          <p:nvPr>
            <p:ph type="pic" sz="quarter" idx="46"/>
          </p:nvPr>
        </p:nvSpPr>
        <p:spPr>
          <a:xfrm>
            <a:off x="577701" y="4214806"/>
            <a:ext cx="521208" cy="521208"/>
          </a:xfrm>
          <a:noFill/>
        </p:spPr>
        <p:txBody>
          <a:bodyPr/>
          <a:lstStyle>
            <a:lvl1pPr>
              <a:defRPr sz="1100">
                <a:solidFill>
                  <a:schemeClr val="tx1"/>
                </a:solidFill>
              </a:defRPr>
            </a:lvl1pPr>
          </a:lstStyle>
          <a:p>
            <a:r>
              <a:rPr lang="en-US" dirty="0"/>
              <a:t>Click icon to add picture</a:t>
            </a:r>
          </a:p>
        </p:txBody>
      </p:sp>
      <p:sp>
        <p:nvSpPr>
          <p:cNvPr id="30" name="Picture Placeholder 44">
            <a:extLst>
              <a:ext uri="{FF2B5EF4-FFF2-40B4-BE49-F238E27FC236}">
                <a16:creationId xmlns:a16="http://schemas.microsoft.com/office/drawing/2014/main" id="{7F790084-AD9F-370B-0483-ECA61BE5993C}"/>
              </a:ext>
            </a:extLst>
          </p:cNvPr>
          <p:cNvSpPr>
            <a:spLocks noGrp="1"/>
          </p:cNvSpPr>
          <p:nvPr>
            <p:ph type="pic" sz="quarter" idx="47"/>
          </p:nvPr>
        </p:nvSpPr>
        <p:spPr>
          <a:xfrm>
            <a:off x="577701" y="5320592"/>
            <a:ext cx="521208" cy="521208"/>
          </a:xfrm>
          <a:noFill/>
        </p:spPr>
        <p:txBody>
          <a:bodyPr/>
          <a:lstStyle>
            <a:lvl1pPr>
              <a:defRPr sz="1100">
                <a:solidFill>
                  <a:schemeClr val="tx1"/>
                </a:solidFill>
              </a:defRPr>
            </a:lvl1pPr>
          </a:lstStyle>
          <a:p>
            <a:r>
              <a:rPr lang="en-US" dirty="0"/>
              <a:t>Click icon to add picture</a:t>
            </a:r>
          </a:p>
        </p:txBody>
      </p:sp>
      <p:sp>
        <p:nvSpPr>
          <p:cNvPr id="31" name="Picture Placeholder 44">
            <a:extLst>
              <a:ext uri="{FF2B5EF4-FFF2-40B4-BE49-F238E27FC236}">
                <a16:creationId xmlns:a16="http://schemas.microsoft.com/office/drawing/2014/main" id="{AFCFF63D-D6FF-C3FF-3114-6B37AB29CA0F}"/>
              </a:ext>
            </a:extLst>
          </p:cNvPr>
          <p:cNvSpPr>
            <a:spLocks noGrp="1"/>
          </p:cNvSpPr>
          <p:nvPr>
            <p:ph type="pic" sz="quarter" idx="48"/>
          </p:nvPr>
        </p:nvSpPr>
        <p:spPr>
          <a:xfrm>
            <a:off x="6383078" y="1981968"/>
            <a:ext cx="521208" cy="521208"/>
          </a:xfrm>
          <a:noFill/>
        </p:spPr>
        <p:txBody>
          <a:bodyPr/>
          <a:lstStyle>
            <a:lvl1pPr>
              <a:defRPr sz="1100">
                <a:solidFill>
                  <a:schemeClr val="tx1"/>
                </a:solidFill>
              </a:defRPr>
            </a:lvl1pPr>
          </a:lstStyle>
          <a:p>
            <a:r>
              <a:rPr lang="en-US" dirty="0"/>
              <a:t>Click icon to add picture</a:t>
            </a:r>
          </a:p>
        </p:txBody>
      </p:sp>
      <p:sp>
        <p:nvSpPr>
          <p:cNvPr id="32" name="Picture Placeholder 44">
            <a:extLst>
              <a:ext uri="{FF2B5EF4-FFF2-40B4-BE49-F238E27FC236}">
                <a16:creationId xmlns:a16="http://schemas.microsoft.com/office/drawing/2014/main" id="{6467D23E-5594-CC52-9978-CD20B41707D0}"/>
              </a:ext>
            </a:extLst>
          </p:cNvPr>
          <p:cNvSpPr>
            <a:spLocks noGrp="1"/>
          </p:cNvSpPr>
          <p:nvPr>
            <p:ph type="pic" sz="quarter" idx="49"/>
          </p:nvPr>
        </p:nvSpPr>
        <p:spPr>
          <a:xfrm>
            <a:off x="6383078" y="3087755"/>
            <a:ext cx="521208" cy="521208"/>
          </a:xfrm>
          <a:noFill/>
        </p:spPr>
        <p:txBody>
          <a:bodyPr/>
          <a:lstStyle>
            <a:lvl1pPr>
              <a:defRPr sz="1100">
                <a:solidFill>
                  <a:schemeClr val="tx1"/>
                </a:solidFill>
              </a:defRPr>
            </a:lvl1pPr>
          </a:lstStyle>
          <a:p>
            <a:r>
              <a:rPr lang="en-US" dirty="0"/>
              <a:t>Click icon to add picture</a:t>
            </a:r>
          </a:p>
        </p:txBody>
      </p:sp>
      <p:sp>
        <p:nvSpPr>
          <p:cNvPr id="33" name="Picture Placeholder 44">
            <a:extLst>
              <a:ext uri="{FF2B5EF4-FFF2-40B4-BE49-F238E27FC236}">
                <a16:creationId xmlns:a16="http://schemas.microsoft.com/office/drawing/2014/main" id="{A9C41153-FFFB-B8A5-C129-F46C1642A7DD}"/>
              </a:ext>
            </a:extLst>
          </p:cNvPr>
          <p:cNvSpPr>
            <a:spLocks noGrp="1"/>
          </p:cNvSpPr>
          <p:nvPr>
            <p:ph type="pic" sz="quarter" idx="50"/>
          </p:nvPr>
        </p:nvSpPr>
        <p:spPr>
          <a:xfrm>
            <a:off x="6383078" y="4214806"/>
            <a:ext cx="521208" cy="521208"/>
          </a:xfrm>
          <a:noFill/>
        </p:spPr>
        <p:txBody>
          <a:bodyPr/>
          <a:lstStyle>
            <a:lvl1pPr>
              <a:defRPr sz="1100">
                <a:solidFill>
                  <a:schemeClr val="tx1"/>
                </a:solidFill>
              </a:defRPr>
            </a:lvl1pPr>
          </a:lstStyle>
          <a:p>
            <a:r>
              <a:rPr lang="en-US" dirty="0"/>
              <a:t>Click icon to add picture</a:t>
            </a:r>
          </a:p>
        </p:txBody>
      </p:sp>
      <p:sp>
        <p:nvSpPr>
          <p:cNvPr id="42" name="Picture Placeholder 44">
            <a:extLst>
              <a:ext uri="{FF2B5EF4-FFF2-40B4-BE49-F238E27FC236}">
                <a16:creationId xmlns:a16="http://schemas.microsoft.com/office/drawing/2014/main" id="{FCAABB65-6A21-2CBD-501C-D3817B751B01}"/>
              </a:ext>
            </a:extLst>
          </p:cNvPr>
          <p:cNvSpPr>
            <a:spLocks noGrp="1"/>
          </p:cNvSpPr>
          <p:nvPr>
            <p:ph type="pic" sz="quarter" idx="51"/>
          </p:nvPr>
        </p:nvSpPr>
        <p:spPr>
          <a:xfrm>
            <a:off x="6383078" y="5320592"/>
            <a:ext cx="521208" cy="521208"/>
          </a:xfrm>
          <a:noFill/>
        </p:spPr>
        <p:txBody>
          <a:bodyPr/>
          <a:lstStyle>
            <a:lvl1pPr>
              <a:defRPr sz="1100">
                <a:solidFill>
                  <a:schemeClr val="tx1"/>
                </a:solidFill>
              </a:defRPr>
            </a:lvl1pPr>
          </a:lstStyle>
          <a:p>
            <a:r>
              <a:rPr lang="en-US" dirty="0"/>
              <a:t>Click icon to add picture</a:t>
            </a:r>
          </a:p>
        </p:txBody>
      </p:sp>
      <p:sp>
        <p:nvSpPr>
          <p:cNvPr id="2" name="Title 1">
            <a:extLst>
              <a:ext uri="{FF2B5EF4-FFF2-40B4-BE49-F238E27FC236}">
                <a16:creationId xmlns:a16="http://schemas.microsoft.com/office/drawing/2014/main" id="{CF92DA3C-B400-7D96-D4FF-167A22E2768E}"/>
              </a:ext>
            </a:extLst>
          </p:cNvPr>
          <p:cNvSpPr>
            <a:spLocks noGrp="1"/>
          </p:cNvSpPr>
          <p:nvPr>
            <p:ph type="title"/>
          </p:nvPr>
        </p:nvSpPr>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2411A311-108E-39FF-FC73-01F17930D7F4}"/>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4444F176-916E-708A-80E0-D930659536D6}"/>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cxnSp>
        <p:nvCxnSpPr>
          <p:cNvPr id="7" name="Straight Connector 6">
            <a:extLst>
              <a:ext uri="{FF2B5EF4-FFF2-40B4-BE49-F238E27FC236}">
                <a16:creationId xmlns:a16="http://schemas.microsoft.com/office/drawing/2014/main" id="{2E3BE2C7-99A3-5297-A35C-91C6A5C57AD8}"/>
              </a:ext>
            </a:extLst>
          </p:cNvPr>
          <p:cNvCxnSpPr>
            <a:cxnSpLocks/>
          </p:cNvCxnSpPr>
          <p:nvPr/>
        </p:nvCxnSpPr>
        <p:spPr>
          <a:xfrm flipH="1">
            <a:off x="609600" y="279288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960142E-EDAD-DFFA-9C01-1F67C216F750}"/>
              </a:ext>
            </a:extLst>
          </p:cNvPr>
          <p:cNvCxnSpPr>
            <a:cxnSpLocks/>
          </p:cNvCxnSpPr>
          <p:nvPr/>
        </p:nvCxnSpPr>
        <p:spPr>
          <a:xfrm flipH="1">
            <a:off x="609600" y="391132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0906117-86F4-9D4F-B178-CC975C116517}"/>
              </a:ext>
            </a:extLst>
          </p:cNvPr>
          <p:cNvCxnSpPr>
            <a:cxnSpLocks/>
          </p:cNvCxnSpPr>
          <p:nvPr/>
        </p:nvCxnSpPr>
        <p:spPr>
          <a:xfrm flipH="1">
            <a:off x="609600" y="502976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9B99F69-F56C-11B7-D0C6-91FE1BC33E24}"/>
              </a:ext>
            </a:extLst>
          </p:cNvPr>
          <p:cNvCxnSpPr>
            <a:cxnSpLocks/>
          </p:cNvCxnSpPr>
          <p:nvPr/>
        </p:nvCxnSpPr>
        <p:spPr>
          <a:xfrm flipH="1">
            <a:off x="6400800" y="279288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CA7D41F-C82E-2D14-195D-E005F0D8A477}"/>
              </a:ext>
            </a:extLst>
          </p:cNvPr>
          <p:cNvCxnSpPr>
            <a:cxnSpLocks/>
          </p:cNvCxnSpPr>
          <p:nvPr/>
        </p:nvCxnSpPr>
        <p:spPr>
          <a:xfrm flipH="1">
            <a:off x="6400800" y="391132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D663618-2FF9-3477-3DD8-C7DD916ECF39}"/>
              </a:ext>
            </a:extLst>
          </p:cNvPr>
          <p:cNvCxnSpPr>
            <a:cxnSpLocks/>
          </p:cNvCxnSpPr>
          <p:nvPr/>
        </p:nvCxnSpPr>
        <p:spPr>
          <a:xfrm flipH="1">
            <a:off x="6400800" y="5029766"/>
            <a:ext cx="5181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E8837E46-BA2C-9DF4-36FC-0763BF0A22EA}"/>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4" name="Text Placeholder 33">
            <a:extLst>
              <a:ext uri="{FF2B5EF4-FFF2-40B4-BE49-F238E27FC236}">
                <a16:creationId xmlns:a16="http://schemas.microsoft.com/office/drawing/2014/main" id="{EF7D62BA-55BB-D3B6-13AD-F9D47B2F2136}"/>
              </a:ext>
            </a:extLst>
          </p:cNvPr>
          <p:cNvSpPr>
            <a:spLocks noGrp="1"/>
          </p:cNvSpPr>
          <p:nvPr>
            <p:ph type="body" sz="quarter" idx="29"/>
          </p:nvPr>
        </p:nvSpPr>
        <p:spPr>
          <a:xfrm>
            <a:off x="1383792" y="186433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5" name="Text Placeholder 33">
            <a:extLst>
              <a:ext uri="{FF2B5EF4-FFF2-40B4-BE49-F238E27FC236}">
                <a16:creationId xmlns:a16="http://schemas.microsoft.com/office/drawing/2014/main" id="{6C80C541-0250-9D84-391B-A21069927EBB}"/>
              </a:ext>
            </a:extLst>
          </p:cNvPr>
          <p:cNvSpPr>
            <a:spLocks noGrp="1"/>
          </p:cNvSpPr>
          <p:nvPr>
            <p:ph type="body" sz="quarter" idx="30"/>
          </p:nvPr>
        </p:nvSpPr>
        <p:spPr>
          <a:xfrm>
            <a:off x="1383792" y="298077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6" name="Text Placeholder 33">
            <a:extLst>
              <a:ext uri="{FF2B5EF4-FFF2-40B4-BE49-F238E27FC236}">
                <a16:creationId xmlns:a16="http://schemas.microsoft.com/office/drawing/2014/main" id="{8BF74CDA-28C4-4C08-66B3-14A69F5CF3C4}"/>
              </a:ext>
            </a:extLst>
          </p:cNvPr>
          <p:cNvSpPr>
            <a:spLocks noGrp="1"/>
          </p:cNvSpPr>
          <p:nvPr>
            <p:ph type="body" sz="quarter" idx="31"/>
          </p:nvPr>
        </p:nvSpPr>
        <p:spPr>
          <a:xfrm>
            <a:off x="1383792" y="409921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7" name="Text Placeholder 33">
            <a:extLst>
              <a:ext uri="{FF2B5EF4-FFF2-40B4-BE49-F238E27FC236}">
                <a16:creationId xmlns:a16="http://schemas.microsoft.com/office/drawing/2014/main" id="{7F33184B-9DE0-482E-55CA-0C2AE9FCEC46}"/>
              </a:ext>
            </a:extLst>
          </p:cNvPr>
          <p:cNvSpPr>
            <a:spLocks noGrp="1"/>
          </p:cNvSpPr>
          <p:nvPr>
            <p:ph type="body" sz="quarter" idx="32"/>
          </p:nvPr>
        </p:nvSpPr>
        <p:spPr>
          <a:xfrm>
            <a:off x="1383792" y="5217656"/>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8" name="Text Placeholder 33">
            <a:extLst>
              <a:ext uri="{FF2B5EF4-FFF2-40B4-BE49-F238E27FC236}">
                <a16:creationId xmlns:a16="http://schemas.microsoft.com/office/drawing/2014/main" id="{276468C7-4A14-A8A8-5CE7-4B21B6E420EB}"/>
              </a:ext>
            </a:extLst>
          </p:cNvPr>
          <p:cNvSpPr>
            <a:spLocks noGrp="1"/>
          </p:cNvSpPr>
          <p:nvPr>
            <p:ph type="body" sz="quarter" idx="33"/>
          </p:nvPr>
        </p:nvSpPr>
        <p:spPr>
          <a:xfrm>
            <a:off x="7174992" y="186433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39" name="Text Placeholder 33">
            <a:extLst>
              <a:ext uri="{FF2B5EF4-FFF2-40B4-BE49-F238E27FC236}">
                <a16:creationId xmlns:a16="http://schemas.microsoft.com/office/drawing/2014/main" id="{E6C2CA8D-6C05-00B3-E5CA-FD18970B8375}"/>
              </a:ext>
            </a:extLst>
          </p:cNvPr>
          <p:cNvSpPr>
            <a:spLocks noGrp="1"/>
          </p:cNvSpPr>
          <p:nvPr>
            <p:ph type="body" sz="quarter" idx="34"/>
          </p:nvPr>
        </p:nvSpPr>
        <p:spPr>
          <a:xfrm>
            <a:off x="7174992" y="298077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40" name="Text Placeholder 33">
            <a:extLst>
              <a:ext uri="{FF2B5EF4-FFF2-40B4-BE49-F238E27FC236}">
                <a16:creationId xmlns:a16="http://schemas.microsoft.com/office/drawing/2014/main" id="{1944A092-782F-7703-C417-89A3E3F29CDA}"/>
              </a:ext>
            </a:extLst>
          </p:cNvPr>
          <p:cNvSpPr>
            <a:spLocks noGrp="1"/>
          </p:cNvSpPr>
          <p:nvPr>
            <p:ph type="body" sz="quarter" idx="35"/>
          </p:nvPr>
        </p:nvSpPr>
        <p:spPr>
          <a:xfrm>
            <a:off x="7174992" y="4099214"/>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41" name="Text Placeholder 33">
            <a:extLst>
              <a:ext uri="{FF2B5EF4-FFF2-40B4-BE49-F238E27FC236}">
                <a16:creationId xmlns:a16="http://schemas.microsoft.com/office/drawing/2014/main" id="{CD79B6C8-CDF7-D553-A358-90821D8DD524}"/>
              </a:ext>
            </a:extLst>
          </p:cNvPr>
          <p:cNvSpPr>
            <a:spLocks noGrp="1"/>
          </p:cNvSpPr>
          <p:nvPr>
            <p:ph type="body" sz="quarter" idx="36"/>
          </p:nvPr>
        </p:nvSpPr>
        <p:spPr>
          <a:xfrm>
            <a:off x="7174992" y="5217656"/>
            <a:ext cx="4407408" cy="740664"/>
          </a:xfrm>
        </p:spPr>
        <p:txBody>
          <a:bodyPr anchor="ctr">
            <a:noAutofit/>
          </a:bodyPr>
          <a:lstStyle>
            <a:lvl1pPr>
              <a:defRPr sz="1600"/>
            </a:lvl1pPr>
            <a:lvl2pPr marL="0" indent="0">
              <a:buNone/>
              <a:defRPr/>
            </a:lvl2pPr>
          </a:lstStyle>
          <a:p>
            <a:pPr lvl="0"/>
            <a:r>
              <a:rPr lang="en-US"/>
              <a:t>Click to edit Master text styles</a:t>
            </a:r>
          </a:p>
        </p:txBody>
      </p:sp>
      <p:sp>
        <p:nvSpPr>
          <p:cNvPr id="5" name="Text Placeholder 7">
            <a:extLst>
              <a:ext uri="{FF2B5EF4-FFF2-40B4-BE49-F238E27FC236}">
                <a16:creationId xmlns:a16="http://schemas.microsoft.com/office/drawing/2014/main" id="{3A75833F-071D-1C82-482F-24D6ACC65FFD}"/>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6" name="Date Placeholder 4">
            <a:extLst>
              <a:ext uri="{FF2B5EF4-FFF2-40B4-BE49-F238E27FC236}">
                <a16:creationId xmlns:a16="http://schemas.microsoft.com/office/drawing/2014/main" id="{CAADD96C-253C-8A15-2B0F-E9E97387A912}"/>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E484552C-B576-4762-A571-B5CA76484FB7}" type="datetime4">
              <a:rPr lang="en-US" smtClean="0"/>
              <a:t>May 17, 2025</a:t>
            </a:fld>
            <a:endParaRPr lang="en-US" dirty="0"/>
          </a:p>
        </p:txBody>
      </p:sp>
    </p:spTree>
    <p:extLst>
      <p:ext uri="{BB962C8B-B14F-4D97-AF65-F5344CB8AC3E}">
        <p14:creationId xmlns:p14="http://schemas.microsoft.com/office/powerpoint/2010/main" val="37998924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Cover 1 - White Text">
    <p:bg>
      <p:bgPr>
        <a:solidFill>
          <a:schemeClr val="bg1">
            <a:lumMod val="75000"/>
          </a:schemeClr>
        </a:solidFill>
        <a:effectLst/>
      </p:bgPr>
    </p:bg>
    <p:spTree>
      <p:nvGrpSpPr>
        <p:cNvPr id="1" name=""/>
        <p:cNvGrpSpPr/>
        <p:nvPr/>
      </p:nvGrpSpPr>
      <p:grpSpPr>
        <a:xfrm>
          <a:off x="0" y="0"/>
          <a:ext cx="0" cy="0"/>
          <a:chOff x="0" y="0"/>
          <a:chExt cx="0" cy="0"/>
        </a:xfrm>
      </p:grpSpPr>
      <p:grpSp>
        <p:nvGrpSpPr>
          <p:cNvPr id="3" name="Graphic 7">
            <a:extLst>
              <a:ext uri="{FF2B5EF4-FFF2-40B4-BE49-F238E27FC236}">
                <a16:creationId xmlns:a16="http://schemas.microsoft.com/office/drawing/2014/main" id="{C5A0A539-4BAC-8953-4BBA-6D59087AD769}"/>
              </a:ext>
            </a:extLst>
          </p:cNvPr>
          <p:cNvGrpSpPr/>
          <p:nvPr userDrawn="1"/>
        </p:nvGrpSpPr>
        <p:grpSpPr>
          <a:xfrm>
            <a:off x="609600" y="557212"/>
            <a:ext cx="1729317" cy="437558"/>
            <a:chOff x="609600" y="557212"/>
            <a:chExt cx="2670098" cy="675598"/>
          </a:xfrm>
        </p:grpSpPr>
        <p:sp>
          <p:nvSpPr>
            <p:cNvPr id="4" name="Freeform: Shape 3">
              <a:extLst>
                <a:ext uri="{FF2B5EF4-FFF2-40B4-BE49-F238E27FC236}">
                  <a16:creationId xmlns:a16="http://schemas.microsoft.com/office/drawing/2014/main" id="{CABD304E-130C-E81B-7AD9-4DF1D35529F5}"/>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420A9100-D517-D472-CEFD-D0D3A5BCF545}"/>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A4E6CE2-336C-0213-9FF5-26E16386C047}"/>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dirty="0"/>
            </a:p>
          </p:txBody>
        </p:sp>
      </p:grpSp>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sp>
        <p:nvSpPr>
          <p:cNvPr id="18" name="Text Placeholder 16">
            <a:extLst>
              <a:ext uri="{FF2B5EF4-FFF2-40B4-BE49-F238E27FC236}">
                <a16:creationId xmlns:a16="http://schemas.microsoft.com/office/drawing/2014/main" id="{F2A9289B-23E0-657B-DF89-7F9B74F7660F}"/>
              </a:ext>
            </a:extLst>
          </p:cNvPr>
          <p:cNvSpPr>
            <a:spLocks noGrp="1"/>
          </p:cNvSpPr>
          <p:nvPr>
            <p:ph type="body" sz="quarter" idx="12" hasCustomPrompt="1"/>
          </p:nvPr>
        </p:nvSpPr>
        <p:spPr>
          <a:xfrm>
            <a:off x="612648" y="1527048"/>
            <a:ext cx="2468880" cy="215444"/>
          </a:xfrm>
        </p:spPr>
        <p:txBody>
          <a:bodyPr wrap="square">
            <a:noAutofit/>
          </a:bodyPr>
          <a:lstStyle>
            <a:lvl1pPr algn="l">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sp>
        <p:nvSpPr>
          <p:cNvPr id="7" name="Text Placeholder 33">
            <a:extLst>
              <a:ext uri="{FF2B5EF4-FFF2-40B4-BE49-F238E27FC236}">
                <a16:creationId xmlns:a16="http://schemas.microsoft.com/office/drawing/2014/main" id="{31A9C09B-A70B-7FAF-E144-352D9BBCCEE1}"/>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8" name="Text Placeholder 33">
            <a:extLst>
              <a:ext uri="{FF2B5EF4-FFF2-40B4-BE49-F238E27FC236}">
                <a16:creationId xmlns:a16="http://schemas.microsoft.com/office/drawing/2014/main" id="{BE4ABADF-2476-619E-BCA6-A34680813588}"/>
              </a:ext>
            </a:extLst>
          </p:cNvPr>
          <p:cNvSpPr>
            <a:spLocks noGrp="1"/>
          </p:cNvSpPr>
          <p:nvPr>
            <p:ph type="body" sz="quarter" idx="16"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1">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cxnSp>
        <p:nvCxnSpPr>
          <p:cNvPr id="9" name="Straight Connector 8">
            <a:extLst>
              <a:ext uri="{FF2B5EF4-FFF2-40B4-BE49-F238E27FC236}">
                <a16:creationId xmlns:a16="http://schemas.microsoft.com/office/drawing/2014/main" id="{6FCC54D6-1CD8-DA15-70A3-BCCDE81CDB97}"/>
              </a:ext>
            </a:extLst>
          </p:cNvPr>
          <p:cNvCxnSpPr>
            <a:cxnSpLocks/>
          </p:cNvCxnSpPr>
          <p:nvPr userDrawn="1"/>
        </p:nvCxnSpPr>
        <p:spPr>
          <a:xfrm>
            <a:off x="609600" y="4594548"/>
            <a:ext cx="537667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13182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s A">
    <p:bg>
      <p:bgPr>
        <a:solidFill>
          <a:srgbClr val="F3F3F3"/>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89B71025-0D3F-8A12-3873-64C2498801EE}"/>
              </a:ext>
            </a:extLst>
          </p:cNvPr>
          <p:cNvSpPr>
            <a:spLocks noGrp="1"/>
          </p:cNvSpPr>
          <p:nvPr>
            <p:ph type="pic" sz="quarter" idx="14"/>
          </p:nvPr>
        </p:nvSpPr>
        <p:spPr>
          <a:xfrm>
            <a:off x="609600" y="1790700"/>
            <a:ext cx="5358384" cy="1947672"/>
          </a:xfrm>
          <a:solidFill>
            <a:schemeClr val="bg1">
              <a:lumMod val="75000"/>
            </a:schemeClr>
          </a:solidFill>
        </p:spPr>
        <p:txBody>
          <a:bodyPr vert="horz" lIns="0" tIns="0" rIns="0" bIns="0" rtlCol="0" anchor="ctr">
            <a:noAutofit/>
          </a:bodyPr>
          <a:lstStyle>
            <a:lvl1pPr>
              <a:defRPr lang="en-US" sz="1000" b="0"/>
            </a:lvl1pPr>
          </a:lstStyle>
          <a:p>
            <a:pPr lvl="0" algn="ctr"/>
            <a:r>
              <a:rPr lang="en-US" dirty="0"/>
              <a:t>Click icon to add picture</a:t>
            </a:r>
          </a:p>
        </p:txBody>
      </p:sp>
      <p:sp>
        <p:nvSpPr>
          <p:cNvPr id="2" name="Title 1">
            <a:extLst>
              <a:ext uri="{FF2B5EF4-FFF2-40B4-BE49-F238E27FC236}">
                <a16:creationId xmlns:a16="http://schemas.microsoft.com/office/drawing/2014/main" id="{905AA237-899E-FCE0-0AD4-FB2A20187667}"/>
              </a:ext>
            </a:extLst>
          </p:cNvPr>
          <p:cNvSpPr>
            <a:spLocks noGrp="1"/>
          </p:cNvSpPr>
          <p:nvPr>
            <p:ph type="title"/>
          </p:nvPr>
        </p:nvSpPr>
        <p:spPr>
          <a:xfrm>
            <a:off x="609600" y="800754"/>
            <a:ext cx="1097280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EE022DAC-57D8-FDDF-7CC8-51F8E0B89881}"/>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A49F2FA9-D8E4-C2EC-CC64-A86F688904EB}"/>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10" name="Text Placeholder 3">
            <a:extLst>
              <a:ext uri="{FF2B5EF4-FFF2-40B4-BE49-F238E27FC236}">
                <a16:creationId xmlns:a16="http://schemas.microsoft.com/office/drawing/2014/main" id="{E9CF9EAE-D6F8-F104-36AA-53E56737A985}"/>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13" name="Picture Placeholder 11">
            <a:extLst>
              <a:ext uri="{FF2B5EF4-FFF2-40B4-BE49-F238E27FC236}">
                <a16:creationId xmlns:a16="http://schemas.microsoft.com/office/drawing/2014/main" id="{E6160F4D-A315-BF53-90E4-1CAC3F7B6DBE}"/>
              </a:ext>
            </a:extLst>
          </p:cNvPr>
          <p:cNvSpPr>
            <a:spLocks noGrp="1"/>
          </p:cNvSpPr>
          <p:nvPr>
            <p:ph type="pic" sz="quarter" idx="15"/>
          </p:nvPr>
        </p:nvSpPr>
        <p:spPr>
          <a:xfrm>
            <a:off x="609600" y="3957828"/>
            <a:ext cx="5358384" cy="1947672"/>
          </a:xfrm>
          <a:solidFill>
            <a:schemeClr val="bg1">
              <a:lumMod val="75000"/>
            </a:schemeClr>
          </a:solidFill>
        </p:spPr>
        <p:txBody>
          <a:bodyPr vert="horz" lIns="0" tIns="0" rIns="0" bIns="0" rtlCol="0" anchor="ctr">
            <a:noAutofit/>
          </a:bodyPr>
          <a:lstStyle>
            <a:lvl1pPr>
              <a:defRPr lang="en-US" sz="1000" b="0"/>
            </a:lvl1pPr>
          </a:lstStyle>
          <a:p>
            <a:pPr lvl="0" algn="ctr"/>
            <a:r>
              <a:rPr lang="en-US" dirty="0"/>
              <a:t>Click icon to add picture</a:t>
            </a:r>
          </a:p>
        </p:txBody>
      </p:sp>
      <p:sp>
        <p:nvSpPr>
          <p:cNvPr id="14" name="Picture Placeholder 11">
            <a:extLst>
              <a:ext uri="{FF2B5EF4-FFF2-40B4-BE49-F238E27FC236}">
                <a16:creationId xmlns:a16="http://schemas.microsoft.com/office/drawing/2014/main" id="{7027D155-A6B5-0280-283D-C141C39D8B09}"/>
              </a:ext>
            </a:extLst>
          </p:cNvPr>
          <p:cNvSpPr>
            <a:spLocks noGrp="1"/>
          </p:cNvSpPr>
          <p:nvPr>
            <p:ph type="pic" sz="quarter" idx="16"/>
          </p:nvPr>
        </p:nvSpPr>
        <p:spPr>
          <a:xfrm>
            <a:off x="6224016" y="1790700"/>
            <a:ext cx="5358384" cy="1947672"/>
          </a:xfrm>
          <a:solidFill>
            <a:schemeClr val="bg1">
              <a:lumMod val="75000"/>
            </a:schemeClr>
          </a:solidFill>
        </p:spPr>
        <p:txBody>
          <a:bodyPr vert="horz" lIns="0" tIns="0" rIns="0" bIns="0" rtlCol="0" anchor="ctr">
            <a:noAutofit/>
          </a:bodyPr>
          <a:lstStyle>
            <a:lvl1pPr>
              <a:defRPr lang="en-US" sz="1000" b="0"/>
            </a:lvl1pPr>
          </a:lstStyle>
          <a:p>
            <a:pPr lvl="0" algn="ctr"/>
            <a:r>
              <a:rPr lang="en-US" dirty="0"/>
              <a:t>Click icon to add picture</a:t>
            </a:r>
          </a:p>
        </p:txBody>
      </p:sp>
      <p:sp>
        <p:nvSpPr>
          <p:cNvPr id="15" name="Picture Placeholder 11">
            <a:extLst>
              <a:ext uri="{FF2B5EF4-FFF2-40B4-BE49-F238E27FC236}">
                <a16:creationId xmlns:a16="http://schemas.microsoft.com/office/drawing/2014/main" id="{30C351AF-CAC4-025C-75C9-8260C7290B50}"/>
              </a:ext>
            </a:extLst>
          </p:cNvPr>
          <p:cNvSpPr>
            <a:spLocks noGrp="1"/>
          </p:cNvSpPr>
          <p:nvPr>
            <p:ph type="pic" sz="quarter" idx="17"/>
          </p:nvPr>
        </p:nvSpPr>
        <p:spPr>
          <a:xfrm>
            <a:off x="6224016" y="3957828"/>
            <a:ext cx="5358384" cy="1947672"/>
          </a:xfrm>
          <a:solidFill>
            <a:schemeClr val="bg1">
              <a:lumMod val="75000"/>
            </a:schemeClr>
          </a:solidFill>
        </p:spPr>
        <p:txBody>
          <a:bodyPr vert="horz" lIns="0" tIns="0" rIns="0" bIns="0" rtlCol="0" anchor="ctr">
            <a:noAutofit/>
          </a:bodyPr>
          <a:lstStyle>
            <a:lvl1pPr>
              <a:defRPr lang="en-US" sz="1000" b="0"/>
            </a:lvl1pPr>
          </a:lstStyle>
          <a:p>
            <a:pPr lvl="0" algn="ctr"/>
            <a:r>
              <a:rPr lang="en-US" dirty="0"/>
              <a:t>Click icon to add picture</a:t>
            </a:r>
          </a:p>
        </p:txBody>
      </p:sp>
      <p:sp>
        <p:nvSpPr>
          <p:cNvPr id="6" name="Text Placeholder 7">
            <a:extLst>
              <a:ext uri="{FF2B5EF4-FFF2-40B4-BE49-F238E27FC236}">
                <a16:creationId xmlns:a16="http://schemas.microsoft.com/office/drawing/2014/main" id="{D7621DF6-C14F-C882-2FEB-46261B932E73}"/>
              </a:ext>
            </a:extLst>
          </p:cNvPr>
          <p:cNvSpPr>
            <a:spLocks noGrp="1"/>
          </p:cNvSpPr>
          <p:nvPr>
            <p:ph type="body" sz="quarter" idx="1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7" name="Date Placeholder 4">
            <a:extLst>
              <a:ext uri="{FF2B5EF4-FFF2-40B4-BE49-F238E27FC236}">
                <a16:creationId xmlns:a16="http://schemas.microsoft.com/office/drawing/2014/main" id="{12776338-D81B-C1EF-6EC3-146EA96FB5D5}"/>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802212C3-D054-41B7-B2BF-B791A8716781}" type="datetime4">
              <a:rPr lang="en-US" smtClean="0"/>
              <a:t>May 17, 2025</a:t>
            </a:fld>
            <a:endParaRPr lang="en-US" dirty="0"/>
          </a:p>
        </p:txBody>
      </p:sp>
    </p:spTree>
    <p:extLst>
      <p:ext uri="{BB962C8B-B14F-4D97-AF65-F5344CB8AC3E}">
        <p14:creationId xmlns:p14="http://schemas.microsoft.com/office/powerpoint/2010/main" val="30356706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Images C">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AA237-899E-FCE0-0AD4-FB2A20187667}"/>
              </a:ext>
            </a:extLst>
          </p:cNvPr>
          <p:cNvSpPr>
            <a:spLocks noGrp="1"/>
          </p:cNvSpPr>
          <p:nvPr>
            <p:ph type="title"/>
          </p:nvPr>
        </p:nvSpPr>
        <p:spPr>
          <a:xfrm>
            <a:off x="609600" y="800754"/>
            <a:ext cx="1097280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EE022DAC-57D8-FDDF-7CC8-51F8E0B89881}"/>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A49F2FA9-D8E4-C2EC-CC64-A86F688904EB}"/>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 name="Date Placeholder 4">
            <a:extLst>
              <a:ext uri="{FF2B5EF4-FFF2-40B4-BE49-F238E27FC236}">
                <a16:creationId xmlns:a16="http://schemas.microsoft.com/office/drawing/2014/main" id="{4ED9CC79-5E2B-2168-888E-FD51C76D6E28}"/>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F162C123-080F-4289-B439-5E14023B5C17}" type="datetime4">
              <a:rPr lang="en-US" smtClean="0"/>
              <a:t>May 17, 2025</a:t>
            </a:fld>
            <a:endParaRPr lang="en-US" dirty="0"/>
          </a:p>
        </p:txBody>
      </p:sp>
      <p:sp>
        <p:nvSpPr>
          <p:cNvPr id="6" name="Text Placeholder 3">
            <a:extLst>
              <a:ext uri="{FF2B5EF4-FFF2-40B4-BE49-F238E27FC236}">
                <a16:creationId xmlns:a16="http://schemas.microsoft.com/office/drawing/2014/main" id="{1B22928A-D77F-2EB2-5612-6796E599974E}"/>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7" name="Text Placeholder 7">
            <a:extLst>
              <a:ext uri="{FF2B5EF4-FFF2-40B4-BE49-F238E27FC236}">
                <a16:creationId xmlns:a16="http://schemas.microsoft.com/office/drawing/2014/main" id="{E9CEEA61-0AD2-17FF-8A06-DEDFDB3DD907}"/>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Picture Placeholder 11">
            <a:extLst>
              <a:ext uri="{FF2B5EF4-FFF2-40B4-BE49-F238E27FC236}">
                <a16:creationId xmlns:a16="http://schemas.microsoft.com/office/drawing/2014/main" id="{65FB64E0-35EB-079E-2330-CD61F7E3D5B2}"/>
              </a:ext>
            </a:extLst>
          </p:cNvPr>
          <p:cNvSpPr>
            <a:spLocks noGrp="1"/>
          </p:cNvSpPr>
          <p:nvPr>
            <p:ph type="pic" sz="quarter" idx="15" hasCustomPrompt="1"/>
          </p:nvPr>
        </p:nvSpPr>
        <p:spPr>
          <a:xfrm>
            <a:off x="609600" y="1790700"/>
            <a:ext cx="2551176" cy="4114800"/>
          </a:xfrm>
          <a:solidFill>
            <a:schemeClr val="bg1">
              <a:lumMod val="75000"/>
            </a:schemeClr>
          </a:solidFill>
        </p:spPr>
        <p:txBody>
          <a:bodyPr vert="horz" lIns="0" tIns="0" rIns="0" bIns="0" rtlCol="0" anchor="ctr">
            <a:noAutofit/>
          </a:bodyPr>
          <a:lstStyle>
            <a:lvl1pPr>
              <a:defRPr lang="en-US" sz="1000" b="0"/>
            </a:lvl1pPr>
          </a:lstStyle>
          <a:p>
            <a:pPr lvl="0" algn="ctr"/>
            <a:r>
              <a:rPr lang="en-US" dirty="0"/>
              <a:t>Insert Photo</a:t>
            </a:r>
          </a:p>
        </p:txBody>
      </p:sp>
      <p:sp>
        <p:nvSpPr>
          <p:cNvPr id="13" name="Picture Placeholder 11">
            <a:extLst>
              <a:ext uri="{FF2B5EF4-FFF2-40B4-BE49-F238E27FC236}">
                <a16:creationId xmlns:a16="http://schemas.microsoft.com/office/drawing/2014/main" id="{F1A9043B-9BCA-1269-E31C-B480E7D262D4}"/>
              </a:ext>
            </a:extLst>
          </p:cNvPr>
          <p:cNvSpPr>
            <a:spLocks noGrp="1"/>
          </p:cNvSpPr>
          <p:nvPr>
            <p:ph type="pic" sz="quarter" idx="16" hasCustomPrompt="1"/>
          </p:nvPr>
        </p:nvSpPr>
        <p:spPr>
          <a:xfrm>
            <a:off x="3416808" y="1790700"/>
            <a:ext cx="2551176" cy="4114800"/>
          </a:xfrm>
          <a:solidFill>
            <a:schemeClr val="bg1">
              <a:lumMod val="75000"/>
            </a:schemeClr>
          </a:solidFill>
        </p:spPr>
        <p:txBody>
          <a:bodyPr vert="horz" lIns="0" tIns="0" rIns="0" bIns="0" rtlCol="0" anchor="ctr">
            <a:noAutofit/>
          </a:bodyPr>
          <a:lstStyle>
            <a:lvl1pPr>
              <a:defRPr lang="en-US" sz="1000" b="0"/>
            </a:lvl1pPr>
          </a:lstStyle>
          <a:p>
            <a:pPr lvl="0" algn="ctr"/>
            <a:r>
              <a:rPr lang="en-US" dirty="0"/>
              <a:t>Insert Photo</a:t>
            </a:r>
          </a:p>
        </p:txBody>
      </p:sp>
      <p:sp>
        <p:nvSpPr>
          <p:cNvPr id="14" name="Picture Placeholder 11">
            <a:extLst>
              <a:ext uri="{FF2B5EF4-FFF2-40B4-BE49-F238E27FC236}">
                <a16:creationId xmlns:a16="http://schemas.microsoft.com/office/drawing/2014/main" id="{4804B2A6-2190-2E08-9358-3697DADCA99F}"/>
              </a:ext>
            </a:extLst>
          </p:cNvPr>
          <p:cNvSpPr>
            <a:spLocks noGrp="1"/>
          </p:cNvSpPr>
          <p:nvPr>
            <p:ph type="pic" sz="quarter" idx="17" hasCustomPrompt="1"/>
          </p:nvPr>
        </p:nvSpPr>
        <p:spPr>
          <a:xfrm>
            <a:off x="6224016" y="1790700"/>
            <a:ext cx="2551176" cy="4114800"/>
          </a:xfrm>
          <a:solidFill>
            <a:schemeClr val="bg1">
              <a:lumMod val="75000"/>
            </a:schemeClr>
          </a:solidFill>
        </p:spPr>
        <p:txBody>
          <a:bodyPr vert="horz" lIns="0" tIns="0" rIns="0" bIns="0" rtlCol="0" anchor="ctr">
            <a:noAutofit/>
          </a:bodyPr>
          <a:lstStyle>
            <a:lvl1pPr>
              <a:defRPr lang="en-US" sz="1000" b="0"/>
            </a:lvl1pPr>
          </a:lstStyle>
          <a:p>
            <a:pPr lvl="0" algn="ctr"/>
            <a:r>
              <a:rPr lang="en-US" dirty="0"/>
              <a:t>Insert Photo</a:t>
            </a:r>
          </a:p>
        </p:txBody>
      </p:sp>
      <p:sp>
        <p:nvSpPr>
          <p:cNvPr id="15" name="Picture Placeholder 11">
            <a:extLst>
              <a:ext uri="{FF2B5EF4-FFF2-40B4-BE49-F238E27FC236}">
                <a16:creationId xmlns:a16="http://schemas.microsoft.com/office/drawing/2014/main" id="{B7CB3A23-8096-7865-E664-844FE6AF8ED8}"/>
              </a:ext>
            </a:extLst>
          </p:cNvPr>
          <p:cNvSpPr>
            <a:spLocks noGrp="1"/>
          </p:cNvSpPr>
          <p:nvPr>
            <p:ph type="pic" sz="quarter" idx="18" hasCustomPrompt="1"/>
          </p:nvPr>
        </p:nvSpPr>
        <p:spPr>
          <a:xfrm>
            <a:off x="9031224" y="1790700"/>
            <a:ext cx="2551176" cy="4114800"/>
          </a:xfrm>
          <a:solidFill>
            <a:schemeClr val="bg1">
              <a:lumMod val="75000"/>
            </a:schemeClr>
          </a:solidFill>
        </p:spPr>
        <p:txBody>
          <a:bodyPr vert="horz" lIns="0" tIns="0" rIns="0" bIns="0" rtlCol="0" anchor="ctr">
            <a:noAutofit/>
          </a:bodyPr>
          <a:lstStyle>
            <a:lvl1pPr>
              <a:defRPr lang="en-US" sz="1000" b="0" dirty="0"/>
            </a:lvl1pPr>
          </a:lstStyle>
          <a:p>
            <a:pPr lvl="0" algn="ctr"/>
            <a:r>
              <a:rPr lang="en-US" dirty="0"/>
              <a:t>Insert Photo</a:t>
            </a:r>
          </a:p>
        </p:txBody>
      </p:sp>
    </p:spTree>
    <p:extLst>
      <p:ext uri="{BB962C8B-B14F-4D97-AF65-F5344CB8AC3E}">
        <p14:creationId xmlns:p14="http://schemas.microsoft.com/office/powerpoint/2010/main" val="14909857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s B">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AA237-899E-FCE0-0AD4-FB2A20187667}"/>
              </a:ext>
            </a:extLst>
          </p:cNvPr>
          <p:cNvSpPr>
            <a:spLocks noGrp="1"/>
          </p:cNvSpPr>
          <p:nvPr>
            <p:ph type="title"/>
          </p:nvPr>
        </p:nvSpPr>
        <p:spPr>
          <a:xfrm>
            <a:off x="609600" y="800754"/>
            <a:ext cx="10972800" cy="553998"/>
          </a:xfrm>
        </p:spPr>
        <p:txBody>
          <a:bodyPr>
            <a:noAutofit/>
          </a:bodyPr>
          <a:lstStyle/>
          <a:p>
            <a:r>
              <a:rPr lang="en-US"/>
              <a:t>Click to edit Master title style</a:t>
            </a:r>
          </a:p>
        </p:txBody>
      </p:sp>
      <p:sp>
        <p:nvSpPr>
          <p:cNvPr id="3" name="Footer Placeholder 2">
            <a:extLst>
              <a:ext uri="{FF2B5EF4-FFF2-40B4-BE49-F238E27FC236}">
                <a16:creationId xmlns:a16="http://schemas.microsoft.com/office/drawing/2014/main" id="{EE022DAC-57D8-FDDF-7CC8-51F8E0B89881}"/>
              </a:ext>
            </a:extLst>
          </p:cNvPr>
          <p:cNvSpPr>
            <a:spLocks noGrp="1"/>
          </p:cNvSpPr>
          <p:nvPr>
            <p:ph type="ftr" sz="quarter" idx="10"/>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4" name="Slide Number Placeholder 3">
            <a:extLst>
              <a:ext uri="{FF2B5EF4-FFF2-40B4-BE49-F238E27FC236}">
                <a16:creationId xmlns:a16="http://schemas.microsoft.com/office/drawing/2014/main" id="{A49F2FA9-D8E4-C2EC-CC64-A86F688904EB}"/>
              </a:ext>
            </a:extLst>
          </p:cNvPr>
          <p:cNvSpPr>
            <a:spLocks noGrp="1"/>
          </p:cNvSpPr>
          <p:nvPr>
            <p:ph type="sldNum" sz="quarter" idx="11"/>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 name="Date Placeholder 4">
            <a:extLst>
              <a:ext uri="{FF2B5EF4-FFF2-40B4-BE49-F238E27FC236}">
                <a16:creationId xmlns:a16="http://schemas.microsoft.com/office/drawing/2014/main" id="{4ED9CC79-5E2B-2168-888E-FD51C76D6E28}"/>
              </a:ext>
            </a:extLst>
          </p:cNvPr>
          <p:cNvSpPr>
            <a:spLocks noGrp="1"/>
          </p:cNvSpPr>
          <p:nvPr>
            <p:ph type="dt" sz="half" idx="12"/>
          </p:nvPr>
        </p:nvSpPr>
        <p:spPr>
          <a:xfrm>
            <a:off x="10236555" y="136647"/>
            <a:ext cx="1345845" cy="153888"/>
          </a:xfrm>
        </p:spPr>
        <p:txBody>
          <a:bodyPr>
            <a:noAutofit/>
          </a:bodyPr>
          <a:lstStyle>
            <a:lvl1pPr>
              <a:defRPr>
                <a:solidFill>
                  <a:schemeClr val="tx1">
                    <a:lumMod val="75000"/>
                    <a:lumOff val="25000"/>
                  </a:schemeClr>
                </a:solidFill>
              </a:defRPr>
            </a:lvl1pPr>
          </a:lstStyle>
          <a:p>
            <a:fld id="{F162C123-080F-4289-B439-5E14023B5C17}" type="datetime4">
              <a:rPr lang="en-US" smtClean="0"/>
              <a:t>May 17, 2025</a:t>
            </a:fld>
            <a:endParaRPr lang="en-US" dirty="0"/>
          </a:p>
        </p:txBody>
      </p:sp>
      <p:sp>
        <p:nvSpPr>
          <p:cNvPr id="6" name="Text Placeholder 3">
            <a:extLst>
              <a:ext uri="{FF2B5EF4-FFF2-40B4-BE49-F238E27FC236}">
                <a16:creationId xmlns:a16="http://schemas.microsoft.com/office/drawing/2014/main" id="{1B22928A-D77F-2EB2-5612-6796E599974E}"/>
              </a:ext>
            </a:extLst>
          </p:cNvPr>
          <p:cNvSpPr>
            <a:spLocks noGrp="1"/>
          </p:cNvSpPr>
          <p:nvPr>
            <p:ph type="body" sz="quarter" idx="13" hasCustomPrompt="1"/>
          </p:nvPr>
        </p:nvSpPr>
        <p:spPr>
          <a:xfrm>
            <a:off x="609600" y="137191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7" name="Text Placeholder 7">
            <a:extLst>
              <a:ext uri="{FF2B5EF4-FFF2-40B4-BE49-F238E27FC236}">
                <a16:creationId xmlns:a16="http://schemas.microsoft.com/office/drawing/2014/main" id="{E9CEEA61-0AD2-17FF-8A06-DEDFDB3DD907}"/>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3" name="Picture Placeholder 22">
            <a:extLst>
              <a:ext uri="{FF2B5EF4-FFF2-40B4-BE49-F238E27FC236}">
                <a16:creationId xmlns:a16="http://schemas.microsoft.com/office/drawing/2014/main" id="{F49AD499-1A3B-C5ED-169F-98A431580006}"/>
              </a:ext>
            </a:extLst>
          </p:cNvPr>
          <p:cNvSpPr>
            <a:spLocks noGrp="1"/>
          </p:cNvSpPr>
          <p:nvPr>
            <p:ph type="pic" sz="quarter" idx="15" hasCustomPrompt="1"/>
          </p:nvPr>
        </p:nvSpPr>
        <p:spPr>
          <a:xfrm>
            <a:off x="609600" y="1790700"/>
            <a:ext cx="2551176" cy="4114800"/>
          </a:xfrm>
          <a:custGeom>
            <a:avLst/>
            <a:gdLst>
              <a:gd name="connsiteX0" fmla="*/ 0 w 2551176"/>
              <a:gd name="connsiteY0" fmla="*/ 0 h 4114800"/>
              <a:gd name="connsiteX1" fmla="*/ 2551176 w 2551176"/>
              <a:gd name="connsiteY1" fmla="*/ 0 h 4114800"/>
              <a:gd name="connsiteX2" fmla="*/ 2551176 w 2551176"/>
              <a:gd name="connsiteY2" fmla="*/ 4114800 h 4114800"/>
              <a:gd name="connsiteX3" fmla="*/ 1553088 w 2551176"/>
              <a:gd name="connsiteY3" fmla="*/ 4114800 h 4114800"/>
              <a:gd name="connsiteX4" fmla="*/ 1548786 w 2551176"/>
              <a:gd name="connsiteY4" fmla="*/ 4072131 h 4114800"/>
              <a:gd name="connsiteX5" fmla="*/ 1275588 w 2551176"/>
              <a:gd name="connsiteY5" fmla="*/ 3849459 h 4114800"/>
              <a:gd name="connsiteX6" fmla="*/ 1002391 w 2551176"/>
              <a:gd name="connsiteY6" fmla="*/ 4072131 h 4114800"/>
              <a:gd name="connsiteX7" fmla="*/ 998088 w 2551176"/>
              <a:gd name="connsiteY7" fmla="*/ 4114800 h 4114800"/>
              <a:gd name="connsiteX8" fmla="*/ 0 w 2551176"/>
              <a:gd name="connsiteY8"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1176" h="4114800">
                <a:moveTo>
                  <a:pt x="0" y="0"/>
                </a:moveTo>
                <a:lnTo>
                  <a:pt x="2551176" y="0"/>
                </a:lnTo>
                <a:lnTo>
                  <a:pt x="2551176" y="4114800"/>
                </a:lnTo>
                <a:lnTo>
                  <a:pt x="1553088" y="4114800"/>
                </a:lnTo>
                <a:lnTo>
                  <a:pt x="1548786" y="4072131"/>
                </a:lnTo>
                <a:cubicBezTo>
                  <a:pt x="1522778" y="3945067"/>
                  <a:pt x="1410328" y="3849459"/>
                  <a:pt x="1275588" y="3849459"/>
                </a:cubicBezTo>
                <a:cubicBezTo>
                  <a:pt x="1140848" y="3849459"/>
                  <a:pt x="1028398" y="3945067"/>
                  <a:pt x="1002391" y="4072131"/>
                </a:cubicBezTo>
                <a:lnTo>
                  <a:pt x="998088" y="4114800"/>
                </a:lnTo>
                <a:lnTo>
                  <a:pt x="0" y="4114800"/>
                </a:lnTo>
                <a:close/>
              </a:path>
            </a:pathLst>
          </a:custGeom>
          <a:solidFill>
            <a:schemeClr val="bg1">
              <a:lumMod val="75000"/>
            </a:schemeClr>
          </a:solidFill>
        </p:spPr>
        <p:txBody>
          <a:bodyPr vert="horz" lIns="0" tIns="0" rIns="0" bIns="0" rtlCol="0" anchor="ctr">
            <a:noAutofit/>
          </a:bodyPr>
          <a:lstStyle>
            <a:lvl1pPr>
              <a:defRPr lang="en-US" sz="1000" b="0"/>
            </a:lvl1pPr>
          </a:lstStyle>
          <a:p>
            <a:pPr lvl="0" algn="ctr"/>
            <a:r>
              <a:rPr lang="en-US" dirty="0"/>
              <a:t>Insert Photo</a:t>
            </a:r>
          </a:p>
        </p:txBody>
      </p:sp>
      <p:sp>
        <p:nvSpPr>
          <p:cNvPr id="22" name="Picture Placeholder 21">
            <a:extLst>
              <a:ext uri="{FF2B5EF4-FFF2-40B4-BE49-F238E27FC236}">
                <a16:creationId xmlns:a16="http://schemas.microsoft.com/office/drawing/2014/main" id="{80F56ADE-836D-004F-ABBC-AC5EDA9CCF29}"/>
              </a:ext>
            </a:extLst>
          </p:cNvPr>
          <p:cNvSpPr>
            <a:spLocks noGrp="1"/>
          </p:cNvSpPr>
          <p:nvPr>
            <p:ph type="pic" sz="quarter" idx="16" hasCustomPrompt="1"/>
          </p:nvPr>
        </p:nvSpPr>
        <p:spPr>
          <a:xfrm>
            <a:off x="3416808" y="1790700"/>
            <a:ext cx="2551176" cy="4114800"/>
          </a:xfrm>
          <a:custGeom>
            <a:avLst/>
            <a:gdLst>
              <a:gd name="connsiteX0" fmla="*/ 0 w 2551176"/>
              <a:gd name="connsiteY0" fmla="*/ 0 h 4114800"/>
              <a:gd name="connsiteX1" fmla="*/ 2551176 w 2551176"/>
              <a:gd name="connsiteY1" fmla="*/ 0 h 4114800"/>
              <a:gd name="connsiteX2" fmla="*/ 2551176 w 2551176"/>
              <a:gd name="connsiteY2" fmla="*/ 4114800 h 4114800"/>
              <a:gd name="connsiteX3" fmla="*/ 1553088 w 2551176"/>
              <a:gd name="connsiteY3" fmla="*/ 4114800 h 4114800"/>
              <a:gd name="connsiteX4" fmla="*/ 1548786 w 2551176"/>
              <a:gd name="connsiteY4" fmla="*/ 4072131 h 4114800"/>
              <a:gd name="connsiteX5" fmla="*/ 1275589 w 2551176"/>
              <a:gd name="connsiteY5" fmla="*/ 3849459 h 4114800"/>
              <a:gd name="connsiteX6" fmla="*/ 1002391 w 2551176"/>
              <a:gd name="connsiteY6" fmla="*/ 4072131 h 4114800"/>
              <a:gd name="connsiteX7" fmla="*/ 998088 w 2551176"/>
              <a:gd name="connsiteY7" fmla="*/ 4114800 h 4114800"/>
              <a:gd name="connsiteX8" fmla="*/ 0 w 2551176"/>
              <a:gd name="connsiteY8"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1176" h="4114800">
                <a:moveTo>
                  <a:pt x="0" y="0"/>
                </a:moveTo>
                <a:lnTo>
                  <a:pt x="2551176" y="0"/>
                </a:lnTo>
                <a:lnTo>
                  <a:pt x="2551176" y="4114800"/>
                </a:lnTo>
                <a:lnTo>
                  <a:pt x="1553088" y="4114800"/>
                </a:lnTo>
                <a:lnTo>
                  <a:pt x="1548786" y="4072131"/>
                </a:lnTo>
                <a:cubicBezTo>
                  <a:pt x="1522779" y="3945067"/>
                  <a:pt x="1410329" y="3849459"/>
                  <a:pt x="1275589" y="3849459"/>
                </a:cubicBezTo>
                <a:cubicBezTo>
                  <a:pt x="1140848" y="3849459"/>
                  <a:pt x="1028398" y="3945067"/>
                  <a:pt x="1002391" y="4072131"/>
                </a:cubicBezTo>
                <a:lnTo>
                  <a:pt x="998088" y="4114800"/>
                </a:lnTo>
                <a:lnTo>
                  <a:pt x="0" y="4114800"/>
                </a:lnTo>
                <a:close/>
              </a:path>
            </a:pathLst>
          </a:custGeom>
          <a:solidFill>
            <a:schemeClr val="bg1">
              <a:lumMod val="75000"/>
            </a:schemeClr>
          </a:solidFill>
        </p:spPr>
        <p:txBody>
          <a:bodyPr vert="horz" lIns="0" tIns="0" rIns="0" bIns="0" rtlCol="0" anchor="ctr">
            <a:noAutofit/>
          </a:bodyPr>
          <a:lstStyle>
            <a:lvl1pPr>
              <a:defRPr lang="en-US" sz="1000" b="0"/>
            </a:lvl1pPr>
          </a:lstStyle>
          <a:p>
            <a:pPr lvl="0" algn="ctr"/>
            <a:r>
              <a:rPr lang="en-US" dirty="0"/>
              <a:t>Insert Photo</a:t>
            </a:r>
          </a:p>
        </p:txBody>
      </p:sp>
      <p:sp>
        <p:nvSpPr>
          <p:cNvPr id="21" name="Picture Placeholder 20">
            <a:extLst>
              <a:ext uri="{FF2B5EF4-FFF2-40B4-BE49-F238E27FC236}">
                <a16:creationId xmlns:a16="http://schemas.microsoft.com/office/drawing/2014/main" id="{71B1AAF4-337D-3CB6-B7EA-151F2D8CCC83}"/>
              </a:ext>
            </a:extLst>
          </p:cNvPr>
          <p:cNvSpPr>
            <a:spLocks noGrp="1"/>
          </p:cNvSpPr>
          <p:nvPr>
            <p:ph type="pic" sz="quarter" idx="17" hasCustomPrompt="1"/>
          </p:nvPr>
        </p:nvSpPr>
        <p:spPr>
          <a:xfrm>
            <a:off x="6224016" y="1790700"/>
            <a:ext cx="2551176" cy="4114800"/>
          </a:xfrm>
          <a:custGeom>
            <a:avLst/>
            <a:gdLst>
              <a:gd name="connsiteX0" fmla="*/ 0 w 2551176"/>
              <a:gd name="connsiteY0" fmla="*/ 0 h 4114800"/>
              <a:gd name="connsiteX1" fmla="*/ 2551176 w 2551176"/>
              <a:gd name="connsiteY1" fmla="*/ 0 h 4114800"/>
              <a:gd name="connsiteX2" fmla="*/ 2551176 w 2551176"/>
              <a:gd name="connsiteY2" fmla="*/ 4114800 h 4114800"/>
              <a:gd name="connsiteX3" fmla="*/ 1553088 w 2551176"/>
              <a:gd name="connsiteY3" fmla="*/ 4114800 h 4114800"/>
              <a:gd name="connsiteX4" fmla="*/ 1548786 w 2551176"/>
              <a:gd name="connsiteY4" fmla="*/ 4072131 h 4114800"/>
              <a:gd name="connsiteX5" fmla="*/ 1275589 w 2551176"/>
              <a:gd name="connsiteY5" fmla="*/ 3849459 h 4114800"/>
              <a:gd name="connsiteX6" fmla="*/ 1002391 w 2551176"/>
              <a:gd name="connsiteY6" fmla="*/ 4072131 h 4114800"/>
              <a:gd name="connsiteX7" fmla="*/ 998088 w 2551176"/>
              <a:gd name="connsiteY7" fmla="*/ 4114800 h 4114800"/>
              <a:gd name="connsiteX8" fmla="*/ 0 w 2551176"/>
              <a:gd name="connsiteY8"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1176" h="4114800">
                <a:moveTo>
                  <a:pt x="0" y="0"/>
                </a:moveTo>
                <a:lnTo>
                  <a:pt x="2551176" y="0"/>
                </a:lnTo>
                <a:lnTo>
                  <a:pt x="2551176" y="4114800"/>
                </a:lnTo>
                <a:lnTo>
                  <a:pt x="1553088" y="4114800"/>
                </a:lnTo>
                <a:lnTo>
                  <a:pt x="1548786" y="4072131"/>
                </a:lnTo>
                <a:cubicBezTo>
                  <a:pt x="1522779" y="3945067"/>
                  <a:pt x="1410329" y="3849459"/>
                  <a:pt x="1275589" y="3849459"/>
                </a:cubicBezTo>
                <a:cubicBezTo>
                  <a:pt x="1140848" y="3849459"/>
                  <a:pt x="1028398" y="3945067"/>
                  <a:pt x="1002391" y="4072131"/>
                </a:cubicBezTo>
                <a:lnTo>
                  <a:pt x="998088" y="4114800"/>
                </a:lnTo>
                <a:lnTo>
                  <a:pt x="0" y="4114800"/>
                </a:lnTo>
                <a:close/>
              </a:path>
            </a:pathLst>
          </a:custGeom>
          <a:solidFill>
            <a:schemeClr val="bg1">
              <a:lumMod val="75000"/>
            </a:schemeClr>
          </a:solidFill>
        </p:spPr>
        <p:txBody>
          <a:bodyPr vert="horz" lIns="0" tIns="0" rIns="0" bIns="0" rtlCol="0" anchor="ctr">
            <a:noAutofit/>
          </a:bodyPr>
          <a:lstStyle>
            <a:lvl1pPr>
              <a:defRPr lang="en-US" sz="1000" b="0"/>
            </a:lvl1pPr>
          </a:lstStyle>
          <a:p>
            <a:pPr lvl="0" algn="ctr"/>
            <a:r>
              <a:rPr lang="en-US" dirty="0"/>
              <a:t>Insert Photo</a:t>
            </a:r>
          </a:p>
        </p:txBody>
      </p:sp>
      <p:sp>
        <p:nvSpPr>
          <p:cNvPr id="17" name="Picture Placeholder 16">
            <a:extLst>
              <a:ext uri="{FF2B5EF4-FFF2-40B4-BE49-F238E27FC236}">
                <a16:creationId xmlns:a16="http://schemas.microsoft.com/office/drawing/2014/main" id="{10405F5B-EBBC-8883-AEC0-0BBF8A81CF81}"/>
              </a:ext>
            </a:extLst>
          </p:cNvPr>
          <p:cNvSpPr>
            <a:spLocks noGrp="1"/>
          </p:cNvSpPr>
          <p:nvPr>
            <p:ph type="pic" sz="quarter" idx="18" hasCustomPrompt="1"/>
          </p:nvPr>
        </p:nvSpPr>
        <p:spPr>
          <a:xfrm>
            <a:off x="9031224" y="1790700"/>
            <a:ext cx="2551176" cy="4114800"/>
          </a:xfrm>
          <a:custGeom>
            <a:avLst/>
            <a:gdLst>
              <a:gd name="connsiteX0" fmla="*/ 0 w 2551176"/>
              <a:gd name="connsiteY0" fmla="*/ 0 h 4114800"/>
              <a:gd name="connsiteX1" fmla="*/ 2551176 w 2551176"/>
              <a:gd name="connsiteY1" fmla="*/ 0 h 4114800"/>
              <a:gd name="connsiteX2" fmla="*/ 2551176 w 2551176"/>
              <a:gd name="connsiteY2" fmla="*/ 4114800 h 4114800"/>
              <a:gd name="connsiteX3" fmla="*/ 1554029 w 2551176"/>
              <a:gd name="connsiteY3" fmla="*/ 4114800 h 4114800"/>
              <a:gd name="connsiteX4" fmla="*/ 1548786 w 2551176"/>
              <a:gd name="connsiteY4" fmla="*/ 4062796 h 4114800"/>
              <a:gd name="connsiteX5" fmla="*/ 1275588 w 2551176"/>
              <a:gd name="connsiteY5" fmla="*/ 3840124 h 4114800"/>
              <a:gd name="connsiteX6" fmla="*/ 1002391 w 2551176"/>
              <a:gd name="connsiteY6" fmla="*/ 4062796 h 4114800"/>
              <a:gd name="connsiteX7" fmla="*/ 997147 w 2551176"/>
              <a:gd name="connsiteY7" fmla="*/ 4114800 h 4114800"/>
              <a:gd name="connsiteX8" fmla="*/ 0 w 2551176"/>
              <a:gd name="connsiteY8"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1176" h="4114800">
                <a:moveTo>
                  <a:pt x="0" y="0"/>
                </a:moveTo>
                <a:lnTo>
                  <a:pt x="2551176" y="0"/>
                </a:lnTo>
                <a:lnTo>
                  <a:pt x="2551176" y="4114800"/>
                </a:lnTo>
                <a:lnTo>
                  <a:pt x="1554029" y="4114800"/>
                </a:lnTo>
                <a:lnTo>
                  <a:pt x="1548786" y="4062796"/>
                </a:lnTo>
                <a:cubicBezTo>
                  <a:pt x="1522778" y="3935732"/>
                  <a:pt x="1410328" y="3840124"/>
                  <a:pt x="1275588" y="3840124"/>
                </a:cubicBezTo>
                <a:cubicBezTo>
                  <a:pt x="1140848" y="3840124"/>
                  <a:pt x="1028398" y="3935732"/>
                  <a:pt x="1002391" y="4062796"/>
                </a:cubicBezTo>
                <a:lnTo>
                  <a:pt x="997147" y="4114800"/>
                </a:lnTo>
                <a:lnTo>
                  <a:pt x="0" y="4114800"/>
                </a:lnTo>
                <a:close/>
              </a:path>
            </a:pathLst>
          </a:custGeom>
          <a:solidFill>
            <a:schemeClr val="bg1">
              <a:lumMod val="75000"/>
            </a:schemeClr>
          </a:solidFill>
        </p:spPr>
        <p:txBody>
          <a:bodyPr vert="horz" lIns="0" tIns="0" rIns="0" bIns="0" rtlCol="0" anchor="ctr">
            <a:noAutofit/>
          </a:bodyPr>
          <a:lstStyle>
            <a:lvl1pPr>
              <a:defRPr lang="en-US" sz="1000" b="0"/>
            </a:lvl1pPr>
          </a:lstStyle>
          <a:p>
            <a:pPr lvl="0" algn="ctr"/>
            <a:r>
              <a:rPr lang="en-US" dirty="0"/>
              <a:t>Insert Photo</a:t>
            </a:r>
          </a:p>
        </p:txBody>
      </p:sp>
      <p:grpSp>
        <p:nvGrpSpPr>
          <p:cNvPr id="24" name="Group 23">
            <a:extLst>
              <a:ext uri="{FF2B5EF4-FFF2-40B4-BE49-F238E27FC236}">
                <a16:creationId xmlns:a16="http://schemas.microsoft.com/office/drawing/2014/main" id="{66ED5DAD-CBDE-36C0-281E-B1CD97A3F16E}"/>
              </a:ext>
            </a:extLst>
          </p:cNvPr>
          <p:cNvGrpSpPr/>
          <p:nvPr userDrawn="1"/>
        </p:nvGrpSpPr>
        <p:grpSpPr>
          <a:xfrm rot="5400000" flipV="1">
            <a:off x="1606322" y="5649685"/>
            <a:ext cx="557732" cy="557728"/>
            <a:chOff x="10790180" y="2982466"/>
            <a:chExt cx="790041" cy="790037"/>
          </a:xfrm>
        </p:grpSpPr>
        <p:sp>
          <p:nvSpPr>
            <p:cNvPr id="25" name="Freeform: Shape 24">
              <a:extLst>
                <a:ext uri="{FF2B5EF4-FFF2-40B4-BE49-F238E27FC236}">
                  <a16:creationId xmlns:a16="http://schemas.microsoft.com/office/drawing/2014/main" id="{4A129AD9-1F5C-5825-AE7C-08A6D145B474}"/>
                </a:ext>
              </a:extLst>
            </p:cNvPr>
            <p:cNvSpPr/>
            <p:nvPr/>
          </p:nvSpPr>
          <p:spPr>
            <a:xfrm>
              <a:off x="10790180" y="2982466"/>
              <a:ext cx="395020" cy="790037"/>
            </a:xfrm>
            <a:custGeom>
              <a:avLst/>
              <a:gdLst>
                <a:gd name="connsiteX0" fmla="*/ 395021 w 395020"/>
                <a:gd name="connsiteY0" fmla="*/ 790037 h 790037"/>
                <a:gd name="connsiteX1" fmla="*/ 0 w 395020"/>
                <a:gd name="connsiteY1" fmla="*/ 395019 h 790037"/>
                <a:gd name="connsiteX2" fmla="*/ 395021 w 395020"/>
                <a:gd name="connsiteY2" fmla="*/ 0 h 790037"/>
                <a:gd name="connsiteX3" fmla="*/ 395021 w 395020"/>
                <a:gd name="connsiteY3" fmla="*/ 790037 h 790037"/>
              </a:gdLst>
              <a:ahLst/>
              <a:cxnLst>
                <a:cxn ang="0">
                  <a:pos x="connsiteX0" y="connsiteY0"/>
                </a:cxn>
                <a:cxn ang="0">
                  <a:pos x="connsiteX1" y="connsiteY1"/>
                </a:cxn>
                <a:cxn ang="0">
                  <a:pos x="connsiteX2" y="connsiteY2"/>
                </a:cxn>
                <a:cxn ang="0">
                  <a:pos x="connsiteX3" y="connsiteY3"/>
                </a:cxn>
              </a:cxnLst>
              <a:rect l="l" t="t" r="r" b="b"/>
              <a:pathLst>
                <a:path w="395020" h="790037">
                  <a:moveTo>
                    <a:pt x="395021" y="790037"/>
                  </a:moveTo>
                  <a:cubicBezTo>
                    <a:pt x="176890" y="790037"/>
                    <a:pt x="0" y="613148"/>
                    <a:pt x="0" y="395019"/>
                  </a:cubicBezTo>
                  <a:cubicBezTo>
                    <a:pt x="0" y="176889"/>
                    <a:pt x="176890" y="0"/>
                    <a:pt x="395021" y="0"/>
                  </a:cubicBezTo>
                  <a:lnTo>
                    <a:pt x="395021" y="790037"/>
                  </a:lnTo>
                  <a:close/>
                </a:path>
              </a:pathLst>
            </a:custGeom>
            <a:solidFill>
              <a:srgbClr val="93D500"/>
            </a:solidFill>
            <a:ln w="0"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0CA7AD01-D409-B276-D35E-89B5ED7B49DF}"/>
                </a:ext>
              </a:extLst>
            </p:cNvPr>
            <p:cNvSpPr/>
            <p:nvPr/>
          </p:nvSpPr>
          <p:spPr>
            <a:xfrm>
              <a:off x="11185201" y="2982466"/>
              <a:ext cx="395020" cy="790037"/>
            </a:xfrm>
            <a:custGeom>
              <a:avLst/>
              <a:gdLst>
                <a:gd name="connsiteX0" fmla="*/ 0 w 395020"/>
                <a:gd name="connsiteY0" fmla="*/ 0 h 790037"/>
                <a:gd name="connsiteX1" fmla="*/ 395021 w 395020"/>
                <a:gd name="connsiteY1" fmla="*/ 395019 h 790037"/>
                <a:gd name="connsiteX2" fmla="*/ 0 w 395020"/>
                <a:gd name="connsiteY2" fmla="*/ 790037 h 790037"/>
                <a:gd name="connsiteX3" fmla="*/ 0 w 395020"/>
                <a:gd name="connsiteY3" fmla="*/ 0 h 790037"/>
              </a:gdLst>
              <a:ahLst/>
              <a:cxnLst>
                <a:cxn ang="0">
                  <a:pos x="connsiteX0" y="connsiteY0"/>
                </a:cxn>
                <a:cxn ang="0">
                  <a:pos x="connsiteX1" y="connsiteY1"/>
                </a:cxn>
                <a:cxn ang="0">
                  <a:pos x="connsiteX2" y="connsiteY2"/>
                </a:cxn>
                <a:cxn ang="0">
                  <a:pos x="connsiteX3" y="connsiteY3"/>
                </a:cxn>
              </a:cxnLst>
              <a:rect l="l" t="t" r="r" b="b"/>
              <a:pathLst>
                <a:path w="395020" h="790037">
                  <a:moveTo>
                    <a:pt x="0" y="0"/>
                  </a:moveTo>
                  <a:cubicBezTo>
                    <a:pt x="218130" y="0"/>
                    <a:pt x="395021" y="176889"/>
                    <a:pt x="395021" y="395019"/>
                  </a:cubicBezTo>
                  <a:cubicBezTo>
                    <a:pt x="395021" y="613148"/>
                    <a:pt x="218130" y="790037"/>
                    <a:pt x="0" y="790037"/>
                  </a:cubicBezTo>
                  <a:lnTo>
                    <a:pt x="0" y="0"/>
                  </a:lnTo>
                  <a:close/>
                </a:path>
              </a:pathLst>
            </a:custGeom>
            <a:solidFill>
              <a:srgbClr val="000000"/>
            </a:solidFill>
            <a:ln w="0" cap="flat">
              <a:noFill/>
              <a:prstDash val="solid"/>
              <a:miter/>
            </a:ln>
          </p:spPr>
          <p:txBody>
            <a:bodyPr rtlCol="0" anchor="ctr"/>
            <a:lstStyle/>
            <a:p>
              <a:endParaRPr lang="en-US" dirty="0"/>
            </a:p>
          </p:txBody>
        </p:sp>
      </p:grpSp>
      <p:grpSp>
        <p:nvGrpSpPr>
          <p:cNvPr id="27" name="Group 26">
            <a:extLst>
              <a:ext uri="{FF2B5EF4-FFF2-40B4-BE49-F238E27FC236}">
                <a16:creationId xmlns:a16="http://schemas.microsoft.com/office/drawing/2014/main" id="{C23DF22E-6C5B-FFD9-EE32-21B34326B5FA}"/>
              </a:ext>
            </a:extLst>
          </p:cNvPr>
          <p:cNvGrpSpPr/>
          <p:nvPr userDrawn="1"/>
        </p:nvGrpSpPr>
        <p:grpSpPr>
          <a:xfrm rot="16200000">
            <a:off x="4413530" y="5649685"/>
            <a:ext cx="557732" cy="557728"/>
            <a:chOff x="10790180" y="2982466"/>
            <a:chExt cx="790041" cy="790037"/>
          </a:xfrm>
        </p:grpSpPr>
        <p:sp>
          <p:nvSpPr>
            <p:cNvPr id="28" name="Freeform: Shape 27">
              <a:extLst>
                <a:ext uri="{FF2B5EF4-FFF2-40B4-BE49-F238E27FC236}">
                  <a16:creationId xmlns:a16="http://schemas.microsoft.com/office/drawing/2014/main" id="{BA92C64A-C00A-0B29-EE39-10A9409ED893}"/>
                </a:ext>
              </a:extLst>
            </p:cNvPr>
            <p:cNvSpPr/>
            <p:nvPr/>
          </p:nvSpPr>
          <p:spPr>
            <a:xfrm>
              <a:off x="10790180" y="2982466"/>
              <a:ext cx="395020" cy="790037"/>
            </a:xfrm>
            <a:custGeom>
              <a:avLst/>
              <a:gdLst>
                <a:gd name="connsiteX0" fmla="*/ 395021 w 395020"/>
                <a:gd name="connsiteY0" fmla="*/ 790037 h 790037"/>
                <a:gd name="connsiteX1" fmla="*/ 0 w 395020"/>
                <a:gd name="connsiteY1" fmla="*/ 395019 h 790037"/>
                <a:gd name="connsiteX2" fmla="*/ 395021 w 395020"/>
                <a:gd name="connsiteY2" fmla="*/ 0 h 790037"/>
                <a:gd name="connsiteX3" fmla="*/ 395021 w 395020"/>
                <a:gd name="connsiteY3" fmla="*/ 790037 h 790037"/>
              </a:gdLst>
              <a:ahLst/>
              <a:cxnLst>
                <a:cxn ang="0">
                  <a:pos x="connsiteX0" y="connsiteY0"/>
                </a:cxn>
                <a:cxn ang="0">
                  <a:pos x="connsiteX1" y="connsiteY1"/>
                </a:cxn>
                <a:cxn ang="0">
                  <a:pos x="connsiteX2" y="connsiteY2"/>
                </a:cxn>
                <a:cxn ang="0">
                  <a:pos x="connsiteX3" y="connsiteY3"/>
                </a:cxn>
              </a:cxnLst>
              <a:rect l="l" t="t" r="r" b="b"/>
              <a:pathLst>
                <a:path w="395020" h="790037">
                  <a:moveTo>
                    <a:pt x="395021" y="790037"/>
                  </a:moveTo>
                  <a:cubicBezTo>
                    <a:pt x="176890" y="790037"/>
                    <a:pt x="0" y="613148"/>
                    <a:pt x="0" y="395019"/>
                  </a:cubicBezTo>
                  <a:cubicBezTo>
                    <a:pt x="0" y="176889"/>
                    <a:pt x="176890" y="0"/>
                    <a:pt x="395021" y="0"/>
                  </a:cubicBezTo>
                  <a:lnTo>
                    <a:pt x="395021" y="790037"/>
                  </a:lnTo>
                  <a:close/>
                </a:path>
              </a:pathLst>
            </a:custGeom>
            <a:solidFill>
              <a:srgbClr val="93D500"/>
            </a:solidFill>
            <a:ln w="0"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0719BC5A-CA11-DA4B-E611-BE90F16D668D}"/>
                </a:ext>
              </a:extLst>
            </p:cNvPr>
            <p:cNvSpPr/>
            <p:nvPr/>
          </p:nvSpPr>
          <p:spPr>
            <a:xfrm>
              <a:off x="11185201" y="2982466"/>
              <a:ext cx="395020" cy="790037"/>
            </a:xfrm>
            <a:custGeom>
              <a:avLst/>
              <a:gdLst>
                <a:gd name="connsiteX0" fmla="*/ 0 w 395020"/>
                <a:gd name="connsiteY0" fmla="*/ 0 h 790037"/>
                <a:gd name="connsiteX1" fmla="*/ 395021 w 395020"/>
                <a:gd name="connsiteY1" fmla="*/ 395019 h 790037"/>
                <a:gd name="connsiteX2" fmla="*/ 0 w 395020"/>
                <a:gd name="connsiteY2" fmla="*/ 790037 h 790037"/>
                <a:gd name="connsiteX3" fmla="*/ 0 w 395020"/>
                <a:gd name="connsiteY3" fmla="*/ 0 h 790037"/>
              </a:gdLst>
              <a:ahLst/>
              <a:cxnLst>
                <a:cxn ang="0">
                  <a:pos x="connsiteX0" y="connsiteY0"/>
                </a:cxn>
                <a:cxn ang="0">
                  <a:pos x="connsiteX1" y="connsiteY1"/>
                </a:cxn>
                <a:cxn ang="0">
                  <a:pos x="connsiteX2" y="connsiteY2"/>
                </a:cxn>
                <a:cxn ang="0">
                  <a:pos x="connsiteX3" y="connsiteY3"/>
                </a:cxn>
              </a:cxnLst>
              <a:rect l="l" t="t" r="r" b="b"/>
              <a:pathLst>
                <a:path w="395020" h="790037">
                  <a:moveTo>
                    <a:pt x="0" y="0"/>
                  </a:moveTo>
                  <a:cubicBezTo>
                    <a:pt x="218130" y="0"/>
                    <a:pt x="395021" y="176889"/>
                    <a:pt x="395021" y="395019"/>
                  </a:cubicBezTo>
                  <a:cubicBezTo>
                    <a:pt x="395021" y="613148"/>
                    <a:pt x="218130" y="790037"/>
                    <a:pt x="0" y="790037"/>
                  </a:cubicBezTo>
                  <a:lnTo>
                    <a:pt x="0" y="0"/>
                  </a:lnTo>
                  <a:close/>
                </a:path>
              </a:pathLst>
            </a:custGeom>
            <a:solidFill>
              <a:srgbClr val="000000"/>
            </a:solidFill>
            <a:ln w="0" cap="flat">
              <a:noFill/>
              <a:prstDash val="solid"/>
              <a:miter/>
            </a:ln>
          </p:spPr>
          <p:txBody>
            <a:bodyPr rtlCol="0" anchor="ctr"/>
            <a:lstStyle/>
            <a:p>
              <a:endParaRPr lang="en-US" dirty="0"/>
            </a:p>
          </p:txBody>
        </p:sp>
      </p:grpSp>
      <p:grpSp>
        <p:nvGrpSpPr>
          <p:cNvPr id="30" name="Group 29">
            <a:extLst>
              <a:ext uri="{FF2B5EF4-FFF2-40B4-BE49-F238E27FC236}">
                <a16:creationId xmlns:a16="http://schemas.microsoft.com/office/drawing/2014/main" id="{0C6FE544-F06F-572B-C721-23904D42AD80}"/>
              </a:ext>
            </a:extLst>
          </p:cNvPr>
          <p:cNvGrpSpPr/>
          <p:nvPr userDrawn="1"/>
        </p:nvGrpSpPr>
        <p:grpSpPr>
          <a:xfrm rot="5400000" flipV="1">
            <a:off x="7220738" y="5649685"/>
            <a:ext cx="557732" cy="557728"/>
            <a:chOff x="10790180" y="2982466"/>
            <a:chExt cx="790041" cy="790037"/>
          </a:xfrm>
        </p:grpSpPr>
        <p:sp>
          <p:nvSpPr>
            <p:cNvPr id="31" name="Freeform: Shape 30">
              <a:extLst>
                <a:ext uri="{FF2B5EF4-FFF2-40B4-BE49-F238E27FC236}">
                  <a16:creationId xmlns:a16="http://schemas.microsoft.com/office/drawing/2014/main" id="{F2598CAC-B1E6-5349-962B-36362C79F238}"/>
                </a:ext>
              </a:extLst>
            </p:cNvPr>
            <p:cNvSpPr/>
            <p:nvPr/>
          </p:nvSpPr>
          <p:spPr>
            <a:xfrm>
              <a:off x="10790180" y="2982466"/>
              <a:ext cx="395020" cy="790037"/>
            </a:xfrm>
            <a:custGeom>
              <a:avLst/>
              <a:gdLst>
                <a:gd name="connsiteX0" fmla="*/ 395021 w 395020"/>
                <a:gd name="connsiteY0" fmla="*/ 790037 h 790037"/>
                <a:gd name="connsiteX1" fmla="*/ 0 w 395020"/>
                <a:gd name="connsiteY1" fmla="*/ 395019 h 790037"/>
                <a:gd name="connsiteX2" fmla="*/ 395021 w 395020"/>
                <a:gd name="connsiteY2" fmla="*/ 0 h 790037"/>
                <a:gd name="connsiteX3" fmla="*/ 395021 w 395020"/>
                <a:gd name="connsiteY3" fmla="*/ 790037 h 790037"/>
              </a:gdLst>
              <a:ahLst/>
              <a:cxnLst>
                <a:cxn ang="0">
                  <a:pos x="connsiteX0" y="connsiteY0"/>
                </a:cxn>
                <a:cxn ang="0">
                  <a:pos x="connsiteX1" y="connsiteY1"/>
                </a:cxn>
                <a:cxn ang="0">
                  <a:pos x="connsiteX2" y="connsiteY2"/>
                </a:cxn>
                <a:cxn ang="0">
                  <a:pos x="connsiteX3" y="connsiteY3"/>
                </a:cxn>
              </a:cxnLst>
              <a:rect l="l" t="t" r="r" b="b"/>
              <a:pathLst>
                <a:path w="395020" h="790037">
                  <a:moveTo>
                    <a:pt x="395021" y="790037"/>
                  </a:moveTo>
                  <a:cubicBezTo>
                    <a:pt x="176890" y="790037"/>
                    <a:pt x="0" y="613148"/>
                    <a:pt x="0" y="395019"/>
                  </a:cubicBezTo>
                  <a:cubicBezTo>
                    <a:pt x="0" y="176889"/>
                    <a:pt x="176890" y="0"/>
                    <a:pt x="395021" y="0"/>
                  </a:cubicBezTo>
                  <a:lnTo>
                    <a:pt x="395021" y="790037"/>
                  </a:lnTo>
                  <a:close/>
                </a:path>
              </a:pathLst>
            </a:custGeom>
            <a:solidFill>
              <a:srgbClr val="93D500"/>
            </a:solidFill>
            <a:ln w="0"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B2245A5-FA98-894F-85CD-65806E90F958}"/>
                </a:ext>
              </a:extLst>
            </p:cNvPr>
            <p:cNvSpPr/>
            <p:nvPr/>
          </p:nvSpPr>
          <p:spPr>
            <a:xfrm>
              <a:off x="11185201" y="2982466"/>
              <a:ext cx="395020" cy="790037"/>
            </a:xfrm>
            <a:custGeom>
              <a:avLst/>
              <a:gdLst>
                <a:gd name="connsiteX0" fmla="*/ 0 w 395020"/>
                <a:gd name="connsiteY0" fmla="*/ 0 h 790037"/>
                <a:gd name="connsiteX1" fmla="*/ 395021 w 395020"/>
                <a:gd name="connsiteY1" fmla="*/ 395019 h 790037"/>
                <a:gd name="connsiteX2" fmla="*/ 0 w 395020"/>
                <a:gd name="connsiteY2" fmla="*/ 790037 h 790037"/>
                <a:gd name="connsiteX3" fmla="*/ 0 w 395020"/>
                <a:gd name="connsiteY3" fmla="*/ 0 h 790037"/>
              </a:gdLst>
              <a:ahLst/>
              <a:cxnLst>
                <a:cxn ang="0">
                  <a:pos x="connsiteX0" y="connsiteY0"/>
                </a:cxn>
                <a:cxn ang="0">
                  <a:pos x="connsiteX1" y="connsiteY1"/>
                </a:cxn>
                <a:cxn ang="0">
                  <a:pos x="connsiteX2" y="connsiteY2"/>
                </a:cxn>
                <a:cxn ang="0">
                  <a:pos x="connsiteX3" y="connsiteY3"/>
                </a:cxn>
              </a:cxnLst>
              <a:rect l="l" t="t" r="r" b="b"/>
              <a:pathLst>
                <a:path w="395020" h="790037">
                  <a:moveTo>
                    <a:pt x="0" y="0"/>
                  </a:moveTo>
                  <a:cubicBezTo>
                    <a:pt x="218130" y="0"/>
                    <a:pt x="395021" y="176889"/>
                    <a:pt x="395021" y="395019"/>
                  </a:cubicBezTo>
                  <a:cubicBezTo>
                    <a:pt x="395021" y="613148"/>
                    <a:pt x="218130" y="790037"/>
                    <a:pt x="0" y="790037"/>
                  </a:cubicBezTo>
                  <a:lnTo>
                    <a:pt x="0" y="0"/>
                  </a:lnTo>
                  <a:close/>
                </a:path>
              </a:pathLst>
            </a:custGeom>
            <a:solidFill>
              <a:srgbClr val="000000"/>
            </a:solidFill>
            <a:ln w="0" cap="flat">
              <a:noFill/>
              <a:prstDash val="solid"/>
              <a:miter/>
            </a:ln>
          </p:spPr>
          <p:txBody>
            <a:bodyPr rtlCol="0" anchor="ctr"/>
            <a:lstStyle/>
            <a:p>
              <a:endParaRPr lang="en-US" dirty="0"/>
            </a:p>
          </p:txBody>
        </p:sp>
      </p:grpSp>
      <p:grpSp>
        <p:nvGrpSpPr>
          <p:cNvPr id="33" name="Group 32">
            <a:extLst>
              <a:ext uri="{FF2B5EF4-FFF2-40B4-BE49-F238E27FC236}">
                <a16:creationId xmlns:a16="http://schemas.microsoft.com/office/drawing/2014/main" id="{8D7CC577-2F17-3EF7-7FD8-6F8A2A5F4651}"/>
              </a:ext>
            </a:extLst>
          </p:cNvPr>
          <p:cNvGrpSpPr/>
          <p:nvPr userDrawn="1"/>
        </p:nvGrpSpPr>
        <p:grpSpPr>
          <a:xfrm rot="16200000">
            <a:off x="10027946" y="5649685"/>
            <a:ext cx="557732" cy="557728"/>
            <a:chOff x="10790180" y="2982466"/>
            <a:chExt cx="790041" cy="790037"/>
          </a:xfrm>
        </p:grpSpPr>
        <p:sp>
          <p:nvSpPr>
            <p:cNvPr id="34" name="Freeform: Shape 33">
              <a:extLst>
                <a:ext uri="{FF2B5EF4-FFF2-40B4-BE49-F238E27FC236}">
                  <a16:creationId xmlns:a16="http://schemas.microsoft.com/office/drawing/2014/main" id="{4A6F6D48-0D01-E7AB-A30C-F1FFC17B1734}"/>
                </a:ext>
              </a:extLst>
            </p:cNvPr>
            <p:cNvSpPr/>
            <p:nvPr/>
          </p:nvSpPr>
          <p:spPr>
            <a:xfrm>
              <a:off x="10790180" y="2982466"/>
              <a:ext cx="395020" cy="790037"/>
            </a:xfrm>
            <a:custGeom>
              <a:avLst/>
              <a:gdLst>
                <a:gd name="connsiteX0" fmla="*/ 395021 w 395020"/>
                <a:gd name="connsiteY0" fmla="*/ 790037 h 790037"/>
                <a:gd name="connsiteX1" fmla="*/ 0 w 395020"/>
                <a:gd name="connsiteY1" fmla="*/ 395019 h 790037"/>
                <a:gd name="connsiteX2" fmla="*/ 395021 w 395020"/>
                <a:gd name="connsiteY2" fmla="*/ 0 h 790037"/>
                <a:gd name="connsiteX3" fmla="*/ 395021 w 395020"/>
                <a:gd name="connsiteY3" fmla="*/ 790037 h 790037"/>
              </a:gdLst>
              <a:ahLst/>
              <a:cxnLst>
                <a:cxn ang="0">
                  <a:pos x="connsiteX0" y="connsiteY0"/>
                </a:cxn>
                <a:cxn ang="0">
                  <a:pos x="connsiteX1" y="connsiteY1"/>
                </a:cxn>
                <a:cxn ang="0">
                  <a:pos x="connsiteX2" y="connsiteY2"/>
                </a:cxn>
                <a:cxn ang="0">
                  <a:pos x="connsiteX3" y="connsiteY3"/>
                </a:cxn>
              </a:cxnLst>
              <a:rect l="l" t="t" r="r" b="b"/>
              <a:pathLst>
                <a:path w="395020" h="790037">
                  <a:moveTo>
                    <a:pt x="395021" y="790037"/>
                  </a:moveTo>
                  <a:cubicBezTo>
                    <a:pt x="176890" y="790037"/>
                    <a:pt x="0" y="613148"/>
                    <a:pt x="0" y="395019"/>
                  </a:cubicBezTo>
                  <a:cubicBezTo>
                    <a:pt x="0" y="176889"/>
                    <a:pt x="176890" y="0"/>
                    <a:pt x="395021" y="0"/>
                  </a:cubicBezTo>
                  <a:lnTo>
                    <a:pt x="395021" y="790037"/>
                  </a:lnTo>
                  <a:close/>
                </a:path>
              </a:pathLst>
            </a:custGeom>
            <a:solidFill>
              <a:srgbClr val="93D500"/>
            </a:solidFill>
            <a:ln w="0"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5985A824-D9EB-90EA-540E-42D8B6A5E602}"/>
                </a:ext>
              </a:extLst>
            </p:cNvPr>
            <p:cNvSpPr/>
            <p:nvPr/>
          </p:nvSpPr>
          <p:spPr>
            <a:xfrm>
              <a:off x="11185201" y="2982466"/>
              <a:ext cx="395020" cy="790037"/>
            </a:xfrm>
            <a:custGeom>
              <a:avLst/>
              <a:gdLst>
                <a:gd name="connsiteX0" fmla="*/ 0 w 395020"/>
                <a:gd name="connsiteY0" fmla="*/ 0 h 790037"/>
                <a:gd name="connsiteX1" fmla="*/ 395021 w 395020"/>
                <a:gd name="connsiteY1" fmla="*/ 395019 h 790037"/>
                <a:gd name="connsiteX2" fmla="*/ 0 w 395020"/>
                <a:gd name="connsiteY2" fmla="*/ 790037 h 790037"/>
                <a:gd name="connsiteX3" fmla="*/ 0 w 395020"/>
                <a:gd name="connsiteY3" fmla="*/ 0 h 790037"/>
              </a:gdLst>
              <a:ahLst/>
              <a:cxnLst>
                <a:cxn ang="0">
                  <a:pos x="connsiteX0" y="connsiteY0"/>
                </a:cxn>
                <a:cxn ang="0">
                  <a:pos x="connsiteX1" y="connsiteY1"/>
                </a:cxn>
                <a:cxn ang="0">
                  <a:pos x="connsiteX2" y="connsiteY2"/>
                </a:cxn>
                <a:cxn ang="0">
                  <a:pos x="connsiteX3" y="connsiteY3"/>
                </a:cxn>
              </a:cxnLst>
              <a:rect l="l" t="t" r="r" b="b"/>
              <a:pathLst>
                <a:path w="395020" h="790037">
                  <a:moveTo>
                    <a:pt x="0" y="0"/>
                  </a:moveTo>
                  <a:cubicBezTo>
                    <a:pt x="218130" y="0"/>
                    <a:pt x="395021" y="176889"/>
                    <a:pt x="395021" y="395019"/>
                  </a:cubicBezTo>
                  <a:cubicBezTo>
                    <a:pt x="395021" y="613148"/>
                    <a:pt x="218130" y="790037"/>
                    <a:pt x="0" y="790037"/>
                  </a:cubicBezTo>
                  <a:lnTo>
                    <a:pt x="0" y="0"/>
                  </a:lnTo>
                  <a:close/>
                </a:path>
              </a:pathLst>
            </a:custGeom>
            <a:solidFill>
              <a:srgbClr val="000000"/>
            </a:solidFill>
            <a:ln w="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6012443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tatistics">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p>
            <a:r>
              <a:rPr lang="en-US"/>
              <a:t>Click to edit Master title style</a:t>
            </a:r>
          </a:p>
        </p:txBody>
      </p:sp>
      <p:sp>
        <p:nvSpPr>
          <p:cNvPr id="33" name="Text Placeholder 33">
            <a:extLst>
              <a:ext uri="{FF2B5EF4-FFF2-40B4-BE49-F238E27FC236}">
                <a16:creationId xmlns:a16="http://schemas.microsoft.com/office/drawing/2014/main" id="{7E25B57A-249F-302B-B85D-FA5ED6A06A1A}"/>
              </a:ext>
            </a:extLst>
          </p:cNvPr>
          <p:cNvSpPr>
            <a:spLocks noGrp="1"/>
          </p:cNvSpPr>
          <p:nvPr>
            <p:ph type="body" sz="quarter" idx="30" hasCustomPrompt="1"/>
          </p:nvPr>
        </p:nvSpPr>
        <p:spPr>
          <a:xfrm>
            <a:off x="609599" y="1981432"/>
            <a:ext cx="1995949" cy="1015663"/>
          </a:xfrm>
        </p:spPr>
        <p:txBody>
          <a:bodyPr lIns="0" rIns="0" anchor="ctr">
            <a:noAutofit/>
          </a:bodyPr>
          <a:lstStyle>
            <a:lvl1pPr>
              <a:defRPr lang="en-US" sz="6000" dirty="0">
                <a:latin typeface="+mj-lt"/>
              </a:defRPr>
            </a:lvl1pPr>
          </a:lstStyle>
          <a:p>
            <a:pPr lvl="0"/>
            <a:r>
              <a:rPr lang="en-US"/>
              <a:t>00M</a:t>
            </a:r>
          </a:p>
        </p:txBody>
      </p:sp>
      <p:sp>
        <p:nvSpPr>
          <p:cNvPr id="34" name="Text Placeholder 33">
            <a:extLst>
              <a:ext uri="{FF2B5EF4-FFF2-40B4-BE49-F238E27FC236}">
                <a16:creationId xmlns:a16="http://schemas.microsoft.com/office/drawing/2014/main" id="{81332B9F-1F08-F247-B712-9C3A3624ECEC}"/>
              </a:ext>
            </a:extLst>
          </p:cNvPr>
          <p:cNvSpPr>
            <a:spLocks noGrp="1"/>
          </p:cNvSpPr>
          <p:nvPr>
            <p:ph type="body" sz="quarter" idx="31" hasCustomPrompt="1"/>
          </p:nvPr>
        </p:nvSpPr>
        <p:spPr>
          <a:xfrm>
            <a:off x="609599" y="3435635"/>
            <a:ext cx="1995949" cy="1015663"/>
          </a:xfrm>
        </p:spPr>
        <p:txBody>
          <a:bodyPr lIns="0" rIns="0" anchor="ctr">
            <a:noAutofit/>
          </a:bodyPr>
          <a:lstStyle>
            <a:lvl1pPr>
              <a:defRPr lang="en-US" sz="6000" dirty="0">
                <a:latin typeface="+mj-lt"/>
              </a:defRPr>
            </a:lvl1pPr>
          </a:lstStyle>
          <a:p>
            <a:pPr lvl="0"/>
            <a:r>
              <a:rPr lang="en-US"/>
              <a:t>00M</a:t>
            </a:r>
          </a:p>
        </p:txBody>
      </p:sp>
      <p:sp>
        <p:nvSpPr>
          <p:cNvPr id="35" name="Text Placeholder 33">
            <a:extLst>
              <a:ext uri="{FF2B5EF4-FFF2-40B4-BE49-F238E27FC236}">
                <a16:creationId xmlns:a16="http://schemas.microsoft.com/office/drawing/2014/main" id="{7393CE72-B83F-00E3-F8CD-862380C62E5C}"/>
              </a:ext>
            </a:extLst>
          </p:cNvPr>
          <p:cNvSpPr>
            <a:spLocks noGrp="1"/>
          </p:cNvSpPr>
          <p:nvPr>
            <p:ph type="body" sz="quarter" idx="32" hasCustomPrompt="1"/>
          </p:nvPr>
        </p:nvSpPr>
        <p:spPr>
          <a:xfrm>
            <a:off x="609599" y="4889838"/>
            <a:ext cx="1995949" cy="1015663"/>
          </a:xfrm>
        </p:spPr>
        <p:txBody>
          <a:bodyPr lIns="0" rIns="0" anchor="ctr">
            <a:noAutofit/>
          </a:bodyPr>
          <a:lstStyle>
            <a:lvl1pPr>
              <a:defRPr lang="en-US" sz="6000" dirty="0">
                <a:latin typeface="+mj-lt"/>
              </a:defRPr>
            </a:lvl1pPr>
          </a:lstStyle>
          <a:p>
            <a:pPr lvl="0"/>
            <a:r>
              <a:rPr lang="en-US"/>
              <a:t>00M</a:t>
            </a:r>
          </a:p>
        </p:txBody>
      </p:sp>
      <p:sp>
        <p:nvSpPr>
          <p:cNvPr id="41" name="Text Placeholder 33">
            <a:extLst>
              <a:ext uri="{FF2B5EF4-FFF2-40B4-BE49-F238E27FC236}">
                <a16:creationId xmlns:a16="http://schemas.microsoft.com/office/drawing/2014/main" id="{90333D83-CE3E-B927-4B86-D6DE7FF1E8D7}"/>
              </a:ext>
            </a:extLst>
          </p:cNvPr>
          <p:cNvSpPr>
            <a:spLocks noGrp="1"/>
          </p:cNvSpPr>
          <p:nvPr>
            <p:ph type="body" sz="quarter" idx="36" hasCustomPrompt="1"/>
          </p:nvPr>
        </p:nvSpPr>
        <p:spPr>
          <a:xfrm>
            <a:off x="6371303" y="1981432"/>
            <a:ext cx="1995949" cy="1015663"/>
          </a:xfrm>
        </p:spPr>
        <p:txBody>
          <a:bodyPr lIns="0" rIns="0" anchor="ctr">
            <a:noAutofit/>
          </a:bodyPr>
          <a:lstStyle>
            <a:lvl1pPr>
              <a:defRPr lang="en-US" sz="6000" dirty="0">
                <a:latin typeface="+mj-lt"/>
              </a:defRPr>
            </a:lvl1pPr>
          </a:lstStyle>
          <a:p>
            <a:pPr lvl="0"/>
            <a:r>
              <a:rPr lang="en-US"/>
              <a:t>00M</a:t>
            </a:r>
          </a:p>
        </p:txBody>
      </p:sp>
      <p:sp>
        <p:nvSpPr>
          <p:cNvPr id="42" name="Text Placeholder 33">
            <a:extLst>
              <a:ext uri="{FF2B5EF4-FFF2-40B4-BE49-F238E27FC236}">
                <a16:creationId xmlns:a16="http://schemas.microsoft.com/office/drawing/2014/main" id="{431E9520-FD4B-C5E8-75B7-42F0A83BEE61}"/>
              </a:ext>
            </a:extLst>
          </p:cNvPr>
          <p:cNvSpPr>
            <a:spLocks noGrp="1"/>
          </p:cNvSpPr>
          <p:nvPr>
            <p:ph type="body" sz="quarter" idx="37" hasCustomPrompt="1"/>
          </p:nvPr>
        </p:nvSpPr>
        <p:spPr>
          <a:xfrm>
            <a:off x="6371303" y="3435635"/>
            <a:ext cx="1995949" cy="1015663"/>
          </a:xfrm>
        </p:spPr>
        <p:txBody>
          <a:bodyPr lIns="0" rIns="0" anchor="ctr">
            <a:noAutofit/>
          </a:bodyPr>
          <a:lstStyle>
            <a:lvl1pPr>
              <a:defRPr lang="en-US" sz="6000" dirty="0">
                <a:latin typeface="+mj-lt"/>
              </a:defRPr>
            </a:lvl1pPr>
          </a:lstStyle>
          <a:p>
            <a:pPr lvl="0"/>
            <a:r>
              <a:rPr lang="en-US"/>
              <a:t>00M</a:t>
            </a:r>
          </a:p>
        </p:txBody>
      </p:sp>
      <p:sp>
        <p:nvSpPr>
          <p:cNvPr id="43" name="Text Placeholder 33">
            <a:extLst>
              <a:ext uri="{FF2B5EF4-FFF2-40B4-BE49-F238E27FC236}">
                <a16:creationId xmlns:a16="http://schemas.microsoft.com/office/drawing/2014/main" id="{13A258BC-65F7-7E99-1C10-1F7A78D89A4B}"/>
              </a:ext>
            </a:extLst>
          </p:cNvPr>
          <p:cNvSpPr>
            <a:spLocks noGrp="1"/>
          </p:cNvSpPr>
          <p:nvPr>
            <p:ph type="body" sz="quarter" idx="38" hasCustomPrompt="1"/>
          </p:nvPr>
        </p:nvSpPr>
        <p:spPr>
          <a:xfrm>
            <a:off x="6371303" y="4889838"/>
            <a:ext cx="1995949" cy="1015663"/>
          </a:xfrm>
        </p:spPr>
        <p:txBody>
          <a:bodyPr lIns="0" rIns="0" anchor="ctr">
            <a:noAutofit/>
          </a:bodyPr>
          <a:lstStyle>
            <a:lvl1pPr>
              <a:defRPr lang="en-US" sz="6000" dirty="0">
                <a:latin typeface="+mj-lt"/>
              </a:defRPr>
            </a:lvl1pPr>
          </a:lstStyle>
          <a:p>
            <a:pPr lvl="0"/>
            <a:r>
              <a:rPr lang="en-US"/>
              <a:t>00M</a:t>
            </a:r>
          </a:p>
        </p:txBody>
      </p:sp>
      <p:sp>
        <p:nvSpPr>
          <p:cNvPr id="7" name="Text Placeholder 33">
            <a:extLst>
              <a:ext uri="{FF2B5EF4-FFF2-40B4-BE49-F238E27FC236}">
                <a16:creationId xmlns:a16="http://schemas.microsoft.com/office/drawing/2014/main" id="{53E29BA2-2A65-DCC1-F92B-B16E116F89B8}"/>
              </a:ext>
            </a:extLst>
          </p:cNvPr>
          <p:cNvSpPr>
            <a:spLocks noGrp="1"/>
          </p:cNvSpPr>
          <p:nvPr>
            <p:ph type="body" sz="quarter" idx="29"/>
          </p:nvPr>
        </p:nvSpPr>
        <p:spPr>
          <a:xfrm>
            <a:off x="2969340" y="1981432"/>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8" name="Text Placeholder 33">
            <a:extLst>
              <a:ext uri="{FF2B5EF4-FFF2-40B4-BE49-F238E27FC236}">
                <a16:creationId xmlns:a16="http://schemas.microsoft.com/office/drawing/2014/main" id="{A7555289-4122-EEDC-87E0-6D6E5178ACED}"/>
              </a:ext>
            </a:extLst>
          </p:cNvPr>
          <p:cNvSpPr>
            <a:spLocks noGrp="1"/>
          </p:cNvSpPr>
          <p:nvPr>
            <p:ph type="body" sz="quarter" idx="39"/>
          </p:nvPr>
        </p:nvSpPr>
        <p:spPr>
          <a:xfrm>
            <a:off x="2969340" y="3435635"/>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11" name="Text Placeholder 33">
            <a:extLst>
              <a:ext uri="{FF2B5EF4-FFF2-40B4-BE49-F238E27FC236}">
                <a16:creationId xmlns:a16="http://schemas.microsoft.com/office/drawing/2014/main" id="{87D57193-8B70-088C-7CED-0D5D6475DF31}"/>
              </a:ext>
            </a:extLst>
          </p:cNvPr>
          <p:cNvSpPr>
            <a:spLocks noGrp="1"/>
          </p:cNvSpPr>
          <p:nvPr>
            <p:ph type="body" sz="quarter" idx="40"/>
          </p:nvPr>
        </p:nvSpPr>
        <p:spPr>
          <a:xfrm>
            <a:off x="2969340" y="4889838"/>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12" name="Text Placeholder 33">
            <a:extLst>
              <a:ext uri="{FF2B5EF4-FFF2-40B4-BE49-F238E27FC236}">
                <a16:creationId xmlns:a16="http://schemas.microsoft.com/office/drawing/2014/main" id="{1111471C-B4BB-C16C-20B6-9EABD7911DCE}"/>
              </a:ext>
            </a:extLst>
          </p:cNvPr>
          <p:cNvSpPr>
            <a:spLocks noGrp="1"/>
          </p:cNvSpPr>
          <p:nvPr>
            <p:ph type="body" sz="quarter" idx="41"/>
          </p:nvPr>
        </p:nvSpPr>
        <p:spPr>
          <a:xfrm>
            <a:off x="8731044" y="1981432"/>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13" name="Text Placeholder 33">
            <a:extLst>
              <a:ext uri="{FF2B5EF4-FFF2-40B4-BE49-F238E27FC236}">
                <a16:creationId xmlns:a16="http://schemas.microsoft.com/office/drawing/2014/main" id="{DE19B41B-36A1-A98B-A96B-28E331CA83AE}"/>
              </a:ext>
            </a:extLst>
          </p:cNvPr>
          <p:cNvSpPr>
            <a:spLocks noGrp="1"/>
          </p:cNvSpPr>
          <p:nvPr>
            <p:ph type="body" sz="quarter" idx="42"/>
          </p:nvPr>
        </p:nvSpPr>
        <p:spPr>
          <a:xfrm>
            <a:off x="8731044" y="3435635"/>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14" name="Text Placeholder 33">
            <a:extLst>
              <a:ext uri="{FF2B5EF4-FFF2-40B4-BE49-F238E27FC236}">
                <a16:creationId xmlns:a16="http://schemas.microsoft.com/office/drawing/2014/main" id="{7201346C-7F24-9A74-C424-0A91E7C05AB9}"/>
              </a:ext>
            </a:extLst>
          </p:cNvPr>
          <p:cNvSpPr>
            <a:spLocks noGrp="1"/>
          </p:cNvSpPr>
          <p:nvPr>
            <p:ph type="body" sz="quarter" idx="43"/>
          </p:nvPr>
        </p:nvSpPr>
        <p:spPr>
          <a:xfrm>
            <a:off x="8731044" y="4889838"/>
            <a:ext cx="2851356" cy="1015663"/>
          </a:xfrm>
        </p:spPr>
        <p:txBody>
          <a:bodyPr anchor="ctr">
            <a:noAutofit/>
          </a:bodyPr>
          <a:lstStyle>
            <a:lvl1pPr>
              <a:defRPr sz="1600"/>
            </a:lvl1pPr>
            <a:lvl2pPr marL="0" indent="0">
              <a:buNone/>
              <a:defRPr/>
            </a:lvl2pPr>
          </a:lstStyle>
          <a:p>
            <a:pPr lvl="0"/>
            <a:r>
              <a:rPr lang="en-US"/>
              <a:t>Click to edit Master text styles</a:t>
            </a:r>
          </a:p>
        </p:txBody>
      </p:sp>
      <p:sp>
        <p:nvSpPr>
          <p:cNvPr id="2" name="Date Placeholder 4">
            <a:extLst>
              <a:ext uri="{FF2B5EF4-FFF2-40B4-BE49-F238E27FC236}">
                <a16:creationId xmlns:a16="http://schemas.microsoft.com/office/drawing/2014/main" id="{10DD0599-157A-2B10-FC25-8F782FE55986}"/>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2701F099-C06A-4FA7-B2D7-8073F5E9C3B6}" type="datetime4">
              <a:rPr lang="en-US" smtClean="0"/>
              <a:t>May 17, 2025</a:t>
            </a:fld>
            <a:endParaRPr lang="en-US" dirty="0"/>
          </a:p>
        </p:txBody>
      </p:sp>
      <p:sp>
        <p:nvSpPr>
          <p:cNvPr id="15" name="Text Placeholder 7">
            <a:extLst>
              <a:ext uri="{FF2B5EF4-FFF2-40B4-BE49-F238E27FC236}">
                <a16:creationId xmlns:a16="http://schemas.microsoft.com/office/drawing/2014/main" id="{966CE636-D2E8-A795-F616-7764CB50FF11}"/>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Tree>
    <p:extLst>
      <p:ext uri="{BB962C8B-B14F-4D97-AF65-F5344CB8AC3E}">
        <p14:creationId xmlns:p14="http://schemas.microsoft.com/office/powerpoint/2010/main" val="22157925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1_Statistics">
    <p:bg>
      <p:bgPr>
        <a:solidFill>
          <a:schemeClr val="tx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bg1"/>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p>
        </p:txBody>
      </p:sp>
      <p:sp>
        <p:nvSpPr>
          <p:cNvPr id="33" name="Text Placeholder 33">
            <a:extLst>
              <a:ext uri="{FF2B5EF4-FFF2-40B4-BE49-F238E27FC236}">
                <a16:creationId xmlns:a16="http://schemas.microsoft.com/office/drawing/2014/main" id="{7E25B57A-249F-302B-B85D-FA5ED6A06A1A}"/>
              </a:ext>
            </a:extLst>
          </p:cNvPr>
          <p:cNvSpPr>
            <a:spLocks noGrp="1"/>
          </p:cNvSpPr>
          <p:nvPr>
            <p:ph type="body" sz="quarter" idx="30" hasCustomPrompt="1"/>
          </p:nvPr>
        </p:nvSpPr>
        <p:spPr>
          <a:xfrm>
            <a:off x="609599" y="1981432"/>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34" name="Text Placeholder 33">
            <a:extLst>
              <a:ext uri="{FF2B5EF4-FFF2-40B4-BE49-F238E27FC236}">
                <a16:creationId xmlns:a16="http://schemas.microsoft.com/office/drawing/2014/main" id="{81332B9F-1F08-F247-B712-9C3A3624ECEC}"/>
              </a:ext>
            </a:extLst>
          </p:cNvPr>
          <p:cNvSpPr>
            <a:spLocks noGrp="1"/>
          </p:cNvSpPr>
          <p:nvPr>
            <p:ph type="body" sz="quarter" idx="31" hasCustomPrompt="1"/>
          </p:nvPr>
        </p:nvSpPr>
        <p:spPr>
          <a:xfrm>
            <a:off x="609599" y="3435635"/>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35" name="Text Placeholder 33">
            <a:extLst>
              <a:ext uri="{FF2B5EF4-FFF2-40B4-BE49-F238E27FC236}">
                <a16:creationId xmlns:a16="http://schemas.microsoft.com/office/drawing/2014/main" id="{7393CE72-B83F-00E3-F8CD-862380C62E5C}"/>
              </a:ext>
            </a:extLst>
          </p:cNvPr>
          <p:cNvSpPr>
            <a:spLocks noGrp="1"/>
          </p:cNvSpPr>
          <p:nvPr>
            <p:ph type="body" sz="quarter" idx="32" hasCustomPrompt="1"/>
          </p:nvPr>
        </p:nvSpPr>
        <p:spPr>
          <a:xfrm>
            <a:off x="609599" y="4889838"/>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41" name="Text Placeholder 33">
            <a:extLst>
              <a:ext uri="{FF2B5EF4-FFF2-40B4-BE49-F238E27FC236}">
                <a16:creationId xmlns:a16="http://schemas.microsoft.com/office/drawing/2014/main" id="{90333D83-CE3E-B927-4B86-D6DE7FF1E8D7}"/>
              </a:ext>
            </a:extLst>
          </p:cNvPr>
          <p:cNvSpPr>
            <a:spLocks noGrp="1"/>
          </p:cNvSpPr>
          <p:nvPr>
            <p:ph type="body" sz="quarter" idx="36" hasCustomPrompt="1"/>
          </p:nvPr>
        </p:nvSpPr>
        <p:spPr>
          <a:xfrm>
            <a:off x="6371303" y="1981432"/>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42" name="Text Placeholder 33">
            <a:extLst>
              <a:ext uri="{FF2B5EF4-FFF2-40B4-BE49-F238E27FC236}">
                <a16:creationId xmlns:a16="http://schemas.microsoft.com/office/drawing/2014/main" id="{431E9520-FD4B-C5E8-75B7-42F0A83BEE61}"/>
              </a:ext>
            </a:extLst>
          </p:cNvPr>
          <p:cNvSpPr>
            <a:spLocks noGrp="1"/>
          </p:cNvSpPr>
          <p:nvPr>
            <p:ph type="body" sz="quarter" idx="37" hasCustomPrompt="1"/>
          </p:nvPr>
        </p:nvSpPr>
        <p:spPr>
          <a:xfrm>
            <a:off x="6371303" y="3435635"/>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43" name="Text Placeholder 33">
            <a:extLst>
              <a:ext uri="{FF2B5EF4-FFF2-40B4-BE49-F238E27FC236}">
                <a16:creationId xmlns:a16="http://schemas.microsoft.com/office/drawing/2014/main" id="{13A258BC-65F7-7E99-1C10-1F7A78D89A4B}"/>
              </a:ext>
            </a:extLst>
          </p:cNvPr>
          <p:cNvSpPr>
            <a:spLocks noGrp="1"/>
          </p:cNvSpPr>
          <p:nvPr>
            <p:ph type="body" sz="quarter" idx="38" hasCustomPrompt="1"/>
          </p:nvPr>
        </p:nvSpPr>
        <p:spPr>
          <a:xfrm>
            <a:off x="6371303" y="4889838"/>
            <a:ext cx="1995949" cy="1015663"/>
          </a:xfrm>
        </p:spPr>
        <p:txBody>
          <a:bodyPr lIns="0" rIns="0" anchor="ctr">
            <a:noAutofit/>
          </a:bodyPr>
          <a:lstStyle>
            <a:lvl1pPr>
              <a:defRPr lang="en-US" sz="6000" dirty="0">
                <a:solidFill>
                  <a:schemeClr val="accent1"/>
                </a:solidFill>
                <a:latin typeface="+mj-lt"/>
              </a:defRPr>
            </a:lvl1pPr>
          </a:lstStyle>
          <a:p>
            <a:pPr lvl="0"/>
            <a:r>
              <a:rPr lang="en-US"/>
              <a:t>00M</a:t>
            </a:r>
          </a:p>
        </p:txBody>
      </p:sp>
      <p:sp>
        <p:nvSpPr>
          <p:cNvPr id="7" name="Text Placeholder 33">
            <a:extLst>
              <a:ext uri="{FF2B5EF4-FFF2-40B4-BE49-F238E27FC236}">
                <a16:creationId xmlns:a16="http://schemas.microsoft.com/office/drawing/2014/main" id="{53E29BA2-2A65-DCC1-F92B-B16E116F89B8}"/>
              </a:ext>
            </a:extLst>
          </p:cNvPr>
          <p:cNvSpPr>
            <a:spLocks noGrp="1"/>
          </p:cNvSpPr>
          <p:nvPr>
            <p:ph type="body" sz="quarter" idx="29"/>
          </p:nvPr>
        </p:nvSpPr>
        <p:spPr>
          <a:xfrm>
            <a:off x="2969340" y="1981432"/>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8" name="Text Placeholder 33">
            <a:extLst>
              <a:ext uri="{FF2B5EF4-FFF2-40B4-BE49-F238E27FC236}">
                <a16:creationId xmlns:a16="http://schemas.microsoft.com/office/drawing/2014/main" id="{A7555289-4122-EEDC-87E0-6D6E5178ACED}"/>
              </a:ext>
            </a:extLst>
          </p:cNvPr>
          <p:cNvSpPr>
            <a:spLocks noGrp="1"/>
          </p:cNvSpPr>
          <p:nvPr>
            <p:ph type="body" sz="quarter" idx="39"/>
          </p:nvPr>
        </p:nvSpPr>
        <p:spPr>
          <a:xfrm>
            <a:off x="2969340" y="3435635"/>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11" name="Text Placeholder 33">
            <a:extLst>
              <a:ext uri="{FF2B5EF4-FFF2-40B4-BE49-F238E27FC236}">
                <a16:creationId xmlns:a16="http://schemas.microsoft.com/office/drawing/2014/main" id="{87D57193-8B70-088C-7CED-0D5D6475DF31}"/>
              </a:ext>
            </a:extLst>
          </p:cNvPr>
          <p:cNvSpPr>
            <a:spLocks noGrp="1"/>
          </p:cNvSpPr>
          <p:nvPr>
            <p:ph type="body" sz="quarter" idx="40"/>
          </p:nvPr>
        </p:nvSpPr>
        <p:spPr>
          <a:xfrm>
            <a:off x="2969340" y="4889838"/>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12" name="Text Placeholder 33">
            <a:extLst>
              <a:ext uri="{FF2B5EF4-FFF2-40B4-BE49-F238E27FC236}">
                <a16:creationId xmlns:a16="http://schemas.microsoft.com/office/drawing/2014/main" id="{1111471C-B4BB-C16C-20B6-9EABD7911DCE}"/>
              </a:ext>
            </a:extLst>
          </p:cNvPr>
          <p:cNvSpPr>
            <a:spLocks noGrp="1"/>
          </p:cNvSpPr>
          <p:nvPr>
            <p:ph type="body" sz="quarter" idx="41"/>
          </p:nvPr>
        </p:nvSpPr>
        <p:spPr>
          <a:xfrm>
            <a:off x="8731044" y="1981432"/>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13" name="Text Placeholder 33">
            <a:extLst>
              <a:ext uri="{FF2B5EF4-FFF2-40B4-BE49-F238E27FC236}">
                <a16:creationId xmlns:a16="http://schemas.microsoft.com/office/drawing/2014/main" id="{DE19B41B-36A1-A98B-A96B-28E331CA83AE}"/>
              </a:ext>
            </a:extLst>
          </p:cNvPr>
          <p:cNvSpPr>
            <a:spLocks noGrp="1"/>
          </p:cNvSpPr>
          <p:nvPr>
            <p:ph type="body" sz="quarter" idx="42"/>
          </p:nvPr>
        </p:nvSpPr>
        <p:spPr>
          <a:xfrm>
            <a:off x="8731044" y="3435635"/>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14" name="Text Placeholder 33">
            <a:extLst>
              <a:ext uri="{FF2B5EF4-FFF2-40B4-BE49-F238E27FC236}">
                <a16:creationId xmlns:a16="http://schemas.microsoft.com/office/drawing/2014/main" id="{7201346C-7F24-9A74-C424-0A91E7C05AB9}"/>
              </a:ext>
            </a:extLst>
          </p:cNvPr>
          <p:cNvSpPr>
            <a:spLocks noGrp="1"/>
          </p:cNvSpPr>
          <p:nvPr>
            <p:ph type="body" sz="quarter" idx="43"/>
          </p:nvPr>
        </p:nvSpPr>
        <p:spPr>
          <a:xfrm>
            <a:off x="8731044" y="4889838"/>
            <a:ext cx="2851356" cy="1015663"/>
          </a:xfrm>
        </p:spPr>
        <p:txBody>
          <a:bodyPr anchor="ctr">
            <a:noAutofit/>
          </a:bodyPr>
          <a:lstStyle>
            <a:lvl1pPr>
              <a:defRPr sz="1600">
                <a:solidFill>
                  <a:schemeClr val="bg1"/>
                </a:solidFill>
              </a:defRPr>
            </a:lvl1pPr>
            <a:lvl2pPr marL="0" indent="0">
              <a:buNone/>
              <a:defRPr/>
            </a:lvl2pPr>
          </a:lstStyle>
          <a:p>
            <a:pPr lvl="0"/>
            <a:r>
              <a:rPr lang="en-US"/>
              <a:t>Click to edit Master text styles</a:t>
            </a:r>
          </a:p>
        </p:txBody>
      </p:sp>
      <p:sp>
        <p:nvSpPr>
          <p:cNvPr id="5" name="Text Placeholder 7">
            <a:extLst>
              <a:ext uri="{FF2B5EF4-FFF2-40B4-BE49-F238E27FC236}">
                <a16:creationId xmlns:a16="http://schemas.microsoft.com/office/drawing/2014/main" id="{CA5FE8D1-CE4A-70FF-38C5-921E263BAFD0}"/>
              </a:ext>
            </a:extLst>
          </p:cNvPr>
          <p:cNvSpPr>
            <a:spLocks noGrp="1"/>
          </p:cNvSpPr>
          <p:nvPr>
            <p:ph type="body" sz="quarter" idx="25"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6" name="Date Placeholder 12">
            <a:extLst>
              <a:ext uri="{FF2B5EF4-FFF2-40B4-BE49-F238E27FC236}">
                <a16:creationId xmlns:a16="http://schemas.microsoft.com/office/drawing/2014/main" id="{9F001AA3-E8A3-08B5-EBAC-5BC79F1A0EF2}"/>
              </a:ext>
            </a:extLst>
          </p:cNvPr>
          <p:cNvSpPr>
            <a:spLocks noGrp="1"/>
          </p:cNvSpPr>
          <p:nvPr>
            <p:ph type="dt" sz="half" idx="26"/>
          </p:nvPr>
        </p:nvSpPr>
        <p:spPr>
          <a:xfrm>
            <a:off x="10236555" y="138027"/>
            <a:ext cx="1345845" cy="153888"/>
          </a:xfrm>
        </p:spPr>
        <p:txBody>
          <a:bodyPr>
            <a:noAutofit/>
          </a:bodyPr>
          <a:lstStyle>
            <a:lvl1pPr>
              <a:defRPr>
                <a:solidFill>
                  <a:schemeClr val="bg1">
                    <a:lumMod val="65000"/>
                  </a:schemeClr>
                </a:solidFill>
              </a:defRPr>
            </a:lvl1pPr>
          </a:lstStyle>
          <a:p>
            <a:fld id="{B7FCE19A-6763-449F-932A-B690384CB417}" type="datetime4">
              <a:rPr lang="en-US" smtClean="0"/>
              <a:t>May 17, 2025</a:t>
            </a:fld>
            <a:endParaRPr lang="en-US" dirty="0"/>
          </a:p>
        </p:txBody>
      </p:sp>
      <p:sp>
        <p:nvSpPr>
          <p:cNvPr id="10" name="Footer Placeholder 13">
            <a:extLst>
              <a:ext uri="{FF2B5EF4-FFF2-40B4-BE49-F238E27FC236}">
                <a16:creationId xmlns:a16="http://schemas.microsoft.com/office/drawing/2014/main" id="{1CBB0353-FBF5-B1E3-D1C1-03E34A43B192}"/>
              </a:ext>
            </a:extLst>
          </p:cNvPr>
          <p:cNvSpPr>
            <a:spLocks noGrp="1"/>
          </p:cNvSpPr>
          <p:nvPr>
            <p:ph type="ftr" sz="quarter" idx="27"/>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sp>
        <p:nvSpPr>
          <p:cNvPr id="20" name="Slide Number Placeholder 14">
            <a:extLst>
              <a:ext uri="{FF2B5EF4-FFF2-40B4-BE49-F238E27FC236}">
                <a16:creationId xmlns:a16="http://schemas.microsoft.com/office/drawing/2014/main" id="{B51E7EAE-68E6-4D4C-35F1-39A661AF655D}"/>
              </a:ext>
            </a:extLst>
          </p:cNvPr>
          <p:cNvSpPr>
            <a:spLocks noGrp="1"/>
          </p:cNvSpPr>
          <p:nvPr>
            <p:ph type="sldNum" sz="quarter" idx="28"/>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pic>
        <p:nvPicPr>
          <p:cNvPr id="21" name="Graphic 20">
            <a:extLst>
              <a:ext uri="{FF2B5EF4-FFF2-40B4-BE49-F238E27FC236}">
                <a16:creationId xmlns:a16="http://schemas.microsoft.com/office/drawing/2014/main" id="{668416C8-DA1C-C6E9-68D4-3F01F4C55B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22" name="Straight Connector 21">
            <a:extLst>
              <a:ext uri="{FF2B5EF4-FFF2-40B4-BE49-F238E27FC236}">
                <a16:creationId xmlns:a16="http://schemas.microsoft.com/office/drawing/2014/main" id="{CFADCDA6-711B-3677-A59A-4F39CDDCE639}"/>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8B03EF-DCA7-985D-D7DF-092FA5C3E989}"/>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D26ABCD-AA8B-0812-FC27-ECCA4F55A68D}"/>
              </a:ext>
            </a:extLst>
          </p:cNvPr>
          <p:cNvCxnSpPr>
            <a:cxnSpLocks/>
          </p:cNvCxnSpPr>
          <p:nvPr userDrawn="1"/>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0444BC-6040-AD50-C04B-A7CF5F19A28D}"/>
              </a:ext>
            </a:extLst>
          </p:cNvPr>
          <p:cNvCxnSpPr>
            <a:cxnSpLocks/>
          </p:cNvCxnSpPr>
          <p:nvPr userDrawn="1"/>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75713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meline">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p>
            <a:r>
              <a:rPr lang="en-US"/>
              <a:t>Click to edit Master title style</a:t>
            </a:r>
          </a:p>
        </p:txBody>
      </p:sp>
      <p:sp>
        <p:nvSpPr>
          <p:cNvPr id="17" name="Text Placeholder 33">
            <a:extLst>
              <a:ext uri="{FF2B5EF4-FFF2-40B4-BE49-F238E27FC236}">
                <a16:creationId xmlns:a16="http://schemas.microsoft.com/office/drawing/2014/main" id="{A3FF7FE9-7C3E-9E3F-5E98-C14306A5E661}"/>
              </a:ext>
            </a:extLst>
          </p:cNvPr>
          <p:cNvSpPr>
            <a:spLocks noGrp="1"/>
          </p:cNvSpPr>
          <p:nvPr>
            <p:ph type="body" sz="quarter" idx="30"/>
          </p:nvPr>
        </p:nvSpPr>
        <p:spPr>
          <a:xfrm>
            <a:off x="609600"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23" name="Text Placeholder 33">
            <a:extLst>
              <a:ext uri="{FF2B5EF4-FFF2-40B4-BE49-F238E27FC236}">
                <a16:creationId xmlns:a16="http://schemas.microsoft.com/office/drawing/2014/main" id="{7040573E-FA4E-F880-7253-8F615D3A556D}"/>
              </a:ext>
            </a:extLst>
          </p:cNvPr>
          <p:cNvSpPr>
            <a:spLocks noGrp="1"/>
          </p:cNvSpPr>
          <p:nvPr>
            <p:ph type="body" sz="quarter" idx="31"/>
          </p:nvPr>
        </p:nvSpPr>
        <p:spPr>
          <a:xfrm>
            <a:off x="2847975"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32" name="Text Placeholder 33">
            <a:extLst>
              <a:ext uri="{FF2B5EF4-FFF2-40B4-BE49-F238E27FC236}">
                <a16:creationId xmlns:a16="http://schemas.microsoft.com/office/drawing/2014/main" id="{FC9FDCE9-3F2A-8273-3A90-940BD2FB45CB}"/>
              </a:ext>
            </a:extLst>
          </p:cNvPr>
          <p:cNvSpPr>
            <a:spLocks noGrp="1"/>
          </p:cNvSpPr>
          <p:nvPr>
            <p:ph type="body" sz="quarter" idx="32"/>
          </p:nvPr>
        </p:nvSpPr>
        <p:spPr>
          <a:xfrm>
            <a:off x="5086350"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36" name="Text Placeholder 33">
            <a:extLst>
              <a:ext uri="{FF2B5EF4-FFF2-40B4-BE49-F238E27FC236}">
                <a16:creationId xmlns:a16="http://schemas.microsoft.com/office/drawing/2014/main" id="{C73D29D7-D2B7-C2E6-E294-7211B43A0E0E}"/>
              </a:ext>
            </a:extLst>
          </p:cNvPr>
          <p:cNvSpPr>
            <a:spLocks noGrp="1"/>
          </p:cNvSpPr>
          <p:nvPr>
            <p:ph type="body" sz="quarter" idx="33"/>
          </p:nvPr>
        </p:nvSpPr>
        <p:spPr>
          <a:xfrm>
            <a:off x="7324725"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37" name="Text Placeholder 33">
            <a:extLst>
              <a:ext uri="{FF2B5EF4-FFF2-40B4-BE49-F238E27FC236}">
                <a16:creationId xmlns:a16="http://schemas.microsoft.com/office/drawing/2014/main" id="{9E8DB932-E00E-7098-CC9F-DB7146FCD551}"/>
              </a:ext>
            </a:extLst>
          </p:cNvPr>
          <p:cNvSpPr>
            <a:spLocks noGrp="1"/>
          </p:cNvSpPr>
          <p:nvPr>
            <p:ph type="body" sz="quarter" idx="34"/>
          </p:nvPr>
        </p:nvSpPr>
        <p:spPr>
          <a:xfrm>
            <a:off x="9563100" y="4007068"/>
            <a:ext cx="2019300" cy="1477407"/>
          </a:xfrm>
        </p:spPr>
        <p:txBody>
          <a:bodyPr anchor="t">
            <a:noAutofit/>
          </a:bodyPr>
          <a:lstStyle>
            <a:lvl1pPr>
              <a:defRPr sz="1600"/>
            </a:lvl1pPr>
            <a:lvl2pPr marL="0" indent="0">
              <a:buNone/>
              <a:defRPr/>
            </a:lvl2pPr>
          </a:lstStyle>
          <a:p>
            <a:pPr lvl="0"/>
            <a:r>
              <a:rPr lang="en-US"/>
              <a:t>Click to edit Master text styles</a:t>
            </a:r>
          </a:p>
        </p:txBody>
      </p:sp>
      <p:sp>
        <p:nvSpPr>
          <p:cNvPr id="38" name="Text Placeholder 33">
            <a:extLst>
              <a:ext uri="{FF2B5EF4-FFF2-40B4-BE49-F238E27FC236}">
                <a16:creationId xmlns:a16="http://schemas.microsoft.com/office/drawing/2014/main" id="{029791F1-18D9-6ADC-173D-2DB273FF26BD}"/>
              </a:ext>
            </a:extLst>
          </p:cNvPr>
          <p:cNvSpPr>
            <a:spLocks noGrp="1"/>
          </p:cNvSpPr>
          <p:nvPr>
            <p:ph type="body" sz="quarter" idx="35" hasCustomPrompt="1"/>
          </p:nvPr>
        </p:nvSpPr>
        <p:spPr>
          <a:xfrm>
            <a:off x="609600" y="2461210"/>
            <a:ext cx="812799" cy="430887"/>
          </a:xfrm>
        </p:spPr>
        <p:txBody>
          <a:bodyPr lIns="0" anchor="ctr">
            <a:noAutofit/>
          </a:bodyPr>
          <a:lstStyle>
            <a:lvl1pPr>
              <a:defRPr lang="en-US" sz="2400" dirty="0"/>
            </a:lvl1pPr>
          </a:lstStyle>
          <a:p>
            <a:pPr lvl="0"/>
            <a:r>
              <a:rPr lang="en-US"/>
              <a:t>00</a:t>
            </a:r>
          </a:p>
        </p:txBody>
      </p:sp>
      <p:sp>
        <p:nvSpPr>
          <p:cNvPr id="56" name="Text Placeholder 33">
            <a:extLst>
              <a:ext uri="{FF2B5EF4-FFF2-40B4-BE49-F238E27FC236}">
                <a16:creationId xmlns:a16="http://schemas.microsoft.com/office/drawing/2014/main" id="{E648E2D6-1714-3A97-3AFB-36501C0AE417}"/>
              </a:ext>
            </a:extLst>
          </p:cNvPr>
          <p:cNvSpPr>
            <a:spLocks noGrp="1"/>
          </p:cNvSpPr>
          <p:nvPr>
            <p:ph type="body" sz="quarter" idx="36" hasCustomPrompt="1"/>
          </p:nvPr>
        </p:nvSpPr>
        <p:spPr>
          <a:xfrm>
            <a:off x="2847975" y="2461210"/>
            <a:ext cx="812799" cy="430887"/>
          </a:xfrm>
        </p:spPr>
        <p:txBody>
          <a:bodyPr lIns="0" anchor="ctr">
            <a:noAutofit/>
          </a:bodyPr>
          <a:lstStyle>
            <a:lvl1pPr>
              <a:defRPr lang="en-US" sz="2400" dirty="0"/>
            </a:lvl1pPr>
          </a:lstStyle>
          <a:p>
            <a:pPr lvl="0"/>
            <a:r>
              <a:rPr lang="en-US"/>
              <a:t>00</a:t>
            </a:r>
          </a:p>
        </p:txBody>
      </p:sp>
      <p:sp>
        <p:nvSpPr>
          <p:cNvPr id="61" name="Text Placeholder 33">
            <a:extLst>
              <a:ext uri="{FF2B5EF4-FFF2-40B4-BE49-F238E27FC236}">
                <a16:creationId xmlns:a16="http://schemas.microsoft.com/office/drawing/2014/main" id="{7796FB6B-A7D4-62B6-13B5-27FC13C31C62}"/>
              </a:ext>
            </a:extLst>
          </p:cNvPr>
          <p:cNvSpPr>
            <a:spLocks noGrp="1"/>
          </p:cNvSpPr>
          <p:nvPr>
            <p:ph type="body" sz="quarter" idx="37" hasCustomPrompt="1"/>
          </p:nvPr>
        </p:nvSpPr>
        <p:spPr>
          <a:xfrm>
            <a:off x="5086350" y="2461210"/>
            <a:ext cx="812799" cy="430887"/>
          </a:xfrm>
        </p:spPr>
        <p:txBody>
          <a:bodyPr lIns="0" anchor="ctr">
            <a:noAutofit/>
          </a:bodyPr>
          <a:lstStyle>
            <a:lvl1pPr>
              <a:defRPr lang="en-US" sz="2400" dirty="0"/>
            </a:lvl1pPr>
          </a:lstStyle>
          <a:p>
            <a:pPr lvl="0"/>
            <a:r>
              <a:rPr lang="en-US"/>
              <a:t>00</a:t>
            </a:r>
          </a:p>
        </p:txBody>
      </p:sp>
      <p:sp>
        <p:nvSpPr>
          <p:cNvPr id="62" name="Text Placeholder 33">
            <a:extLst>
              <a:ext uri="{FF2B5EF4-FFF2-40B4-BE49-F238E27FC236}">
                <a16:creationId xmlns:a16="http://schemas.microsoft.com/office/drawing/2014/main" id="{7C8A7C98-FB2F-39E1-5A63-E3CE3009615B}"/>
              </a:ext>
            </a:extLst>
          </p:cNvPr>
          <p:cNvSpPr>
            <a:spLocks noGrp="1"/>
          </p:cNvSpPr>
          <p:nvPr>
            <p:ph type="body" sz="quarter" idx="38" hasCustomPrompt="1"/>
          </p:nvPr>
        </p:nvSpPr>
        <p:spPr>
          <a:xfrm>
            <a:off x="7324725" y="2461210"/>
            <a:ext cx="812799" cy="430887"/>
          </a:xfrm>
        </p:spPr>
        <p:txBody>
          <a:bodyPr lIns="0" anchor="ctr">
            <a:noAutofit/>
          </a:bodyPr>
          <a:lstStyle>
            <a:lvl1pPr>
              <a:defRPr lang="en-US" sz="2400" dirty="0"/>
            </a:lvl1pPr>
          </a:lstStyle>
          <a:p>
            <a:pPr lvl="0"/>
            <a:r>
              <a:rPr lang="en-US"/>
              <a:t>00</a:t>
            </a:r>
          </a:p>
        </p:txBody>
      </p:sp>
      <p:sp>
        <p:nvSpPr>
          <p:cNvPr id="63" name="Text Placeholder 33">
            <a:extLst>
              <a:ext uri="{FF2B5EF4-FFF2-40B4-BE49-F238E27FC236}">
                <a16:creationId xmlns:a16="http://schemas.microsoft.com/office/drawing/2014/main" id="{377A0E12-8209-F77D-D443-47B6CC416C91}"/>
              </a:ext>
            </a:extLst>
          </p:cNvPr>
          <p:cNvSpPr>
            <a:spLocks noGrp="1"/>
          </p:cNvSpPr>
          <p:nvPr>
            <p:ph type="body" sz="quarter" idx="39" hasCustomPrompt="1"/>
          </p:nvPr>
        </p:nvSpPr>
        <p:spPr>
          <a:xfrm>
            <a:off x="9563100" y="2461210"/>
            <a:ext cx="812799" cy="430887"/>
          </a:xfrm>
        </p:spPr>
        <p:txBody>
          <a:bodyPr lIns="0" anchor="ctr">
            <a:noAutofit/>
          </a:bodyPr>
          <a:lstStyle>
            <a:lvl1pPr>
              <a:defRPr lang="en-US" sz="2400" dirty="0"/>
            </a:lvl1pPr>
          </a:lstStyle>
          <a:p>
            <a:pPr lvl="0"/>
            <a:r>
              <a:rPr lang="en-US"/>
              <a:t>00</a:t>
            </a:r>
          </a:p>
        </p:txBody>
      </p:sp>
      <p:sp>
        <p:nvSpPr>
          <p:cNvPr id="7" name="Date Placeholder 4">
            <a:extLst>
              <a:ext uri="{FF2B5EF4-FFF2-40B4-BE49-F238E27FC236}">
                <a16:creationId xmlns:a16="http://schemas.microsoft.com/office/drawing/2014/main" id="{11028E06-0590-49EE-428F-4F698DA8C098}"/>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7E188797-EBD3-44EC-B195-8F88FB48BCB0}" type="datetime4">
              <a:rPr lang="en-US" smtClean="0"/>
              <a:t>May 17, 2025</a:t>
            </a:fld>
            <a:endParaRPr lang="en-US" dirty="0"/>
          </a:p>
        </p:txBody>
      </p:sp>
      <p:sp>
        <p:nvSpPr>
          <p:cNvPr id="8" name="Text Placeholder 7">
            <a:extLst>
              <a:ext uri="{FF2B5EF4-FFF2-40B4-BE49-F238E27FC236}">
                <a16:creationId xmlns:a16="http://schemas.microsoft.com/office/drawing/2014/main" id="{B2370188-3E8A-4A8B-B64A-337B723DF375}"/>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4" name="Picture Placeholder 44">
            <a:extLst>
              <a:ext uri="{FF2B5EF4-FFF2-40B4-BE49-F238E27FC236}">
                <a16:creationId xmlns:a16="http://schemas.microsoft.com/office/drawing/2014/main" id="{D0A1BF89-346C-EEBA-9A68-27A8CAD66F79}"/>
              </a:ext>
            </a:extLst>
          </p:cNvPr>
          <p:cNvSpPr>
            <a:spLocks noGrp="1"/>
          </p:cNvSpPr>
          <p:nvPr>
            <p:ph type="pic" sz="quarter" idx="45" hasCustomPrompt="1"/>
          </p:nvPr>
        </p:nvSpPr>
        <p:spPr>
          <a:xfrm>
            <a:off x="598967" y="3353587"/>
            <a:ext cx="475488" cy="475488"/>
          </a:xfrm>
          <a:noFill/>
        </p:spPr>
        <p:txBody>
          <a:bodyPr/>
          <a:lstStyle>
            <a:lvl1pPr>
              <a:defRPr sz="1100">
                <a:solidFill>
                  <a:schemeClr val="tx1"/>
                </a:solidFill>
              </a:defRPr>
            </a:lvl1pPr>
          </a:lstStyle>
          <a:p>
            <a:r>
              <a:rPr lang="en-US" dirty="0"/>
              <a:t>Click icon o add picture</a:t>
            </a:r>
          </a:p>
        </p:txBody>
      </p:sp>
      <p:sp>
        <p:nvSpPr>
          <p:cNvPr id="25" name="Picture Placeholder 44">
            <a:extLst>
              <a:ext uri="{FF2B5EF4-FFF2-40B4-BE49-F238E27FC236}">
                <a16:creationId xmlns:a16="http://schemas.microsoft.com/office/drawing/2014/main" id="{FE4CEB3D-C869-490C-EFE4-65AB3D7F0E10}"/>
              </a:ext>
            </a:extLst>
          </p:cNvPr>
          <p:cNvSpPr>
            <a:spLocks noGrp="1"/>
          </p:cNvSpPr>
          <p:nvPr>
            <p:ph type="pic" sz="quarter" idx="46"/>
          </p:nvPr>
        </p:nvSpPr>
        <p:spPr>
          <a:xfrm>
            <a:off x="2853067" y="3353587"/>
            <a:ext cx="475488" cy="475488"/>
          </a:xfrm>
          <a:noFill/>
        </p:spPr>
        <p:txBody>
          <a:bodyPr/>
          <a:lstStyle>
            <a:lvl1pPr>
              <a:defRPr sz="1100">
                <a:solidFill>
                  <a:schemeClr val="tx1"/>
                </a:solidFill>
              </a:defRPr>
            </a:lvl1pPr>
          </a:lstStyle>
          <a:p>
            <a:r>
              <a:rPr lang="en-US" dirty="0"/>
              <a:t>Click icon to add picture</a:t>
            </a:r>
          </a:p>
        </p:txBody>
      </p:sp>
      <p:sp>
        <p:nvSpPr>
          <p:cNvPr id="26" name="Picture Placeholder 44">
            <a:extLst>
              <a:ext uri="{FF2B5EF4-FFF2-40B4-BE49-F238E27FC236}">
                <a16:creationId xmlns:a16="http://schemas.microsoft.com/office/drawing/2014/main" id="{FECB9004-6F8E-2D42-833B-F1BDC8A2FA33}"/>
              </a:ext>
            </a:extLst>
          </p:cNvPr>
          <p:cNvSpPr>
            <a:spLocks noGrp="1"/>
          </p:cNvSpPr>
          <p:nvPr>
            <p:ph type="pic" sz="quarter" idx="47"/>
          </p:nvPr>
        </p:nvSpPr>
        <p:spPr>
          <a:xfrm>
            <a:off x="5085892" y="3353587"/>
            <a:ext cx="475488" cy="475488"/>
          </a:xfrm>
          <a:noFill/>
        </p:spPr>
        <p:txBody>
          <a:bodyPr/>
          <a:lstStyle>
            <a:lvl1pPr>
              <a:defRPr sz="1100">
                <a:solidFill>
                  <a:schemeClr val="tx1"/>
                </a:solidFill>
              </a:defRPr>
            </a:lvl1pPr>
          </a:lstStyle>
          <a:p>
            <a:r>
              <a:rPr lang="en-US" dirty="0"/>
              <a:t>Click icon to add picture</a:t>
            </a:r>
          </a:p>
        </p:txBody>
      </p:sp>
      <p:sp>
        <p:nvSpPr>
          <p:cNvPr id="27" name="Picture Placeholder 44">
            <a:extLst>
              <a:ext uri="{FF2B5EF4-FFF2-40B4-BE49-F238E27FC236}">
                <a16:creationId xmlns:a16="http://schemas.microsoft.com/office/drawing/2014/main" id="{CFDE9957-DCA0-56F8-F7F3-DDD5207EF344}"/>
              </a:ext>
            </a:extLst>
          </p:cNvPr>
          <p:cNvSpPr>
            <a:spLocks noGrp="1"/>
          </p:cNvSpPr>
          <p:nvPr>
            <p:ph type="pic" sz="quarter" idx="40"/>
          </p:nvPr>
        </p:nvSpPr>
        <p:spPr>
          <a:xfrm>
            <a:off x="7308087" y="3353587"/>
            <a:ext cx="475488" cy="475488"/>
          </a:xfrm>
          <a:noFill/>
        </p:spPr>
        <p:txBody>
          <a:bodyPr/>
          <a:lstStyle>
            <a:lvl1pPr>
              <a:defRPr sz="1100">
                <a:solidFill>
                  <a:schemeClr val="tx1"/>
                </a:solidFill>
              </a:defRPr>
            </a:lvl1pPr>
          </a:lstStyle>
          <a:p>
            <a:r>
              <a:rPr lang="en-US" dirty="0"/>
              <a:t>Click icon to add picture</a:t>
            </a:r>
          </a:p>
        </p:txBody>
      </p:sp>
      <p:sp>
        <p:nvSpPr>
          <p:cNvPr id="28" name="Picture Placeholder 44">
            <a:extLst>
              <a:ext uri="{FF2B5EF4-FFF2-40B4-BE49-F238E27FC236}">
                <a16:creationId xmlns:a16="http://schemas.microsoft.com/office/drawing/2014/main" id="{77BFB51C-3B11-D42A-30D2-2F1372EA298F}"/>
              </a:ext>
            </a:extLst>
          </p:cNvPr>
          <p:cNvSpPr>
            <a:spLocks noGrp="1"/>
          </p:cNvSpPr>
          <p:nvPr>
            <p:ph type="pic" sz="quarter" idx="41"/>
          </p:nvPr>
        </p:nvSpPr>
        <p:spPr>
          <a:xfrm>
            <a:off x="9583454" y="3353587"/>
            <a:ext cx="475488" cy="475488"/>
          </a:xfrm>
          <a:noFill/>
        </p:spPr>
        <p:txBody>
          <a:bodyPr/>
          <a:lstStyle>
            <a:lvl1pPr>
              <a:defRPr sz="1100">
                <a:solidFill>
                  <a:schemeClr val="tx1"/>
                </a:solidFill>
              </a:defRPr>
            </a:lvl1pPr>
          </a:lstStyle>
          <a:p>
            <a:r>
              <a:rPr lang="en-US" dirty="0"/>
              <a:t>Click icon to add picture</a:t>
            </a:r>
          </a:p>
        </p:txBody>
      </p:sp>
    </p:spTree>
    <p:extLst>
      <p:ext uri="{BB962C8B-B14F-4D97-AF65-F5344CB8AC3E}">
        <p14:creationId xmlns:p14="http://schemas.microsoft.com/office/powerpoint/2010/main" val="24339977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Quadrant Charts">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p>
            <a:r>
              <a:rPr lang="en-US"/>
              <a:t>Click to edit Master title style</a:t>
            </a:r>
          </a:p>
        </p:txBody>
      </p:sp>
      <p:sp>
        <p:nvSpPr>
          <p:cNvPr id="2" name="Chart Placeholder 2">
            <a:extLst>
              <a:ext uri="{FF2B5EF4-FFF2-40B4-BE49-F238E27FC236}">
                <a16:creationId xmlns:a16="http://schemas.microsoft.com/office/drawing/2014/main" id="{0DFBDD93-FDE3-C5C5-3401-38180D1BD0DD}"/>
              </a:ext>
            </a:extLst>
          </p:cNvPr>
          <p:cNvSpPr>
            <a:spLocks noGrp="1"/>
          </p:cNvSpPr>
          <p:nvPr>
            <p:ph type="chart" sz="quarter" idx="31"/>
          </p:nvPr>
        </p:nvSpPr>
        <p:spPr>
          <a:xfrm>
            <a:off x="6172200" y="1898650"/>
            <a:ext cx="5410200" cy="1924050"/>
          </a:xfrm>
        </p:spPr>
        <p:txBody>
          <a:bodyPr/>
          <a:lstStyle/>
          <a:p>
            <a:r>
              <a:rPr lang="en-US" dirty="0"/>
              <a:t>Click icon to add chart</a:t>
            </a:r>
          </a:p>
        </p:txBody>
      </p:sp>
      <p:sp>
        <p:nvSpPr>
          <p:cNvPr id="7" name="Chart Placeholder 2">
            <a:extLst>
              <a:ext uri="{FF2B5EF4-FFF2-40B4-BE49-F238E27FC236}">
                <a16:creationId xmlns:a16="http://schemas.microsoft.com/office/drawing/2014/main" id="{7280B777-A22D-280B-3187-F8EABE1B0879}"/>
              </a:ext>
            </a:extLst>
          </p:cNvPr>
          <p:cNvSpPr>
            <a:spLocks noGrp="1"/>
          </p:cNvSpPr>
          <p:nvPr>
            <p:ph type="chart" sz="quarter" idx="32"/>
          </p:nvPr>
        </p:nvSpPr>
        <p:spPr>
          <a:xfrm>
            <a:off x="6172200" y="3972609"/>
            <a:ext cx="5410200" cy="1924050"/>
          </a:xfrm>
        </p:spPr>
        <p:txBody>
          <a:bodyPr/>
          <a:lstStyle/>
          <a:p>
            <a:r>
              <a:rPr lang="en-US" dirty="0"/>
              <a:t>Click icon to add chart</a:t>
            </a:r>
          </a:p>
        </p:txBody>
      </p:sp>
      <p:sp>
        <p:nvSpPr>
          <p:cNvPr id="14" name="Chart Placeholder 2">
            <a:extLst>
              <a:ext uri="{FF2B5EF4-FFF2-40B4-BE49-F238E27FC236}">
                <a16:creationId xmlns:a16="http://schemas.microsoft.com/office/drawing/2014/main" id="{2C11B0B6-19E8-0F46-62A9-191A5728893D}"/>
              </a:ext>
            </a:extLst>
          </p:cNvPr>
          <p:cNvSpPr>
            <a:spLocks noGrp="1"/>
          </p:cNvSpPr>
          <p:nvPr>
            <p:ph type="chart" sz="quarter" idx="33"/>
          </p:nvPr>
        </p:nvSpPr>
        <p:spPr>
          <a:xfrm>
            <a:off x="609600" y="1898650"/>
            <a:ext cx="5410200" cy="1924050"/>
          </a:xfrm>
        </p:spPr>
        <p:txBody>
          <a:bodyPr/>
          <a:lstStyle/>
          <a:p>
            <a:r>
              <a:rPr lang="en-US" dirty="0"/>
              <a:t>Click icon to add chart</a:t>
            </a:r>
          </a:p>
        </p:txBody>
      </p:sp>
      <p:sp>
        <p:nvSpPr>
          <p:cNvPr id="15" name="Chart Placeholder 2">
            <a:extLst>
              <a:ext uri="{FF2B5EF4-FFF2-40B4-BE49-F238E27FC236}">
                <a16:creationId xmlns:a16="http://schemas.microsoft.com/office/drawing/2014/main" id="{6AA788D3-78E3-DC72-05D2-6C3AE0CB3374}"/>
              </a:ext>
            </a:extLst>
          </p:cNvPr>
          <p:cNvSpPr>
            <a:spLocks noGrp="1"/>
          </p:cNvSpPr>
          <p:nvPr>
            <p:ph type="chart" sz="quarter" idx="34"/>
          </p:nvPr>
        </p:nvSpPr>
        <p:spPr>
          <a:xfrm>
            <a:off x="609600" y="3972609"/>
            <a:ext cx="5410200" cy="1924050"/>
          </a:xfrm>
        </p:spPr>
        <p:txBody>
          <a:bodyPr/>
          <a:lstStyle/>
          <a:p>
            <a:r>
              <a:rPr lang="en-US" dirty="0"/>
              <a:t>Click icon to add chart</a:t>
            </a:r>
          </a:p>
        </p:txBody>
      </p:sp>
      <p:sp>
        <p:nvSpPr>
          <p:cNvPr id="8" name="Date Placeholder 4">
            <a:extLst>
              <a:ext uri="{FF2B5EF4-FFF2-40B4-BE49-F238E27FC236}">
                <a16:creationId xmlns:a16="http://schemas.microsoft.com/office/drawing/2014/main" id="{25371273-63D4-ADA3-419B-F6E1D0936929}"/>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96DFA3E3-A7BE-4477-834B-06DC1C0BB938}" type="datetime4">
              <a:rPr lang="en-US" smtClean="0"/>
              <a:t>May 17, 2025</a:t>
            </a:fld>
            <a:endParaRPr lang="en-US" dirty="0"/>
          </a:p>
        </p:txBody>
      </p:sp>
      <p:sp>
        <p:nvSpPr>
          <p:cNvPr id="11" name="Text Placeholder 7">
            <a:extLst>
              <a:ext uri="{FF2B5EF4-FFF2-40B4-BE49-F238E27FC236}">
                <a16:creationId xmlns:a16="http://schemas.microsoft.com/office/drawing/2014/main" id="{D0BE35F7-12FC-E8A7-DEBE-1ECEB88FD8FF}"/>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Tree>
    <p:extLst>
      <p:ext uri="{BB962C8B-B14F-4D97-AF65-F5344CB8AC3E}">
        <p14:creationId xmlns:p14="http://schemas.microsoft.com/office/powerpoint/2010/main" val="10180121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able Slide">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noAutofit/>
          </a:bodyPr>
          <a:lstStyle/>
          <a:p>
            <a:r>
              <a:rPr lang="en-US"/>
              <a:t>Click to edit Master title style</a:t>
            </a:r>
          </a:p>
        </p:txBody>
      </p:sp>
      <p:sp>
        <p:nvSpPr>
          <p:cNvPr id="12" name="Table Placeholder 10">
            <a:extLst>
              <a:ext uri="{FF2B5EF4-FFF2-40B4-BE49-F238E27FC236}">
                <a16:creationId xmlns:a16="http://schemas.microsoft.com/office/drawing/2014/main" id="{40D724CC-2F7D-C8B4-1533-9B5820DA74FD}"/>
              </a:ext>
            </a:extLst>
          </p:cNvPr>
          <p:cNvSpPr>
            <a:spLocks noGrp="1"/>
          </p:cNvSpPr>
          <p:nvPr>
            <p:ph type="tbl" sz="quarter" idx="35"/>
          </p:nvPr>
        </p:nvSpPr>
        <p:spPr>
          <a:xfrm>
            <a:off x="609600" y="1898650"/>
            <a:ext cx="10972800" cy="4006850"/>
          </a:xfrm>
        </p:spPr>
        <p:txBody>
          <a:bodyPr/>
          <a:lstStyle/>
          <a:p>
            <a:r>
              <a:rPr lang="en-US" dirty="0"/>
              <a:t>Click icon to add table</a:t>
            </a:r>
          </a:p>
        </p:txBody>
      </p:sp>
      <p:sp>
        <p:nvSpPr>
          <p:cNvPr id="2" name="Date Placeholder 4">
            <a:extLst>
              <a:ext uri="{FF2B5EF4-FFF2-40B4-BE49-F238E27FC236}">
                <a16:creationId xmlns:a16="http://schemas.microsoft.com/office/drawing/2014/main" id="{18D02B29-16EA-4C5A-95FD-C3FE8CDDCD53}"/>
              </a:ext>
            </a:extLst>
          </p:cNvPr>
          <p:cNvSpPr>
            <a:spLocks noGrp="1"/>
          </p:cNvSpPr>
          <p:nvPr>
            <p:ph type="dt" sz="half" idx="44"/>
          </p:nvPr>
        </p:nvSpPr>
        <p:spPr>
          <a:xfrm>
            <a:off x="10236555" y="136647"/>
            <a:ext cx="1345845" cy="153888"/>
          </a:xfrm>
        </p:spPr>
        <p:txBody>
          <a:bodyPr>
            <a:noAutofit/>
          </a:bodyPr>
          <a:lstStyle>
            <a:lvl1pPr>
              <a:defRPr>
                <a:solidFill>
                  <a:schemeClr val="tx1">
                    <a:lumMod val="75000"/>
                    <a:lumOff val="25000"/>
                  </a:schemeClr>
                </a:solidFill>
              </a:defRPr>
            </a:lvl1pPr>
          </a:lstStyle>
          <a:p>
            <a:fld id="{E022535A-5A5D-499B-AEA0-D8D0837D5420}" type="datetime4">
              <a:rPr lang="en-US" smtClean="0"/>
              <a:t>May 17, 2025</a:t>
            </a:fld>
            <a:endParaRPr lang="en-US" dirty="0"/>
          </a:p>
        </p:txBody>
      </p:sp>
      <p:sp>
        <p:nvSpPr>
          <p:cNvPr id="7" name="Text Placeholder 7">
            <a:extLst>
              <a:ext uri="{FF2B5EF4-FFF2-40B4-BE49-F238E27FC236}">
                <a16:creationId xmlns:a16="http://schemas.microsoft.com/office/drawing/2014/main" id="{4ED771DD-A8E7-36F6-47C3-66B79E0249F5}"/>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Tree>
    <p:extLst>
      <p:ext uri="{BB962C8B-B14F-4D97-AF65-F5344CB8AC3E}">
        <p14:creationId xmlns:p14="http://schemas.microsoft.com/office/powerpoint/2010/main" val="5695238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One-column + Image">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854700" cy="615553"/>
          </a:xfrm>
        </p:spPr>
        <p:txBody>
          <a:bodyPr>
            <a:noAutofit/>
          </a:bodyPr>
          <a:lstStyle>
            <a:lvl1pPr>
              <a:defRPr sz="4000"/>
            </a:lvl1pPr>
          </a:lstStyle>
          <a:p>
            <a:r>
              <a:rPr lang="en-US"/>
              <a:t>Click to edit Master title sty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2196559"/>
            <a:ext cx="5854700"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5 Guidehouse Inc.</a:t>
            </a:r>
          </a:p>
        </p:txBody>
      </p:sp>
      <p:sp>
        <p:nvSpPr>
          <p:cNvPr id="3" name="Picture Placeholder 6">
            <a:extLst>
              <a:ext uri="{FF2B5EF4-FFF2-40B4-BE49-F238E27FC236}">
                <a16:creationId xmlns:a16="http://schemas.microsoft.com/office/drawing/2014/main" id="{E63F9C31-8332-AB06-3853-4F9BFCA26548}"/>
              </a:ext>
            </a:extLst>
          </p:cNvPr>
          <p:cNvSpPr>
            <a:spLocks noGrp="1"/>
          </p:cNvSpPr>
          <p:nvPr>
            <p:ph type="pic" sz="quarter" idx="18" hasCustomPrompt="1"/>
          </p:nvPr>
        </p:nvSpPr>
        <p:spPr>
          <a:xfrm>
            <a:off x="7019924" y="0"/>
            <a:ext cx="5172076" cy="6858000"/>
          </a:xfrm>
          <a:solidFill>
            <a:schemeClr val="bg1">
              <a:lumMod val="75000"/>
            </a:schemeClr>
          </a:solidFill>
        </p:spPr>
        <p:txBody>
          <a:bodyPr anchor="ctr"/>
          <a:lstStyle>
            <a:lvl1pPr algn="ctr">
              <a:defRPr sz="1000" b="0"/>
            </a:lvl1pPr>
          </a:lstStyle>
          <a:p>
            <a:r>
              <a:rPr lang="en-US" dirty="0"/>
              <a:t>Insert Photo</a:t>
            </a:r>
          </a:p>
        </p:txBody>
      </p:sp>
    </p:spTree>
    <p:extLst>
      <p:ext uri="{BB962C8B-B14F-4D97-AF65-F5344CB8AC3E}">
        <p14:creationId xmlns:p14="http://schemas.microsoft.com/office/powerpoint/2010/main" val="18904899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ntact Slide">
    <p:bg>
      <p:bgPr>
        <a:solidFill>
          <a:srgbClr val="F3F3F3"/>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6F618-CF2E-13EA-0DF7-5CBE80F733F0}"/>
              </a:ext>
            </a:extLst>
          </p:cNvPr>
          <p:cNvSpPr/>
          <p:nvPr/>
        </p:nvSpPr>
        <p:spPr>
          <a:xfrm>
            <a:off x="0" y="0"/>
            <a:ext cx="4064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2556BBD-E905-984B-4075-604E21C91A06}"/>
              </a:ext>
            </a:extLst>
          </p:cNvPr>
          <p:cNvSpPr>
            <a:spLocks noGrp="1"/>
          </p:cNvSpPr>
          <p:nvPr>
            <p:ph type="title" hasCustomPrompt="1"/>
          </p:nvPr>
        </p:nvSpPr>
        <p:spPr>
          <a:xfrm>
            <a:off x="609600" y="1030476"/>
            <a:ext cx="2844800" cy="557588"/>
          </a:xfrm>
        </p:spPr>
        <p:txBody>
          <a:bodyPr vert="horz" lIns="0" tIns="0" rIns="0" bIns="0" rtlCol="0" anchor="b" anchorCtr="0">
            <a:noAutofit/>
          </a:bodyPr>
          <a:lstStyle>
            <a:lvl1pPr>
              <a:defRPr lang="en-US" sz="4000" dirty="0">
                <a:solidFill>
                  <a:schemeClr val="bg1"/>
                </a:solidFill>
              </a:defRPr>
            </a:lvl1pPr>
          </a:lstStyle>
          <a:p>
            <a:pPr marL="0" lvl="0"/>
            <a:r>
              <a:rPr lang="en-US"/>
              <a:t>Contact Us</a:t>
            </a:r>
          </a:p>
        </p:txBody>
      </p:sp>
      <p:sp>
        <p:nvSpPr>
          <p:cNvPr id="4" name="Slide Number Placeholder 3">
            <a:extLst>
              <a:ext uri="{FF2B5EF4-FFF2-40B4-BE49-F238E27FC236}">
                <a16:creationId xmlns:a16="http://schemas.microsoft.com/office/drawing/2014/main" id="{311F2AC4-4CDC-2C50-1F85-6A0BB78D2083}"/>
              </a:ext>
            </a:extLst>
          </p:cNvPr>
          <p:cNvSpPr>
            <a:spLocks noGrp="1"/>
          </p:cNvSpPr>
          <p:nvPr>
            <p:ph type="sldNum" sz="quarter" idx="11"/>
          </p:nvPr>
        </p:nvSpPr>
        <p:spPr>
          <a:xfrm>
            <a:off x="11248008" y="6504057"/>
            <a:ext cx="334392" cy="153888"/>
          </a:xfrm>
          <a:prstGeom prst="rect">
            <a:avLst/>
          </a:prstGeom>
        </p:spPr>
        <p:txBody>
          <a:bodyPr/>
          <a:lstStyle>
            <a:lvl1pPr marL="0" algn="r" defTabSz="914400" rtl="0" eaLnBrk="1" latinLnBrk="0" hangingPunct="1">
              <a:lnSpc>
                <a:spcPct val="100000"/>
              </a:lnSpc>
              <a:defRPr lang="en-US" sz="1000" kern="1200" smtClean="0">
                <a:solidFill>
                  <a:schemeClr val="tx1">
                    <a:tint val="75000"/>
                  </a:schemeClr>
                </a:solidFill>
                <a:latin typeface="+mn-lt"/>
                <a:ea typeface="+mn-ea"/>
                <a:cs typeface="+mn-cs"/>
              </a:defRPr>
            </a:lvl1pPr>
          </a:lstStyle>
          <a:p>
            <a:fld id="{FD814145-5B10-4F3F-A6BF-3641B91211CF}" type="slidenum">
              <a:rPr lang="en-US" smtClean="0"/>
              <a:pPr/>
              <a:t>‹#›</a:t>
            </a:fld>
            <a:endParaRPr lang="en-US" dirty="0"/>
          </a:p>
        </p:txBody>
      </p:sp>
      <p:sp>
        <p:nvSpPr>
          <p:cNvPr id="8" name="Footer Placeholder 13">
            <a:extLst>
              <a:ext uri="{FF2B5EF4-FFF2-40B4-BE49-F238E27FC236}">
                <a16:creationId xmlns:a16="http://schemas.microsoft.com/office/drawing/2014/main" id="{921022F6-082E-070C-4DB3-B094BAC8F06A}"/>
              </a:ext>
            </a:extLst>
          </p:cNvPr>
          <p:cNvSpPr>
            <a:spLocks noGrp="1"/>
          </p:cNvSpPr>
          <p:nvPr>
            <p:ph type="ftr" sz="quarter" idx="27"/>
          </p:nvPr>
        </p:nvSpPr>
        <p:spPr>
          <a:xfrm>
            <a:off x="609600" y="6566085"/>
            <a:ext cx="2843782" cy="153888"/>
          </a:xfrm>
          <a:prstGeom prst="rect">
            <a:avLst/>
          </a:prstGeom>
        </p:spPr>
        <p:txBody>
          <a:bodyPr>
            <a:noAutofit/>
          </a:bodyPr>
          <a:lstStyle>
            <a:lvl1pPr>
              <a:defRPr>
                <a:solidFill>
                  <a:schemeClr val="bg1">
                    <a:lumMod val="65000"/>
                  </a:schemeClr>
                </a:solidFill>
              </a:defRPr>
            </a:lvl1pPr>
          </a:lstStyle>
          <a:p>
            <a:r>
              <a:rPr lang="en-US" dirty="0"/>
              <a:t>© 2025 Guidehouse Inc.</a:t>
            </a:r>
          </a:p>
        </p:txBody>
      </p:sp>
      <p:cxnSp>
        <p:nvCxnSpPr>
          <p:cNvPr id="9" name="Straight Connector 8">
            <a:extLst>
              <a:ext uri="{FF2B5EF4-FFF2-40B4-BE49-F238E27FC236}">
                <a16:creationId xmlns:a16="http://schemas.microsoft.com/office/drawing/2014/main" id="{D4F8EC44-A14B-04DD-722C-DF999D485AB7}"/>
              </a:ext>
            </a:extLst>
          </p:cNvPr>
          <p:cNvCxnSpPr>
            <a:cxnSpLocks/>
          </p:cNvCxnSpPr>
          <p:nvPr/>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79AEE561-F1DF-C182-2D00-A201CFF5B50E}"/>
              </a:ext>
            </a:extLst>
          </p:cNvPr>
          <p:cNvSpPr>
            <a:spLocks noGrp="1"/>
          </p:cNvSpPr>
          <p:nvPr>
            <p:ph type="body" sz="quarter" idx="25" hasCustomPrompt="1"/>
          </p:nvPr>
        </p:nvSpPr>
        <p:spPr>
          <a:xfrm>
            <a:off x="609600" y="138027"/>
            <a:ext cx="2843782" cy="153888"/>
          </a:xfrm>
        </p:spPr>
        <p:txBody>
          <a:bodyPr wrap="square"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E7B4B7-4D67-15CD-FAE2-B9C5F23DD6EA}"/>
              </a:ext>
            </a:extLst>
          </p:cNvPr>
          <p:cNvCxnSpPr>
            <a:cxnSpLocks/>
          </p:cNvCxnSpPr>
          <p:nvPr/>
        </p:nvCxnSpPr>
        <p:spPr>
          <a:xfrm>
            <a:off x="0" y="426998"/>
            <a:ext cx="41656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28" name="Graphic 27">
            <a:extLst>
              <a:ext uri="{FF2B5EF4-FFF2-40B4-BE49-F238E27FC236}">
                <a16:creationId xmlns:a16="http://schemas.microsoft.com/office/drawing/2014/main" id="{3206FDDC-B4E4-B862-C400-9BE84AC048F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0038" y="4434699"/>
            <a:ext cx="255772" cy="255772"/>
          </a:xfrm>
          <a:prstGeom prst="rect">
            <a:avLst/>
          </a:prstGeom>
        </p:spPr>
      </p:pic>
      <p:pic>
        <p:nvPicPr>
          <p:cNvPr id="29" name="Graphic 28">
            <a:extLst>
              <a:ext uri="{FF2B5EF4-FFF2-40B4-BE49-F238E27FC236}">
                <a16:creationId xmlns:a16="http://schemas.microsoft.com/office/drawing/2014/main" id="{D21F0717-32ED-EB7B-05F5-B8C9E6E6E66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9600" y="5244372"/>
            <a:ext cx="256648" cy="256648"/>
          </a:xfrm>
          <a:prstGeom prst="rect">
            <a:avLst/>
          </a:prstGeom>
        </p:spPr>
      </p:pic>
      <p:pic>
        <p:nvPicPr>
          <p:cNvPr id="30" name="Graphic 29">
            <a:extLst>
              <a:ext uri="{FF2B5EF4-FFF2-40B4-BE49-F238E27FC236}">
                <a16:creationId xmlns:a16="http://schemas.microsoft.com/office/drawing/2014/main" id="{BBAB294A-E131-F955-1109-D240A2C9C3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9955" y="4836476"/>
            <a:ext cx="255938" cy="255938"/>
          </a:xfrm>
          <a:prstGeom prst="rect">
            <a:avLst/>
          </a:prstGeom>
        </p:spPr>
      </p:pic>
      <p:sp>
        <p:nvSpPr>
          <p:cNvPr id="32" name="Freeform 43">
            <a:extLst>
              <a:ext uri="{FF2B5EF4-FFF2-40B4-BE49-F238E27FC236}">
                <a16:creationId xmlns:a16="http://schemas.microsoft.com/office/drawing/2014/main" id="{6127DE7E-C870-F0DF-B8E2-9EDEABB6E149}"/>
              </a:ext>
            </a:extLst>
          </p:cNvPr>
          <p:cNvSpPr/>
          <p:nvPr/>
        </p:nvSpPr>
        <p:spPr>
          <a:xfrm>
            <a:off x="612731" y="5655112"/>
            <a:ext cx="250388" cy="250388"/>
          </a:xfrm>
          <a:custGeom>
            <a:avLst/>
            <a:gdLst>
              <a:gd name="connsiteX0" fmla="*/ 225288 w 450576"/>
              <a:gd name="connsiteY0" fmla="*/ 0 h 450576"/>
              <a:gd name="connsiteX1" fmla="*/ 0 w 450576"/>
              <a:gd name="connsiteY1" fmla="*/ 225288 h 450576"/>
              <a:gd name="connsiteX2" fmla="*/ 225288 w 450576"/>
              <a:gd name="connsiteY2" fmla="*/ 450576 h 450576"/>
              <a:gd name="connsiteX3" fmla="*/ 450576 w 450576"/>
              <a:gd name="connsiteY3" fmla="*/ 225288 h 450576"/>
              <a:gd name="connsiteX4" fmla="*/ 225288 w 450576"/>
              <a:gd name="connsiteY4" fmla="*/ 0 h 450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76" h="450576">
                <a:moveTo>
                  <a:pt x="225288" y="0"/>
                </a:moveTo>
                <a:cubicBezTo>
                  <a:pt x="100869" y="0"/>
                  <a:pt x="0" y="100869"/>
                  <a:pt x="0" y="225288"/>
                </a:cubicBezTo>
                <a:cubicBezTo>
                  <a:pt x="0" y="349707"/>
                  <a:pt x="100869" y="450576"/>
                  <a:pt x="225288" y="450576"/>
                </a:cubicBezTo>
                <a:cubicBezTo>
                  <a:pt x="349707" y="450576"/>
                  <a:pt x="450576" y="349707"/>
                  <a:pt x="450576" y="225288"/>
                </a:cubicBezTo>
                <a:cubicBezTo>
                  <a:pt x="450576" y="100869"/>
                  <a:pt x="349707" y="0"/>
                  <a:pt x="225288" y="0"/>
                </a:cubicBezTo>
                <a:close/>
              </a:path>
            </a:pathLst>
          </a:custGeom>
          <a:solidFill>
            <a:schemeClr val="accent2"/>
          </a:solidFill>
          <a:ln w="365" cap="flat">
            <a:noFill/>
            <a:prstDash val="solid"/>
            <a:miter/>
          </a:ln>
        </p:spPr>
        <p:txBody>
          <a:bodyPr rtlCol="0" anchor="ctr"/>
          <a:lstStyle/>
          <a:p>
            <a:endParaRPr lang="en-US" dirty="0">
              <a:solidFill>
                <a:schemeClr val="bg1"/>
              </a:solidFill>
            </a:endParaRPr>
          </a:p>
        </p:txBody>
      </p:sp>
      <p:cxnSp>
        <p:nvCxnSpPr>
          <p:cNvPr id="6" name="Straight Connector 5">
            <a:extLst>
              <a:ext uri="{FF2B5EF4-FFF2-40B4-BE49-F238E27FC236}">
                <a16:creationId xmlns:a16="http://schemas.microsoft.com/office/drawing/2014/main" id="{6E616624-F30E-25E7-BBCE-E9478B045916}"/>
              </a:ext>
            </a:extLst>
          </p:cNvPr>
          <p:cNvCxnSpPr>
            <a:cxnSpLocks/>
          </p:cNvCxnSpPr>
          <p:nvPr userDrawn="1"/>
        </p:nvCxnSpPr>
        <p:spPr>
          <a:xfrm>
            <a:off x="0" y="6431003"/>
            <a:ext cx="4064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B804AFB-D8C9-4FCF-8CBC-A80B114B9A68}"/>
              </a:ext>
            </a:extLst>
          </p:cNvPr>
          <p:cNvCxnSpPr>
            <a:cxnSpLocks/>
          </p:cNvCxnSpPr>
          <p:nvPr userDrawn="1"/>
        </p:nvCxnSpPr>
        <p:spPr>
          <a:xfrm>
            <a:off x="0" y="426998"/>
            <a:ext cx="41656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CA1DA7B2-7934-1637-79DE-26D4B8B0A234}"/>
              </a:ext>
            </a:extLst>
          </p:cNvPr>
          <p:cNvGrpSpPr/>
          <p:nvPr userDrawn="1"/>
        </p:nvGrpSpPr>
        <p:grpSpPr>
          <a:xfrm>
            <a:off x="609601" y="1921054"/>
            <a:ext cx="2843783" cy="254588"/>
            <a:chOff x="609601" y="3820887"/>
            <a:chExt cx="4876798" cy="0"/>
          </a:xfrm>
        </p:grpSpPr>
        <p:cxnSp>
          <p:nvCxnSpPr>
            <p:cNvPr id="11" name="Straight Connector 10">
              <a:extLst>
                <a:ext uri="{FF2B5EF4-FFF2-40B4-BE49-F238E27FC236}">
                  <a16:creationId xmlns:a16="http://schemas.microsoft.com/office/drawing/2014/main" id="{22617C65-3034-A252-8D5D-4D880171BE48}"/>
                </a:ext>
              </a:extLst>
            </p:cNvPr>
            <p:cNvCxnSpPr>
              <a:cxnSpLocks/>
            </p:cNvCxnSpPr>
            <p:nvPr/>
          </p:nvCxnSpPr>
          <p:spPr>
            <a:xfrm flipH="1">
              <a:off x="609601" y="3820887"/>
              <a:ext cx="487679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463F618-8C33-3A96-D317-D5BC7F24CB54}"/>
                </a:ext>
              </a:extLst>
            </p:cNvPr>
            <p:cNvCxnSpPr>
              <a:cxnSpLocks/>
            </p:cNvCxnSpPr>
            <p:nvPr/>
          </p:nvCxnSpPr>
          <p:spPr>
            <a:xfrm rot="5400000" flipH="1">
              <a:off x="1274547" y="3155941"/>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Text Placeholder 33">
            <a:extLst>
              <a:ext uri="{FF2B5EF4-FFF2-40B4-BE49-F238E27FC236}">
                <a16:creationId xmlns:a16="http://schemas.microsoft.com/office/drawing/2014/main" id="{858712D1-1827-7705-6D36-46E29414ECF9}"/>
              </a:ext>
            </a:extLst>
          </p:cNvPr>
          <p:cNvSpPr>
            <a:spLocks noGrp="1"/>
          </p:cNvSpPr>
          <p:nvPr>
            <p:ph type="body" sz="quarter" idx="29"/>
          </p:nvPr>
        </p:nvSpPr>
        <p:spPr>
          <a:xfrm>
            <a:off x="609599" y="2274130"/>
            <a:ext cx="2843785" cy="1227104"/>
          </a:xfrm>
          <a:noFill/>
        </p:spPr>
        <p:txBody>
          <a:bodyPr wrap="square" lIns="0" anchor="t">
            <a:noAutofit/>
          </a:bodyPr>
          <a:lstStyle>
            <a:lvl1pPr>
              <a:defRPr lang="en-US" sz="1800" dirty="0">
                <a:solidFill>
                  <a:schemeClr val="bg1"/>
                </a:solidFill>
              </a:defRPr>
            </a:lvl1pPr>
          </a:lstStyle>
          <a:p>
            <a:pPr lvl="0"/>
            <a:r>
              <a:rPr lang="en-US"/>
              <a:t>Click to edit Master text styles</a:t>
            </a:r>
          </a:p>
        </p:txBody>
      </p:sp>
      <p:pic>
        <p:nvPicPr>
          <p:cNvPr id="23" name="Picture 22" descr="A black background with a black square&#10;&#10;Description automatically generated with medium confidence">
            <a:extLst>
              <a:ext uri="{FF2B5EF4-FFF2-40B4-BE49-F238E27FC236}">
                <a16:creationId xmlns:a16="http://schemas.microsoft.com/office/drawing/2014/main" id="{DFBAD531-1DE5-2FEF-5FE0-87AF88C485D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54677" y="5685779"/>
            <a:ext cx="174441" cy="174441"/>
          </a:xfrm>
          <a:prstGeom prst="rect">
            <a:avLst/>
          </a:prstGeom>
        </p:spPr>
      </p:pic>
      <p:sp>
        <p:nvSpPr>
          <p:cNvPr id="34" name="Text Placeholder 7">
            <a:extLst>
              <a:ext uri="{FF2B5EF4-FFF2-40B4-BE49-F238E27FC236}">
                <a16:creationId xmlns:a16="http://schemas.microsoft.com/office/drawing/2014/main" id="{3BDC7183-C322-7F39-32D6-7D94F281050D}"/>
              </a:ext>
            </a:extLst>
          </p:cNvPr>
          <p:cNvSpPr>
            <a:spLocks noGrp="1"/>
          </p:cNvSpPr>
          <p:nvPr>
            <p:ph type="body" sz="quarter" idx="22" hasCustomPrompt="1"/>
          </p:nvPr>
        </p:nvSpPr>
        <p:spPr>
          <a:xfrm>
            <a:off x="973495" y="4496375"/>
            <a:ext cx="2641598" cy="249603"/>
          </a:xfrm>
        </p:spPr>
        <p:txBody>
          <a:bodyPr>
            <a:noAutofit/>
          </a:bodyPr>
          <a:lstStyle>
            <a:lvl1pPr>
              <a:defRPr sz="1000" u="sng">
                <a:solidFill>
                  <a:schemeClr val="bg1"/>
                </a:solidFill>
              </a:defRPr>
            </a:lvl1pPr>
          </a:lstStyle>
          <a:p>
            <a:pPr lvl="0"/>
            <a:r>
              <a:rPr lang="en-US"/>
              <a:t>Name@Guidehouse.com</a:t>
            </a:r>
          </a:p>
        </p:txBody>
      </p:sp>
      <p:sp>
        <p:nvSpPr>
          <p:cNvPr id="35" name="Text Placeholder 7">
            <a:extLst>
              <a:ext uri="{FF2B5EF4-FFF2-40B4-BE49-F238E27FC236}">
                <a16:creationId xmlns:a16="http://schemas.microsoft.com/office/drawing/2014/main" id="{DA457577-EF3C-20D8-129A-576EBE386AE7}"/>
              </a:ext>
            </a:extLst>
          </p:cNvPr>
          <p:cNvSpPr>
            <a:spLocks noGrp="1"/>
          </p:cNvSpPr>
          <p:nvPr>
            <p:ph type="body" sz="quarter" idx="30" hasCustomPrompt="1"/>
          </p:nvPr>
        </p:nvSpPr>
        <p:spPr>
          <a:xfrm>
            <a:off x="973495" y="4885046"/>
            <a:ext cx="2641598" cy="249603"/>
          </a:xfrm>
        </p:spPr>
        <p:txBody>
          <a:bodyPr>
            <a:noAutofit/>
          </a:bodyPr>
          <a:lstStyle>
            <a:lvl1pPr>
              <a:defRPr sz="1000" u="sng">
                <a:solidFill>
                  <a:schemeClr val="bg1"/>
                </a:solidFill>
              </a:defRPr>
            </a:lvl1pPr>
          </a:lstStyle>
          <a:p>
            <a:pPr lvl="0"/>
            <a:r>
              <a:rPr lang="en-US"/>
              <a:t>Web Address</a:t>
            </a:r>
          </a:p>
        </p:txBody>
      </p:sp>
      <p:sp>
        <p:nvSpPr>
          <p:cNvPr id="36" name="Text Placeholder 7">
            <a:extLst>
              <a:ext uri="{FF2B5EF4-FFF2-40B4-BE49-F238E27FC236}">
                <a16:creationId xmlns:a16="http://schemas.microsoft.com/office/drawing/2014/main" id="{C57DEAE3-AE01-CA08-315B-36CADEA30957}"/>
              </a:ext>
            </a:extLst>
          </p:cNvPr>
          <p:cNvSpPr>
            <a:spLocks noGrp="1"/>
          </p:cNvSpPr>
          <p:nvPr>
            <p:ph type="body" sz="quarter" idx="31" hasCustomPrompt="1"/>
          </p:nvPr>
        </p:nvSpPr>
        <p:spPr>
          <a:xfrm>
            <a:off x="973495" y="5302491"/>
            <a:ext cx="2641598" cy="249603"/>
          </a:xfrm>
        </p:spPr>
        <p:txBody>
          <a:bodyPr>
            <a:noAutofit/>
          </a:bodyPr>
          <a:lstStyle>
            <a:lvl1pPr>
              <a:defRPr sz="1000" u="sng">
                <a:solidFill>
                  <a:schemeClr val="bg1"/>
                </a:solidFill>
              </a:defRPr>
            </a:lvl1pPr>
          </a:lstStyle>
          <a:p>
            <a:pPr lvl="0"/>
            <a:r>
              <a:rPr lang="en-US"/>
              <a:t>LinkedIn Page</a:t>
            </a:r>
          </a:p>
        </p:txBody>
      </p:sp>
      <p:sp>
        <p:nvSpPr>
          <p:cNvPr id="37" name="Text Placeholder 7">
            <a:extLst>
              <a:ext uri="{FF2B5EF4-FFF2-40B4-BE49-F238E27FC236}">
                <a16:creationId xmlns:a16="http://schemas.microsoft.com/office/drawing/2014/main" id="{1D4A47DE-32B1-7824-7BFD-27892B192ADD}"/>
              </a:ext>
            </a:extLst>
          </p:cNvPr>
          <p:cNvSpPr>
            <a:spLocks noGrp="1"/>
          </p:cNvSpPr>
          <p:nvPr>
            <p:ph type="body" sz="quarter" idx="32" hasCustomPrompt="1"/>
          </p:nvPr>
        </p:nvSpPr>
        <p:spPr>
          <a:xfrm>
            <a:off x="973495" y="5707274"/>
            <a:ext cx="2641598" cy="249603"/>
          </a:xfrm>
        </p:spPr>
        <p:txBody>
          <a:bodyPr>
            <a:noAutofit/>
          </a:bodyPr>
          <a:lstStyle>
            <a:lvl1pPr>
              <a:defRPr sz="1000" u="sng">
                <a:solidFill>
                  <a:schemeClr val="bg1"/>
                </a:solidFill>
              </a:defRPr>
            </a:lvl1pPr>
          </a:lstStyle>
          <a:p>
            <a:pPr lvl="0"/>
            <a:r>
              <a:rPr lang="en-US"/>
              <a:t>Guidehouse YouTube</a:t>
            </a:r>
          </a:p>
        </p:txBody>
      </p:sp>
      <p:sp>
        <p:nvSpPr>
          <p:cNvPr id="42" name="Picture Placeholder 11">
            <a:extLst>
              <a:ext uri="{FF2B5EF4-FFF2-40B4-BE49-F238E27FC236}">
                <a16:creationId xmlns:a16="http://schemas.microsoft.com/office/drawing/2014/main" id="{1FF9DD26-55C4-2B04-094D-64B96B73C564}"/>
              </a:ext>
            </a:extLst>
          </p:cNvPr>
          <p:cNvSpPr>
            <a:spLocks noGrp="1"/>
          </p:cNvSpPr>
          <p:nvPr>
            <p:ph type="pic" sz="quarter" idx="14" hasCustomPrompt="1"/>
          </p:nvPr>
        </p:nvSpPr>
        <p:spPr>
          <a:xfrm>
            <a:off x="4062982" y="0"/>
            <a:ext cx="8129017" cy="6858000"/>
          </a:xfrm>
          <a:solidFill>
            <a:schemeClr val="bg1">
              <a:lumMod val="75000"/>
            </a:schemeClr>
          </a:solidFill>
        </p:spPr>
        <p:txBody>
          <a:bodyPr vert="horz" lIns="0" tIns="0" rIns="0" bIns="0" rtlCol="0" anchor="ctr">
            <a:noAutofit/>
          </a:bodyPr>
          <a:lstStyle>
            <a:lvl1pPr>
              <a:defRPr lang="en-US" sz="1000" b="0"/>
            </a:lvl1pPr>
          </a:lstStyle>
          <a:p>
            <a:pPr lvl="0" algn="ctr"/>
            <a:r>
              <a:rPr lang="en-US" dirty="0"/>
              <a:t>Insert Photo</a:t>
            </a:r>
          </a:p>
        </p:txBody>
      </p:sp>
    </p:spTree>
    <p:extLst>
      <p:ext uri="{BB962C8B-B14F-4D97-AF65-F5344CB8AC3E}">
        <p14:creationId xmlns:p14="http://schemas.microsoft.com/office/powerpoint/2010/main" val="2506855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Cover 1 - Black Text">
    <p:bg>
      <p:bgPr>
        <a:solidFill>
          <a:schemeClr val="bg1">
            <a:lumMod val="75000"/>
          </a:schemeClr>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4594548"/>
            <a:ext cx="53766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sp>
        <p:nvSpPr>
          <p:cNvPr id="18" name="Text Placeholder 16">
            <a:extLst>
              <a:ext uri="{FF2B5EF4-FFF2-40B4-BE49-F238E27FC236}">
                <a16:creationId xmlns:a16="http://schemas.microsoft.com/office/drawing/2014/main" id="{F2A9289B-23E0-657B-DF89-7F9B74F7660F}"/>
              </a:ext>
            </a:extLst>
          </p:cNvPr>
          <p:cNvSpPr>
            <a:spLocks noGrp="1"/>
          </p:cNvSpPr>
          <p:nvPr>
            <p:ph type="body" sz="quarter" idx="12" hasCustomPrompt="1"/>
          </p:nvPr>
        </p:nvSpPr>
        <p:spPr>
          <a:xfrm>
            <a:off x="612648" y="1527048"/>
            <a:ext cx="2468880" cy="215444"/>
          </a:xfrm>
        </p:spPr>
        <p:txBody>
          <a:bodyPr wrap="square">
            <a:noAutofit/>
          </a:bodyPr>
          <a:lstStyle>
            <a:lvl1pPr algn="l">
              <a:spcAft>
                <a:spcPts val="0"/>
              </a:spcAft>
              <a:defRPr sz="1400" b="1" cap="all" spc="300" baseline="0">
                <a:solidFill>
                  <a:schemeClr val="tx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
        <p:nvSpPr>
          <p:cNvPr id="7" name="Text Placeholder 33">
            <a:extLst>
              <a:ext uri="{FF2B5EF4-FFF2-40B4-BE49-F238E27FC236}">
                <a16:creationId xmlns:a16="http://schemas.microsoft.com/office/drawing/2014/main" id="{31A9C09B-A70B-7FAF-E144-352D9BBCCEE1}"/>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8" name="Text Placeholder 33">
            <a:extLst>
              <a:ext uri="{FF2B5EF4-FFF2-40B4-BE49-F238E27FC236}">
                <a16:creationId xmlns:a16="http://schemas.microsoft.com/office/drawing/2014/main" id="{BE4ABADF-2476-619E-BCA6-A34680813588}"/>
              </a:ext>
            </a:extLst>
          </p:cNvPr>
          <p:cNvSpPr>
            <a:spLocks noGrp="1"/>
          </p:cNvSpPr>
          <p:nvPr>
            <p:ph type="body" sz="quarter" idx="16"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1">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pic>
        <p:nvPicPr>
          <p:cNvPr id="12" name="Graphic 11">
            <a:extLst>
              <a:ext uri="{FF2B5EF4-FFF2-40B4-BE49-F238E27FC236}">
                <a16:creationId xmlns:a16="http://schemas.microsoft.com/office/drawing/2014/main" id="{5F145E50-2BEB-594A-B16A-E6A0CD3946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1" y="555336"/>
            <a:ext cx="1729316" cy="439340"/>
          </a:xfrm>
          <a:prstGeom prst="rect">
            <a:avLst/>
          </a:prstGeom>
        </p:spPr>
      </p:pic>
      <p:pic>
        <p:nvPicPr>
          <p:cNvPr id="14" name="Graphic 13">
            <a:extLst>
              <a:ext uri="{FF2B5EF4-FFF2-40B4-BE49-F238E27FC236}">
                <a16:creationId xmlns:a16="http://schemas.microsoft.com/office/drawing/2014/main" id="{B008AB52-CC4C-78AA-9B69-FC36D4B7815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05760" y="6092319"/>
            <a:ext cx="1834388" cy="210313"/>
          </a:xfrm>
          <a:prstGeom prst="rect">
            <a:avLst/>
          </a:prstGeom>
        </p:spPr>
      </p:pic>
    </p:spTree>
    <p:extLst>
      <p:ext uri="{BB962C8B-B14F-4D97-AF65-F5344CB8AC3E}">
        <p14:creationId xmlns:p14="http://schemas.microsoft.com/office/powerpoint/2010/main" val="117393041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ntact Slide 2">
    <p:bg>
      <p:bgPr>
        <a:solidFill>
          <a:srgbClr val="F3F3F3"/>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FC4F1AD-EC45-7E34-BADB-AAF710BD4B93}"/>
              </a:ext>
            </a:extLst>
          </p:cNvPr>
          <p:cNvSpPr/>
          <p:nvPr/>
        </p:nvSpPr>
        <p:spPr>
          <a:xfrm>
            <a:off x="0" y="-1"/>
            <a:ext cx="4063995" cy="685799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id="{243C5BA8-7179-8270-C9BB-2F55B7B00C0F}"/>
              </a:ext>
            </a:extLst>
          </p:cNvPr>
          <p:cNvSpPr/>
          <p:nvPr/>
        </p:nvSpPr>
        <p:spPr>
          <a:xfrm>
            <a:off x="627177" y="5265507"/>
            <a:ext cx="221494" cy="22149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33">
            <a:extLst>
              <a:ext uri="{FF2B5EF4-FFF2-40B4-BE49-F238E27FC236}">
                <a16:creationId xmlns:a16="http://schemas.microsoft.com/office/drawing/2014/main" id="{6809E94E-2FFC-A969-42EF-4BAE752C498A}"/>
              </a:ext>
            </a:extLst>
          </p:cNvPr>
          <p:cNvSpPr/>
          <p:nvPr/>
        </p:nvSpPr>
        <p:spPr>
          <a:xfrm>
            <a:off x="627177" y="4860694"/>
            <a:ext cx="221494" cy="22149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Oval 34">
            <a:extLst>
              <a:ext uri="{FF2B5EF4-FFF2-40B4-BE49-F238E27FC236}">
                <a16:creationId xmlns:a16="http://schemas.microsoft.com/office/drawing/2014/main" id="{FA80DCDB-CF74-D037-968C-C968F2A24000}"/>
              </a:ext>
            </a:extLst>
          </p:cNvPr>
          <p:cNvSpPr/>
          <p:nvPr/>
        </p:nvSpPr>
        <p:spPr>
          <a:xfrm>
            <a:off x="627177" y="4451119"/>
            <a:ext cx="221494" cy="22149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2556BBD-E905-984B-4075-604E21C91A06}"/>
              </a:ext>
            </a:extLst>
          </p:cNvPr>
          <p:cNvSpPr>
            <a:spLocks noGrp="1"/>
          </p:cNvSpPr>
          <p:nvPr>
            <p:ph type="title" hasCustomPrompt="1"/>
          </p:nvPr>
        </p:nvSpPr>
        <p:spPr>
          <a:xfrm>
            <a:off x="609600" y="1023088"/>
            <a:ext cx="2844800" cy="557589"/>
          </a:xfrm>
        </p:spPr>
        <p:txBody>
          <a:bodyPr anchor="b">
            <a:noAutofit/>
          </a:bodyPr>
          <a:lstStyle>
            <a:lvl1pPr>
              <a:lnSpc>
                <a:spcPct val="90000"/>
              </a:lnSpc>
              <a:defRPr sz="4000">
                <a:solidFill>
                  <a:schemeClr val="tx2"/>
                </a:solidFill>
              </a:defRPr>
            </a:lvl1pPr>
          </a:lstStyle>
          <a:p>
            <a:r>
              <a:rPr lang="en-US"/>
              <a:t>Contact Us</a:t>
            </a:r>
          </a:p>
        </p:txBody>
      </p:sp>
      <p:grpSp>
        <p:nvGrpSpPr>
          <p:cNvPr id="8" name="Group 7">
            <a:extLst>
              <a:ext uri="{FF2B5EF4-FFF2-40B4-BE49-F238E27FC236}">
                <a16:creationId xmlns:a16="http://schemas.microsoft.com/office/drawing/2014/main" id="{54AE3EC1-342D-FB6B-FDAF-2F58C6189DDB}"/>
              </a:ext>
            </a:extLst>
          </p:cNvPr>
          <p:cNvGrpSpPr/>
          <p:nvPr/>
        </p:nvGrpSpPr>
        <p:grpSpPr>
          <a:xfrm>
            <a:off x="609601" y="1921054"/>
            <a:ext cx="2843783" cy="254588"/>
            <a:chOff x="609601" y="3820887"/>
            <a:chExt cx="4876798" cy="0"/>
          </a:xfrm>
        </p:grpSpPr>
        <p:cxnSp>
          <p:nvCxnSpPr>
            <p:cNvPr id="9" name="Straight Connector 8">
              <a:extLst>
                <a:ext uri="{FF2B5EF4-FFF2-40B4-BE49-F238E27FC236}">
                  <a16:creationId xmlns:a16="http://schemas.microsoft.com/office/drawing/2014/main" id="{B3C93084-9653-E1AF-4113-3BB3C129DF94}"/>
                </a:ext>
              </a:extLst>
            </p:cNvPr>
            <p:cNvCxnSpPr>
              <a:cxnSpLocks/>
            </p:cNvCxnSpPr>
            <p:nvPr/>
          </p:nvCxnSpPr>
          <p:spPr>
            <a:xfrm flipH="1">
              <a:off x="609601" y="3820887"/>
              <a:ext cx="487679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CA2CD75-5FAC-A4AE-07DB-DE9C3B9D3512}"/>
                </a:ext>
              </a:extLst>
            </p:cNvPr>
            <p:cNvCxnSpPr>
              <a:cxnSpLocks/>
            </p:cNvCxnSpPr>
            <p:nvPr/>
          </p:nvCxnSpPr>
          <p:spPr>
            <a:xfrm rot="5400000" flipH="1">
              <a:off x="1274547" y="3155941"/>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 name="Text Placeholder 33">
            <a:extLst>
              <a:ext uri="{FF2B5EF4-FFF2-40B4-BE49-F238E27FC236}">
                <a16:creationId xmlns:a16="http://schemas.microsoft.com/office/drawing/2014/main" id="{1E8F9C8A-8AC9-0DE6-19FE-EAB935A283E0}"/>
              </a:ext>
            </a:extLst>
          </p:cNvPr>
          <p:cNvSpPr>
            <a:spLocks noGrp="1"/>
          </p:cNvSpPr>
          <p:nvPr>
            <p:ph type="body" sz="quarter" idx="29"/>
          </p:nvPr>
        </p:nvSpPr>
        <p:spPr>
          <a:xfrm>
            <a:off x="609599" y="2274130"/>
            <a:ext cx="2843785" cy="1227104"/>
          </a:xfrm>
          <a:noFill/>
        </p:spPr>
        <p:txBody>
          <a:bodyPr wrap="square" lIns="0" anchor="t">
            <a:noAutofit/>
          </a:bodyPr>
          <a:lstStyle>
            <a:lvl1pPr>
              <a:defRPr lang="en-US" sz="1800" dirty="0">
                <a:solidFill>
                  <a:schemeClr val="tx2"/>
                </a:solidFill>
              </a:defRPr>
            </a:lvl1pPr>
          </a:lstStyle>
          <a:p>
            <a:pPr lvl="0"/>
            <a:r>
              <a:rPr lang="en-US"/>
              <a:t>Click to edit Master text styles</a:t>
            </a:r>
          </a:p>
        </p:txBody>
      </p:sp>
      <p:cxnSp>
        <p:nvCxnSpPr>
          <p:cNvPr id="14" name="Straight Connector 13">
            <a:extLst>
              <a:ext uri="{FF2B5EF4-FFF2-40B4-BE49-F238E27FC236}">
                <a16:creationId xmlns:a16="http://schemas.microsoft.com/office/drawing/2014/main" id="{6B3C5C9F-C92E-B834-72C9-77EC61FB67B0}"/>
              </a:ext>
            </a:extLst>
          </p:cNvPr>
          <p:cNvCxnSpPr>
            <a:cxnSpLocks/>
          </p:cNvCxnSpPr>
          <p:nvPr/>
        </p:nvCxnSpPr>
        <p:spPr>
          <a:xfrm>
            <a:off x="0" y="426998"/>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5A54784-CAED-1766-179C-AC6CC1A23556}"/>
              </a:ext>
            </a:extLst>
          </p:cNvPr>
          <p:cNvCxnSpPr>
            <a:cxnSpLocks/>
          </p:cNvCxnSpPr>
          <p:nvPr/>
        </p:nvCxnSpPr>
        <p:spPr>
          <a:xfrm>
            <a:off x="0" y="6431003"/>
            <a:ext cx="40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A03F72ED-D877-6AA8-3532-0EEF5C677946}"/>
              </a:ext>
            </a:extLst>
          </p:cNvPr>
          <p:cNvSpPr>
            <a:spLocks noGrp="1"/>
          </p:cNvSpPr>
          <p:nvPr>
            <p:ph type="body" sz="quarter" idx="30" hasCustomPrompt="1"/>
          </p:nvPr>
        </p:nvSpPr>
        <p:spPr>
          <a:xfrm>
            <a:off x="609600" y="136647"/>
            <a:ext cx="2843782" cy="153888"/>
          </a:xfrm>
        </p:spPr>
        <p:txBody>
          <a:bodyPr wrap="square"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7" name="Footer Placeholder 4">
            <a:extLst>
              <a:ext uri="{FF2B5EF4-FFF2-40B4-BE49-F238E27FC236}">
                <a16:creationId xmlns:a16="http://schemas.microsoft.com/office/drawing/2014/main" id="{4DF17159-DFB7-30F8-507F-ABDD81012B8C}"/>
              </a:ext>
            </a:extLst>
          </p:cNvPr>
          <p:cNvSpPr>
            <a:spLocks noGrp="1"/>
          </p:cNvSpPr>
          <p:nvPr>
            <p:ph type="ftr" sz="quarter" idx="11"/>
          </p:nvPr>
        </p:nvSpPr>
        <p:spPr>
          <a:xfrm>
            <a:off x="609600" y="6567465"/>
            <a:ext cx="2843782" cy="153888"/>
          </a:xfrm>
          <a:prstGeom prst="rect">
            <a:avLst/>
          </a:prstGeom>
        </p:spPr>
        <p:txBody>
          <a:bodyPr>
            <a:noAutofit/>
          </a:bodyPr>
          <a:lstStyle>
            <a:lvl1pPr>
              <a:defRPr>
                <a:solidFill>
                  <a:schemeClr val="tx1">
                    <a:lumMod val="75000"/>
                    <a:lumOff val="25000"/>
                  </a:schemeClr>
                </a:solidFill>
              </a:defRPr>
            </a:lvl1pPr>
          </a:lstStyle>
          <a:p>
            <a:r>
              <a:rPr lang="en-US" dirty="0"/>
              <a:t>© 2024 Guidehouse</a:t>
            </a:r>
          </a:p>
        </p:txBody>
      </p:sp>
      <p:sp>
        <p:nvSpPr>
          <p:cNvPr id="20" name="Date Placeholder 12">
            <a:extLst>
              <a:ext uri="{FF2B5EF4-FFF2-40B4-BE49-F238E27FC236}">
                <a16:creationId xmlns:a16="http://schemas.microsoft.com/office/drawing/2014/main" id="{219FF7E9-1687-B3C1-8EFB-348AC1E3D542}"/>
              </a:ext>
            </a:extLst>
          </p:cNvPr>
          <p:cNvSpPr>
            <a:spLocks noGrp="1"/>
          </p:cNvSpPr>
          <p:nvPr>
            <p:ph type="dt" sz="half" idx="26"/>
          </p:nvPr>
        </p:nvSpPr>
        <p:spPr>
          <a:xfrm>
            <a:off x="10236555" y="138027"/>
            <a:ext cx="1345845" cy="153888"/>
          </a:xfrm>
        </p:spPr>
        <p:txBody>
          <a:bodyPr/>
          <a:lstStyle>
            <a:lvl1pPr>
              <a:defRPr>
                <a:solidFill>
                  <a:schemeClr val="bg1">
                    <a:lumMod val="65000"/>
                  </a:schemeClr>
                </a:solidFill>
              </a:defRPr>
            </a:lvl1pPr>
          </a:lstStyle>
          <a:p>
            <a:fld id="{5AFAB103-A3CA-4344-B6C7-19F361844E18}" type="datetime4">
              <a:rPr lang="en-US" smtClean="0"/>
              <a:t>May 17, 2025</a:t>
            </a:fld>
            <a:endParaRPr lang="en-US" dirty="0"/>
          </a:p>
        </p:txBody>
      </p:sp>
      <p:sp>
        <p:nvSpPr>
          <p:cNvPr id="21" name="Slide Number Placeholder 14">
            <a:extLst>
              <a:ext uri="{FF2B5EF4-FFF2-40B4-BE49-F238E27FC236}">
                <a16:creationId xmlns:a16="http://schemas.microsoft.com/office/drawing/2014/main" id="{CEA6CC5D-E02E-1C35-AC63-68030821FC77}"/>
              </a:ext>
            </a:extLst>
          </p:cNvPr>
          <p:cNvSpPr txBox="1">
            <a:spLocks/>
          </p:cNvSpPr>
          <p:nvPr/>
        </p:nvSpPr>
        <p:spPr>
          <a:xfrm>
            <a:off x="11248008" y="6566085"/>
            <a:ext cx="334392" cy="153888"/>
          </a:xfrm>
          <a:prstGeom prst="rect">
            <a:avLst/>
          </a:prstGeom>
        </p:spPr>
        <p:txBody>
          <a:bodyPr vert="horz" lIns="0" tIns="0" rIns="0" bIns="0" rtlCol="0" anchor="ctr">
            <a:spAutoFit/>
          </a:bodyPr>
          <a:lstStyle>
            <a:defPPr>
              <a:defRPr lang="en-US"/>
            </a:defPPr>
            <a:lvl1pPr marL="0" algn="r" defTabSz="914400" rtl="0" eaLnBrk="1" latinLnBrk="0" hangingPunct="1">
              <a:lnSpc>
                <a:spcPct val="100000"/>
              </a:lnSpc>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814145-5B10-4F3F-A6BF-3641B91211CF}" type="slidenum">
              <a:rPr lang="en-US" smtClean="0"/>
              <a:pPr/>
              <a:t>‹#›</a:t>
            </a:fld>
            <a:endParaRPr lang="en-US" dirty="0"/>
          </a:p>
        </p:txBody>
      </p:sp>
      <p:sp>
        <p:nvSpPr>
          <p:cNvPr id="22" name="Picture Placeholder 11">
            <a:extLst>
              <a:ext uri="{FF2B5EF4-FFF2-40B4-BE49-F238E27FC236}">
                <a16:creationId xmlns:a16="http://schemas.microsoft.com/office/drawing/2014/main" id="{A10A5E3D-27CE-9262-4C32-FE8CE267134E}"/>
              </a:ext>
            </a:extLst>
          </p:cNvPr>
          <p:cNvSpPr>
            <a:spLocks noGrp="1"/>
          </p:cNvSpPr>
          <p:nvPr>
            <p:ph type="pic" sz="quarter" idx="14" hasCustomPrompt="1"/>
          </p:nvPr>
        </p:nvSpPr>
        <p:spPr>
          <a:xfrm>
            <a:off x="4062982" y="0"/>
            <a:ext cx="8129017" cy="6858000"/>
          </a:xfrm>
          <a:solidFill>
            <a:schemeClr val="bg1">
              <a:lumMod val="75000"/>
            </a:schemeClr>
          </a:solidFill>
        </p:spPr>
        <p:txBody>
          <a:bodyPr vert="horz" lIns="0" tIns="0" rIns="0" bIns="0" rtlCol="0" anchor="ctr">
            <a:noAutofit/>
          </a:bodyPr>
          <a:lstStyle>
            <a:lvl1pPr>
              <a:defRPr lang="en-US" sz="1000" b="0" dirty="0"/>
            </a:lvl1pPr>
          </a:lstStyle>
          <a:p>
            <a:pPr lvl="0" algn="ctr"/>
            <a:r>
              <a:rPr lang="en-US" dirty="0"/>
              <a:t>Insert Photo</a:t>
            </a:r>
          </a:p>
        </p:txBody>
      </p:sp>
      <p:pic>
        <p:nvPicPr>
          <p:cNvPr id="23" name="Graphic 22">
            <a:extLst>
              <a:ext uri="{FF2B5EF4-FFF2-40B4-BE49-F238E27FC236}">
                <a16:creationId xmlns:a16="http://schemas.microsoft.com/office/drawing/2014/main" id="{3DFB2677-8D81-4667-DC9C-5569D06C79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0038" y="4434699"/>
            <a:ext cx="255772" cy="255772"/>
          </a:xfrm>
          <a:prstGeom prst="rect">
            <a:avLst/>
          </a:prstGeom>
        </p:spPr>
      </p:pic>
      <p:pic>
        <p:nvPicPr>
          <p:cNvPr id="24" name="Graphic 23">
            <a:extLst>
              <a:ext uri="{FF2B5EF4-FFF2-40B4-BE49-F238E27FC236}">
                <a16:creationId xmlns:a16="http://schemas.microsoft.com/office/drawing/2014/main" id="{FE926014-B7E9-F267-91D1-9F25679AF6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9600" y="5247930"/>
            <a:ext cx="256648" cy="256648"/>
          </a:xfrm>
          <a:prstGeom prst="rect">
            <a:avLst/>
          </a:prstGeom>
        </p:spPr>
      </p:pic>
      <p:pic>
        <p:nvPicPr>
          <p:cNvPr id="25" name="Graphic 24">
            <a:extLst>
              <a:ext uri="{FF2B5EF4-FFF2-40B4-BE49-F238E27FC236}">
                <a16:creationId xmlns:a16="http://schemas.microsoft.com/office/drawing/2014/main" id="{B6DD699B-36A2-9182-CFE9-0D306C832B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9955" y="4841212"/>
            <a:ext cx="255938" cy="255938"/>
          </a:xfrm>
          <a:prstGeom prst="rect">
            <a:avLst/>
          </a:prstGeom>
        </p:spPr>
      </p:pic>
      <p:sp>
        <p:nvSpPr>
          <p:cNvPr id="27" name="Freeform 43">
            <a:extLst>
              <a:ext uri="{FF2B5EF4-FFF2-40B4-BE49-F238E27FC236}">
                <a16:creationId xmlns:a16="http://schemas.microsoft.com/office/drawing/2014/main" id="{D80268B0-17B8-1E47-DE57-CA0612B25B42}"/>
              </a:ext>
            </a:extLst>
          </p:cNvPr>
          <p:cNvSpPr/>
          <p:nvPr/>
        </p:nvSpPr>
        <p:spPr>
          <a:xfrm>
            <a:off x="612731" y="5655112"/>
            <a:ext cx="250388" cy="250388"/>
          </a:xfrm>
          <a:custGeom>
            <a:avLst/>
            <a:gdLst>
              <a:gd name="connsiteX0" fmla="*/ 225288 w 450576"/>
              <a:gd name="connsiteY0" fmla="*/ 0 h 450576"/>
              <a:gd name="connsiteX1" fmla="*/ 0 w 450576"/>
              <a:gd name="connsiteY1" fmla="*/ 225288 h 450576"/>
              <a:gd name="connsiteX2" fmla="*/ 225288 w 450576"/>
              <a:gd name="connsiteY2" fmla="*/ 450576 h 450576"/>
              <a:gd name="connsiteX3" fmla="*/ 450576 w 450576"/>
              <a:gd name="connsiteY3" fmla="*/ 225288 h 450576"/>
              <a:gd name="connsiteX4" fmla="*/ 225288 w 450576"/>
              <a:gd name="connsiteY4" fmla="*/ 0 h 450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576" h="450576">
                <a:moveTo>
                  <a:pt x="225288" y="0"/>
                </a:moveTo>
                <a:cubicBezTo>
                  <a:pt x="100869" y="0"/>
                  <a:pt x="0" y="100869"/>
                  <a:pt x="0" y="225288"/>
                </a:cubicBezTo>
                <a:cubicBezTo>
                  <a:pt x="0" y="349707"/>
                  <a:pt x="100869" y="450576"/>
                  <a:pt x="225288" y="450576"/>
                </a:cubicBezTo>
                <a:cubicBezTo>
                  <a:pt x="349707" y="450576"/>
                  <a:pt x="450576" y="349707"/>
                  <a:pt x="450576" y="225288"/>
                </a:cubicBezTo>
                <a:cubicBezTo>
                  <a:pt x="450576" y="100869"/>
                  <a:pt x="349707" y="0"/>
                  <a:pt x="225288" y="0"/>
                </a:cubicBezTo>
                <a:close/>
              </a:path>
            </a:pathLst>
          </a:custGeom>
          <a:solidFill>
            <a:schemeClr val="accent2"/>
          </a:solidFill>
          <a:ln w="365" cap="flat">
            <a:noFill/>
            <a:prstDash val="solid"/>
            <a:miter/>
          </a:ln>
        </p:spPr>
        <p:txBody>
          <a:bodyPr rtlCol="0" anchor="ctr"/>
          <a:lstStyle/>
          <a:p>
            <a:endParaRPr lang="en-US" dirty="0">
              <a:solidFill>
                <a:schemeClr val="bg1"/>
              </a:solidFill>
            </a:endParaRPr>
          </a:p>
        </p:txBody>
      </p:sp>
      <p:sp>
        <p:nvSpPr>
          <p:cNvPr id="37" name="Slide Number Placeholder 14">
            <a:extLst>
              <a:ext uri="{FF2B5EF4-FFF2-40B4-BE49-F238E27FC236}">
                <a16:creationId xmlns:a16="http://schemas.microsoft.com/office/drawing/2014/main" id="{7DB715CD-AAC8-4DE0-2CF6-615B258E0FBB}"/>
              </a:ext>
            </a:extLst>
          </p:cNvPr>
          <p:cNvSpPr txBox="1">
            <a:spLocks/>
          </p:cNvSpPr>
          <p:nvPr userDrawn="1"/>
        </p:nvSpPr>
        <p:spPr>
          <a:xfrm>
            <a:off x="11248008" y="6566085"/>
            <a:ext cx="334392" cy="153888"/>
          </a:xfrm>
          <a:prstGeom prst="rect">
            <a:avLst/>
          </a:prstGeom>
        </p:spPr>
        <p:txBody>
          <a:bodyPr vert="horz" lIns="0" tIns="0" rIns="0" bIns="0" rtlCol="0" anchor="ctr">
            <a:spAutoFit/>
          </a:bodyPr>
          <a:lstStyle>
            <a:defPPr>
              <a:defRPr lang="en-US"/>
            </a:defPPr>
            <a:lvl1pPr marL="0" algn="r" defTabSz="914400" rtl="0" eaLnBrk="1" latinLnBrk="0" hangingPunct="1">
              <a:lnSpc>
                <a:spcPct val="100000"/>
              </a:lnSpc>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814145-5B10-4F3F-A6BF-3641B91211CF}" type="slidenum">
              <a:rPr lang="en-US" smtClean="0"/>
              <a:pPr/>
              <a:t>‹#›</a:t>
            </a:fld>
            <a:endParaRPr lang="en-US" dirty="0"/>
          </a:p>
        </p:txBody>
      </p:sp>
      <p:pic>
        <p:nvPicPr>
          <p:cNvPr id="38" name="Graphic 37">
            <a:extLst>
              <a:ext uri="{FF2B5EF4-FFF2-40B4-BE49-F238E27FC236}">
                <a16:creationId xmlns:a16="http://schemas.microsoft.com/office/drawing/2014/main" id="{E16BC054-6701-5333-7F73-290EE0139A3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0038" y="4434699"/>
            <a:ext cx="255772" cy="255772"/>
          </a:xfrm>
          <a:prstGeom prst="rect">
            <a:avLst/>
          </a:prstGeom>
        </p:spPr>
      </p:pic>
      <p:pic>
        <p:nvPicPr>
          <p:cNvPr id="40" name="Graphic 39">
            <a:extLst>
              <a:ext uri="{FF2B5EF4-FFF2-40B4-BE49-F238E27FC236}">
                <a16:creationId xmlns:a16="http://schemas.microsoft.com/office/drawing/2014/main" id="{E85BEBAA-9656-9114-4EAB-75429C62C56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09955" y="4841212"/>
            <a:ext cx="255938" cy="255938"/>
          </a:xfrm>
          <a:prstGeom prst="rect">
            <a:avLst/>
          </a:prstGeom>
        </p:spPr>
      </p:pic>
      <p:pic>
        <p:nvPicPr>
          <p:cNvPr id="32" name="Picture 31" descr="A black background with a black square&#10;&#10;Description automatically generated with medium confidence">
            <a:extLst>
              <a:ext uri="{FF2B5EF4-FFF2-40B4-BE49-F238E27FC236}">
                <a16:creationId xmlns:a16="http://schemas.microsoft.com/office/drawing/2014/main" id="{7BE7C63A-6876-037F-5D98-59BDEC67AE37}"/>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54677" y="5694846"/>
            <a:ext cx="174441" cy="174441"/>
          </a:xfrm>
          <a:prstGeom prst="rect">
            <a:avLst/>
          </a:prstGeom>
        </p:spPr>
      </p:pic>
      <p:sp>
        <p:nvSpPr>
          <p:cNvPr id="19" name="Text Placeholder 7">
            <a:extLst>
              <a:ext uri="{FF2B5EF4-FFF2-40B4-BE49-F238E27FC236}">
                <a16:creationId xmlns:a16="http://schemas.microsoft.com/office/drawing/2014/main" id="{71B28B1C-6151-F70E-912A-4B5C8F317EA7}"/>
              </a:ext>
            </a:extLst>
          </p:cNvPr>
          <p:cNvSpPr>
            <a:spLocks noGrp="1"/>
          </p:cNvSpPr>
          <p:nvPr>
            <p:ph type="body" sz="quarter" idx="22" hasCustomPrompt="1"/>
          </p:nvPr>
        </p:nvSpPr>
        <p:spPr>
          <a:xfrm>
            <a:off x="973495" y="4496375"/>
            <a:ext cx="2641598" cy="249603"/>
          </a:xfrm>
        </p:spPr>
        <p:txBody>
          <a:bodyPr>
            <a:noAutofit/>
          </a:bodyPr>
          <a:lstStyle>
            <a:lvl1pPr>
              <a:defRPr sz="1000" u="sng">
                <a:solidFill>
                  <a:schemeClr val="tx1"/>
                </a:solidFill>
              </a:defRPr>
            </a:lvl1pPr>
          </a:lstStyle>
          <a:p>
            <a:pPr lvl="0"/>
            <a:r>
              <a:rPr lang="en-US"/>
              <a:t>Name@Guidehouse.com</a:t>
            </a:r>
          </a:p>
        </p:txBody>
      </p:sp>
      <p:sp>
        <p:nvSpPr>
          <p:cNvPr id="26" name="Text Placeholder 7">
            <a:extLst>
              <a:ext uri="{FF2B5EF4-FFF2-40B4-BE49-F238E27FC236}">
                <a16:creationId xmlns:a16="http://schemas.microsoft.com/office/drawing/2014/main" id="{AA8C0C5F-DE09-41A6-96CE-2CB52349DB92}"/>
              </a:ext>
            </a:extLst>
          </p:cNvPr>
          <p:cNvSpPr>
            <a:spLocks noGrp="1"/>
          </p:cNvSpPr>
          <p:nvPr>
            <p:ph type="body" sz="quarter" idx="31" hasCustomPrompt="1"/>
          </p:nvPr>
        </p:nvSpPr>
        <p:spPr>
          <a:xfrm>
            <a:off x="973495" y="4885046"/>
            <a:ext cx="2641598" cy="249603"/>
          </a:xfrm>
        </p:spPr>
        <p:txBody>
          <a:bodyPr>
            <a:noAutofit/>
          </a:bodyPr>
          <a:lstStyle>
            <a:lvl1pPr>
              <a:defRPr sz="1000" u="sng">
                <a:solidFill>
                  <a:schemeClr val="tx1"/>
                </a:solidFill>
              </a:defRPr>
            </a:lvl1pPr>
          </a:lstStyle>
          <a:p>
            <a:pPr lvl="0"/>
            <a:r>
              <a:rPr lang="en-US"/>
              <a:t>Web Address</a:t>
            </a:r>
          </a:p>
        </p:txBody>
      </p:sp>
      <p:sp>
        <p:nvSpPr>
          <p:cNvPr id="28" name="Text Placeholder 7">
            <a:extLst>
              <a:ext uri="{FF2B5EF4-FFF2-40B4-BE49-F238E27FC236}">
                <a16:creationId xmlns:a16="http://schemas.microsoft.com/office/drawing/2014/main" id="{DDE61524-C943-DC13-B6C6-3FB449B2D4C9}"/>
              </a:ext>
            </a:extLst>
          </p:cNvPr>
          <p:cNvSpPr>
            <a:spLocks noGrp="1"/>
          </p:cNvSpPr>
          <p:nvPr>
            <p:ph type="body" sz="quarter" idx="32" hasCustomPrompt="1"/>
          </p:nvPr>
        </p:nvSpPr>
        <p:spPr>
          <a:xfrm>
            <a:off x="973495" y="5302491"/>
            <a:ext cx="2641598" cy="249603"/>
          </a:xfrm>
        </p:spPr>
        <p:txBody>
          <a:bodyPr>
            <a:noAutofit/>
          </a:bodyPr>
          <a:lstStyle>
            <a:lvl1pPr>
              <a:defRPr sz="1000" u="sng">
                <a:solidFill>
                  <a:schemeClr val="tx1"/>
                </a:solidFill>
              </a:defRPr>
            </a:lvl1pPr>
          </a:lstStyle>
          <a:p>
            <a:pPr lvl="0"/>
            <a:r>
              <a:rPr lang="en-US"/>
              <a:t>LinkedIn Page</a:t>
            </a:r>
          </a:p>
        </p:txBody>
      </p:sp>
      <p:sp>
        <p:nvSpPr>
          <p:cNvPr id="29" name="Text Placeholder 7">
            <a:extLst>
              <a:ext uri="{FF2B5EF4-FFF2-40B4-BE49-F238E27FC236}">
                <a16:creationId xmlns:a16="http://schemas.microsoft.com/office/drawing/2014/main" id="{79D1D1C5-B723-01B2-7FF2-2CA862FB33B2}"/>
              </a:ext>
            </a:extLst>
          </p:cNvPr>
          <p:cNvSpPr>
            <a:spLocks noGrp="1"/>
          </p:cNvSpPr>
          <p:nvPr>
            <p:ph type="body" sz="quarter" idx="33" hasCustomPrompt="1"/>
          </p:nvPr>
        </p:nvSpPr>
        <p:spPr>
          <a:xfrm>
            <a:off x="973495" y="5707274"/>
            <a:ext cx="2641598" cy="249603"/>
          </a:xfrm>
        </p:spPr>
        <p:txBody>
          <a:bodyPr>
            <a:noAutofit/>
          </a:bodyPr>
          <a:lstStyle>
            <a:lvl1pPr>
              <a:defRPr sz="1000" u="sng">
                <a:solidFill>
                  <a:schemeClr val="tx1"/>
                </a:solidFill>
              </a:defRPr>
            </a:lvl1pPr>
          </a:lstStyle>
          <a:p>
            <a:pPr lvl="0"/>
            <a:r>
              <a:rPr lang="en-US"/>
              <a:t>Guidehouse YouTube</a:t>
            </a:r>
          </a:p>
        </p:txBody>
      </p:sp>
    </p:spTree>
    <p:extLst>
      <p:ext uri="{BB962C8B-B14F-4D97-AF65-F5344CB8AC3E}">
        <p14:creationId xmlns:p14="http://schemas.microsoft.com/office/powerpoint/2010/main" val="18238653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Conclusion - Dark">
    <p:bg>
      <p:bgPr>
        <a:solidFill>
          <a:schemeClr val="tx2"/>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AF9C81B7-A5E3-CFE9-A53F-0799F9D9D01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4922" y="4871631"/>
            <a:ext cx="6753678" cy="774308"/>
          </a:xfrm>
          <a:prstGeom prst="rect">
            <a:avLst/>
          </a:prstGeom>
        </p:spPr>
      </p:pic>
      <p:cxnSp>
        <p:nvCxnSpPr>
          <p:cNvPr id="12" name="Straight Connector 11">
            <a:extLst>
              <a:ext uri="{FF2B5EF4-FFF2-40B4-BE49-F238E27FC236}">
                <a16:creationId xmlns:a16="http://schemas.microsoft.com/office/drawing/2014/main" id="{B5BAF25B-04F0-0E9E-EE99-41526B4A0F45}"/>
              </a:ext>
            </a:extLst>
          </p:cNvPr>
          <p:cNvCxnSpPr>
            <a:cxnSpLocks/>
          </p:cNvCxnSpPr>
          <p:nvPr/>
        </p:nvCxnSpPr>
        <p:spPr>
          <a:xfrm flipH="1">
            <a:off x="609600" y="0"/>
            <a:ext cx="0" cy="6857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F80EF6-F585-EBDB-78CB-8A490CB37079}"/>
              </a:ext>
            </a:extLst>
          </p:cNvPr>
          <p:cNvCxnSpPr>
            <a:cxnSpLocks/>
          </p:cNvCxnSpPr>
          <p:nvPr/>
        </p:nvCxnSpPr>
        <p:spPr>
          <a:xfrm flipH="1">
            <a:off x="609600" y="4518121"/>
            <a:ext cx="0" cy="148132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0" name="Graphic 7">
            <a:extLst>
              <a:ext uri="{FF2B5EF4-FFF2-40B4-BE49-F238E27FC236}">
                <a16:creationId xmlns:a16="http://schemas.microsoft.com/office/drawing/2014/main" id="{0071CE00-4746-CC55-5BC6-40F38BEB682E}"/>
              </a:ext>
            </a:extLst>
          </p:cNvPr>
          <p:cNvGrpSpPr/>
          <p:nvPr/>
        </p:nvGrpSpPr>
        <p:grpSpPr>
          <a:xfrm>
            <a:off x="1094922" y="618057"/>
            <a:ext cx="2338095" cy="591593"/>
            <a:chOff x="609600" y="557212"/>
            <a:chExt cx="2670098" cy="675598"/>
          </a:xfrm>
        </p:grpSpPr>
        <p:sp>
          <p:nvSpPr>
            <p:cNvPr id="21" name="Freeform: Shape 20">
              <a:extLst>
                <a:ext uri="{FF2B5EF4-FFF2-40B4-BE49-F238E27FC236}">
                  <a16:creationId xmlns:a16="http://schemas.microsoft.com/office/drawing/2014/main" id="{23879F54-97B4-F7C3-10E6-BAA18E487EDA}"/>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24B68200-DB43-792E-71EC-C6AE421B0EEF}"/>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F9060205-FE3B-4340-5EB2-6566F1F24035}"/>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dirty="0"/>
            </a:p>
          </p:txBody>
        </p:sp>
      </p:grpSp>
      <p:pic>
        <p:nvPicPr>
          <p:cNvPr id="48" name="Graphic 47">
            <a:extLst>
              <a:ext uri="{FF2B5EF4-FFF2-40B4-BE49-F238E27FC236}">
                <a16:creationId xmlns:a16="http://schemas.microsoft.com/office/drawing/2014/main" id="{3C7E5846-B97D-9495-EFF3-E8E8BB25B1BD}"/>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t="16112" r="2378"/>
          <a:stretch/>
        </p:blipFill>
        <p:spPr>
          <a:xfrm>
            <a:off x="6829137" y="0"/>
            <a:ext cx="5362864" cy="4608395"/>
          </a:xfrm>
          <a:prstGeom prst="rect">
            <a:avLst/>
          </a:prstGeom>
        </p:spPr>
      </p:pic>
    </p:spTree>
    <p:extLst>
      <p:ext uri="{BB962C8B-B14F-4D97-AF65-F5344CB8AC3E}">
        <p14:creationId xmlns:p14="http://schemas.microsoft.com/office/powerpoint/2010/main" val="1942127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nclusion - Light">
    <p:bg>
      <p:bgPr>
        <a:solidFill>
          <a:srgbClr val="F3F3F3"/>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EB833B88-89EF-37DD-D0B2-ADAEC5BEB8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4922" y="4871631"/>
            <a:ext cx="6753678" cy="774308"/>
          </a:xfrm>
          <a:prstGeom prst="rect">
            <a:avLst/>
          </a:prstGeom>
        </p:spPr>
      </p:pic>
      <p:pic>
        <p:nvPicPr>
          <p:cNvPr id="6" name="Graphic 5">
            <a:extLst>
              <a:ext uri="{FF2B5EF4-FFF2-40B4-BE49-F238E27FC236}">
                <a16:creationId xmlns:a16="http://schemas.microsoft.com/office/drawing/2014/main" id="{648416DC-291E-222B-2DEB-6D4A007A495A}"/>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t="16509" r="2867" b="-1"/>
          <a:stretch/>
        </p:blipFill>
        <p:spPr>
          <a:xfrm>
            <a:off x="6819901" y="0"/>
            <a:ext cx="5372100" cy="4617631"/>
          </a:xfrm>
          <a:prstGeom prst="rect">
            <a:avLst/>
          </a:prstGeom>
        </p:spPr>
      </p:pic>
      <p:grpSp>
        <p:nvGrpSpPr>
          <p:cNvPr id="5" name="Group 4">
            <a:extLst>
              <a:ext uri="{FF2B5EF4-FFF2-40B4-BE49-F238E27FC236}">
                <a16:creationId xmlns:a16="http://schemas.microsoft.com/office/drawing/2014/main" id="{2567EC2D-0286-8A6B-681F-A39AF8DA669A}"/>
              </a:ext>
            </a:extLst>
          </p:cNvPr>
          <p:cNvGrpSpPr/>
          <p:nvPr userDrawn="1"/>
        </p:nvGrpSpPr>
        <p:grpSpPr>
          <a:xfrm>
            <a:off x="609600" y="0"/>
            <a:ext cx="0" cy="6857999"/>
            <a:chOff x="609600" y="0"/>
            <a:chExt cx="0" cy="6857999"/>
          </a:xfrm>
        </p:grpSpPr>
        <p:cxnSp>
          <p:nvCxnSpPr>
            <p:cNvPr id="3" name="Straight Connector 2">
              <a:extLst>
                <a:ext uri="{FF2B5EF4-FFF2-40B4-BE49-F238E27FC236}">
                  <a16:creationId xmlns:a16="http://schemas.microsoft.com/office/drawing/2014/main" id="{36D2E5ED-C185-3DC1-26E6-2864460B5349}"/>
                </a:ext>
              </a:extLst>
            </p:cNvPr>
            <p:cNvCxnSpPr>
              <a:cxnSpLocks/>
            </p:cNvCxnSpPr>
            <p:nvPr/>
          </p:nvCxnSpPr>
          <p:spPr>
            <a:xfrm flipH="1">
              <a:off x="609600" y="0"/>
              <a:ext cx="0" cy="685799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952DA0B-BA15-6F93-5059-E69C8AFAE597}"/>
                </a:ext>
              </a:extLst>
            </p:cNvPr>
            <p:cNvCxnSpPr>
              <a:cxnSpLocks/>
            </p:cNvCxnSpPr>
            <p:nvPr/>
          </p:nvCxnSpPr>
          <p:spPr>
            <a:xfrm flipH="1">
              <a:off x="609600" y="4518121"/>
              <a:ext cx="0" cy="1481328"/>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1" name="Graphic 10">
            <a:extLst>
              <a:ext uri="{FF2B5EF4-FFF2-40B4-BE49-F238E27FC236}">
                <a16:creationId xmlns:a16="http://schemas.microsoft.com/office/drawing/2014/main" id="{944BDD3E-7F49-55AC-5477-FED2F88914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4922" y="618058"/>
            <a:ext cx="2338096" cy="594003"/>
          </a:xfrm>
          <a:prstGeom prst="rect">
            <a:avLst/>
          </a:prstGeom>
        </p:spPr>
      </p:pic>
    </p:spTree>
    <p:extLst>
      <p:ext uri="{BB962C8B-B14F-4D97-AF65-F5344CB8AC3E}">
        <p14:creationId xmlns:p14="http://schemas.microsoft.com/office/powerpoint/2010/main" val="17701028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hank You 2 - Dark">
    <p:bg>
      <p:bgPr>
        <a:solidFill>
          <a:schemeClr val="tx2"/>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DE3CA1B0-623A-9E3F-9B2B-5EFA479D7D93}"/>
              </a:ext>
            </a:extLst>
          </p:cNvPr>
          <p:cNvSpPr>
            <a:spLocks noGrp="1"/>
          </p:cNvSpPr>
          <p:nvPr>
            <p:ph type="body" sz="quarter" idx="10" hasCustomPrompt="1"/>
          </p:nvPr>
        </p:nvSpPr>
        <p:spPr>
          <a:xfrm>
            <a:off x="938562" y="2453998"/>
            <a:ext cx="7227537" cy="1125116"/>
          </a:xfrm>
        </p:spPr>
        <p:txBody>
          <a:bodyPr wrap="square" anchor="t">
            <a:noAutofit/>
          </a:bodyPr>
          <a:lstStyle>
            <a:lvl1pPr>
              <a:lnSpc>
                <a:spcPct val="80000"/>
              </a:lnSpc>
              <a:spcAft>
                <a:spcPts val="0"/>
              </a:spcAft>
              <a:defRPr sz="8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a:t>
            </a:r>
          </a:p>
        </p:txBody>
      </p:sp>
      <p:grpSp>
        <p:nvGrpSpPr>
          <p:cNvPr id="4" name="Group 3">
            <a:extLst>
              <a:ext uri="{FF2B5EF4-FFF2-40B4-BE49-F238E27FC236}">
                <a16:creationId xmlns:a16="http://schemas.microsoft.com/office/drawing/2014/main" id="{72E9ACEB-AC65-3A5B-7C63-992A9120364E}"/>
              </a:ext>
            </a:extLst>
          </p:cNvPr>
          <p:cNvGrpSpPr/>
          <p:nvPr userDrawn="1"/>
        </p:nvGrpSpPr>
        <p:grpSpPr>
          <a:xfrm>
            <a:off x="1" y="1983579"/>
            <a:ext cx="12191999" cy="0"/>
            <a:chOff x="1" y="1983579"/>
            <a:chExt cx="12191999" cy="0"/>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flipH="1">
              <a:off x="1" y="1983579"/>
              <a:ext cx="12191999"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1543059" y="1379082"/>
              <a:ext cx="0" cy="1208993"/>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8" name="Graphic 7">
            <a:extLst>
              <a:ext uri="{FF2B5EF4-FFF2-40B4-BE49-F238E27FC236}">
                <a16:creationId xmlns:a16="http://schemas.microsoft.com/office/drawing/2014/main" id="{3AB37842-EC51-8631-1C75-0B1DCCBB6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2569"/>
            <a:ext cx="1799617" cy="457200"/>
          </a:xfrm>
          <a:prstGeom prst="rect">
            <a:avLst/>
          </a:prstGeom>
        </p:spPr>
      </p:pic>
      <p:pic>
        <p:nvPicPr>
          <p:cNvPr id="15" name="Graphic 14">
            <a:extLst>
              <a:ext uri="{FF2B5EF4-FFF2-40B4-BE49-F238E27FC236}">
                <a16:creationId xmlns:a16="http://schemas.microsoft.com/office/drawing/2014/main" id="{3F3CE916-7E55-F8DE-3538-C3D9756ED4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8563" y="5961888"/>
            <a:ext cx="1834388" cy="210312"/>
          </a:xfrm>
          <a:prstGeom prst="rect">
            <a:avLst/>
          </a:prstGeom>
        </p:spPr>
      </p:pic>
      <p:pic>
        <p:nvPicPr>
          <p:cNvPr id="5" name="Graphic 4">
            <a:extLst>
              <a:ext uri="{FF2B5EF4-FFF2-40B4-BE49-F238E27FC236}">
                <a16:creationId xmlns:a16="http://schemas.microsoft.com/office/drawing/2014/main" id="{B2F6610E-AA8A-AA03-9940-957C1FB8B0C9}"/>
              </a:ext>
            </a:extLst>
          </p:cNvPr>
          <p:cNvPicPr/>
          <p:nvPr userDrawn="1"/>
        </p:nvPicPr>
        <p:blipFill>
          <a:blip r:embed="rId6">
            <a:extLst>
              <a:ext uri="{96DAC541-7B7A-43D3-8B79-37D633B846F1}">
                <asvg:svgBlip xmlns:asvg="http://schemas.microsoft.com/office/drawing/2016/SVG/main" r:embed="rId7"/>
              </a:ext>
            </a:extLst>
          </a:blip>
          <a:stretch>
            <a:fillRect/>
          </a:stretch>
        </p:blipFill>
        <p:spPr>
          <a:xfrm>
            <a:off x="8268938" y="2931518"/>
            <a:ext cx="2984500" cy="2978543"/>
          </a:xfrm>
          <a:prstGeom prst="rect">
            <a:avLst/>
          </a:prstGeom>
        </p:spPr>
      </p:pic>
    </p:spTree>
    <p:extLst>
      <p:ext uri="{BB962C8B-B14F-4D97-AF65-F5344CB8AC3E}">
        <p14:creationId xmlns:p14="http://schemas.microsoft.com/office/powerpoint/2010/main" val="27472282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hank You 2 - Light">
    <p:bg>
      <p:bgPr>
        <a:solidFill>
          <a:srgbClr val="F3F3F3"/>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DE3CA1B0-623A-9E3F-9B2B-5EFA479D7D93}"/>
              </a:ext>
            </a:extLst>
          </p:cNvPr>
          <p:cNvSpPr>
            <a:spLocks noGrp="1"/>
          </p:cNvSpPr>
          <p:nvPr>
            <p:ph type="body" sz="quarter" idx="10" hasCustomPrompt="1"/>
          </p:nvPr>
        </p:nvSpPr>
        <p:spPr>
          <a:xfrm>
            <a:off x="938562" y="2453998"/>
            <a:ext cx="7176738" cy="1125116"/>
          </a:xfrm>
        </p:spPr>
        <p:txBody>
          <a:bodyPr wrap="square" anchor="t">
            <a:noAutofit/>
          </a:bodyPr>
          <a:lstStyle>
            <a:lvl1pPr>
              <a:lnSpc>
                <a:spcPct val="80000"/>
              </a:lnSpc>
              <a:spcAft>
                <a:spcPts val="0"/>
              </a:spcAft>
              <a:defRPr sz="88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a:t>
            </a:r>
          </a:p>
        </p:txBody>
      </p:sp>
      <p:grpSp>
        <p:nvGrpSpPr>
          <p:cNvPr id="5" name="Group 4">
            <a:extLst>
              <a:ext uri="{FF2B5EF4-FFF2-40B4-BE49-F238E27FC236}">
                <a16:creationId xmlns:a16="http://schemas.microsoft.com/office/drawing/2014/main" id="{EA392F83-2467-8DF1-A072-47811A39DF5F}"/>
              </a:ext>
            </a:extLst>
          </p:cNvPr>
          <p:cNvGrpSpPr/>
          <p:nvPr/>
        </p:nvGrpSpPr>
        <p:grpSpPr>
          <a:xfrm>
            <a:off x="1" y="1983579"/>
            <a:ext cx="12191999" cy="0"/>
            <a:chOff x="1" y="1983579"/>
            <a:chExt cx="12191999" cy="0"/>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flipH="1">
              <a:off x="1" y="1983579"/>
              <a:ext cx="121919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1543059" y="1379082"/>
              <a:ext cx="0" cy="1208993"/>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4" name="Graphic 3">
            <a:extLst>
              <a:ext uri="{FF2B5EF4-FFF2-40B4-BE49-F238E27FC236}">
                <a16:creationId xmlns:a16="http://schemas.microsoft.com/office/drawing/2014/main" id="{F6EA8AA0-F903-6C8E-6D87-56CECC2A2D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6649"/>
            <a:ext cx="1783555" cy="453120"/>
          </a:xfrm>
          <a:prstGeom prst="rect">
            <a:avLst/>
          </a:prstGeom>
        </p:spPr>
      </p:pic>
      <p:pic>
        <p:nvPicPr>
          <p:cNvPr id="8" name="Graphic 7">
            <a:extLst>
              <a:ext uri="{FF2B5EF4-FFF2-40B4-BE49-F238E27FC236}">
                <a16:creationId xmlns:a16="http://schemas.microsoft.com/office/drawing/2014/main" id="{E4938A9D-779B-9E93-E00C-DB40A81BC40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38563" y="5961888"/>
            <a:ext cx="1834388" cy="210312"/>
          </a:xfrm>
          <a:prstGeom prst="rect">
            <a:avLst/>
          </a:prstGeom>
        </p:spPr>
      </p:pic>
      <p:pic>
        <p:nvPicPr>
          <p:cNvPr id="6" name="Graphic 5">
            <a:extLst>
              <a:ext uri="{FF2B5EF4-FFF2-40B4-BE49-F238E27FC236}">
                <a16:creationId xmlns:a16="http://schemas.microsoft.com/office/drawing/2014/main" id="{2A060178-C7DC-1546-A061-11499B0B9C77}"/>
              </a:ext>
            </a:extLst>
          </p:cNvPr>
          <p:cNvPicPr/>
          <p:nvPr userDrawn="1"/>
        </p:nvPicPr>
        <p:blipFill>
          <a:blip r:embed="rId6">
            <a:extLst>
              <a:ext uri="{96DAC541-7B7A-43D3-8B79-37D633B846F1}">
                <asvg:svgBlip xmlns:asvg="http://schemas.microsoft.com/office/drawing/2016/SVG/main" r:embed="rId7"/>
              </a:ext>
            </a:extLst>
          </a:blip>
          <a:stretch>
            <a:fillRect/>
          </a:stretch>
        </p:blipFill>
        <p:spPr>
          <a:xfrm>
            <a:off x="8268937" y="2931517"/>
            <a:ext cx="2984501" cy="2978544"/>
          </a:xfrm>
          <a:prstGeom prst="rect">
            <a:avLst/>
          </a:prstGeom>
        </p:spPr>
      </p:pic>
    </p:spTree>
    <p:extLst>
      <p:ext uri="{BB962C8B-B14F-4D97-AF65-F5344CB8AC3E}">
        <p14:creationId xmlns:p14="http://schemas.microsoft.com/office/powerpoint/2010/main" val="25963921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hank You 3 - Dark">
    <p:bg>
      <p:bgPr>
        <a:solidFill>
          <a:schemeClr val="tx2"/>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DE3CA1B0-623A-9E3F-9B2B-5EFA479D7D93}"/>
              </a:ext>
            </a:extLst>
          </p:cNvPr>
          <p:cNvSpPr>
            <a:spLocks noGrp="1"/>
          </p:cNvSpPr>
          <p:nvPr>
            <p:ph type="body" sz="quarter" idx="10" hasCustomPrompt="1"/>
          </p:nvPr>
        </p:nvSpPr>
        <p:spPr>
          <a:xfrm>
            <a:off x="938563" y="2875002"/>
            <a:ext cx="4052538" cy="1107996"/>
          </a:xfrm>
        </p:spPr>
        <p:txBody>
          <a:bodyPr wrap="square" anchor="ctr">
            <a:noAutofit/>
          </a:bodyPr>
          <a:lstStyle>
            <a:lvl1pPr>
              <a:lnSpc>
                <a:spcPct val="100000"/>
              </a:lnSpc>
              <a:spcAft>
                <a:spcPts val="0"/>
              </a:spcAft>
              <a:defRPr sz="7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a:t>
            </a:r>
          </a:p>
        </p:txBody>
      </p:sp>
      <p:grpSp>
        <p:nvGrpSpPr>
          <p:cNvPr id="4" name="Group 3">
            <a:extLst>
              <a:ext uri="{FF2B5EF4-FFF2-40B4-BE49-F238E27FC236}">
                <a16:creationId xmlns:a16="http://schemas.microsoft.com/office/drawing/2014/main" id="{A864A7B1-01CA-74D7-5CA7-9E6002A2544A}"/>
              </a:ext>
            </a:extLst>
          </p:cNvPr>
          <p:cNvGrpSpPr/>
          <p:nvPr userDrawn="1"/>
        </p:nvGrpSpPr>
        <p:grpSpPr>
          <a:xfrm rot="16200000">
            <a:off x="-2819401" y="3428999"/>
            <a:ext cx="6858001" cy="0"/>
            <a:chOff x="1" y="1983579"/>
            <a:chExt cx="6858001" cy="0"/>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rot="5400000">
              <a:off x="3429002" y="-1445422"/>
              <a:ext cx="0" cy="6858001"/>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3429000" y="1379082"/>
              <a:ext cx="0" cy="1208993"/>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8" name="Graphic 7">
            <a:extLst>
              <a:ext uri="{FF2B5EF4-FFF2-40B4-BE49-F238E27FC236}">
                <a16:creationId xmlns:a16="http://schemas.microsoft.com/office/drawing/2014/main" id="{3AB37842-EC51-8631-1C75-0B1DCCBB6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2569"/>
            <a:ext cx="1799617" cy="457200"/>
          </a:xfrm>
          <a:prstGeom prst="rect">
            <a:avLst/>
          </a:prstGeom>
        </p:spPr>
      </p:pic>
      <p:pic>
        <p:nvPicPr>
          <p:cNvPr id="15" name="Graphic 14">
            <a:extLst>
              <a:ext uri="{FF2B5EF4-FFF2-40B4-BE49-F238E27FC236}">
                <a16:creationId xmlns:a16="http://schemas.microsoft.com/office/drawing/2014/main" id="{3F3CE916-7E55-F8DE-3538-C3D9756ED4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8563" y="5961888"/>
            <a:ext cx="1834388" cy="210312"/>
          </a:xfrm>
          <a:prstGeom prst="rect">
            <a:avLst/>
          </a:prstGeom>
        </p:spPr>
      </p:pic>
      <p:sp>
        <p:nvSpPr>
          <p:cNvPr id="6" name="Picture Placeholder 11">
            <a:extLst>
              <a:ext uri="{FF2B5EF4-FFF2-40B4-BE49-F238E27FC236}">
                <a16:creationId xmlns:a16="http://schemas.microsoft.com/office/drawing/2014/main" id="{19D49CF5-B256-D13A-3A62-029D9B36D9C3}"/>
              </a:ext>
            </a:extLst>
          </p:cNvPr>
          <p:cNvSpPr>
            <a:spLocks noGrp="1"/>
          </p:cNvSpPr>
          <p:nvPr>
            <p:ph type="pic" sz="quarter" idx="14" hasCustomPrompt="1"/>
          </p:nvPr>
        </p:nvSpPr>
        <p:spPr>
          <a:xfrm>
            <a:off x="6096000" y="0"/>
            <a:ext cx="6095999" cy="6858000"/>
          </a:xfrm>
          <a:solidFill>
            <a:schemeClr val="bg1">
              <a:lumMod val="75000"/>
            </a:schemeClr>
          </a:solidFill>
        </p:spPr>
        <p:txBody>
          <a:bodyPr vert="horz" lIns="0" tIns="0" rIns="0" bIns="0" rtlCol="0" anchor="ctr">
            <a:noAutofit/>
          </a:bodyPr>
          <a:lstStyle>
            <a:lvl1pPr>
              <a:defRPr lang="en-US" sz="1000" b="0"/>
            </a:lvl1pPr>
          </a:lstStyle>
          <a:p>
            <a:pPr lvl="0" algn="ctr"/>
            <a:r>
              <a:rPr lang="en-US" dirty="0"/>
              <a:t>Insert Photo</a:t>
            </a:r>
          </a:p>
        </p:txBody>
      </p:sp>
    </p:spTree>
    <p:extLst>
      <p:ext uri="{BB962C8B-B14F-4D97-AF65-F5344CB8AC3E}">
        <p14:creationId xmlns:p14="http://schemas.microsoft.com/office/powerpoint/2010/main" val="33683067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and Map">
    <p:bg>
      <p:bgPr>
        <a:solidFill>
          <a:srgbClr val="F3F3F3"/>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BC176DF-9D05-69AA-11F1-229243D036F3}"/>
              </a:ext>
            </a:extLst>
          </p:cNvPr>
          <p:cNvGrpSpPr/>
          <p:nvPr userDrawn="1"/>
        </p:nvGrpSpPr>
        <p:grpSpPr>
          <a:xfrm>
            <a:off x="850900" y="0"/>
            <a:ext cx="10490200" cy="6314858"/>
            <a:chOff x="850900" y="0"/>
            <a:chExt cx="10490200" cy="6314858"/>
          </a:xfrm>
        </p:grpSpPr>
        <p:sp>
          <p:nvSpPr>
            <p:cNvPr id="5" name="Freeform 33">
              <a:extLst>
                <a:ext uri="{FF2B5EF4-FFF2-40B4-BE49-F238E27FC236}">
                  <a16:creationId xmlns:a16="http://schemas.microsoft.com/office/drawing/2014/main" id="{C32CC898-F0A8-4972-5297-5ED2EB060A9C}"/>
                </a:ext>
              </a:extLst>
            </p:cNvPr>
            <p:cNvSpPr>
              <a:spLocks noChangeAspect="1"/>
            </p:cNvSpPr>
            <p:nvPr userDrawn="1"/>
          </p:nvSpPr>
          <p:spPr bwMode="gray">
            <a:xfrm>
              <a:off x="6350709" y="4900384"/>
              <a:ext cx="276084" cy="303320"/>
            </a:xfrm>
            <a:custGeom>
              <a:avLst/>
              <a:gdLst>
                <a:gd name="T0" fmla="*/ 0 w 518"/>
                <a:gd name="T1" fmla="*/ 2147483647 h 534"/>
                <a:gd name="T2" fmla="*/ 0 w 518"/>
                <a:gd name="T3" fmla="*/ 2147483647 h 534"/>
                <a:gd name="T4" fmla="*/ 2147483647 w 518"/>
                <a:gd name="T5" fmla="*/ 2147483647 h 534"/>
                <a:gd name="T6" fmla="*/ 2147483647 w 518"/>
                <a:gd name="T7" fmla="*/ 2147483647 h 534"/>
                <a:gd name="T8" fmla="*/ 2147483647 w 518"/>
                <a:gd name="T9" fmla="*/ 0 h 534"/>
                <a:gd name="T10" fmla="*/ 2147483647 w 518"/>
                <a:gd name="T11" fmla="*/ 0 h 534"/>
                <a:gd name="T12" fmla="*/ 2147483647 w 518"/>
                <a:gd name="T13" fmla="*/ 0 h 534"/>
                <a:gd name="T14" fmla="*/ 2147483647 w 518"/>
                <a:gd name="T15" fmla="*/ 0 h 534"/>
                <a:gd name="T16" fmla="*/ 2147483647 w 518"/>
                <a:gd name="T17" fmla="*/ 0 h 534"/>
                <a:gd name="T18" fmla="*/ 2147483647 w 518"/>
                <a:gd name="T19" fmla="*/ 0 h 534"/>
                <a:gd name="T20" fmla="*/ 2147483647 w 518"/>
                <a:gd name="T21" fmla="*/ 0 h 534"/>
                <a:gd name="T22" fmla="*/ 2147483647 w 518"/>
                <a:gd name="T23" fmla="*/ 0 h 534"/>
                <a:gd name="T24" fmla="*/ 2147483647 w 518"/>
                <a:gd name="T25" fmla="*/ 0 h 534"/>
                <a:gd name="T26" fmla="*/ 2147483647 w 518"/>
                <a:gd name="T27" fmla="*/ 0 h 534"/>
                <a:gd name="T28" fmla="*/ 2147483647 w 518"/>
                <a:gd name="T29" fmla="*/ 0 h 534"/>
                <a:gd name="T30" fmla="*/ 2147483647 w 518"/>
                <a:gd name="T31" fmla="*/ 2147483647 h 534"/>
                <a:gd name="T32" fmla="*/ 2147483647 w 518"/>
                <a:gd name="T33" fmla="*/ 2147483647 h 534"/>
                <a:gd name="T34" fmla="*/ 2147483647 w 518"/>
                <a:gd name="T35" fmla="*/ 2147483647 h 534"/>
                <a:gd name="T36" fmla="*/ 2147483647 w 518"/>
                <a:gd name="T37" fmla="*/ 2147483647 h 534"/>
                <a:gd name="T38" fmla="*/ 2147483647 w 518"/>
                <a:gd name="T39" fmla="*/ 2147483647 h 534"/>
                <a:gd name="T40" fmla="*/ 2147483647 w 518"/>
                <a:gd name="T41" fmla="*/ 2147483647 h 534"/>
                <a:gd name="T42" fmla="*/ 2147483647 w 518"/>
                <a:gd name="T43" fmla="*/ 2147483647 h 534"/>
                <a:gd name="T44" fmla="*/ 2147483647 w 518"/>
                <a:gd name="T45" fmla="*/ 2147483647 h 534"/>
                <a:gd name="T46" fmla="*/ 2147483647 w 518"/>
                <a:gd name="T47" fmla="*/ 2147483647 h 534"/>
                <a:gd name="T48" fmla="*/ 2147483647 w 518"/>
                <a:gd name="T49" fmla="*/ 2147483647 h 534"/>
                <a:gd name="T50" fmla="*/ 2147483647 w 518"/>
                <a:gd name="T51" fmla="*/ 2147483647 h 534"/>
                <a:gd name="T52" fmla="*/ 2147483647 w 518"/>
                <a:gd name="T53" fmla="*/ 2147483647 h 534"/>
                <a:gd name="T54" fmla="*/ 2147483647 w 518"/>
                <a:gd name="T55" fmla="*/ 2147483647 h 534"/>
                <a:gd name="T56" fmla="*/ 2147483647 w 518"/>
                <a:gd name="T57" fmla="*/ 2147483647 h 534"/>
                <a:gd name="T58" fmla="*/ 2147483647 w 518"/>
                <a:gd name="T59" fmla="*/ 2147483647 h 534"/>
                <a:gd name="T60" fmla="*/ 2147483647 w 518"/>
                <a:gd name="T61" fmla="*/ 2147483647 h 534"/>
                <a:gd name="T62" fmla="*/ 2147483647 w 518"/>
                <a:gd name="T63" fmla="*/ 2147483647 h 534"/>
                <a:gd name="T64" fmla="*/ 2147483647 w 518"/>
                <a:gd name="T65" fmla="*/ 2147483647 h 534"/>
                <a:gd name="T66" fmla="*/ 2147483647 w 518"/>
                <a:gd name="T67" fmla="*/ 2147483647 h 534"/>
                <a:gd name="T68" fmla="*/ 2147483647 w 518"/>
                <a:gd name="T69" fmla="*/ 2147483647 h 534"/>
                <a:gd name="T70" fmla="*/ 2147483647 w 518"/>
                <a:gd name="T71" fmla="*/ 2147483647 h 534"/>
                <a:gd name="T72" fmla="*/ 2147483647 w 518"/>
                <a:gd name="T73" fmla="*/ 2147483647 h 534"/>
                <a:gd name="T74" fmla="*/ 2147483647 w 518"/>
                <a:gd name="T75" fmla="*/ 2147483647 h 534"/>
                <a:gd name="T76" fmla="*/ 2147483647 w 518"/>
                <a:gd name="T77" fmla="*/ 2147483647 h 534"/>
                <a:gd name="T78" fmla="*/ 0 w 518"/>
                <a:gd name="T79" fmla="*/ 2147483647 h 534"/>
                <a:gd name="T80" fmla="*/ 2147483647 w 518"/>
                <a:gd name="T81" fmla="*/ 2147483647 h 534"/>
                <a:gd name="T82" fmla="*/ 2147483647 w 518"/>
                <a:gd name="T83" fmla="*/ 2147483647 h 534"/>
                <a:gd name="T84" fmla="*/ 0 w 518"/>
                <a:gd name="T85" fmla="*/ 2147483647 h 534"/>
                <a:gd name="T86" fmla="*/ 0 w 518"/>
                <a:gd name="T87" fmla="*/ 2147483647 h 534"/>
                <a:gd name="T88" fmla="*/ 0 w 518"/>
                <a:gd name="T89" fmla="*/ 2147483647 h 534"/>
                <a:gd name="T90" fmla="*/ 0 w 518"/>
                <a:gd name="T91" fmla="*/ 2147483647 h 5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18"/>
                <a:gd name="T139" fmla="*/ 0 h 534"/>
                <a:gd name="T140" fmla="*/ 518 w 518"/>
                <a:gd name="T141" fmla="*/ 534 h 5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 name="Freeform 23">
              <a:extLst>
                <a:ext uri="{FF2B5EF4-FFF2-40B4-BE49-F238E27FC236}">
                  <a16:creationId xmlns:a16="http://schemas.microsoft.com/office/drawing/2014/main" id="{EA1C6CBA-1809-9FC7-0DF6-96F1453AB425}"/>
                </a:ext>
              </a:extLst>
            </p:cNvPr>
            <p:cNvSpPr>
              <a:spLocks noChangeAspect="1"/>
            </p:cNvSpPr>
            <p:nvPr userDrawn="1"/>
          </p:nvSpPr>
          <p:spPr bwMode="gray">
            <a:xfrm>
              <a:off x="6728272" y="4632121"/>
              <a:ext cx="95510" cy="248448"/>
            </a:xfrm>
            <a:custGeom>
              <a:avLst/>
              <a:gdLst>
                <a:gd name="T0" fmla="*/ 2147483647 w 175"/>
                <a:gd name="T1" fmla="*/ 0 h 431"/>
                <a:gd name="T2" fmla="*/ 0 w 175"/>
                <a:gd name="T3" fmla="*/ 0 h 431"/>
                <a:gd name="T4" fmla="*/ 0 w 175"/>
                <a:gd name="T5" fmla="*/ 0 h 431"/>
                <a:gd name="T6" fmla="*/ 0 w 175"/>
                <a:gd name="T7" fmla="*/ 0 h 431"/>
                <a:gd name="T8" fmla="*/ 0 w 175"/>
                <a:gd name="T9" fmla="*/ 0 h 431"/>
                <a:gd name="T10" fmla="*/ 0 w 175"/>
                <a:gd name="T11" fmla="*/ 0 h 431"/>
                <a:gd name="T12" fmla="*/ 2147483647 w 175"/>
                <a:gd name="T13" fmla="*/ 0 h 431"/>
                <a:gd name="T14" fmla="*/ 0 w 175"/>
                <a:gd name="T15" fmla="*/ 2147483647 h 431"/>
                <a:gd name="T16" fmla="*/ 0 w 175"/>
                <a:gd name="T17" fmla="*/ 2147483647 h 431"/>
                <a:gd name="T18" fmla="*/ 0 w 175"/>
                <a:gd name="T19" fmla="*/ 2147483647 h 431"/>
                <a:gd name="T20" fmla="*/ 0 w 175"/>
                <a:gd name="T21" fmla="*/ 2147483647 h 431"/>
                <a:gd name="T22" fmla="*/ 0 w 175"/>
                <a:gd name="T23" fmla="*/ 2147483647 h 431"/>
                <a:gd name="T24" fmla="*/ 0 w 175"/>
                <a:gd name="T25" fmla="*/ 2147483647 h 431"/>
                <a:gd name="T26" fmla="*/ 0 w 175"/>
                <a:gd name="T27" fmla="*/ 2147483647 h 431"/>
                <a:gd name="T28" fmla="*/ 0 w 175"/>
                <a:gd name="T29" fmla="*/ 2147483647 h 431"/>
                <a:gd name="T30" fmla="*/ 0 w 175"/>
                <a:gd name="T31" fmla="*/ 2147483647 h 431"/>
                <a:gd name="T32" fmla="*/ 0 w 175"/>
                <a:gd name="T33" fmla="*/ 2147483647 h 431"/>
                <a:gd name="T34" fmla="*/ 0 w 175"/>
                <a:gd name="T35" fmla="*/ 2147483647 h 431"/>
                <a:gd name="T36" fmla="*/ 2147483647 w 175"/>
                <a:gd name="T37" fmla="*/ 2147483647 h 431"/>
                <a:gd name="T38" fmla="*/ 2147483647 w 175"/>
                <a:gd name="T39" fmla="*/ 2147483647 h 431"/>
                <a:gd name="T40" fmla="*/ 2147483647 w 175"/>
                <a:gd name="T41" fmla="*/ 2147483647 h 431"/>
                <a:gd name="T42" fmla="*/ 2147483647 w 175"/>
                <a:gd name="T43" fmla="*/ 2147483647 h 431"/>
                <a:gd name="T44" fmla="*/ 2147483647 w 175"/>
                <a:gd name="T45" fmla="*/ 2147483647 h 431"/>
                <a:gd name="T46" fmla="*/ 2147483647 w 175"/>
                <a:gd name="T47" fmla="*/ 2147483647 h 431"/>
                <a:gd name="T48" fmla="*/ 2147483647 w 175"/>
                <a:gd name="T49" fmla="*/ 2147483647 h 431"/>
                <a:gd name="T50" fmla="*/ 2147483647 w 175"/>
                <a:gd name="T51" fmla="*/ 2147483647 h 431"/>
                <a:gd name="T52" fmla="*/ 2147483647 w 175"/>
                <a:gd name="T53" fmla="*/ 2147483647 h 431"/>
                <a:gd name="T54" fmla="*/ 2147483647 w 175"/>
                <a:gd name="T55" fmla="*/ 2147483647 h 431"/>
                <a:gd name="T56" fmla="*/ 2147483647 w 175"/>
                <a:gd name="T57" fmla="*/ 2147483647 h 431"/>
                <a:gd name="T58" fmla="*/ 2147483647 w 175"/>
                <a:gd name="T59" fmla="*/ 2147483647 h 431"/>
                <a:gd name="T60" fmla="*/ 2147483647 w 175"/>
                <a:gd name="T61" fmla="*/ 2147483647 h 431"/>
                <a:gd name="T62" fmla="*/ 2147483647 w 175"/>
                <a:gd name="T63" fmla="*/ 2147483647 h 431"/>
                <a:gd name="T64" fmla="*/ 2147483647 w 175"/>
                <a:gd name="T65" fmla="*/ 2147483647 h 431"/>
                <a:gd name="T66" fmla="*/ 2147483647 w 175"/>
                <a:gd name="T67" fmla="*/ 2147483647 h 431"/>
                <a:gd name="T68" fmla="*/ 2147483647 w 175"/>
                <a:gd name="T69" fmla="*/ 2147483647 h 431"/>
                <a:gd name="T70" fmla="*/ 2147483647 w 175"/>
                <a:gd name="T71" fmla="*/ 2147483647 h 431"/>
                <a:gd name="T72" fmla="*/ 2147483647 w 175"/>
                <a:gd name="T73" fmla="*/ 2147483647 h 431"/>
                <a:gd name="T74" fmla="*/ 2147483647 w 175"/>
                <a:gd name="T75" fmla="*/ 2147483647 h 431"/>
                <a:gd name="T76" fmla="*/ 2147483647 w 175"/>
                <a:gd name="T77" fmla="*/ 2147483647 h 431"/>
                <a:gd name="T78" fmla="*/ 2147483647 w 175"/>
                <a:gd name="T79" fmla="*/ 2147483647 h 431"/>
                <a:gd name="T80" fmla="*/ 2147483647 w 175"/>
                <a:gd name="T81" fmla="*/ 2147483647 h 431"/>
                <a:gd name="T82" fmla="*/ 2147483647 w 175"/>
                <a:gd name="T83" fmla="*/ 2147483647 h 431"/>
                <a:gd name="T84" fmla="*/ 2147483647 w 175"/>
                <a:gd name="T85" fmla="*/ 2147483647 h 431"/>
                <a:gd name="T86" fmla="*/ 2147483647 w 175"/>
                <a:gd name="T87" fmla="*/ 2147483647 h 431"/>
                <a:gd name="T88" fmla="*/ 2147483647 w 175"/>
                <a:gd name="T89" fmla="*/ 2147483647 h 431"/>
                <a:gd name="T90" fmla="*/ 2147483647 w 175"/>
                <a:gd name="T91" fmla="*/ 2147483647 h 431"/>
                <a:gd name="T92" fmla="*/ 2147483647 w 175"/>
                <a:gd name="T93" fmla="*/ 2147483647 h 431"/>
                <a:gd name="T94" fmla="*/ 2147483647 w 175"/>
                <a:gd name="T95" fmla="*/ 2147483647 h 431"/>
                <a:gd name="T96" fmla="*/ 2147483647 w 175"/>
                <a:gd name="T97" fmla="*/ 0 h 431"/>
                <a:gd name="T98" fmla="*/ 2147483647 w 175"/>
                <a:gd name="T99" fmla="*/ 0 h 431"/>
                <a:gd name="T100" fmla="*/ 2147483647 w 175"/>
                <a:gd name="T101" fmla="*/ 0 h 431"/>
                <a:gd name="T102" fmla="*/ 2147483647 w 175"/>
                <a:gd name="T103" fmla="*/ 0 h 43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5"/>
                <a:gd name="T157" fmla="*/ 0 h 431"/>
                <a:gd name="T158" fmla="*/ 175 w 175"/>
                <a:gd name="T159" fmla="*/ 431 h 43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 name="Freeform 26">
              <a:extLst>
                <a:ext uri="{FF2B5EF4-FFF2-40B4-BE49-F238E27FC236}">
                  <a16:creationId xmlns:a16="http://schemas.microsoft.com/office/drawing/2014/main" id="{BF42B0B5-BDF6-F740-4CA4-FB52754FE1A8}"/>
                </a:ext>
              </a:extLst>
            </p:cNvPr>
            <p:cNvSpPr>
              <a:spLocks noChangeAspect="1"/>
            </p:cNvSpPr>
            <p:nvPr userDrawn="1"/>
          </p:nvSpPr>
          <p:spPr bwMode="gray">
            <a:xfrm>
              <a:off x="6110442" y="4520854"/>
              <a:ext cx="368608" cy="387152"/>
            </a:xfrm>
            <a:custGeom>
              <a:avLst/>
              <a:gdLst>
                <a:gd name="T0" fmla="*/ 0 w 692"/>
                <a:gd name="T1" fmla="*/ 2147483647 h 684"/>
                <a:gd name="T2" fmla="*/ 0 w 692"/>
                <a:gd name="T3" fmla="*/ 2147483647 h 684"/>
                <a:gd name="T4" fmla="*/ 0 w 692"/>
                <a:gd name="T5" fmla="*/ 2147483647 h 684"/>
                <a:gd name="T6" fmla="*/ 0 w 692"/>
                <a:gd name="T7" fmla="*/ 2147483647 h 684"/>
                <a:gd name="T8" fmla="*/ 0 w 692"/>
                <a:gd name="T9" fmla="*/ 2147483647 h 684"/>
                <a:gd name="T10" fmla="*/ 0 w 692"/>
                <a:gd name="T11" fmla="*/ 2147483647 h 684"/>
                <a:gd name="T12" fmla="*/ 0 w 692"/>
                <a:gd name="T13" fmla="*/ 0 h 684"/>
                <a:gd name="T14" fmla="*/ 0 w 692"/>
                <a:gd name="T15" fmla="*/ 0 h 684"/>
                <a:gd name="T16" fmla="*/ 0 w 692"/>
                <a:gd name="T17" fmla="*/ 0 h 684"/>
                <a:gd name="T18" fmla="*/ 0 w 692"/>
                <a:gd name="T19" fmla="*/ 0 h 684"/>
                <a:gd name="T20" fmla="*/ 0 w 692"/>
                <a:gd name="T21" fmla="*/ 0 h 684"/>
                <a:gd name="T22" fmla="*/ 0 w 692"/>
                <a:gd name="T23" fmla="*/ 0 h 684"/>
                <a:gd name="T24" fmla="*/ 0 w 692"/>
                <a:gd name="T25" fmla="*/ 0 h 684"/>
                <a:gd name="T26" fmla="*/ 0 w 692"/>
                <a:gd name="T27" fmla="*/ 0 h 684"/>
                <a:gd name="T28" fmla="*/ 0 w 692"/>
                <a:gd name="T29" fmla="*/ 0 h 684"/>
                <a:gd name="T30" fmla="*/ 0 w 692"/>
                <a:gd name="T31" fmla="*/ 0 h 684"/>
                <a:gd name="T32" fmla="*/ 0 w 692"/>
                <a:gd name="T33" fmla="*/ 0 h 684"/>
                <a:gd name="T34" fmla="*/ 0 w 692"/>
                <a:gd name="T35" fmla="*/ 0 h 684"/>
                <a:gd name="T36" fmla="*/ 2147483647 w 692"/>
                <a:gd name="T37" fmla="*/ 0 h 684"/>
                <a:gd name="T38" fmla="*/ 2147483647 w 692"/>
                <a:gd name="T39" fmla="*/ 0 h 684"/>
                <a:gd name="T40" fmla="*/ 2147483647 w 692"/>
                <a:gd name="T41" fmla="*/ 0 h 684"/>
                <a:gd name="T42" fmla="*/ 2147483647 w 692"/>
                <a:gd name="T43" fmla="*/ 0 h 684"/>
                <a:gd name="T44" fmla="*/ 2147483647 w 692"/>
                <a:gd name="T45" fmla="*/ 0 h 684"/>
                <a:gd name="T46" fmla="*/ 2147483647 w 692"/>
                <a:gd name="T47" fmla="*/ 0 h 684"/>
                <a:gd name="T48" fmla="*/ 2147483647 w 692"/>
                <a:gd name="T49" fmla="*/ 0 h 684"/>
                <a:gd name="T50" fmla="*/ 2147483647 w 692"/>
                <a:gd name="T51" fmla="*/ 0 h 684"/>
                <a:gd name="T52" fmla="*/ 2147483647 w 692"/>
                <a:gd name="T53" fmla="*/ 0 h 684"/>
                <a:gd name="T54" fmla="*/ 2147483647 w 692"/>
                <a:gd name="T55" fmla="*/ 0 h 684"/>
                <a:gd name="T56" fmla="*/ 2147483647 w 692"/>
                <a:gd name="T57" fmla="*/ 0 h 684"/>
                <a:gd name="T58" fmla="*/ 2147483647 w 692"/>
                <a:gd name="T59" fmla="*/ 0 h 684"/>
                <a:gd name="T60" fmla="*/ 2147483647 w 692"/>
                <a:gd name="T61" fmla="*/ 0 h 684"/>
                <a:gd name="T62" fmla="*/ 2147483647 w 692"/>
                <a:gd name="T63" fmla="*/ 0 h 684"/>
                <a:gd name="T64" fmla="*/ 2147483647 w 692"/>
                <a:gd name="T65" fmla="*/ 0 h 684"/>
                <a:gd name="T66" fmla="*/ 2147483647 w 692"/>
                <a:gd name="T67" fmla="*/ 2147483647 h 684"/>
                <a:gd name="T68" fmla="*/ 2147483647 w 692"/>
                <a:gd name="T69" fmla="*/ 2147483647 h 684"/>
                <a:gd name="T70" fmla="*/ 2147483647 w 692"/>
                <a:gd name="T71" fmla="*/ 2147483647 h 684"/>
                <a:gd name="T72" fmla="*/ 2147483647 w 692"/>
                <a:gd name="T73" fmla="*/ 2147483647 h 684"/>
                <a:gd name="T74" fmla="*/ 2147483647 w 692"/>
                <a:gd name="T75" fmla="*/ 2147483647 h 684"/>
                <a:gd name="T76" fmla="*/ 2147483647 w 692"/>
                <a:gd name="T77" fmla="*/ 2147483647 h 684"/>
                <a:gd name="T78" fmla="*/ 2147483647 w 692"/>
                <a:gd name="T79" fmla="*/ 2147483647 h 684"/>
                <a:gd name="T80" fmla="*/ 2147483647 w 692"/>
                <a:gd name="T81" fmla="*/ 2147483647 h 684"/>
                <a:gd name="T82" fmla="*/ 2147483647 w 692"/>
                <a:gd name="T83" fmla="*/ 2147483647 h 684"/>
                <a:gd name="T84" fmla="*/ 2147483647 w 692"/>
                <a:gd name="T85" fmla="*/ 2147483647 h 684"/>
                <a:gd name="T86" fmla="*/ 0 w 692"/>
                <a:gd name="T87" fmla="*/ 2147483647 h 684"/>
                <a:gd name="T88" fmla="*/ 0 w 692"/>
                <a:gd name="T89" fmla="*/ 2147483647 h 684"/>
                <a:gd name="T90" fmla="*/ 0 w 692"/>
                <a:gd name="T91" fmla="*/ 2147483647 h 684"/>
                <a:gd name="T92" fmla="*/ 0 w 692"/>
                <a:gd name="T93" fmla="*/ 2147483647 h 684"/>
                <a:gd name="T94" fmla="*/ 0 w 692"/>
                <a:gd name="T95" fmla="*/ 2147483647 h 6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92"/>
                <a:gd name="T145" fmla="*/ 0 h 684"/>
                <a:gd name="T146" fmla="*/ 692 w 692"/>
                <a:gd name="T147" fmla="*/ 684 h 6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 name="Freeform 29">
              <a:extLst>
                <a:ext uri="{FF2B5EF4-FFF2-40B4-BE49-F238E27FC236}">
                  <a16:creationId xmlns:a16="http://schemas.microsoft.com/office/drawing/2014/main" id="{4C383FE9-4EE4-DEDF-34B6-5DB0F1858C33}"/>
                </a:ext>
              </a:extLst>
            </p:cNvPr>
            <p:cNvSpPr>
              <a:spLocks noChangeAspect="1"/>
            </p:cNvSpPr>
            <p:nvPr userDrawn="1"/>
          </p:nvSpPr>
          <p:spPr bwMode="gray">
            <a:xfrm>
              <a:off x="6414880" y="4595541"/>
              <a:ext cx="341746" cy="312465"/>
            </a:xfrm>
            <a:custGeom>
              <a:avLst/>
              <a:gdLst>
                <a:gd name="T0" fmla="*/ 0 w 640"/>
                <a:gd name="T1" fmla="*/ 2147483647 h 552"/>
                <a:gd name="T2" fmla="*/ 2147483647 w 640"/>
                <a:gd name="T3" fmla="*/ 2147483647 h 552"/>
                <a:gd name="T4" fmla="*/ 2147483647 w 640"/>
                <a:gd name="T5" fmla="*/ 2147483647 h 552"/>
                <a:gd name="T6" fmla="*/ 2147483647 w 640"/>
                <a:gd name="T7" fmla="*/ 2147483647 h 552"/>
                <a:gd name="T8" fmla="*/ 2147483647 w 640"/>
                <a:gd name="T9" fmla="*/ 2147483647 h 552"/>
                <a:gd name="T10" fmla="*/ 2147483647 w 640"/>
                <a:gd name="T11" fmla="*/ 2147483647 h 552"/>
                <a:gd name="T12" fmla="*/ 2147483647 w 640"/>
                <a:gd name="T13" fmla="*/ 2147483647 h 552"/>
                <a:gd name="T14" fmla="*/ 2147483647 w 640"/>
                <a:gd name="T15" fmla="*/ 2147483647 h 552"/>
                <a:gd name="T16" fmla="*/ 2147483647 w 640"/>
                <a:gd name="T17" fmla="*/ 2147483647 h 552"/>
                <a:gd name="T18" fmla="*/ 2147483647 w 640"/>
                <a:gd name="T19" fmla="*/ 2147483647 h 552"/>
                <a:gd name="T20" fmla="*/ 2147483647 w 640"/>
                <a:gd name="T21" fmla="*/ 2147483647 h 552"/>
                <a:gd name="T22" fmla="*/ 2147483647 w 640"/>
                <a:gd name="T23" fmla="*/ 2147483647 h 552"/>
                <a:gd name="T24" fmla="*/ 2147483647 w 640"/>
                <a:gd name="T25" fmla="*/ 2147483647 h 552"/>
                <a:gd name="T26" fmla="*/ 2147483647 w 640"/>
                <a:gd name="T27" fmla="*/ 2147483647 h 552"/>
                <a:gd name="T28" fmla="*/ 2147483647 w 640"/>
                <a:gd name="T29" fmla="*/ 2147483647 h 552"/>
                <a:gd name="T30" fmla="*/ 2147483647 w 640"/>
                <a:gd name="T31" fmla="*/ 2147483647 h 552"/>
                <a:gd name="T32" fmla="*/ 2147483647 w 640"/>
                <a:gd name="T33" fmla="*/ 2147483647 h 552"/>
                <a:gd name="T34" fmla="*/ 2147483647 w 640"/>
                <a:gd name="T35" fmla="*/ 2147483647 h 552"/>
                <a:gd name="T36" fmla="*/ 2147483647 w 640"/>
                <a:gd name="T37" fmla="*/ 2147483647 h 552"/>
                <a:gd name="T38" fmla="*/ 2147483647 w 640"/>
                <a:gd name="T39" fmla="*/ 2147483647 h 552"/>
                <a:gd name="T40" fmla="*/ 2147483647 w 640"/>
                <a:gd name="T41" fmla="*/ 0 h 552"/>
                <a:gd name="T42" fmla="*/ 2147483647 w 640"/>
                <a:gd name="T43" fmla="*/ 0 h 552"/>
                <a:gd name="T44" fmla="*/ 2147483647 w 640"/>
                <a:gd name="T45" fmla="*/ 0 h 552"/>
                <a:gd name="T46" fmla="*/ 2147483647 w 640"/>
                <a:gd name="T47" fmla="*/ 0 h 552"/>
                <a:gd name="T48" fmla="*/ 2147483647 w 640"/>
                <a:gd name="T49" fmla="*/ 0 h 552"/>
                <a:gd name="T50" fmla="*/ 2147483647 w 640"/>
                <a:gd name="T51" fmla="*/ 0 h 552"/>
                <a:gd name="T52" fmla="*/ 2147483647 w 640"/>
                <a:gd name="T53" fmla="*/ 0 h 552"/>
                <a:gd name="T54" fmla="*/ 2147483647 w 640"/>
                <a:gd name="T55" fmla="*/ 0 h 552"/>
                <a:gd name="T56" fmla="*/ 2147483647 w 640"/>
                <a:gd name="T57" fmla="*/ 2147483647 h 552"/>
                <a:gd name="T58" fmla="*/ 2147483647 w 640"/>
                <a:gd name="T59" fmla="*/ 2147483647 h 552"/>
                <a:gd name="T60" fmla="*/ 2147483647 w 640"/>
                <a:gd name="T61" fmla="*/ 2147483647 h 552"/>
                <a:gd name="T62" fmla="*/ 2147483647 w 640"/>
                <a:gd name="T63" fmla="*/ 2147483647 h 552"/>
                <a:gd name="T64" fmla="*/ 2147483647 w 640"/>
                <a:gd name="T65" fmla="*/ 2147483647 h 552"/>
                <a:gd name="T66" fmla="*/ 2147483647 w 640"/>
                <a:gd name="T67" fmla="*/ 2147483647 h 552"/>
                <a:gd name="T68" fmla="*/ 2147483647 w 640"/>
                <a:gd name="T69" fmla="*/ 2147483647 h 552"/>
                <a:gd name="T70" fmla="*/ 2147483647 w 640"/>
                <a:gd name="T71" fmla="*/ 2147483647 h 552"/>
                <a:gd name="T72" fmla="*/ 2147483647 w 640"/>
                <a:gd name="T73" fmla="*/ 2147483647 h 552"/>
                <a:gd name="T74" fmla="*/ 2147483647 w 640"/>
                <a:gd name="T75" fmla="*/ 2147483647 h 552"/>
                <a:gd name="T76" fmla="*/ 2147483647 w 640"/>
                <a:gd name="T77" fmla="*/ 2147483647 h 552"/>
                <a:gd name="T78" fmla="*/ 2147483647 w 640"/>
                <a:gd name="T79" fmla="*/ 2147483647 h 552"/>
                <a:gd name="T80" fmla="*/ 2147483647 w 640"/>
                <a:gd name="T81" fmla="*/ 2147483647 h 552"/>
                <a:gd name="T82" fmla="*/ 2147483647 w 640"/>
                <a:gd name="T83" fmla="*/ 2147483647 h 552"/>
                <a:gd name="T84" fmla="*/ 2147483647 w 640"/>
                <a:gd name="T85" fmla="*/ 2147483647 h 552"/>
                <a:gd name="T86" fmla="*/ 2147483647 w 640"/>
                <a:gd name="T87" fmla="*/ 2147483647 h 552"/>
                <a:gd name="T88" fmla="*/ 2147483647 w 640"/>
                <a:gd name="T89" fmla="*/ 2147483647 h 552"/>
                <a:gd name="T90" fmla="*/ 2147483647 w 640"/>
                <a:gd name="T91" fmla="*/ 2147483647 h 552"/>
                <a:gd name="T92" fmla="*/ 2147483647 w 640"/>
                <a:gd name="T93" fmla="*/ 2147483647 h 552"/>
                <a:gd name="T94" fmla="*/ 2147483647 w 640"/>
                <a:gd name="T95" fmla="*/ 2147483647 h 552"/>
                <a:gd name="T96" fmla="*/ 2147483647 w 640"/>
                <a:gd name="T97" fmla="*/ 2147483647 h 552"/>
                <a:gd name="T98" fmla="*/ 2147483647 w 640"/>
                <a:gd name="T99" fmla="*/ 2147483647 h 552"/>
                <a:gd name="T100" fmla="*/ 2147483647 w 640"/>
                <a:gd name="T101" fmla="*/ 2147483647 h 552"/>
                <a:gd name="T102" fmla="*/ 2147483647 w 640"/>
                <a:gd name="T103" fmla="*/ 2147483647 h 552"/>
                <a:gd name="T104" fmla="*/ 2147483647 w 640"/>
                <a:gd name="T105" fmla="*/ 2147483647 h 552"/>
                <a:gd name="T106" fmla="*/ 2147483647 w 640"/>
                <a:gd name="T107" fmla="*/ 2147483647 h 552"/>
                <a:gd name="T108" fmla="*/ 0 w 640"/>
                <a:gd name="T109" fmla="*/ 2147483647 h 552"/>
                <a:gd name="T110" fmla="*/ 0 w 640"/>
                <a:gd name="T111" fmla="*/ 2147483647 h 55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40"/>
                <a:gd name="T169" fmla="*/ 0 h 552"/>
                <a:gd name="T170" fmla="*/ 640 w 640"/>
                <a:gd name="T171" fmla="*/ 552 h 55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 name="Freeform 32">
              <a:extLst>
                <a:ext uri="{FF2B5EF4-FFF2-40B4-BE49-F238E27FC236}">
                  <a16:creationId xmlns:a16="http://schemas.microsoft.com/office/drawing/2014/main" id="{306B5B93-A9D4-EA04-ACD6-77D0BB456DEA}"/>
                </a:ext>
              </a:extLst>
            </p:cNvPr>
            <p:cNvSpPr>
              <a:spLocks noChangeAspect="1"/>
            </p:cNvSpPr>
            <p:nvPr userDrawn="1"/>
          </p:nvSpPr>
          <p:spPr bwMode="gray">
            <a:xfrm>
              <a:off x="6650670" y="4667179"/>
              <a:ext cx="310407" cy="531952"/>
            </a:xfrm>
            <a:custGeom>
              <a:avLst/>
              <a:gdLst>
                <a:gd name="T0" fmla="*/ 2147483647 w 586"/>
                <a:gd name="T1" fmla="*/ 0 h 937"/>
                <a:gd name="T2" fmla="*/ 2147483647 w 586"/>
                <a:gd name="T3" fmla="*/ 0 h 937"/>
                <a:gd name="T4" fmla="*/ 2147483647 w 586"/>
                <a:gd name="T5" fmla="*/ 2147483647 h 937"/>
                <a:gd name="T6" fmla="*/ 2147483647 w 586"/>
                <a:gd name="T7" fmla="*/ 2147483647 h 937"/>
                <a:gd name="T8" fmla="*/ 2147483647 w 586"/>
                <a:gd name="T9" fmla="*/ 2147483647 h 937"/>
                <a:gd name="T10" fmla="*/ 2147483647 w 586"/>
                <a:gd name="T11" fmla="*/ 2147483647 h 937"/>
                <a:gd name="T12" fmla="*/ 2147483647 w 586"/>
                <a:gd name="T13" fmla="*/ 2147483647 h 937"/>
                <a:gd name="T14" fmla="*/ 2147483647 w 586"/>
                <a:gd name="T15" fmla="*/ 2147483647 h 937"/>
                <a:gd name="T16" fmla="*/ 2147483647 w 586"/>
                <a:gd name="T17" fmla="*/ 2147483647 h 937"/>
                <a:gd name="T18" fmla="*/ 2147483647 w 586"/>
                <a:gd name="T19" fmla="*/ 2147483647 h 937"/>
                <a:gd name="T20" fmla="*/ 2147483647 w 586"/>
                <a:gd name="T21" fmla="*/ 2147483647 h 937"/>
                <a:gd name="T22" fmla="*/ 2147483647 w 586"/>
                <a:gd name="T23" fmla="*/ 2147483647 h 937"/>
                <a:gd name="T24" fmla="*/ 2147483647 w 586"/>
                <a:gd name="T25" fmla="*/ 2147483647 h 937"/>
                <a:gd name="T26" fmla="*/ 2147483647 w 586"/>
                <a:gd name="T27" fmla="*/ 2147483647 h 937"/>
                <a:gd name="T28" fmla="*/ 2147483647 w 586"/>
                <a:gd name="T29" fmla="*/ 2147483647 h 937"/>
                <a:gd name="T30" fmla="*/ 2147483647 w 586"/>
                <a:gd name="T31" fmla="*/ 2147483647 h 937"/>
                <a:gd name="T32" fmla="*/ 2147483647 w 586"/>
                <a:gd name="T33" fmla="*/ 2147483647 h 937"/>
                <a:gd name="T34" fmla="*/ 2147483647 w 586"/>
                <a:gd name="T35" fmla="*/ 2147483647 h 937"/>
                <a:gd name="T36" fmla="*/ 2147483647 w 586"/>
                <a:gd name="T37" fmla="*/ 2147483647 h 937"/>
                <a:gd name="T38" fmla="*/ 2147483647 w 586"/>
                <a:gd name="T39" fmla="*/ 2147483647 h 937"/>
                <a:gd name="T40" fmla="*/ 2147483647 w 586"/>
                <a:gd name="T41" fmla="*/ 2147483647 h 937"/>
                <a:gd name="T42" fmla="*/ 2147483647 w 586"/>
                <a:gd name="T43" fmla="*/ 2147483647 h 937"/>
                <a:gd name="T44" fmla="*/ 2147483647 w 586"/>
                <a:gd name="T45" fmla="*/ 2147483647 h 937"/>
                <a:gd name="T46" fmla="*/ 2147483647 w 586"/>
                <a:gd name="T47" fmla="*/ 2147483647 h 937"/>
                <a:gd name="T48" fmla="*/ 2147483647 w 586"/>
                <a:gd name="T49" fmla="*/ 2147483647 h 937"/>
                <a:gd name="T50" fmla="*/ 2147483647 w 586"/>
                <a:gd name="T51" fmla="*/ 2147483647 h 937"/>
                <a:gd name="T52" fmla="*/ 2147483647 w 586"/>
                <a:gd name="T53" fmla="*/ 2147483647 h 937"/>
                <a:gd name="T54" fmla="*/ 2147483647 w 586"/>
                <a:gd name="T55" fmla="*/ 2147483647 h 937"/>
                <a:gd name="T56" fmla="*/ 2147483647 w 586"/>
                <a:gd name="T57" fmla="*/ 2147483647 h 937"/>
                <a:gd name="T58" fmla="*/ 2147483647 w 586"/>
                <a:gd name="T59" fmla="*/ 2147483647 h 937"/>
                <a:gd name="T60" fmla="*/ 2147483647 w 586"/>
                <a:gd name="T61" fmla="*/ 2147483647 h 937"/>
                <a:gd name="T62" fmla="*/ 2147483647 w 586"/>
                <a:gd name="T63" fmla="*/ 2147483647 h 937"/>
                <a:gd name="T64" fmla="*/ 2147483647 w 586"/>
                <a:gd name="T65" fmla="*/ 2147483647 h 937"/>
                <a:gd name="T66" fmla="*/ 0 w 586"/>
                <a:gd name="T67" fmla="*/ 2147483647 h 937"/>
                <a:gd name="T68" fmla="*/ 0 w 586"/>
                <a:gd name="T69" fmla="*/ 2147483647 h 937"/>
                <a:gd name="T70" fmla="*/ 2147483647 w 586"/>
                <a:gd name="T71" fmla="*/ 2147483647 h 937"/>
                <a:gd name="T72" fmla="*/ 2147483647 w 586"/>
                <a:gd name="T73" fmla="*/ 2147483647 h 937"/>
                <a:gd name="T74" fmla="*/ 2147483647 w 586"/>
                <a:gd name="T75" fmla="*/ 2147483647 h 937"/>
                <a:gd name="T76" fmla="*/ 2147483647 w 586"/>
                <a:gd name="T77" fmla="*/ 2147483647 h 937"/>
                <a:gd name="T78" fmla="*/ 2147483647 w 586"/>
                <a:gd name="T79" fmla="*/ 2147483647 h 937"/>
                <a:gd name="T80" fmla="*/ 2147483647 w 586"/>
                <a:gd name="T81" fmla="*/ 2147483647 h 937"/>
                <a:gd name="T82" fmla="*/ 2147483647 w 586"/>
                <a:gd name="T83" fmla="*/ 2147483647 h 937"/>
                <a:gd name="T84" fmla="*/ 2147483647 w 586"/>
                <a:gd name="T85" fmla="*/ 2147483647 h 937"/>
                <a:gd name="T86" fmla="*/ 2147483647 w 586"/>
                <a:gd name="T87" fmla="*/ 2147483647 h 937"/>
                <a:gd name="T88" fmla="*/ 2147483647 w 586"/>
                <a:gd name="T89" fmla="*/ 2147483647 h 937"/>
                <a:gd name="T90" fmla="*/ 2147483647 w 586"/>
                <a:gd name="T91" fmla="*/ 2147483647 h 937"/>
                <a:gd name="T92" fmla="*/ 2147483647 w 586"/>
                <a:gd name="T93" fmla="*/ 2147483647 h 937"/>
                <a:gd name="T94" fmla="*/ 2147483647 w 586"/>
                <a:gd name="T95" fmla="*/ 2147483647 h 937"/>
                <a:gd name="T96" fmla="*/ 2147483647 w 586"/>
                <a:gd name="T97" fmla="*/ 2147483647 h 937"/>
                <a:gd name="T98" fmla="*/ 2147483647 w 586"/>
                <a:gd name="T99" fmla="*/ 2147483647 h 937"/>
                <a:gd name="T100" fmla="*/ 2147483647 w 586"/>
                <a:gd name="T101" fmla="*/ 2147483647 h 937"/>
                <a:gd name="T102" fmla="*/ 2147483647 w 586"/>
                <a:gd name="T103" fmla="*/ 0 h 937"/>
                <a:gd name="T104" fmla="*/ 2147483647 w 586"/>
                <a:gd name="T105" fmla="*/ 0 h 937"/>
                <a:gd name="T106" fmla="*/ 2147483647 w 586"/>
                <a:gd name="T107" fmla="*/ 0 h 937"/>
                <a:gd name="T108" fmla="*/ 2147483647 w 586"/>
                <a:gd name="T109" fmla="*/ 0 h 937"/>
                <a:gd name="T110" fmla="*/ 2147483647 w 586"/>
                <a:gd name="T111" fmla="*/ 0 h 937"/>
                <a:gd name="T112" fmla="*/ 2147483647 w 586"/>
                <a:gd name="T113" fmla="*/ 0 h 937"/>
                <a:gd name="T114" fmla="*/ 2147483647 w 586"/>
                <a:gd name="T115" fmla="*/ 0 h 9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86"/>
                <a:gd name="T175" fmla="*/ 0 h 937"/>
                <a:gd name="T176" fmla="*/ 586 w 586"/>
                <a:gd name="T177" fmla="*/ 937 h 9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 name="Freeform 21">
              <a:extLst>
                <a:ext uri="{FF2B5EF4-FFF2-40B4-BE49-F238E27FC236}">
                  <a16:creationId xmlns:a16="http://schemas.microsoft.com/office/drawing/2014/main" id="{5F581DF3-9D99-3437-3B4E-577070140EEA}"/>
                </a:ext>
              </a:extLst>
            </p:cNvPr>
            <p:cNvSpPr>
              <a:spLocks noChangeAspect="1"/>
            </p:cNvSpPr>
            <p:nvPr userDrawn="1"/>
          </p:nvSpPr>
          <p:spPr bwMode="gray">
            <a:xfrm>
              <a:off x="6673055" y="5167122"/>
              <a:ext cx="34324" cy="50299"/>
            </a:xfrm>
            <a:custGeom>
              <a:avLst/>
              <a:gdLst>
                <a:gd name="T0" fmla="*/ 2147483647 w 67"/>
                <a:gd name="T1" fmla="*/ 0 h 90"/>
                <a:gd name="T2" fmla="*/ 2147483647 w 67"/>
                <a:gd name="T3" fmla="*/ 0 h 90"/>
                <a:gd name="T4" fmla="*/ 2147483647 w 67"/>
                <a:gd name="T5" fmla="*/ 0 h 90"/>
                <a:gd name="T6" fmla="*/ 2147483647 w 67"/>
                <a:gd name="T7" fmla="*/ 0 h 90"/>
                <a:gd name="T8" fmla="*/ 0 w 67"/>
                <a:gd name="T9" fmla="*/ 0 h 90"/>
                <a:gd name="T10" fmla="*/ 0 w 67"/>
                <a:gd name="T11" fmla="*/ 0 h 90"/>
                <a:gd name="T12" fmla="*/ 0 w 67"/>
                <a:gd name="T13" fmla="*/ 0 h 90"/>
                <a:gd name="T14" fmla="*/ 0 w 67"/>
                <a:gd name="T15" fmla="*/ 0 h 90"/>
                <a:gd name="T16" fmla="*/ 0 w 67"/>
                <a:gd name="T17" fmla="*/ 0 h 90"/>
                <a:gd name="T18" fmla="*/ 0 w 67"/>
                <a:gd name="T19" fmla="*/ 0 h 90"/>
                <a:gd name="T20" fmla="*/ 0 w 67"/>
                <a:gd name="T21" fmla="*/ 0 h 90"/>
                <a:gd name="T22" fmla="*/ 0 w 67"/>
                <a:gd name="T23" fmla="*/ 2147483647 h 90"/>
                <a:gd name="T24" fmla="*/ 0 w 67"/>
                <a:gd name="T25" fmla="*/ 2147483647 h 90"/>
                <a:gd name="T26" fmla="*/ 0 w 67"/>
                <a:gd name="T27" fmla="*/ 2147483647 h 90"/>
                <a:gd name="T28" fmla="*/ 0 w 67"/>
                <a:gd name="T29" fmla="*/ 2147483647 h 90"/>
                <a:gd name="T30" fmla="*/ 0 w 67"/>
                <a:gd name="T31" fmla="*/ 0 h 90"/>
                <a:gd name="T32" fmla="*/ 2147483647 w 67"/>
                <a:gd name="T33" fmla="*/ 0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90"/>
                <a:gd name="T53" fmla="*/ 67 w 67"/>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 name="Freeform 22">
              <a:extLst>
                <a:ext uri="{FF2B5EF4-FFF2-40B4-BE49-F238E27FC236}">
                  <a16:creationId xmlns:a16="http://schemas.microsoft.com/office/drawing/2014/main" id="{5F59AFFF-E4EE-42E6-6C42-E2DEE125312A}"/>
                </a:ext>
              </a:extLst>
            </p:cNvPr>
            <p:cNvSpPr>
              <a:spLocks noChangeAspect="1"/>
            </p:cNvSpPr>
            <p:nvPr userDrawn="1"/>
          </p:nvSpPr>
          <p:spPr bwMode="gray">
            <a:xfrm>
              <a:off x="6252214" y="5043661"/>
              <a:ext cx="480534" cy="446596"/>
            </a:xfrm>
            <a:custGeom>
              <a:avLst/>
              <a:gdLst>
                <a:gd name="T0" fmla="*/ 2147483647 w 898"/>
                <a:gd name="T1" fmla="*/ 2147483647 h 791"/>
                <a:gd name="T2" fmla="*/ 2147483647 w 898"/>
                <a:gd name="T3" fmla="*/ 2147483647 h 791"/>
                <a:gd name="T4" fmla="*/ 2147483647 w 898"/>
                <a:gd name="T5" fmla="*/ 2147483647 h 791"/>
                <a:gd name="T6" fmla="*/ 2147483647 w 898"/>
                <a:gd name="T7" fmla="*/ 2147483647 h 791"/>
                <a:gd name="T8" fmla="*/ 0 w 898"/>
                <a:gd name="T9" fmla="*/ 2147483647 h 791"/>
                <a:gd name="T10" fmla="*/ 0 w 898"/>
                <a:gd name="T11" fmla="*/ 2147483647 h 791"/>
                <a:gd name="T12" fmla="*/ 0 w 898"/>
                <a:gd name="T13" fmla="*/ 2147483647 h 791"/>
                <a:gd name="T14" fmla="*/ 2147483647 w 898"/>
                <a:gd name="T15" fmla="*/ 2147483647 h 791"/>
                <a:gd name="T16" fmla="*/ 2147483647 w 898"/>
                <a:gd name="T17" fmla="*/ 2147483647 h 791"/>
                <a:gd name="T18" fmla="*/ 2147483647 w 898"/>
                <a:gd name="T19" fmla="*/ 2147483647 h 791"/>
                <a:gd name="T20" fmla="*/ 2147483647 w 898"/>
                <a:gd name="T21" fmla="*/ 2147483647 h 791"/>
                <a:gd name="T22" fmla="*/ 2147483647 w 898"/>
                <a:gd name="T23" fmla="*/ 2147483647 h 791"/>
                <a:gd name="T24" fmla="*/ 2147483647 w 898"/>
                <a:gd name="T25" fmla="*/ 2147483647 h 791"/>
                <a:gd name="T26" fmla="*/ 2147483647 w 898"/>
                <a:gd name="T27" fmla="*/ 2147483647 h 791"/>
                <a:gd name="T28" fmla="*/ 2147483647 w 898"/>
                <a:gd name="T29" fmla="*/ 2147483647 h 791"/>
                <a:gd name="T30" fmla="*/ 2147483647 w 898"/>
                <a:gd name="T31" fmla="*/ 2147483647 h 791"/>
                <a:gd name="T32" fmla="*/ 2147483647 w 898"/>
                <a:gd name="T33" fmla="*/ 2147483647 h 791"/>
                <a:gd name="T34" fmla="*/ 2147483647 w 898"/>
                <a:gd name="T35" fmla="*/ 2147483647 h 791"/>
                <a:gd name="T36" fmla="*/ 2147483647 w 898"/>
                <a:gd name="T37" fmla="*/ 2147483647 h 791"/>
                <a:gd name="T38" fmla="*/ 2147483647 w 898"/>
                <a:gd name="T39" fmla="*/ 2147483647 h 791"/>
                <a:gd name="T40" fmla="*/ 2147483647 w 898"/>
                <a:gd name="T41" fmla="*/ 2147483647 h 791"/>
                <a:gd name="T42" fmla="*/ 2147483647 w 898"/>
                <a:gd name="T43" fmla="*/ 2147483647 h 791"/>
                <a:gd name="T44" fmla="*/ 2147483647 w 898"/>
                <a:gd name="T45" fmla="*/ 2147483647 h 791"/>
                <a:gd name="T46" fmla="*/ 2147483647 w 898"/>
                <a:gd name="T47" fmla="*/ 2147483647 h 791"/>
                <a:gd name="T48" fmla="*/ 2147483647 w 898"/>
                <a:gd name="T49" fmla="*/ 2147483647 h 791"/>
                <a:gd name="T50" fmla="*/ 2147483647 w 898"/>
                <a:gd name="T51" fmla="*/ 2147483647 h 791"/>
                <a:gd name="T52" fmla="*/ 2147483647 w 898"/>
                <a:gd name="T53" fmla="*/ 2147483647 h 791"/>
                <a:gd name="T54" fmla="*/ 2147483647 w 898"/>
                <a:gd name="T55" fmla="*/ 2147483647 h 791"/>
                <a:gd name="T56" fmla="*/ 2147483647 w 898"/>
                <a:gd name="T57" fmla="*/ 2147483647 h 791"/>
                <a:gd name="T58" fmla="*/ 2147483647 w 898"/>
                <a:gd name="T59" fmla="*/ 2147483647 h 791"/>
                <a:gd name="T60" fmla="*/ 2147483647 w 898"/>
                <a:gd name="T61" fmla="*/ 2147483647 h 791"/>
                <a:gd name="T62" fmla="*/ 2147483647 w 898"/>
                <a:gd name="T63" fmla="*/ 2147483647 h 791"/>
                <a:gd name="T64" fmla="*/ 2147483647 w 898"/>
                <a:gd name="T65" fmla="*/ 2147483647 h 791"/>
                <a:gd name="T66" fmla="*/ 2147483647 w 898"/>
                <a:gd name="T67" fmla="*/ 2147483647 h 791"/>
                <a:gd name="T68" fmla="*/ 2147483647 w 898"/>
                <a:gd name="T69" fmla="*/ 2147483647 h 791"/>
                <a:gd name="T70" fmla="*/ 2147483647 w 898"/>
                <a:gd name="T71" fmla="*/ 2147483647 h 791"/>
                <a:gd name="T72" fmla="*/ 2147483647 w 898"/>
                <a:gd name="T73" fmla="*/ 0 h 791"/>
                <a:gd name="T74" fmla="*/ 2147483647 w 898"/>
                <a:gd name="T75" fmla="*/ 0 h 791"/>
                <a:gd name="T76" fmla="*/ 2147483647 w 898"/>
                <a:gd name="T77" fmla="*/ 0 h 791"/>
                <a:gd name="T78" fmla="*/ 2147483647 w 898"/>
                <a:gd name="T79" fmla="*/ 0 h 791"/>
                <a:gd name="T80" fmla="*/ 2147483647 w 898"/>
                <a:gd name="T81" fmla="*/ 0 h 791"/>
                <a:gd name="T82" fmla="*/ 2147483647 w 898"/>
                <a:gd name="T83" fmla="*/ 2147483647 h 791"/>
                <a:gd name="T84" fmla="*/ 2147483647 w 898"/>
                <a:gd name="T85" fmla="*/ 2147483647 h 791"/>
                <a:gd name="T86" fmla="*/ 2147483647 w 898"/>
                <a:gd name="T87" fmla="*/ 2147483647 h 791"/>
                <a:gd name="T88" fmla="*/ 2147483647 w 898"/>
                <a:gd name="T89" fmla="*/ 2147483647 h 791"/>
                <a:gd name="T90" fmla="*/ 2147483647 w 898"/>
                <a:gd name="T91" fmla="*/ 2147483647 h 791"/>
                <a:gd name="T92" fmla="*/ 2147483647 w 898"/>
                <a:gd name="T93" fmla="*/ 2147483647 h 791"/>
                <a:gd name="T94" fmla="*/ 2147483647 w 898"/>
                <a:gd name="T95" fmla="*/ 2147483647 h 791"/>
                <a:gd name="T96" fmla="*/ 2147483647 w 898"/>
                <a:gd name="T97" fmla="*/ 2147483647 h 791"/>
                <a:gd name="T98" fmla="*/ 2147483647 w 898"/>
                <a:gd name="T99" fmla="*/ 2147483647 h 79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98"/>
                <a:gd name="T151" fmla="*/ 0 h 791"/>
                <a:gd name="T152" fmla="*/ 898 w 898"/>
                <a:gd name="T153" fmla="*/ 791 h 79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 name="Freeform 24">
              <a:extLst>
                <a:ext uri="{FF2B5EF4-FFF2-40B4-BE49-F238E27FC236}">
                  <a16:creationId xmlns:a16="http://schemas.microsoft.com/office/drawing/2014/main" id="{23319402-D269-A30B-A6C5-3EA37CA8458D}"/>
                </a:ext>
              </a:extLst>
            </p:cNvPr>
            <p:cNvSpPr>
              <a:spLocks noChangeAspect="1"/>
            </p:cNvSpPr>
            <p:nvPr userDrawn="1"/>
          </p:nvSpPr>
          <p:spPr bwMode="gray">
            <a:xfrm>
              <a:off x="7032709" y="4719002"/>
              <a:ext cx="208928" cy="443547"/>
            </a:xfrm>
            <a:custGeom>
              <a:avLst/>
              <a:gdLst>
                <a:gd name="T0" fmla="*/ 2147483647 w 391"/>
                <a:gd name="T1" fmla="*/ 2147483647 h 776"/>
                <a:gd name="T2" fmla="*/ 2147483647 w 391"/>
                <a:gd name="T3" fmla="*/ 2147483647 h 776"/>
                <a:gd name="T4" fmla="*/ 2147483647 w 391"/>
                <a:gd name="T5" fmla="*/ 2147483647 h 776"/>
                <a:gd name="T6" fmla="*/ 2147483647 w 391"/>
                <a:gd name="T7" fmla="*/ 2147483647 h 776"/>
                <a:gd name="T8" fmla="*/ 2147483647 w 391"/>
                <a:gd name="T9" fmla="*/ 2147483647 h 776"/>
                <a:gd name="T10" fmla="*/ 2147483647 w 391"/>
                <a:gd name="T11" fmla="*/ 2147483647 h 776"/>
                <a:gd name="T12" fmla="*/ 2147483647 w 391"/>
                <a:gd name="T13" fmla="*/ 2147483647 h 776"/>
                <a:gd name="T14" fmla="*/ 2147483647 w 391"/>
                <a:gd name="T15" fmla="*/ 2147483647 h 776"/>
                <a:gd name="T16" fmla="*/ 2147483647 w 391"/>
                <a:gd name="T17" fmla="*/ 2147483647 h 776"/>
                <a:gd name="T18" fmla="*/ 2147483647 w 391"/>
                <a:gd name="T19" fmla="*/ 2147483647 h 776"/>
                <a:gd name="T20" fmla="*/ 2147483647 w 391"/>
                <a:gd name="T21" fmla="*/ 2147483647 h 776"/>
                <a:gd name="T22" fmla="*/ 2147483647 w 391"/>
                <a:gd name="T23" fmla="*/ 2147483647 h 776"/>
                <a:gd name="T24" fmla="*/ 2147483647 w 391"/>
                <a:gd name="T25" fmla="*/ 2147483647 h 776"/>
                <a:gd name="T26" fmla="*/ 2147483647 w 391"/>
                <a:gd name="T27" fmla="*/ 2147483647 h 776"/>
                <a:gd name="T28" fmla="*/ 2147483647 w 391"/>
                <a:gd name="T29" fmla="*/ 2147483647 h 776"/>
                <a:gd name="T30" fmla="*/ 2147483647 w 391"/>
                <a:gd name="T31" fmla="*/ 2147483647 h 776"/>
                <a:gd name="T32" fmla="*/ 2147483647 w 391"/>
                <a:gd name="T33" fmla="*/ 2147483647 h 776"/>
                <a:gd name="T34" fmla="*/ 2147483647 w 391"/>
                <a:gd name="T35" fmla="*/ 0 h 776"/>
                <a:gd name="T36" fmla="*/ 2147483647 w 391"/>
                <a:gd name="T37" fmla="*/ 0 h 776"/>
                <a:gd name="T38" fmla="*/ 2147483647 w 391"/>
                <a:gd name="T39" fmla="*/ 0 h 776"/>
                <a:gd name="T40" fmla="*/ 2147483647 w 391"/>
                <a:gd name="T41" fmla="*/ 0 h 776"/>
                <a:gd name="T42" fmla="*/ 2147483647 w 391"/>
                <a:gd name="T43" fmla="*/ 0 h 776"/>
                <a:gd name="T44" fmla="*/ 2147483647 w 391"/>
                <a:gd name="T45" fmla="*/ 2147483647 h 776"/>
                <a:gd name="T46" fmla="*/ 2147483647 w 391"/>
                <a:gd name="T47" fmla="*/ 2147483647 h 776"/>
                <a:gd name="T48" fmla="*/ 2147483647 w 391"/>
                <a:gd name="T49" fmla="*/ 2147483647 h 776"/>
                <a:gd name="T50" fmla="*/ 2147483647 w 391"/>
                <a:gd name="T51" fmla="*/ 2147483647 h 776"/>
                <a:gd name="T52" fmla="*/ 2147483647 w 391"/>
                <a:gd name="T53" fmla="*/ 2147483647 h 776"/>
                <a:gd name="T54" fmla="*/ 2147483647 w 391"/>
                <a:gd name="T55" fmla="*/ 2147483647 h 776"/>
                <a:gd name="T56" fmla="*/ 2147483647 w 391"/>
                <a:gd name="T57" fmla="*/ 2147483647 h 776"/>
                <a:gd name="T58" fmla="*/ 2147483647 w 391"/>
                <a:gd name="T59" fmla="*/ 2147483647 h 776"/>
                <a:gd name="T60" fmla="*/ 2147483647 w 391"/>
                <a:gd name="T61" fmla="*/ 2147483647 h 776"/>
                <a:gd name="T62" fmla="*/ 2147483647 w 391"/>
                <a:gd name="T63" fmla="*/ 2147483647 h 776"/>
                <a:gd name="T64" fmla="*/ 2147483647 w 391"/>
                <a:gd name="T65" fmla="*/ 2147483647 h 776"/>
                <a:gd name="T66" fmla="*/ 2147483647 w 391"/>
                <a:gd name="T67" fmla="*/ 2147483647 h 776"/>
                <a:gd name="T68" fmla="*/ 2147483647 w 391"/>
                <a:gd name="T69" fmla="*/ 2147483647 h 776"/>
                <a:gd name="T70" fmla="*/ 2147483647 w 391"/>
                <a:gd name="T71" fmla="*/ 2147483647 h 776"/>
                <a:gd name="T72" fmla="*/ 2147483647 w 391"/>
                <a:gd name="T73" fmla="*/ 2147483647 h 776"/>
                <a:gd name="T74" fmla="*/ 2147483647 w 391"/>
                <a:gd name="T75" fmla="*/ 2147483647 h 776"/>
                <a:gd name="T76" fmla="*/ 0 w 391"/>
                <a:gd name="T77" fmla="*/ 2147483647 h 776"/>
                <a:gd name="T78" fmla="*/ 0 w 391"/>
                <a:gd name="T79" fmla="*/ 2147483647 h 776"/>
                <a:gd name="T80" fmla="*/ 0 w 391"/>
                <a:gd name="T81" fmla="*/ 2147483647 h 776"/>
                <a:gd name="T82" fmla="*/ 0 w 391"/>
                <a:gd name="T83" fmla="*/ 2147483647 h 776"/>
                <a:gd name="T84" fmla="*/ 0 w 391"/>
                <a:gd name="T85" fmla="*/ 2147483647 h 776"/>
                <a:gd name="T86" fmla="*/ 0 w 391"/>
                <a:gd name="T87" fmla="*/ 2147483647 h 776"/>
                <a:gd name="T88" fmla="*/ 2147483647 w 391"/>
                <a:gd name="T89" fmla="*/ 2147483647 h 776"/>
                <a:gd name="T90" fmla="*/ 2147483647 w 391"/>
                <a:gd name="T91" fmla="*/ 2147483647 h 776"/>
                <a:gd name="T92" fmla="*/ 2147483647 w 391"/>
                <a:gd name="T93" fmla="*/ 2147483647 h 776"/>
                <a:gd name="T94" fmla="*/ 2147483647 w 391"/>
                <a:gd name="T95" fmla="*/ 2147483647 h 7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1"/>
                <a:gd name="T145" fmla="*/ 0 h 776"/>
                <a:gd name="T146" fmla="*/ 391 w 391"/>
                <a:gd name="T147" fmla="*/ 776 h 77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 name="Freeform 28">
              <a:extLst>
                <a:ext uri="{FF2B5EF4-FFF2-40B4-BE49-F238E27FC236}">
                  <a16:creationId xmlns:a16="http://schemas.microsoft.com/office/drawing/2014/main" id="{D1A18B43-3CC1-9B3E-3003-B15B763F9927}"/>
                </a:ext>
              </a:extLst>
            </p:cNvPr>
            <p:cNvSpPr>
              <a:spLocks noChangeAspect="1"/>
            </p:cNvSpPr>
            <p:nvPr userDrawn="1"/>
          </p:nvSpPr>
          <p:spPr bwMode="gray">
            <a:xfrm>
              <a:off x="6564114" y="5263147"/>
              <a:ext cx="67155" cy="73163"/>
            </a:xfrm>
            <a:custGeom>
              <a:avLst/>
              <a:gdLst>
                <a:gd name="T0" fmla="*/ 2147483647 w 127"/>
                <a:gd name="T1" fmla="*/ 0 h 131"/>
                <a:gd name="T2" fmla="*/ 2147483647 w 127"/>
                <a:gd name="T3" fmla="*/ 0 h 131"/>
                <a:gd name="T4" fmla="*/ 2147483647 w 127"/>
                <a:gd name="T5" fmla="*/ 0 h 131"/>
                <a:gd name="T6" fmla="*/ 2147483647 w 127"/>
                <a:gd name="T7" fmla="*/ 2147483647 h 131"/>
                <a:gd name="T8" fmla="*/ 2147483647 w 127"/>
                <a:gd name="T9" fmla="*/ 2147483647 h 131"/>
                <a:gd name="T10" fmla="*/ 2147483647 w 127"/>
                <a:gd name="T11" fmla="*/ 2147483647 h 131"/>
                <a:gd name="T12" fmla="*/ 0 w 127"/>
                <a:gd name="T13" fmla="*/ 2147483647 h 131"/>
                <a:gd name="T14" fmla="*/ 0 w 127"/>
                <a:gd name="T15" fmla="*/ 2147483647 h 131"/>
                <a:gd name="T16" fmla="*/ 0 w 127"/>
                <a:gd name="T17" fmla="*/ 2147483647 h 131"/>
                <a:gd name="T18" fmla="*/ 0 w 127"/>
                <a:gd name="T19" fmla="*/ 2147483647 h 131"/>
                <a:gd name="T20" fmla="*/ 0 w 127"/>
                <a:gd name="T21" fmla="*/ 2147483647 h 131"/>
                <a:gd name="T22" fmla="*/ 0 w 127"/>
                <a:gd name="T23" fmla="*/ 0 h 131"/>
                <a:gd name="T24" fmla="*/ 0 w 127"/>
                <a:gd name="T25" fmla="*/ 0 h 131"/>
                <a:gd name="T26" fmla="*/ 0 w 127"/>
                <a:gd name="T27" fmla="*/ 0 h 131"/>
                <a:gd name="T28" fmla="*/ 0 w 127"/>
                <a:gd name="T29" fmla="*/ 0 h 131"/>
                <a:gd name="T30" fmla="*/ 2147483647 w 127"/>
                <a:gd name="T31" fmla="*/ 0 h 131"/>
                <a:gd name="T32" fmla="*/ 2147483647 w 127"/>
                <a:gd name="T33" fmla="*/ 0 h 131"/>
                <a:gd name="T34" fmla="*/ 2147483647 w 127"/>
                <a:gd name="T35" fmla="*/ 0 h 131"/>
                <a:gd name="T36" fmla="*/ 2147483647 w 127"/>
                <a:gd name="T37" fmla="*/ 0 h 131"/>
                <a:gd name="T38" fmla="*/ 2147483647 w 127"/>
                <a:gd name="T39" fmla="*/ 0 h 131"/>
                <a:gd name="T40" fmla="*/ 2147483647 w 127"/>
                <a:gd name="T41" fmla="*/ 0 h 131"/>
                <a:gd name="T42" fmla="*/ 2147483647 w 127"/>
                <a:gd name="T43" fmla="*/ 0 h 1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131"/>
                <a:gd name="T68" fmla="*/ 127 w 127"/>
                <a:gd name="T69" fmla="*/ 131 h 1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 name="Freeform 30">
              <a:extLst>
                <a:ext uri="{FF2B5EF4-FFF2-40B4-BE49-F238E27FC236}">
                  <a16:creationId xmlns:a16="http://schemas.microsoft.com/office/drawing/2014/main" id="{E78DB743-278C-AD06-8A23-C6E68EAB7D8B}"/>
                </a:ext>
              </a:extLst>
            </p:cNvPr>
            <p:cNvSpPr>
              <a:spLocks noChangeAspect="1"/>
            </p:cNvSpPr>
            <p:nvPr userDrawn="1"/>
          </p:nvSpPr>
          <p:spPr bwMode="gray">
            <a:xfrm>
              <a:off x="6508897" y="4830269"/>
              <a:ext cx="225344" cy="230157"/>
            </a:xfrm>
            <a:custGeom>
              <a:avLst/>
              <a:gdLst>
                <a:gd name="T0" fmla="*/ 2147483647 w 428"/>
                <a:gd name="T1" fmla="*/ 0 h 405"/>
                <a:gd name="T2" fmla="*/ 2147483647 w 428"/>
                <a:gd name="T3" fmla="*/ 0 h 405"/>
                <a:gd name="T4" fmla="*/ 2147483647 w 428"/>
                <a:gd name="T5" fmla="*/ 0 h 405"/>
                <a:gd name="T6" fmla="*/ 2147483647 w 428"/>
                <a:gd name="T7" fmla="*/ 0 h 405"/>
                <a:gd name="T8" fmla="*/ 2147483647 w 428"/>
                <a:gd name="T9" fmla="*/ 0 h 405"/>
                <a:gd name="T10" fmla="*/ 2147483647 w 428"/>
                <a:gd name="T11" fmla="*/ 0 h 405"/>
                <a:gd name="T12" fmla="*/ 2147483647 w 428"/>
                <a:gd name="T13" fmla="*/ 0 h 405"/>
                <a:gd name="T14" fmla="*/ 2147483647 w 428"/>
                <a:gd name="T15" fmla="*/ 2147483647 h 405"/>
                <a:gd name="T16" fmla="*/ 2147483647 w 428"/>
                <a:gd name="T17" fmla="*/ 2147483647 h 405"/>
                <a:gd name="T18" fmla="*/ 2147483647 w 428"/>
                <a:gd name="T19" fmla="*/ 2147483647 h 405"/>
                <a:gd name="T20" fmla="*/ 2147483647 w 428"/>
                <a:gd name="T21" fmla="*/ 2147483647 h 405"/>
                <a:gd name="T22" fmla="*/ 2147483647 w 428"/>
                <a:gd name="T23" fmla="*/ 2147483647 h 405"/>
                <a:gd name="T24" fmla="*/ 2147483647 w 428"/>
                <a:gd name="T25" fmla="*/ 2147483647 h 405"/>
                <a:gd name="T26" fmla="*/ 2147483647 w 428"/>
                <a:gd name="T27" fmla="*/ 2147483647 h 405"/>
                <a:gd name="T28" fmla="*/ 2147483647 w 428"/>
                <a:gd name="T29" fmla="*/ 2147483647 h 405"/>
                <a:gd name="T30" fmla="*/ 2147483647 w 428"/>
                <a:gd name="T31" fmla="*/ 2147483647 h 405"/>
                <a:gd name="T32" fmla="*/ 2147483647 w 428"/>
                <a:gd name="T33" fmla="*/ 2147483647 h 405"/>
                <a:gd name="T34" fmla="*/ 2147483647 w 428"/>
                <a:gd name="T35" fmla="*/ 2147483647 h 405"/>
                <a:gd name="T36" fmla="*/ 2147483647 w 428"/>
                <a:gd name="T37" fmla="*/ 2147483647 h 405"/>
                <a:gd name="T38" fmla="*/ 2147483647 w 428"/>
                <a:gd name="T39" fmla="*/ 2147483647 h 405"/>
                <a:gd name="T40" fmla="*/ 0 w 428"/>
                <a:gd name="T41" fmla="*/ 2147483647 h 405"/>
                <a:gd name="T42" fmla="*/ 0 w 428"/>
                <a:gd name="T43" fmla="*/ 2147483647 h 405"/>
                <a:gd name="T44" fmla="*/ 0 w 428"/>
                <a:gd name="T45" fmla="*/ 2147483647 h 405"/>
                <a:gd name="T46" fmla="*/ 0 w 428"/>
                <a:gd name="T47" fmla="*/ 2147483647 h 405"/>
                <a:gd name="T48" fmla="*/ 0 w 428"/>
                <a:gd name="T49" fmla="*/ 2147483647 h 405"/>
                <a:gd name="T50" fmla="*/ 0 w 428"/>
                <a:gd name="T51" fmla="*/ 2147483647 h 405"/>
                <a:gd name="T52" fmla="*/ 2147483647 w 428"/>
                <a:gd name="T53" fmla="*/ 2147483647 h 405"/>
                <a:gd name="T54" fmla="*/ 2147483647 w 428"/>
                <a:gd name="T55" fmla="*/ 2147483647 h 405"/>
                <a:gd name="T56" fmla="*/ 2147483647 w 428"/>
                <a:gd name="T57" fmla="*/ 2147483647 h 405"/>
                <a:gd name="T58" fmla="*/ 2147483647 w 428"/>
                <a:gd name="T59" fmla="*/ 2147483647 h 405"/>
                <a:gd name="T60" fmla="*/ 2147483647 w 428"/>
                <a:gd name="T61" fmla="*/ 2147483647 h 405"/>
                <a:gd name="T62" fmla="*/ 2147483647 w 428"/>
                <a:gd name="T63" fmla="*/ 2147483647 h 405"/>
                <a:gd name="T64" fmla="*/ 2147483647 w 428"/>
                <a:gd name="T65" fmla="*/ 2147483647 h 405"/>
                <a:gd name="T66" fmla="*/ 2147483647 w 428"/>
                <a:gd name="T67" fmla="*/ 2147483647 h 405"/>
                <a:gd name="T68" fmla="*/ 2147483647 w 428"/>
                <a:gd name="T69" fmla="*/ 2147483647 h 405"/>
                <a:gd name="T70" fmla="*/ 2147483647 w 428"/>
                <a:gd name="T71" fmla="*/ 2147483647 h 405"/>
                <a:gd name="T72" fmla="*/ 2147483647 w 428"/>
                <a:gd name="T73" fmla="*/ 2147483647 h 405"/>
                <a:gd name="T74" fmla="*/ 2147483647 w 428"/>
                <a:gd name="T75" fmla="*/ 2147483647 h 405"/>
                <a:gd name="T76" fmla="*/ 2147483647 w 428"/>
                <a:gd name="T77" fmla="*/ 2147483647 h 405"/>
                <a:gd name="T78" fmla="*/ 2147483647 w 428"/>
                <a:gd name="T79" fmla="*/ 2147483647 h 405"/>
                <a:gd name="T80" fmla="*/ 2147483647 w 428"/>
                <a:gd name="T81" fmla="*/ 2147483647 h 405"/>
                <a:gd name="T82" fmla="*/ 2147483647 w 428"/>
                <a:gd name="T83" fmla="*/ 2147483647 h 405"/>
                <a:gd name="T84" fmla="*/ 2147483647 w 428"/>
                <a:gd name="T85" fmla="*/ 2147483647 h 405"/>
                <a:gd name="T86" fmla="*/ 2147483647 w 428"/>
                <a:gd name="T87" fmla="*/ 2147483647 h 405"/>
                <a:gd name="T88" fmla="*/ 2147483647 w 428"/>
                <a:gd name="T89" fmla="*/ 2147483647 h 405"/>
                <a:gd name="T90" fmla="*/ 2147483647 w 428"/>
                <a:gd name="T91" fmla="*/ 2147483647 h 405"/>
                <a:gd name="T92" fmla="*/ 2147483647 w 428"/>
                <a:gd name="T93" fmla="*/ 2147483647 h 405"/>
                <a:gd name="T94" fmla="*/ 2147483647 w 428"/>
                <a:gd name="T95" fmla="*/ 2147483647 h 405"/>
                <a:gd name="T96" fmla="*/ 2147483647 w 428"/>
                <a:gd name="T97" fmla="*/ 0 h 405"/>
                <a:gd name="T98" fmla="*/ 2147483647 w 428"/>
                <a:gd name="T99" fmla="*/ 0 h 405"/>
                <a:gd name="T100" fmla="*/ 2147483647 w 428"/>
                <a:gd name="T101" fmla="*/ 0 h 405"/>
                <a:gd name="T102" fmla="*/ 2147483647 w 428"/>
                <a:gd name="T103" fmla="*/ 0 h 405"/>
                <a:gd name="T104" fmla="*/ 2147483647 w 428"/>
                <a:gd name="T105" fmla="*/ 0 h 405"/>
                <a:gd name="T106" fmla="*/ 2147483647 w 428"/>
                <a:gd name="T107" fmla="*/ 0 h 405"/>
                <a:gd name="T108" fmla="*/ 2147483647 w 428"/>
                <a:gd name="T109" fmla="*/ 0 h 405"/>
                <a:gd name="T110" fmla="*/ 2147483647 w 428"/>
                <a:gd name="T111" fmla="*/ 0 h 405"/>
                <a:gd name="T112" fmla="*/ 2147483647 w 428"/>
                <a:gd name="T113" fmla="*/ 0 h 405"/>
                <a:gd name="T114" fmla="*/ 2147483647 w 428"/>
                <a:gd name="T115" fmla="*/ 0 h 405"/>
                <a:gd name="T116" fmla="*/ 2147483647 w 428"/>
                <a:gd name="T117" fmla="*/ 0 h 405"/>
                <a:gd name="T118" fmla="*/ 2147483647 w 428"/>
                <a:gd name="T119" fmla="*/ 0 h 405"/>
                <a:gd name="T120" fmla="*/ 2147483647 w 428"/>
                <a:gd name="T121" fmla="*/ 0 h 405"/>
                <a:gd name="T122" fmla="*/ 2147483647 w 428"/>
                <a:gd name="T123" fmla="*/ 0 h 4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28"/>
                <a:gd name="T187" fmla="*/ 0 h 405"/>
                <a:gd name="T188" fmla="*/ 428 w 428"/>
                <a:gd name="T189" fmla="*/ 405 h 4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 name="Freeform 31">
              <a:extLst>
                <a:ext uri="{FF2B5EF4-FFF2-40B4-BE49-F238E27FC236}">
                  <a16:creationId xmlns:a16="http://schemas.microsoft.com/office/drawing/2014/main" id="{2140B490-0D0C-9CBC-06A8-3FD686BAD3EB}"/>
                </a:ext>
              </a:extLst>
            </p:cNvPr>
            <p:cNvSpPr>
              <a:spLocks noChangeAspect="1"/>
            </p:cNvSpPr>
            <p:nvPr userDrawn="1"/>
          </p:nvSpPr>
          <p:spPr bwMode="gray">
            <a:xfrm>
              <a:off x="6110442" y="4871424"/>
              <a:ext cx="392485" cy="411539"/>
            </a:xfrm>
            <a:custGeom>
              <a:avLst/>
              <a:gdLst>
                <a:gd name="T0" fmla="*/ 2147483647 w 734"/>
                <a:gd name="T1" fmla="*/ 0 h 722"/>
                <a:gd name="T2" fmla="*/ 2147483647 w 734"/>
                <a:gd name="T3" fmla="*/ 0 h 722"/>
                <a:gd name="T4" fmla="*/ 2147483647 w 734"/>
                <a:gd name="T5" fmla="*/ 0 h 722"/>
                <a:gd name="T6" fmla="*/ 2147483647 w 734"/>
                <a:gd name="T7" fmla="*/ 0 h 722"/>
                <a:gd name="T8" fmla="*/ 0 w 734"/>
                <a:gd name="T9" fmla="*/ 0 h 722"/>
                <a:gd name="T10" fmla="*/ 0 w 734"/>
                <a:gd name="T11" fmla="*/ 0 h 722"/>
                <a:gd name="T12" fmla="*/ 0 w 734"/>
                <a:gd name="T13" fmla="*/ 0 h 722"/>
                <a:gd name="T14" fmla="*/ 0 w 734"/>
                <a:gd name="T15" fmla="*/ 2147483647 h 722"/>
                <a:gd name="T16" fmla="*/ 0 w 734"/>
                <a:gd name="T17" fmla="*/ 2147483647 h 722"/>
                <a:gd name="T18" fmla="*/ 0 w 734"/>
                <a:gd name="T19" fmla="*/ 2147483647 h 722"/>
                <a:gd name="T20" fmla="*/ 2147483647 w 734"/>
                <a:gd name="T21" fmla="*/ 2147483647 h 722"/>
                <a:gd name="T22" fmla="*/ 2147483647 w 734"/>
                <a:gd name="T23" fmla="*/ 2147483647 h 722"/>
                <a:gd name="T24" fmla="*/ 2147483647 w 734"/>
                <a:gd name="T25" fmla="*/ 2147483647 h 722"/>
                <a:gd name="T26" fmla="*/ 2147483647 w 734"/>
                <a:gd name="T27" fmla="*/ 2147483647 h 722"/>
                <a:gd name="T28" fmla="*/ 2147483647 w 734"/>
                <a:gd name="T29" fmla="*/ 2147483647 h 722"/>
                <a:gd name="T30" fmla="*/ 2147483647 w 734"/>
                <a:gd name="T31" fmla="*/ 2147483647 h 722"/>
                <a:gd name="T32" fmla="*/ 2147483647 w 734"/>
                <a:gd name="T33" fmla="*/ 2147483647 h 722"/>
                <a:gd name="T34" fmla="*/ 2147483647 w 734"/>
                <a:gd name="T35" fmla="*/ 2147483647 h 722"/>
                <a:gd name="T36" fmla="*/ 2147483647 w 734"/>
                <a:gd name="T37" fmla="*/ 2147483647 h 722"/>
                <a:gd name="T38" fmla="*/ 2147483647 w 734"/>
                <a:gd name="T39" fmla="*/ 2147483647 h 722"/>
                <a:gd name="T40" fmla="*/ 2147483647 w 734"/>
                <a:gd name="T41" fmla="*/ 2147483647 h 722"/>
                <a:gd name="T42" fmla="*/ 2147483647 w 734"/>
                <a:gd name="T43" fmla="*/ 2147483647 h 722"/>
                <a:gd name="T44" fmla="*/ 2147483647 w 734"/>
                <a:gd name="T45" fmla="*/ 2147483647 h 722"/>
                <a:gd name="T46" fmla="*/ 2147483647 w 734"/>
                <a:gd name="T47" fmla="*/ 2147483647 h 722"/>
                <a:gd name="T48" fmla="*/ 2147483647 w 734"/>
                <a:gd name="T49" fmla="*/ 2147483647 h 722"/>
                <a:gd name="T50" fmla="*/ 2147483647 w 734"/>
                <a:gd name="T51" fmla="*/ 2147483647 h 722"/>
                <a:gd name="T52" fmla="*/ 2147483647 w 734"/>
                <a:gd name="T53" fmla="*/ 2147483647 h 722"/>
                <a:gd name="T54" fmla="*/ 2147483647 w 734"/>
                <a:gd name="T55" fmla="*/ 2147483647 h 722"/>
                <a:gd name="T56" fmla="*/ 2147483647 w 734"/>
                <a:gd name="T57" fmla="*/ 2147483647 h 722"/>
                <a:gd name="T58" fmla="*/ 2147483647 w 734"/>
                <a:gd name="T59" fmla="*/ 2147483647 h 722"/>
                <a:gd name="T60" fmla="*/ 2147483647 w 734"/>
                <a:gd name="T61" fmla="*/ 2147483647 h 722"/>
                <a:gd name="T62" fmla="*/ 2147483647 w 734"/>
                <a:gd name="T63" fmla="*/ 2147483647 h 722"/>
                <a:gd name="T64" fmla="*/ 2147483647 w 734"/>
                <a:gd name="T65" fmla="*/ 2147483647 h 722"/>
                <a:gd name="T66" fmla="*/ 2147483647 w 734"/>
                <a:gd name="T67" fmla="*/ 2147483647 h 722"/>
                <a:gd name="T68" fmla="*/ 2147483647 w 734"/>
                <a:gd name="T69" fmla="*/ 0 h 722"/>
                <a:gd name="T70" fmla="*/ 2147483647 w 734"/>
                <a:gd name="T71" fmla="*/ 2147483647 h 722"/>
                <a:gd name="T72" fmla="*/ 2147483647 w 734"/>
                <a:gd name="T73" fmla="*/ 2147483647 h 722"/>
                <a:gd name="T74" fmla="*/ 2147483647 w 734"/>
                <a:gd name="T75" fmla="*/ 0 h 722"/>
                <a:gd name="T76" fmla="*/ 2147483647 w 734"/>
                <a:gd name="T77" fmla="*/ 0 h 722"/>
                <a:gd name="T78" fmla="*/ 2147483647 w 734"/>
                <a:gd name="T79" fmla="*/ 0 h 722"/>
                <a:gd name="T80" fmla="*/ 2147483647 w 734"/>
                <a:gd name="T81" fmla="*/ 0 h 722"/>
                <a:gd name="T82" fmla="*/ 2147483647 w 734"/>
                <a:gd name="T83" fmla="*/ 0 h 722"/>
                <a:gd name="T84" fmla="*/ 2147483647 w 734"/>
                <a:gd name="T85" fmla="*/ 0 h 722"/>
                <a:gd name="T86" fmla="*/ 2147483647 w 734"/>
                <a:gd name="T87" fmla="*/ 0 h 722"/>
                <a:gd name="T88" fmla="*/ 2147483647 w 734"/>
                <a:gd name="T89" fmla="*/ 0 h 722"/>
                <a:gd name="T90" fmla="*/ 2147483647 w 734"/>
                <a:gd name="T91" fmla="*/ 0 h 72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34"/>
                <a:gd name="T139" fmla="*/ 0 h 722"/>
                <a:gd name="T140" fmla="*/ 734 w 734"/>
                <a:gd name="T141" fmla="*/ 722 h 72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 name="Freeform 3">
              <a:extLst>
                <a:ext uri="{FF2B5EF4-FFF2-40B4-BE49-F238E27FC236}">
                  <a16:creationId xmlns:a16="http://schemas.microsoft.com/office/drawing/2014/main" id="{9E0973C6-B4F3-A15D-08BB-8F242ED19904}"/>
                </a:ext>
              </a:extLst>
            </p:cNvPr>
            <p:cNvSpPr>
              <a:spLocks noChangeAspect="1"/>
            </p:cNvSpPr>
            <p:nvPr userDrawn="1"/>
          </p:nvSpPr>
          <p:spPr bwMode="gray">
            <a:xfrm>
              <a:off x="5677663" y="3991950"/>
              <a:ext cx="131326" cy="205770"/>
            </a:xfrm>
            <a:custGeom>
              <a:avLst/>
              <a:gdLst>
                <a:gd name="T0" fmla="*/ 2147483647 w 242"/>
                <a:gd name="T1" fmla="*/ 2147483647 h 356"/>
                <a:gd name="T2" fmla="*/ 2147483647 w 242"/>
                <a:gd name="T3" fmla="*/ 2147483647 h 356"/>
                <a:gd name="T4" fmla="*/ 2147483647 w 242"/>
                <a:gd name="T5" fmla="*/ 2147483647 h 356"/>
                <a:gd name="T6" fmla="*/ 2147483647 w 242"/>
                <a:gd name="T7" fmla="*/ 2147483647 h 356"/>
                <a:gd name="T8" fmla="*/ 2147483647 w 242"/>
                <a:gd name="T9" fmla="*/ 2147483647 h 356"/>
                <a:gd name="T10" fmla="*/ 2147483647 w 242"/>
                <a:gd name="T11" fmla="*/ 2147483647 h 356"/>
                <a:gd name="T12" fmla="*/ 2147483647 w 242"/>
                <a:gd name="T13" fmla="*/ 0 h 356"/>
                <a:gd name="T14" fmla="*/ 2147483647 w 242"/>
                <a:gd name="T15" fmla="*/ 0 h 356"/>
                <a:gd name="T16" fmla="*/ 2147483647 w 242"/>
                <a:gd name="T17" fmla="*/ 0 h 356"/>
                <a:gd name="T18" fmla="*/ 2147483647 w 242"/>
                <a:gd name="T19" fmla="*/ 0 h 356"/>
                <a:gd name="T20" fmla="*/ 2147483647 w 242"/>
                <a:gd name="T21" fmla="*/ 0 h 356"/>
                <a:gd name="T22" fmla="*/ 2147483647 w 242"/>
                <a:gd name="T23" fmla="*/ 0 h 356"/>
                <a:gd name="T24" fmla="*/ 2147483647 w 242"/>
                <a:gd name="T25" fmla="*/ 0 h 356"/>
                <a:gd name="T26" fmla="*/ 2147483647 w 242"/>
                <a:gd name="T27" fmla="*/ 0 h 356"/>
                <a:gd name="T28" fmla="*/ 2147483647 w 242"/>
                <a:gd name="T29" fmla="*/ 0 h 356"/>
                <a:gd name="T30" fmla="*/ 2147483647 w 242"/>
                <a:gd name="T31" fmla="*/ 0 h 356"/>
                <a:gd name="T32" fmla="*/ 2147483647 w 242"/>
                <a:gd name="T33" fmla="*/ 0 h 356"/>
                <a:gd name="T34" fmla="*/ 0 w 242"/>
                <a:gd name="T35" fmla="*/ 0 h 356"/>
                <a:gd name="T36" fmla="*/ 0 w 242"/>
                <a:gd name="T37" fmla="*/ 0 h 356"/>
                <a:gd name="T38" fmla="*/ 0 w 242"/>
                <a:gd name="T39" fmla="*/ 0 h 356"/>
                <a:gd name="T40" fmla="*/ 0 w 242"/>
                <a:gd name="T41" fmla="*/ 0 h 356"/>
                <a:gd name="T42" fmla="*/ 0 w 242"/>
                <a:gd name="T43" fmla="*/ 0 h 356"/>
                <a:gd name="T44" fmla="*/ 0 w 242"/>
                <a:gd name="T45" fmla="*/ 2147483647 h 356"/>
                <a:gd name="T46" fmla="*/ 0 w 242"/>
                <a:gd name="T47" fmla="*/ 2147483647 h 356"/>
                <a:gd name="T48" fmla="*/ 0 w 242"/>
                <a:gd name="T49" fmla="*/ 2147483647 h 356"/>
                <a:gd name="T50" fmla="*/ 0 w 242"/>
                <a:gd name="T51" fmla="*/ 2147483647 h 356"/>
                <a:gd name="T52" fmla="*/ 0 w 242"/>
                <a:gd name="T53" fmla="*/ 2147483647 h 356"/>
                <a:gd name="T54" fmla="*/ 0 w 242"/>
                <a:gd name="T55" fmla="*/ 2147483647 h 356"/>
                <a:gd name="T56" fmla="*/ 0 w 242"/>
                <a:gd name="T57" fmla="*/ 2147483647 h 356"/>
                <a:gd name="T58" fmla="*/ 0 w 242"/>
                <a:gd name="T59" fmla="*/ 2147483647 h 356"/>
                <a:gd name="T60" fmla="*/ 0 w 242"/>
                <a:gd name="T61" fmla="*/ 2147483647 h 356"/>
                <a:gd name="T62" fmla="*/ 0 w 242"/>
                <a:gd name="T63" fmla="*/ 2147483647 h 356"/>
                <a:gd name="T64" fmla="*/ 0 w 242"/>
                <a:gd name="T65" fmla="*/ 2147483647 h 356"/>
                <a:gd name="T66" fmla="*/ 0 w 242"/>
                <a:gd name="T67" fmla="*/ 2147483647 h 356"/>
                <a:gd name="T68" fmla="*/ 0 w 242"/>
                <a:gd name="T69" fmla="*/ 2147483647 h 356"/>
                <a:gd name="T70" fmla="*/ 0 w 242"/>
                <a:gd name="T71" fmla="*/ 2147483647 h 356"/>
                <a:gd name="T72" fmla="*/ 0 w 242"/>
                <a:gd name="T73" fmla="*/ 2147483647 h 356"/>
                <a:gd name="T74" fmla="*/ 0 w 242"/>
                <a:gd name="T75" fmla="*/ 2147483647 h 356"/>
                <a:gd name="T76" fmla="*/ 0 w 242"/>
                <a:gd name="T77" fmla="*/ 2147483647 h 356"/>
                <a:gd name="T78" fmla="*/ 0 w 242"/>
                <a:gd name="T79" fmla="*/ 2147483647 h 356"/>
                <a:gd name="T80" fmla="*/ 0 w 242"/>
                <a:gd name="T81" fmla="*/ 2147483647 h 356"/>
                <a:gd name="T82" fmla="*/ 2147483647 w 242"/>
                <a:gd name="T83" fmla="*/ 2147483647 h 356"/>
                <a:gd name="T84" fmla="*/ 2147483647 w 242"/>
                <a:gd name="T85" fmla="*/ 2147483647 h 356"/>
                <a:gd name="T86" fmla="*/ 2147483647 w 242"/>
                <a:gd name="T87" fmla="*/ 2147483647 h 356"/>
                <a:gd name="T88" fmla="*/ 2147483647 w 242"/>
                <a:gd name="T89" fmla="*/ 2147483647 h 356"/>
                <a:gd name="T90" fmla="*/ 2147483647 w 242"/>
                <a:gd name="T91" fmla="*/ 2147483647 h 356"/>
                <a:gd name="T92" fmla="*/ 2147483647 w 242"/>
                <a:gd name="T93" fmla="*/ 2147483647 h 356"/>
                <a:gd name="T94" fmla="*/ 2147483647 w 242"/>
                <a:gd name="T95" fmla="*/ 2147483647 h 35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2"/>
                <a:gd name="T145" fmla="*/ 0 h 356"/>
                <a:gd name="T146" fmla="*/ 242 w 242"/>
                <a:gd name="T147" fmla="*/ 356 h 35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 name="Freeform 4">
              <a:extLst>
                <a:ext uri="{FF2B5EF4-FFF2-40B4-BE49-F238E27FC236}">
                  <a16:creationId xmlns:a16="http://schemas.microsoft.com/office/drawing/2014/main" id="{22495665-FFFD-CAFA-B26E-E18CB9FAC92B}"/>
                </a:ext>
              </a:extLst>
            </p:cNvPr>
            <p:cNvSpPr>
              <a:spLocks noChangeAspect="1"/>
            </p:cNvSpPr>
            <p:nvPr userDrawn="1"/>
          </p:nvSpPr>
          <p:spPr bwMode="gray">
            <a:xfrm>
              <a:off x="5619461" y="3870012"/>
              <a:ext cx="220867" cy="173761"/>
            </a:xfrm>
            <a:custGeom>
              <a:avLst/>
              <a:gdLst>
                <a:gd name="T0" fmla="*/ 2147483647 w 417"/>
                <a:gd name="T1" fmla="*/ 0 h 307"/>
                <a:gd name="T2" fmla="*/ 2147483647 w 417"/>
                <a:gd name="T3" fmla="*/ 0 h 307"/>
                <a:gd name="T4" fmla="*/ 2147483647 w 417"/>
                <a:gd name="T5" fmla="*/ 2147483647 h 307"/>
                <a:gd name="T6" fmla="*/ 2147483647 w 417"/>
                <a:gd name="T7" fmla="*/ 2147483647 h 307"/>
                <a:gd name="T8" fmla="*/ 2147483647 w 417"/>
                <a:gd name="T9" fmla="*/ 2147483647 h 307"/>
                <a:gd name="T10" fmla="*/ 0 w 417"/>
                <a:gd name="T11" fmla="*/ 2147483647 h 307"/>
                <a:gd name="T12" fmla="*/ 0 w 417"/>
                <a:gd name="T13" fmla="*/ 2147483647 h 307"/>
                <a:gd name="T14" fmla="*/ 0 w 417"/>
                <a:gd name="T15" fmla="*/ 2147483647 h 307"/>
                <a:gd name="T16" fmla="*/ 0 w 417"/>
                <a:gd name="T17" fmla="*/ 2147483647 h 307"/>
                <a:gd name="T18" fmla="*/ 0 w 417"/>
                <a:gd name="T19" fmla="*/ 2147483647 h 307"/>
                <a:gd name="T20" fmla="*/ 0 w 417"/>
                <a:gd name="T21" fmla="*/ 2147483647 h 307"/>
                <a:gd name="T22" fmla="*/ 0 w 417"/>
                <a:gd name="T23" fmla="*/ 2147483647 h 307"/>
                <a:gd name="T24" fmla="*/ 0 w 417"/>
                <a:gd name="T25" fmla="*/ 2147483647 h 307"/>
                <a:gd name="T26" fmla="*/ 0 w 417"/>
                <a:gd name="T27" fmla="*/ 2147483647 h 307"/>
                <a:gd name="T28" fmla="*/ 0 w 417"/>
                <a:gd name="T29" fmla="*/ 2147483647 h 307"/>
                <a:gd name="T30" fmla="*/ 2147483647 w 417"/>
                <a:gd name="T31" fmla="*/ 2147483647 h 307"/>
                <a:gd name="T32" fmla="*/ 2147483647 w 417"/>
                <a:gd name="T33" fmla="*/ 2147483647 h 307"/>
                <a:gd name="T34" fmla="*/ 2147483647 w 417"/>
                <a:gd name="T35" fmla="*/ 2147483647 h 307"/>
                <a:gd name="T36" fmla="*/ 2147483647 w 417"/>
                <a:gd name="T37" fmla="*/ 2147483647 h 307"/>
                <a:gd name="T38" fmla="*/ 2147483647 w 417"/>
                <a:gd name="T39" fmla="*/ 2147483647 h 307"/>
                <a:gd name="T40" fmla="*/ 2147483647 w 417"/>
                <a:gd name="T41" fmla="*/ 2147483647 h 307"/>
                <a:gd name="T42" fmla="*/ 2147483647 w 417"/>
                <a:gd name="T43" fmla="*/ 2147483647 h 307"/>
                <a:gd name="T44" fmla="*/ 2147483647 w 417"/>
                <a:gd name="T45" fmla="*/ 2147483647 h 307"/>
                <a:gd name="T46" fmla="*/ 2147483647 w 417"/>
                <a:gd name="T47" fmla="*/ 2147483647 h 307"/>
                <a:gd name="T48" fmla="*/ 2147483647 w 417"/>
                <a:gd name="T49" fmla="*/ 2147483647 h 307"/>
                <a:gd name="T50" fmla="*/ 2147483647 w 417"/>
                <a:gd name="T51" fmla="*/ 2147483647 h 307"/>
                <a:gd name="T52" fmla="*/ 2147483647 w 417"/>
                <a:gd name="T53" fmla="*/ 2147483647 h 307"/>
                <a:gd name="T54" fmla="*/ 2147483647 w 417"/>
                <a:gd name="T55" fmla="*/ 2147483647 h 307"/>
                <a:gd name="T56" fmla="*/ 2147483647 w 417"/>
                <a:gd name="T57" fmla="*/ 2147483647 h 307"/>
                <a:gd name="T58" fmla="*/ 2147483647 w 417"/>
                <a:gd name="T59" fmla="*/ 2147483647 h 307"/>
                <a:gd name="T60" fmla="*/ 2147483647 w 417"/>
                <a:gd name="T61" fmla="*/ 2147483647 h 307"/>
                <a:gd name="T62" fmla="*/ 2147483647 w 417"/>
                <a:gd name="T63" fmla="*/ 2147483647 h 307"/>
                <a:gd name="T64" fmla="*/ 2147483647 w 417"/>
                <a:gd name="T65" fmla="*/ 2147483647 h 307"/>
                <a:gd name="T66" fmla="*/ 2147483647 w 417"/>
                <a:gd name="T67" fmla="*/ 2147483647 h 307"/>
                <a:gd name="T68" fmla="*/ 2147483647 w 417"/>
                <a:gd name="T69" fmla="*/ 2147483647 h 307"/>
                <a:gd name="T70" fmla="*/ 2147483647 w 417"/>
                <a:gd name="T71" fmla="*/ 2147483647 h 307"/>
                <a:gd name="T72" fmla="*/ 2147483647 w 417"/>
                <a:gd name="T73" fmla="*/ 2147483647 h 307"/>
                <a:gd name="T74" fmla="*/ 2147483647 w 417"/>
                <a:gd name="T75" fmla="*/ 2147483647 h 307"/>
                <a:gd name="T76" fmla="*/ 2147483647 w 417"/>
                <a:gd name="T77" fmla="*/ 2147483647 h 307"/>
                <a:gd name="T78" fmla="*/ 2147483647 w 417"/>
                <a:gd name="T79" fmla="*/ 2147483647 h 307"/>
                <a:gd name="T80" fmla="*/ 2147483647 w 417"/>
                <a:gd name="T81" fmla="*/ 2147483647 h 307"/>
                <a:gd name="T82" fmla="*/ 2147483647 w 417"/>
                <a:gd name="T83" fmla="*/ 2147483647 h 307"/>
                <a:gd name="T84" fmla="*/ 2147483647 w 417"/>
                <a:gd name="T85" fmla="*/ 2147483647 h 307"/>
                <a:gd name="T86" fmla="*/ 2147483647 w 417"/>
                <a:gd name="T87" fmla="*/ 0 h 307"/>
                <a:gd name="T88" fmla="*/ 2147483647 w 417"/>
                <a:gd name="T89" fmla="*/ 0 h 307"/>
                <a:gd name="T90" fmla="*/ 2147483647 w 417"/>
                <a:gd name="T91" fmla="*/ 0 h 307"/>
                <a:gd name="T92" fmla="*/ 2147483647 w 417"/>
                <a:gd name="T93" fmla="*/ 0 h 30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7"/>
                <a:gd name="T142" fmla="*/ 0 h 307"/>
                <a:gd name="T143" fmla="*/ 417 w 417"/>
                <a:gd name="T144" fmla="*/ 307 h 30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 name="Freeform 5">
              <a:extLst>
                <a:ext uri="{FF2B5EF4-FFF2-40B4-BE49-F238E27FC236}">
                  <a16:creationId xmlns:a16="http://schemas.microsoft.com/office/drawing/2014/main" id="{B58D7A6D-B4EF-7AB3-DEF2-B2A44AB7D4A9}"/>
                </a:ext>
              </a:extLst>
            </p:cNvPr>
            <p:cNvSpPr>
              <a:spLocks noChangeAspect="1"/>
            </p:cNvSpPr>
            <p:nvPr userDrawn="1"/>
          </p:nvSpPr>
          <p:spPr bwMode="gray">
            <a:xfrm>
              <a:off x="6016424" y="3940127"/>
              <a:ext cx="223851" cy="350570"/>
            </a:xfrm>
            <a:custGeom>
              <a:avLst/>
              <a:gdLst>
                <a:gd name="T0" fmla="*/ 2147483647 w 420"/>
                <a:gd name="T1" fmla="*/ 2147483647 h 615"/>
                <a:gd name="T2" fmla="*/ 2147483647 w 420"/>
                <a:gd name="T3" fmla="*/ 2147483647 h 615"/>
                <a:gd name="T4" fmla="*/ 2147483647 w 420"/>
                <a:gd name="T5" fmla="*/ 2147483647 h 615"/>
                <a:gd name="T6" fmla="*/ 2147483647 w 420"/>
                <a:gd name="T7" fmla="*/ 2147483647 h 615"/>
                <a:gd name="T8" fmla="*/ 2147483647 w 420"/>
                <a:gd name="T9" fmla="*/ 2147483647 h 615"/>
                <a:gd name="T10" fmla="*/ 2147483647 w 420"/>
                <a:gd name="T11" fmla="*/ 2147483647 h 615"/>
                <a:gd name="T12" fmla="*/ 2147483647 w 420"/>
                <a:gd name="T13" fmla="*/ 2147483647 h 615"/>
                <a:gd name="T14" fmla="*/ 2147483647 w 420"/>
                <a:gd name="T15" fmla="*/ 2147483647 h 615"/>
                <a:gd name="T16" fmla="*/ 0 w 420"/>
                <a:gd name="T17" fmla="*/ 2147483647 h 615"/>
                <a:gd name="T18" fmla="*/ 0 w 420"/>
                <a:gd name="T19" fmla="*/ 2147483647 h 615"/>
                <a:gd name="T20" fmla="*/ 0 w 420"/>
                <a:gd name="T21" fmla="*/ 2147483647 h 615"/>
                <a:gd name="T22" fmla="*/ 0 w 420"/>
                <a:gd name="T23" fmla="*/ 2147483647 h 615"/>
                <a:gd name="T24" fmla="*/ 0 w 420"/>
                <a:gd name="T25" fmla="*/ 2147483647 h 615"/>
                <a:gd name="T26" fmla="*/ 0 w 420"/>
                <a:gd name="T27" fmla="*/ 2147483647 h 615"/>
                <a:gd name="T28" fmla="*/ 2147483647 w 420"/>
                <a:gd name="T29" fmla="*/ 2147483647 h 615"/>
                <a:gd name="T30" fmla="*/ 2147483647 w 420"/>
                <a:gd name="T31" fmla="*/ 2147483647 h 615"/>
                <a:gd name="T32" fmla="*/ 2147483647 w 420"/>
                <a:gd name="T33" fmla="*/ 2147483647 h 615"/>
                <a:gd name="T34" fmla="*/ 2147483647 w 420"/>
                <a:gd name="T35" fmla="*/ 2147483647 h 615"/>
                <a:gd name="T36" fmla="*/ 2147483647 w 420"/>
                <a:gd name="T37" fmla="*/ 2147483647 h 615"/>
                <a:gd name="T38" fmla="*/ 2147483647 w 420"/>
                <a:gd name="T39" fmla="*/ 2147483647 h 615"/>
                <a:gd name="T40" fmla="*/ 2147483647 w 420"/>
                <a:gd name="T41" fmla="*/ 2147483647 h 615"/>
                <a:gd name="T42" fmla="*/ 2147483647 w 420"/>
                <a:gd name="T43" fmla="*/ 2147483647 h 615"/>
                <a:gd name="T44" fmla="*/ 2147483647 w 420"/>
                <a:gd name="T45" fmla="*/ 2147483647 h 615"/>
                <a:gd name="T46" fmla="*/ 2147483647 w 420"/>
                <a:gd name="T47" fmla="*/ 2147483647 h 615"/>
                <a:gd name="T48" fmla="*/ 2147483647 w 420"/>
                <a:gd name="T49" fmla="*/ 2147483647 h 615"/>
                <a:gd name="T50" fmla="*/ 2147483647 w 420"/>
                <a:gd name="T51" fmla="*/ 2147483647 h 615"/>
                <a:gd name="T52" fmla="*/ 2147483647 w 420"/>
                <a:gd name="T53" fmla="*/ 0 h 615"/>
                <a:gd name="T54" fmla="*/ 2147483647 w 420"/>
                <a:gd name="T55" fmla="*/ 0 h 615"/>
                <a:gd name="T56" fmla="*/ 2147483647 w 420"/>
                <a:gd name="T57" fmla="*/ 0 h 615"/>
                <a:gd name="T58" fmla="*/ 2147483647 w 420"/>
                <a:gd name="T59" fmla="*/ 0 h 615"/>
                <a:gd name="T60" fmla="*/ 2147483647 w 420"/>
                <a:gd name="T61" fmla="*/ 0 h 615"/>
                <a:gd name="T62" fmla="*/ 2147483647 w 420"/>
                <a:gd name="T63" fmla="*/ 0 h 615"/>
                <a:gd name="T64" fmla="*/ 2147483647 w 420"/>
                <a:gd name="T65" fmla="*/ 2147483647 h 615"/>
                <a:gd name="T66" fmla="*/ 2147483647 w 420"/>
                <a:gd name="T67" fmla="*/ 2147483647 h 615"/>
                <a:gd name="T68" fmla="*/ 2147483647 w 420"/>
                <a:gd name="T69" fmla="*/ 2147483647 h 615"/>
                <a:gd name="T70" fmla="*/ 2147483647 w 420"/>
                <a:gd name="T71" fmla="*/ 2147483647 h 615"/>
                <a:gd name="T72" fmla="*/ 2147483647 w 420"/>
                <a:gd name="T73" fmla="*/ 2147483647 h 615"/>
                <a:gd name="T74" fmla="*/ 2147483647 w 420"/>
                <a:gd name="T75" fmla="*/ 2147483647 h 615"/>
                <a:gd name="T76" fmla="*/ 2147483647 w 420"/>
                <a:gd name="T77" fmla="*/ 2147483647 h 615"/>
                <a:gd name="T78" fmla="*/ 2147483647 w 420"/>
                <a:gd name="T79" fmla="*/ 2147483647 h 615"/>
                <a:gd name="T80" fmla="*/ 2147483647 w 420"/>
                <a:gd name="T81" fmla="*/ 2147483647 h 615"/>
                <a:gd name="T82" fmla="*/ 2147483647 w 420"/>
                <a:gd name="T83" fmla="*/ 2147483647 h 615"/>
                <a:gd name="T84" fmla="*/ 2147483647 w 420"/>
                <a:gd name="T85" fmla="*/ 2147483647 h 615"/>
                <a:gd name="T86" fmla="*/ 2147483647 w 420"/>
                <a:gd name="T87" fmla="*/ 2147483647 h 615"/>
                <a:gd name="T88" fmla="*/ 2147483647 w 420"/>
                <a:gd name="T89" fmla="*/ 2147483647 h 615"/>
                <a:gd name="T90" fmla="*/ 2147483647 w 420"/>
                <a:gd name="T91" fmla="*/ 2147483647 h 615"/>
                <a:gd name="T92" fmla="*/ 2147483647 w 420"/>
                <a:gd name="T93" fmla="*/ 2147483647 h 615"/>
                <a:gd name="T94" fmla="*/ 2147483647 w 420"/>
                <a:gd name="T95" fmla="*/ 2147483647 h 615"/>
                <a:gd name="T96" fmla="*/ 2147483647 w 420"/>
                <a:gd name="T97" fmla="*/ 2147483647 h 615"/>
                <a:gd name="T98" fmla="*/ 2147483647 w 420"/>
                <a:gd name="T99" fmla="*/ 2147483647 h 6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20"/>
                <a:gd name="T151" fmla="*/ 0 h 615"/>
                <a:gd name="T152" fmla="*/ 420 w 420"/>
                <a:gd name="T153" fmla="*/ 615 h 61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 name="Freeform 6">
              <a:extLst>
                <a:ext uri="{FF2B5EF4-FFF2-40B4-BE49-F238E27FC236}">
                  <a16:creationId xmlns:a16="http://schemas.microsoft.com/office/drawing/2014/main" id="{00063A2F-AB0F-5096-7CFF-C51324DF803E}"/>
                </a:ext>
              </a:extLst>
            </p:cNvPr>
            <p:cNvSpPr>
              <a:spLocks noChangeAspect="1"/>
            </p:cNvSpPr>
            <p:nvPr userDrawn="1"/>
          </p:nvSpPr>
          <p:spPr bwMode="gray">
            <a:xfrm>
              <a:off x="5792573" y="3950796"/>
              <a:ext cx="88049" cy="193575"/>
            </a:xfrm>
            <a:custGeom>
              <a:avLst/>
              <a:gdLst>
                <a:gd name="T0" fmla="*/ 2147483647 w 166"/>
                <a:gd name="T1" fmla="*/ 0 h 340"/>
                <a:gd name="T2" fmla="*/ 2147483647 w 166"/>
                <a:gd name="T3" fmla="*/ 0 h 340"/>
                <a:gd name="T4" fmla="*/ 2147483647 w 166"/>
                <a:gd name="T5" fmla="*/ 0 h 340"/>
                <a:gd name="T6" fmla="*/ 2147483647 w 166"/>
                <a:gd name="T7" fmla="*/ 0 h 340"/>
                <a:gd name="T8" fmla="*/ 2147483647 w 166"/>
                <a:gd name="T9" fmla="*/ 0 h 340"/>
                <a:gd name="T10" fmla="*/ 2147483647 w 166"/>
                <a:gd name="T11" fmla="*/ 0 h 340"/>
                <a:gd name="T12" fmla="*/ 2147483647 w 166"/>
                <a:gd name="T13" fmla="*/ 0 h 340"/>
                <a:gd name="T14" fmla="*/ 2147483647 w 166"/>
                <a:gd name="T15" fmla="*/ 0 h 340"/>
                <a:gd name="T16" fmla="*/ 2147483647 w 166"/>
                <a:gd name="T17" fmla="*/ 0 h 340"/>
                <a:gd name="T18" fmla="*/ 2147483647 w 166"/>
                <a:gd name="T19" fmla="*/ 0 h 340"/>
                <a:gd name="T20" fmla="*/ 2147483647 w 166"/>
                <a:gd name="T21" fmla="*/ 0 h 340"/>
                <a:gd name="T22" fmla="*/ 0 w 166"/>
                <a:gd name="T23" fmla="*/ 0 h 340"/>
                <a:gd name="T24" fmla="*/ 0 w 166"/>
                <a:gd name="T25" fmla="*/ 0 h 340"/>
                <a:gd name="T26" fmla="*/ 0 w 166"/>
                <a:gd name="T27" fmla="*/ 0 h 340"/>
                <a:gd name="T28" fmla="*/ 0 w 166"/>
                <a:gd name="T29" fmla="*/ 0 h 340"/>
                <a:gd name="T30" fmla="*/ 0 w 166"/>
                <a:gd name="T31" fmla="*/ 0 h 340"/>
                <a:gd name="T32" fmla="*/ 0 w 166"/>
                <a:gd name="T33" fmla="*/ 2147483647 h 340"/>
                <a:gd name="T34" fmla="*/ 0 w 166"/>
                <a:gd name="T35" fmla="*/ 2147483647 h 340"/>
                <a:gd name="T36" fmla="*/ 0 w 166"/>
                <a:gd name="T37" fmla="*/ 2147483647 h 340"/>
                <a:gd name="T38" fmla="*/ 0 w 166"/>
                <a:gd name="T39" fmla="*/ 2147483647 h 340"/>
                <a:gd name="T40" fmla="*/ 0 w 166"/>
                <a:gd name="T41" fmla="*/ 2147483647 h 340"/>
                <a:gd name="T42" fmla="*/ 0 w 166"/>
                <a:gd name="T43" fmla="*/ 2147483647 h 340"/>
                <a:gd name="T44" fmla="*/ 2147483647 w 166"/>
                <a:gd name="T45" fmla="*/ 2147483647 h 340"/>
                <a:gd name="T46" fmla="*/ 2147483647 w 166"/>
                <a:gd name="T47" fmla="*/ 2147483647 h 340"/>
                <a:gd name="T48" fmla="*/ 2147483647 w 166"/>
                <a:gd name="T49" fmla="*/ 2147483647 h 340"/>
                <a:gd name="T50" fmla="*/ 2147483647 w 166"/>
                <a:gd name="T51" fmla="*/ 2147483647 h 340"/>
                <a:gd name="T52" fmla="*/ 2147483647 w 166"/>
                <a:gd name="T53" fmla="*/ 2147483647 h 340"/>
                <a:gd name="T54" fmla="*/ 2147483647 w 166"/>
                <a:gd name="T55" fmla="*/ 2147483647 h 340"/>
                <a:gd name="T56" fmla="*/ 2147483647 w 166"/>
                <a:gd name="T57" fmla="*/ 2147483647 h 340"/>
                <a:gd name="T58" fmla="*/ 2147483647 w 166"/>
                <a:gd name="T59" fmla="*/ 2147483647 h 340"/>
                <a:gd name="T60" fmla="*/ 2147483647 w 166"/>
                <a:gd name="T61" fmla="*/ 2147483647 h 340"/>
                <a:gd name="T62" fmla="*/ 2147483647 w 166"/>
                <a:gd name="T63" fmla="*/ 2147483647 h 340"/>
                <a:gd name="T64" fmla="*/ 2147483647 w 166"/>
                <a:gd name="T65" fmla="*/ 2147483647 h 340"/>
                <a:gd name="T66" fmla="*/ 2147483647 w 166"/>
                <a:gd name="T67" fmla="*/ 2147483647 h 340"/>
                <a:gd name="T68" fmla="*/ 2147483647 w 166"/>
                <a:gd name="T69" fmla="*/ 2147483647 h 340"/>
                <a:gd name="T70" fmla="*/ 2147483647 w 166"/>
                <a:gd name="T71" fmla="*/ 2147483647 h 340"/>
                <a:gd name="T72" fmla="*/ 2147483647 w 166"/>
                <a:gd name="T73" fmla="*/ 2147483647 h 340"/>
                <a:gd name="T74" fmla="*/ 2147483647 w 166"/>
                <a:gd name="T75" fmla="*/ 2147483647 h 340"/>
                <a:gd name="T76" fmla="*/ 2147483647 w 166"/>
                <a:gd name="T77" fmla="*/ 2147483647 h 340"/>
                <a:gd name="T78" fmla="*/ 2147483647 w 166"/>
                <a:gd name="T79" fmla="*/ 2147483647 h 340"/>
                <a:gd name="T80" fmla="*/ 2147483647 w 166"/>
                <a:gd name="T81" fmla="*/ 0 h 340"/>
                <a:gd name="T82" fmla="*/ 2147483647 w 166"/>
                <a:gd name="T83" fmla="*/ 0 h 340"/>
                <a:gd name="T84" fmla="*/ 2147483647 w 166"/>
                <a:gd name="T85" fmla="*/ 0 h 3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6"/>
                <a:gd name="T130" fmla="*/ 0 h 340"/>
                <a:gd name="T131" fmla="*/ 166 w 166"/>
                <a:gd name="T132" fmla="*/ 340 h 3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 name="Freeform 7">
              <a:extLst>
                <a:ext uri="{FF2B5EF4-FFF2-40B4-BE49-F238E27FC236}">
                  <a16:creationId xmlns:a16="http://schemas.microsoft.com/office/drawing/2014/main" id="{5D4B5F02-327A-A239-496E-0428CD7C855D}"/>
                </a:ext>
              </a:extLst>
            </p:cNvPr>
            <p:cNvSpPr>
              <a:spLocks noChangeAspect="1"/>
            </p:cNvSpPr>
            <p:nvPr userDrawn="1"/>
          </p:nvSpPr>
          <p:spPr bwMode="gray">
            <a:xfrm>
              <a:off x="6161182" y="3595654"/>
              <a:ext cx="314884" cy="512137"/>
            </a:xfrm>
            <a:custGeom>
              <a:avLst/>
              <a:gdLst>
                <a:gd name="T0" fmla="*/ 2147483647 w 588"/>
                <a:gd name="T1" fmla="*/ 2147483647 h 905"/>
                <a:gd name="T2" fmla="*/ 2147483647 w 588"/>
                <a:gd name="T3" fmla="*/ 2147483647 h 905"/>
                <a:gd name="T4" fmla="*/ 2147483647 w 588"/>
                <a:gd name="T5" fmla="*/ 2147483647 h 905"/>
                <a:gd name="T6" fmla="*/ 2147483647 w 588"/>
                <a:gd name="T7" fmla="*/ 2147483647 h 905"/>
                <a:gd name="T8" fmla="*/ 0 w 588"/>
                <a:gd name="T9" fmla="*/ 2147483647 h 905"/>
                <a:gd name="T10" fmla="*/ 0 w 588"/>
                <a:gd name="T11" fmla="*/ 2147483647 h 905"/>
                <a:gd name="T12" fmla="*/ 0 w 588"/>
                <a:gd name="T13" fmla="*/ 2147483647 h 905"/>
                <a:gd name="T14" fmla="*/ 0 w 588"/>
                <a:gd name="T15" fmla="*/ 2147483647 h 905"/>
                <a:gd name="T16" fmla="*/ 2147483647 w 588"/>
                <a:gd name="T17" fmla="*/ 2147483647 h 905"/>
                <a:gd name="T18" fmla="*/ 2147483647 w 588"/>
                <a:gd name="T19" fmla="*/ 2147483647 h 905"/>
                <a:gd name="T20" fmla="*/ 2147483647 w 588"/>
                <a:gd name="T21" fmla="*/ 2147483647 h 905"/>
                <a:gd name="T22" fmla="*/ 2147483647 w 588"/>
                <a:gd name="T23" fmla="*/ 2147483647 h 905"/>
                <a:gd name="T24" fmla="*/ 2147483647 w 588"/>
                <a:gd name="T25" fmla="*/ 2147483647 h 905"/>
                <a:gd name="T26" fmla="*/ 2147483647 w 588"/>
                <a:gd name="T27" fmla="*/ 2147483647 h 905"/>
                <a:gd name="T28" fmla="*/ 2147483647 w 588"/>
                <a:gd name="T29" fmla="*/ 2147483647 h 905"/>
                <a:gd name="T30" fmla="*/ 2147483647 w 588"/>
                <a:gd name="T31" fmla="*/ 2147483647 h 905"/>
                <a:gd name="T32" fmla="*/ 2147483647 w 588"/>
                <a:gd name="T33" fmla="*/ 2147483647 h 905"/>
                <a:gd name="T34" fmla="*/ 2147483647 w 588"/>
                <a:gd name="T35" fmla="*/ 2147483647 h 905"/>
                <a:gd name="T36" fmla="*/ 0 w 588"/>
                <a:gd name="T37" fmla="*/ 2147483647 h 905"/>
                <a:gd name="T38" fmla="*/ 2147483647 w 588"/>
                <a:gd name="T39" fmla="*/ 2147483647 h 905"/>
                <a:gd name="T40" fmla="*/ 2147483647 w 588"/>
                <a:gd name="T41" fmla="*/ 2147483647 h 905"/>
                <a:gd name="T42" fmla="*/ 2147483647 w 588"/>
                <a:gd name="T43" fmla="*/ 2147483647 h 905"/>
                <a:gd name="T44" fmla="*/ 2147483647 w 588"/>
                <a:gd name="T45" fmla="*/ 2147483647 h 905"/>
                <a:gd name="T46" fmla="*/ 2147483647 w 588"/>
                <a:gd name="T47" fmla="*/ 2147483647 h 905"/>
                <a:gd name="T48" fmla="*/ 2147483647 w 588"/>
                <a:gd name="T49" fmla="*/ 2147483647 h 905"/>
                <a:gd name="T50" fmla="*/ 2147483647 w 588"/>
                <a:gd name="T51" fmla="*/ 2147483647 h 905"/>
                <a:gd name="T52" fmla="*/ 2147483647 w 588"/>
                <a:gd name="T53" fmla="*/ 2147483647 h 905"/>
                <a:gd name="T54" fmla="*/ 2147483647 w 588"/>
                <a:gd name="T55" fmla="*/ 2147483647 h 905"/>
                <a:gd name="T56" fmla="*/ 2147483647 w 588"/>
                <a:gd name="T57" fmla="*/ 2147483647 h 905"/>
                <a:gd name="T58" fmla="*/ 2147483647 w 588"/>
                <a:gd name="T59" fmla="*/ 2147483647 h 905"/>
                <a:gd name="T60" fmla="*/ 2147483647 w 588"/>
                <a:gd name="T61" fmla="*/ 2147483647 h 905"/>
                <a:gd name="T62" fmla="*/ 2147483647 w 588"/>
                <a:gd name="T63" fmla="*/ 2147483647 h 905"/>
                <a:gd name="T64" fmla="*/ 2147483647 w 588"/>
                <a:gd name="T65" fmla="*/ 2147483647 h 905"/>
                <a:gd name="T66" fmla="*/ 2147483647 w 588"/>
                <a:gd name="T67" fmla="*/ 2147483647 h 905"/>
                <a:gd name="T68" fmla="*/ 2147483647 w 588"/>
                <a:gd name="T69" fmla="*/ 2147483647 h 905"/>
                <a:gd name="T70" fmla="*/ 2147483647 w 588"/>
                <a:gd name="T71" fmla="*/ 2147483647 h 905"/>
                <a:gd name="T72" fmla="*/ 2147483647 w 588"/>
                <a:gd name="T73" fmla="*/ 2147483647 h 905"/>
                <a:gd name="T74" fmla="*/ 2147483647 w 588"/>
                <a:gd name="T75" fmla="*/ 2147483647 h 905"/>
                <a:gd name="T76" fmla="*/ 2147483647 w 588"/>
                <a:gd name="T77" fmla="*/ 2147483647 h 905"/>
                <a:gd name="T78" fmla="*/ 2147483647 w 588"/>
                <a:gd name="T79" fmla="*/ 2147483647 h 905"/>
                <a:gd name="T80" fmla="*/ 2147483647 w 588"/>
                <a:gd name="T81" fmla="*/ 2147483647 h 905"/>
                <a:gd name="T82" fmla="*/ 2147483647 w 588"/>
                <a:gd name="T83" fmla="*/ 2147483647 h 905"/>
                <a:gd name="T84" fmla="*/ 2147483647 w 588"/>
                <a:gd name="T85" fmla="*/ 2147483647 h 905"/>
                <a:gd name="T86" fmla="*/ 2147483647 w 588"/>
                <a:gd name="T87" fmla="*/ 2147483647 h 905"/>
                <a:gd name="T88" fmla="*/ 2147483647 w 588"/>
                <a:gd name="T89" fmla="*/ 2147483647 h 905"/>
                <a:gd name="T90" fmla="*/ 2147483647 w 588"/>
                <a:gd name="T91" fmla="*/ 2147483647 h 905"/>
                <a:gd name="T92" fmla="*/ 2147483647 w 588"/>
                <a:gd name="T93" fmla="*/ 2147483647 h 905"/>
                <a:gd name="T94" fmla="*/ 2147483647 w 588"/>
                <a:gd name="T95" fmla="*/ 2147483647 h 905"/>
                <a:gd name="T96" fmla="*/ 2147483647 w 588"/>
                <a:gd name="T97" fmla="*/ 2147483647 h 905"/>
                <a:gd name="T98" fmla="*/ 2147483647 w 588"/>
                <a:gd name="T99" fmla="*/ 2147483647 h 905"/>
                <a:gd name="T100" fmla="*/ 2147483647 w 588"/>
                <a:gd name="T101" fmla="*/ 2147483647 h 905"/>
                <a:gd name="T102" fmla="*/ 2147483647 w 588"/>
                <a:gd name="T103" fmla="*/ 2147483647 h 905"/>
                <a:gd name="T104" fmla="*/ 2147483647 w 588"/>
                <a:gd name="T105" fmla="*/ 2147483647 h 905"/>
                <a:gd name="T106" fmla="*/ 2147483647 w 588"/>
                <a:gd name="T107" fmla="*/ 2147483647 h 905"/>
                <a:gd name="T108" fmla="*/ 2147483647 w 588"/>
                <a:gd name="T109" fmla="*/ 2147483647 h 905"/>
                <a:gd name="T110" fmla="*/ 2147483647 w 588"/>
                <a:gd name="T111" fmla="*/ 2147483647 h 905"/>
                <a:gd name="T112" fmla="*/ 2147483647 w 588"/>
                <a:gd name="T113" fmla="*/ 2147483647 h 905"/>
                <a:gd name="T114" fmla="*/ 2147483647 w 588"/>
                <a:gd name="T115" fmla="*/ 2147483647 h 905"/>
                <a:gd name="T116" fmla="*/ 2147483647 w 588"/>
                <a:gd name="T117" fmla="*/ 2147483647 h 905"/>
                <a:gd name="T118" fmla="*/ 2147483647 w 588"/>
                <a:gd name="T119" fmla="*/ 2147483647 h 905"/>
                <a:gd name="T120" fmla="*/ 2147483647 w 588"/>
                <a:gd name="T121" fmla="*/ 0 h 905"/>
                <a:gd name="T122" fmla="*/ 2147483647 w 588"/>
                <a:gd name="T123" fmla="*/ 0 h 905"/>
                <a:gd name="T124" fmla="*/ 2147483647 w 588"/>
                <a:gd name="T125" fmla="*/ 2147483647 h 90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88"/>
                <a:gd name="T190" fmla="*/ 0 h 905"/>
                <a:gd name="T191" fmla="*/ 588 w 588"/>
                <a:gd name="T192" fmla="*/ 905 h 90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 name="Freeform 8">
              <a:extLst>
                <a:ext uri="{FF2B5EF4-FFF2-40B4-BE49-F238E27FC236}">
                  <a16:creationId xmlns:a16="http://schemas.microsoft.com/office/drawing/2014/main" id="{C38E831E-AF79-F823-35ED-18A8AECA0397}"/>
                </a:ext>
              </a:extLst>
            </p:cNvPr>
            <p:cNvSpPr>
              <a:spLocks noChangeAspect="1"/>
            </p:cNvSpPr>
            <p:nvPr userDrawn="1"/>
          </p:nvSpPr>
          <p:spPr bwMode="gray">
            <a:xfrm>
              <a:off x="6838705" y="3769414"/>
              <a:ext cx="192512" cy="185955"/>
            </a:xfrm>
            <a:custGeom>
              <a:avLst/>
              <a:gdLst>
                <a:gd name="T0" fmla="*/ 2147483647 w 360"/>
                <a:gd name="T1" fmla="*/ 0 h 324"/>
                <a:gd name="T2" fmla="*/ 2147483647 w 360"/>
                <a:gd name="T3" fmla="*/ 0 h 324"/>
                <a:gd name="T4" fmla="*/ 0 w 360"/>
                <a:gd name="T5" fmla="*/ 0 h 324"/>
                <a:gd name="T6" fmla="*/ 0 w 360"/>
                <a:gd name="T7" fmla="*/ 2147483647 h 324"/>
                <a:gd name="T8" fmla="*/ 0 w 360"/>
                <a:gd name="T9" fmla="*/ 2147483647 h 324"/>
                <a:gd name="T10" fmla="*/ 0 w 360"/>
                <a:gd name="T11" fmla="*/ 2147483647 h 324"/>
                <a:gd name="T12" fmla="*/ 0 w 360"/>
                <a:gd name="T13" fmla="*/ 2147483647 h 324"/>
                <a:gd name="T14" fmla="*/ 0 w 360"/>
                <a:gd name="T15" fmla="*/ 2147483647 h 324"/>
                <a:gd name="T16" fmla="*/ 0 w 360"/>
                <a:gd name="T17" fmla="*/ 2147483647 h 324"/>
                <a:gd name="T18" fmla="*/ 2147483647 w 360"/>
                <a:gd name="T19" fmla="*/ 2147483647 h 324"/>
                <a:gd name="T20" fmla="*/ 2147483647 w 360"/>
                <a:gd name="T21" fmla="*/ 2147483647 h 324"/>
                <a:gd name="T22" fmla="*/ 2147483647 w 360"/>
                <a:gd name="T23" fmla="*/ 2147483647 h 324"/>
                <a:gd name="T24" fmla="*/ 2147483647 w 360"/>
                <a:gd name="T25" fmla="*/ 2147483647 h 324"/>
                <a:gd name="T26" fmla="*/ 2147483647 w 360"/>
                <a:gd name="T27" fmla="*/ 2147483647 h 324"/>
                <a:gd name="T28" fmla="*/ 2147483647 w 360"/>
                <a:gd name="T29" fmla="*/ 2147483647 h 324"/>
                <a:gd name="T30" fmla="*/ 2147483647 w 360"/>
                <a:gd name="T31" fmla="*/ 2147483647 h 324"/>
                <a:gd name="T32" fmla="*/ 2147483647 w 360"/>
                <a:gd name="T33" fmla="*/ 2147483647 h 324"/>
                <a:gd name="T34" fmla="*/ 2147483647 w 360"/>
                <a:gd name="T35" fmla="*/ 2147483647 h 324"/>
                <a:gd name="T36" fmla="*/ 2147483647 w 360"/>
                <a:gd name="T37" fmla="*/ 2147483647 h 324"/>
                <a:gd name="T38" fmla="*/ 2147483647 w 360"/>
                <a:gd name="T39" fmla="*/ 2147483647 h 324"/>
                <a:gd name="T40" fmla="*/ 2147483647 w 360"/>
                <a:gd name="T41" fmla="*/ 2147483647 h 324"/>
                <a:gd name="T42" fmla="*/ 2147483647 w 360"/>
                <a:gd name="T43" fmla="*/ 2147483647 h 324"/>
                <a:gd name="T44" fmla="*/ 2147483647 w 360"/>
                <a:gd name="T45" fmla="*/ 2147483647 h 324"/>
                <a:gd name="T46" fmla="*/ 2147483647 w 360"/>
                <a:gd name="T47" fmla="*/ 2147483647 h 324"/>
                <a:gd name="T48" fmla="*/ 2147483647 w 360"/>
                <a:gd name="T49" fmla="*/ 2147483647 h 324"/>
                <a:gd name="T50" fmla="*/ 2147483647 w 360"/>
                <a:gd name="T51" fmla="*/ 2147483647 h 324"/>
                <a:gd name="T52" fmla="*/ 2147483647 w 360"/>
                <a:gd name="T53" fmla="*/ 2147483647 h 324"/>
                <a:gd name="T54" fmla="*/ 2147483647 w 360"/>
                <a:gd name="T55" fmla="*/ 2147483647 h 324"/>
                <a:gd name="T56" fmla="*/ 2147483647 w 360"/>
                <a:gd name="T57" fmla="*/ 2147483647 h 324"/>
                <a:gd name="T58" fmla="*/ 2147483647 w 360"/>
                <a:gd name="T59" fmla="*/ 2147483647 h 324"/>
                <a:gd name="T60" fmla="*/ 2147483647 w 360"/>
                <a:gd name="T61" fmla="*/ 2147483647 h 324"/>
                <a:gd name="T62" fmla="*/ 2147483647 w 360"/>
                <a:gd name="T63" fmla="*/ 2147483647 h 324"/>
                <a:gd name="T64" fmla="*/ 2147483647 w 360"/>
                <a:gd name="T65" fmla="*/ 2147483647 h 324"/>
                <a:gd name="T66" fmla="*/ 2147483647 w 360"/>
                <a:gd name="T67" fmla="*/ 2147483647 h 324"/>
                <a:gd name="T68" fmla="*/ 2147483647 w 360"/>
                <a:gd name="T69" fmla="*/ 2147483647 h 324"/>
                <a:gd name="T70" fmla="*/ 2147483647 w 360"/>
                <a:gd name="T71" fmla="*/ 2147483647 h 324"/>
                <a:gd name="T72" fmla="*/ 2147483647 w 360"/>
                <a:gd name="T73" fmla="*/ 2147483647 h 324"/>
                <a:gd name="T74" fmla="*/ 2147483647 w 360"/>
                <a:gd name="T75" fmla="*/ 2147483647 h 324"/>
                <a:gd name="T76" fmla="*/ 2147483647 w 360"/>
                <a:gd name="T77" fmla="*/ 2147483647 h 324"/>
                <a:gd name="T78" fmla="*/ 2147483647 w 360"/>
                <a:gd name="T79" fmla="*/ 2147483647 h 324"/>
                <a:gd name="T80" fmla="*/ 2147483647 w 360"/>
                <a:gd name="T81" fmla="*/ 2147483647 h 324"/>
                <a:gd name="T82" fmla="*/ 2147483647 w 360"/>
                <a:gd name="T83" fmla="*/ 2147483647 h 324"/>
                <a:gd name="T84" fmla="*/ 2147483647 w 360"/>
                <a:gd name="T85" fmla="*/ 2147483647 h 324"/>
                <a:gd name="T86" fmla="*/ 2147483647 w 360"/>
                <a:gd name="T87" fmla="*/ 2147483647 h 324"/>
                <a:gd name="T88" fmla="*/ 2147483647 w 360"/>
                <a:gd name="T89" fmla="*/ 2147483647 h 324"/>
                <a:gd name="T90" fmla="*/ 2147483647 w 360"/>
                <a:gd name="T91" fmla="*/ 0 h 324"/>
                <a:gd name="T92" fmla="*/ 2147483647 w 360"/>
                <a:gd name="T93" fmla="*/ 0 h 324"/>
                <a:gd name="T94" fmla="*/ 2147483647 w 360"/>
                <a:gd name="T95" fmla="*/ 0 h 324"/>
                <a:gd name="T96" fmla="*/ 2147483647 w 360"/>
                <a:gd name="T97" fmla="*/ 0 h 32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0"/>
                <a:gd name="T148" fmla="*/ 0 h 324"/>
                <a:gd name="T149" fmla="*/ 360 w 360"/>
                <a:gd name="T150" fmla="*/ 324 h 32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 name="Freeform 9">
              <a:extLst>
                <a:ext uri="{FF2B5EF4-FFF2-40B4-BE49-F238E27FC236}">
                  <a16:creationId xmlns:a16="http://schemas.microsoft.com/office/drawing/2014/main" id="{51F64AED-AEB5-03F8-89A5-00489313A9C6}"/>
                </a:ext>
              </a:extLst>
            </p:cNvPr>
            <p:cNvSpPr>
              <a:spLocks noChangeAspect="1"/>
            </p:cNvSpPr>
            <p:nvPr userDrawn="1"/>
          </p:nvSpPr>
          <p:spPr bwMode="gray">
            <a:xfrm>
              <a:off x="5417995" y="3539258"/>
              <a:ext cx="473072" cy="483177"/>
            </a:xfrm>
            <a:custGeom>
              <a:avLst/>
              <a:gdLst>
                <a:gd name="T0" fmla="*/ 2147483647 w 891"/>
                <a:gd name="T1" fmla="*/ 2147483647 h 851"/>
                <a:gd name="T2" fmla="*/ 2147483647 w 891"/>
                <a:gd name="T3" fmla="*/ 2147483647 h 851"/>
                <a:gd name="T4" fmla="*/ 2147483647 w 891"/>
                <a:gd name="T5" fmla="*/ 2147483647 h 851"/>
                <a:gd name="T6" fmla="*/ 2147483647 w 891"/>
                <a:gd name="T7" fmla="*/ 2147483647 h 851"/>
                <a:gd name="T8" fmla="*/ 2147483647 w 891"/>
                <a:gd name="T9" fmla="*/ 2147483647 h 851"/>
                <a:gd name="T10" fmla="*/ 2147483647 w 891"/>
                <a:gd name="T11" fmla="*/ 2147483647 h 851"/>
                <a:gd name="T12" fmla="*/ 2147483647 w 891"/>
                <a:gd name="T13" fmla="*/ 2147483647 h 851"/>
                <a:gd name="T14" fmla="*/ 2147483647 w 891"/>
                <a:gd name="T15" fmla="*/ 2147483647 h 851"/>
                <a:gd name="T16" fmla="*/ 2147483647 w 891"/>
                <a:gd name="T17" fmla="*/ 2147483647 h 851"/>
                <a:gd name="T18" fmla="*/ 2147483647 w 891"/>
                <a:gd name="T19" fmla="*/ 2147483647 h 851"/>
                <a:gd name="T20" fmla="*/ 2147483647 w 891"/>
                <a:gd name="T21" fmla="*/ 2147483647 h 851"/>
                <a:gd name="T22" fmla="*/ 2147483647 w 891"/>
                <a:gd name="T23" fmla="*/ 2147483647 h 851"/>
                <a:gd name="T24" fmla="*/ 2147483647 w 891"/>
                <a:gd name="T25" fmla="*/ 2147483647 h 851"/>
                <a:gd name="T26" fmla="*/ 2147483647 w 891"/>
                <a:gd name="T27" fmla="*/ 2147483647 h 851"/>
                <a:gd name="T28" fmla="*/ 2147483647 w 891"/>
                <a:gd name="T29" fmla="*/ 2147483647 h 851"/>
                <a:gd name="T30" fmla="*/ 2147483647 w 891"/>
                <a:gd name="T31" fmla="*/ 2147483647 h 851"/>
                <a:gd name="T32" fmla="*/ 2147483647 w 891"/>
                <a:gd name="T33" fmla="*/ 2147483647 h 851"/>
                <a:gd name="T34" fmla="*/ 2147483647 w 891"/>
                <a:gd name="T35" fmla="*/ 2147483647 h 851"/>
                <a:gd name="T36" fmla="*/ 2147483647 w 891"/>
                <a:gd name="T37" fmla="*/ 2147483647 h 851"/>
                <a:gd name="T38" fmla="*/ 2147483647 w 891"/>
                <a:gd name="T39" fmla="*/ 2147483647 h 851"/>
                <a:gd name="T40" fmla="*/ 2147483647 w 891"/>
                <a:gd name="T41" fmla="*/ 2147483647 h 851"/>
                <a:gd name="T42" fmla="*/ 2147483647 w 891"/>
                <a:gd name="T43" fmla="*/ 2147483647 h 851"/>
                <a:gd name="T44" fmla="*/ 2147483647 w 891"/>
                <a:gd name="T45" fmla="*/ 2147483647 h 851"/>
                <a:gd name="T46" fmla="*/ 2147483647 w 891"/>
                <a:gd name="T47" fmla="*/ 2147483647 h 851"/>
                <a:gd name="T48" fmla="*/ 2147483647 w 891"/>
                <a:gd name="T49" fmla="*/ 2147483647 h 851"/>
                <a:gd name="T50" fmla="*/ 2147483647 w 891"/>
                <a:gd name="T51" fmla="*/ 2147483647 h 851"/>
                <a:gd name="T52" fmla="*/ 2147483647 w 891"/>
                <a:gd name="T53" fmla="*/ 2147483647 h 851"/>
                <a:gd name="T54" fmla="*/ 2147483647 w 891"/>
                <a:gd name="T55" fmla="*/ 2147483647 h 851"/>
                <a:gd name="T56" fmla="*/ 2147483647 w 891"/>
                <a:gd name="T57" fmla="*/ 2147483647 h 851"/>
                <a:gd name="T58" fmla="*/ 2147483647 w 891"/>
                <a:gd name="T59" fmla="*/ 2147483647 h 851"/>
                <a:gd name="T60" fmla="*/ 2147483647 w 891"/>
                <a:gd name="T61" fmla="*/ 2147483647 h 851"/>
                <a:gd name="T62" fmla="*/ 2147483647 w 891"/>
                <a:gd name="T63" fmla="*/ 2147483647 h 851"/>
                <a:gd name="T64" fmla="*/ 2147483647 w 891"/>
                <a:gd name="T65" fmla="*/ 2147483647 h 851"/>
                <a:gd name="T66" fmla="*/ 2147483647 w 891"/>
                <a:gd name="T67" fmla="*/ 2147483647 h 851"/>
                <a:gd name="T68" fmla="*/ 2147483647 w 891"/>
                <a:gd name="T69" fmla="*/ 2147483647 h 851"/>
                <a:gd name="T70" fmla="*/ 2147483647 w 891"/>
                <a:gd name="T71" fmla="*/ 2147483647 h 851"/>
                <a:gd name="T72" fmla="*/ 2147483647 w 891"/>
                <a:gd name="T73" fmla="*/ 2147483647 h 851"/>
                <a:gd name="T74" fmla="*/ 2147483647 w 891"/>
                <a:gd name="T75" fmla="*/ 2147483647 h 851"/>
                <a:gd name="T76" fmla="*/ 2147483647 w 891"/>
                <a:gd name="T77" fmla="*/ 2147483647 h 851"/>
                <a:gd name="T78" fmla="*/ 2147483647 w 891"/>
                <a:gd name="T79" fmla="*/ 2147483647 h 851"/>
                <a:gd name="T80" fmla="*/ 0 w 891"/>
                <a:gd name="T81" fmla="*/ 2147483647 h 851"/>
                <a:gd name="T82" fmla="*/ 0 w 891"/>
                <a:gd name="T83" fmla="*/ 2147483647 h 851"/>
                <a:gd name="T84" fmla="*/ 0 w 891"/>
                <a:gd name="T85" fmla="*/ 2147483647 h 851"/>
                <a:gd name="T86" fmla="*/ 0 w 891"/>
                <a:gd name="T87" fmla="*/ 2147483647 h 851"/>
                <a:gd name="T88" fmla="*/ 0 w 891"/>
                <a:gd name="T89" fmla="*/ 2147483647 h 851"/>
                <a:gd name="T90" fmla="*/ 0 w 891"/>
                <a:gd name="T91" fmla="*/ 2147483647 h 851"/>
                <a:gd name="T92" fmla="*/ 0 w 891"/>
                <a:gd name="T93" fmla="*/ 2147483647 h 851"/>
                <a:gd name="T94" fmla="*/ 0 w 891"/>
                <a:gd name="T95" fmla="*/ 2147483647 h 851"/>
                <a:gd name="T96" fmla="*/ 0 w 891"/>
                <a:gd name="T97" fmla="*/ 2147483647 h 851"/>
                <a:gd name="T98" fmla="*/ 0 w 891"/>
                <a:gd name="T99" fmla="*/ 2147483647 h 851"/>
                <a:gd name="T100" fmla="*/ 2147483647 w 891"/>
                <a:gd name="T101" fmla="*/ 2147483647 h 851"/>
                <a:gd name="T102" fmla="*/ 2147483647 w 891"/>
                <a:gd name="T103" fmla="*/ 2147483647 h 851"/>
                <a:gd name="T104" fmla="*/ 2147483647 w 891"/>
                <a:gd name="T105" fmla="*/ 2147483647 h 851"/>
                <a:gd name="T106" fmla="*/ 2147483647 w 891"/>
                <a:gd name="T107" fmla="*/ 2147483647 h 8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91"/>
                <a:gd name="T163" fmla="*/ 0 h 851"/>
                <a:gd name="T164" fmla="*/ 891 w 891"/>
                <a:gd name="T165" fmla="*/ 851 h 85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 name="Freeform 10">
              <a:extLst>
                <a:ext uri="{FF2B5EF4-FFF2-40B4-BE49-F238E27FC236}">
                  <a16:creationId xmlns:a16="http://schemas.microsoft.com/office/drawing/2014/main" id="{C5A623AD-6ED5-F17C-490E-D6870780D3D5}"/>
                </a:ext>
              </a:extLst>
            </p:cNvPr>
            <p:cNvSpPr>
              <a:spLocks noChangeAspect="1"/>
            </p:cNvSpPr>
            <p:nvPr userDrawn="1"/>
          </p:nvSpPr>
          <p:spPr bwMode="gray">
            <a:xfrm>
              <a:off x="5985085" y="3089613"/>
              <a:ext cx="117895" cy="265214"/>
            </a:xfrm>
            <a:custGeom>
              <a:avLst/>
              <a:gdLst>
                <a:gd name="T0" fmla="*/ 2147483647 w 218"/>
                <a:gd name="T1" fmla="*/ 2147483647 h 462"/>
                <a:gd name="T2" fmla="*/ 2147483647 w 218"/>
                <a:gd name="T3" fmla="*/ 2147483647 h 462"/>
                <a:gd name="T4" fmla="*/ 2147483647 w 218"/>
                <a:gd name="T5" fmla="*/ 2147483647 h 462"/>
                <a:gd name="T6" fmla="*/ 2147483647 w 218"/>
                <a:gd name="T7" fmla="*/ 2147483647 h 462"/>
                <a:gd name="T8" fmla="*/ 2147483647 w 218"/>
                <a:gd name="T9" fmla="*/ 2147483647 h 462"/>
                <a:gd name="T10" fmla="*/ 2147483647 w 218"/>
                <a:gd name="T11" fmla="*/ 2147483647 h 462"/>
                <a:gd name="T12" fmla="*/ 2147483647 w 218"/>
                <a:gd name="T13" fmla="*/ 2147483647 h 462"/>
                <a:gd name="T14" fmla="*/ 2147483647 w 218"/>
                <a:gd name="T15" fmla="*/ 2147483647 h 462"/>
                <a:gd name="T16" fmla="*/ 2147483647 w 218"/>
                <a:gd name="T17" fmla="*/ 2147483647 h 462"/>
                <a:gd name="T18" fmla="*/ 2147483647 w 218"/>
                <a:gd name="T19" fmla="*/ 2147483647 h 462"/>
                <a:gd name="T20" fmla="*/ 2147483647 w 218"/>
                <a:gd name="T21" fmla="*/ 2147483647 h 462"/>
                <a:gd name="T22" fmla="*/ 2147483647 w 218"/>
                <a:gd name="T23" fmla="*/ 2147483647 h 462"/>
                <a:gd name="T24" fmla="*/ 2147483647 w 218"/>
                <a:gd name="T25" fmla="*/ 2147483647 h 462"/>
                <a:gd name="T26" fmla="*/ 2147483647 w 218"/>
                <a:gd name="T27" fmla="*/ 2147483647 h 462"/>
                <a:gd name="T28" fmla="*/ 2147483647 w 218"/>
                <a:gd name="T29" fmla="*/ 2147483647 h 462"/>
                <a:gd name="T30" fmla="*/ 2147483647 w 218"/>
                <a:gd name="T31" fmla="*/ 2147483647 h 462"/>
                <a:gd name="T32" fmla="*/ 2147483647 w 218"/>
                <a:gd name="T33" fmla="*/ 2147483647 h 462"/>
                <a:gd name="T34" fmla="*/ 2147483647 w 218"/>
                <a:gd name="T35" fmla="*/ 2147483647 h 462"/>
                <a:gd name="T36" fmla="*/ 2147483647 w 218"/>
                <a:gd name="T37" fmla="*/ 2147483647 h 462"/>
                <a:gd name="T38" fmla="*/ 2147483647 w 218"/>
                <a:gd name="T39" fmla="*/ 2147483647 h 462"/>
                <a:gd name="T40" fmla="*/ 2147483647 w 218"/>
                <a:gd name="T41" fmla="*/ 2147483647 h 462"/>
                <a:gd name="T42" fmla="*/ 2147483647 w 218"/>
                <a:gd name="T43" fmla="*/ 2147483647 h 462"/>
                <a:gd name="T44" fmla="*/ 2147483647 w 218"/>
                <a:gd name="T45" fmla="*/ 2147483647 h 462"/>
                <a:gd name="T46" fmla="*/ 2147483647 w 218"/>
                <a:gd name="T47" fmla="*/ 2147483647 h 462"/>
                <a:gd name="T48" fmla="*/ 2147483647 w 218"/>
                <a:gd name="T49" fmla="*/ 2147483647 h 462"/>
                <a:gd name="T50" fmla="*/ 2147483647 w 218"/>
                <a:gd name="T51" fmla="*/ 0 h 462"/>
                <a:gd name="T52" fmla="*/ 2147483647 w 218"/>
                <a:gd name="T53" fmla="*/ 0 h 462"/>
                <a:gd name="T54" fmla="*/ 2147483647 w 218"/>
                <a:gd name="T55" fmla="*/ 0 h 462"/>
                <a:gd name="T56" fmla="*/ 2147483647 w 218"/>
                <a:gd name="T57" fmla="*/ 0 h 462"/>
                <a:gd name="T58" fmla="*/ 2147483647 w 218"/>
                <a:gd name="T59" fmla="*/ 0 h 462"/>
                <a:gd name="T60" fmla="*/ 2147483647 w 218"/>
                <a:gd name="T61" fmla="*/ 0 h 462"/>
                <a:gd name="T62" fmla="*/ 2147483647 w 218"/>
                <a:gd name="T63" fmla="*/ 0 h 462"/>
                <a:gd name="T64" fmla="*/ 2147483647 w 218"/>
                <a:gd name="T65" fmla="*/ 0 h 462"/>
                <a:gd name="T66" fmla="*/ 2147483647 w 218"/>
                <a:gd name="T67" fmla="*/ 0 h 462"/>
                <a:gd name="T68" fmla="*/ 2147483647 w 218"/>
                <a:gd name="T69" fmla="*/ 0 h 462"/>
                <a:gd name="T70" fmla="*/ 2147483647 w 218"/>
                <a:gd name="T71" fmla="*/ 0 h 462"/>
                <a:gd name="T72" fmla="*/ 2147483647 w 218"/>
                <a:gd name="T73" fmla="*/ 0 h 462"/>
                <a:gd name="T74" fmla="*/ 2147483647 w 218"/>
                <a:gd name="T75" fmla="*/ 0 h 462"/>
                <a:gd name="T76" fmla="*/ 2147483647 w 218"/>
                <a:gd name="T77" fmla="*/ 0 h 462"/>
                <a:gd name="T78" fmla="*/ 2147483647 w 218"/>
                <a:gd name="T79" fmla="*/ 0 h 462"/>
                <a:gd name="T80" fmla="*/ 2147483647 w 218"/>
                <a:gd name="T81" fmla="*/ 2147483647 h 462"/>
                <a:gd name="T82" fmla="*/ 2147483647 w 218"/>
                <a:gd name="T83" fmla="*/ 2147483647 h 462"/>
                <a:gd name="T84" fmla="*/ 2147483647 w 218"/>
                <a:gd name="T85" fmla="*/ 2147483647 h 462"/>
                <a:gd name="T86" fmla="*/ 2147483647 w 218"/>
                <a:gd name="T87" fmla="*/ 2147483647 h 462"/>
                <a:gd name="T88" fmla="*/ 0 w 218"/>
                <a:gd name="T89" fmla="*/ 2147483647 h 462"/>
                <a:gd name="T90" fmla="*/ 0 w 218"/>
                <a:gd name="T91" fmla="*/ 2147483647 h 462"/>
                <a:gd name="T92" fmla="*/ 0 w 218"/>
                <a:gd name="T93" fmla="*/ 2147483647 h 462"/>
                <a:gd name="T94" fmla="*/ 0 w 218"/>
                <a:gd name="T95" fmla="*/ 2147483647 h 462"/>
                <a:gd name="T96" fmla="*/ 0 w 218"/>
                <a:gd name="T97" fmla="*/ 2147483647 h 462"/>
                <a:gd name="T98" fmla="*/ 0 w 218"/>
                <a:gd name="T99" fmla="*/ 2147483647 h 462"/>
                <a:gd name="T100" fmla="*/ 0 w 218"/>
                <a:gd name="T101" fmla="*/ 2147483647 h 462"/>
                <a:gd name="T102" fmla="*/ 2147483647 w 218"/>
                <a:gd name="T103" fmla="*/ 2147483647 h 462"/>
                <a:gd name="T104" fmla="*/ 2147483647 w 218"/>
                <a:gd name="T105" fmla="*/ 2147483647 h 462"/>
                <a:gd name="T106" fmla="*/ 2147483647 w 218"/>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8"/>
                <a:gd name="T163" fmla="*/ 0 h 462"/>
                <a:gd name="T164" fmla="*/ 218 w 218"/>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 name="Freeform 11">
              <a:extLst>
                <a:ext uri="{FF2B5EF4-FFF2-40B4-BE49-F238E27FC236}">
                  <a16:creationId xmlns:a16="http://schemas.microsoft.com/office/drawing/2014/main" id="{9D5ABFED-350C-2CE3-12D6-D66C9A6CE981}"/>
                </a:ext>
              </a:extLst>
            </p:cNvPr>
            <p:cNvSpPr>
              <a:spLocks noChangeAspect="1"/>
            </p:cNvSpPr>
            <p:nvPr userDrawn="1"/>
          </p:nvSpPr>
          <p:spPr bwMode="gray">
            <a:xfrm>
              <a:off x="6489497" y="3307576"/>
              <a:ext cx="328315" cy="341424"/>
            </a:xfrm>
            <a:custGeom>
              <a:avLst/>
              <a:gdLst>
                <a:gd name="T0" fmla="*/ 0 w 612"/>
                <a:gd name="T1" fmla="*/ 2147483647 h 605"/>
                <a:gd name="T2" fmla="*/ 0 w 612"/>
                <a:gd name="T3" fmla="*/ 2147483647 h 605"/>
                <a:gd name="T4" fmla="*/ 0 w 612"/>
                <a:gd name="T5" fmla="*/ 2147483647 h 605"/>
                <a:gd name="T6" fmla="*/ 0 w 612"/>
                <a:gd name="T7" fmla="*/ 2147483647 h 605"/>
                <a:gd name="T8" fmla="*/ 0 w 612"/>
                <a:gd name="T9" fmla="*/ 2147483647 h 605"/>
                <a:gd name="T10" fmla="*/ 0 w 612"/>
                <a:gd name="T11" fmla="*/ 0 h 605"/>
                <a:gd name="T12" fmla="*/ 0 w 612"/>
                <a:gd name="T13" fmla="*/ 0 h 605"/>
                <a:gd name="T14" fmla="*/ 0 w 612"/>
                <a:gd name="T15" fmla="*/ 0 h 605"/>
                <a:gd name="T16" fmla="*/ 0 w 612"/>
                <a:gd name="T17" fmla="*/ 0 h 605"/>
                <a:gd name="T18" fmla="*/ 2147483647 w 612"/>
                <a:gd name="T19" fmla="*/ 0 h 605"/>
                <a:gd name="T20" fmla="*/ 2147483647 w 612"/>
                <a:gd name="T21" fmla="*/ 0 h 605"/>
                <a:gd name="T22" fmla="*/ 2147483647 w 612"/>
                <a:gd name="T23" fmla="*/ 0 h 605"/>
                <a:gd name="T24" fmla="*/ 2147483647 w 612"/>
                <a:gd name="T25" fmla="*/ 0 h 605"/>
                <a:gd name="T26" fmla="*/ 2147483647 w 612"/>
                <a:gd name="T27" fmla="*/ 0 h 605"/>
                <a:gd name="T28" fmla="*/ 2147483647 w 612"/>
                <a:gd name="T29" fmla="*/ 0 h 605"/>
                <a:gd name="T30" fmla="*/ 2147483647 w 612"/>
                <a:gd name="T31" fmla="*/ 0 h 605"/>
                <a:gd name="T32" fmla="*/ 2147483647 w 612"/>
                <a:gd name="T33" fmla="*/ 0 h 605"/>
                <a:gd name="T34" fmla="*/ 2147483647 w 612"/>
                <a:gd name="T35" fmla="*/ 0 h 605"/>
                <a:gd name="T36" fmla="*/ 2147483647 w 612"/>
                <a:gd name="T37" fmla="*/ 0 h 605"/>
                <a:gd name="T38" fmla="*/ 2147483647 w 612"/>
                <a:gd name="T39" fmla="*/ 0 h 605"/>
                <a:gd name="T40" fmla="*/ 2147483647 w 612"/>
                <a:gd name="T41" fmla="*/ 0 h 605"/>
                <a:gd name="T42" fmla="*/ 2147483647 w 612"/>
                <a:gd name="T43" fmla="*/ 0 h 605"/>
                <a:gd name="T44" fmla="*/ 2147483647 w 612"/>
                <a:gd name="T45" fmla="*/ 0 h 605"/>
                <a:gd name="T46" fmla="*/ 2147483647 w 612"/>
                <a:gd name="T47" fmla="*/ 0 h 605"/>
                <a:gd name="T48" fmla="*/ 2147483647 w 612"/>
                <a:gd name="T49" fmla="*/ 0 h 605"/>
                <a:gd name="T50" fmla="*/ 2147483647 w 612"/>
                <a:gd name="T51" fmla="*/ 0 h 605"/>
                <a:gd name="T52" fmla="*/ 2147483647 w 612"/>
                <a:gd name="T53" fmla="*/ 2147483647 h 605"/>
                <a:gd name="T54" fmla="*/ 2147483647 w 612"/>
                <a:gd name="T55" fmla="*/ 2147483647 h 605"/>
                <a:gd name="T56" fmla="*/ 2147483647 w 612"/>
                <a:gd name="T57" fmla="*/ 2147483647 h 605"/>
                <a:gd name="T58" fmla="*/ 2147483647 w 612"/>
                <a:gd name="T59" fmla="*/ 2147483647 h 605"/>
                <a:gd name="T60" fmla="*/ 2147483647 w 612"/>
                <a:gd name="T61" fmla="*/ 2147483647 h 605"/>
                <a:gd name="T62" fmla="*/ 2147483647 w 612"/>
                <a:gd name="T63" fmla="*/ 2147483647 h 605"/>
                <a:gd name="T64" fmla="*/ 2147483647 w 612"/>
                <a:gd name="T65" fmla="*/ 2147483647 h 605"/>
                <a:gd name="T66" fmla="*/ 2147483647 w 612"/>
                <a:gd name="T67" fmla="*/ 2147483647 h 605"/>
                <a:gd name="T68" fmla="*/ 2147483647 w 612"/>
                <a:gd name="T69" fmla="*/ 2147483647 h 605"/>
                <a:gd name="T70" fmla="*/ 2147483647 w 612"/>
                <a:gd name="T71" fmla="*/ 2147483647 h 605"/>
                <a:gd name="T72" fmla="*/ 2147483647 w 612"/>
                <a:gd name="T73" fmla="*/ 2147483647 h 605"/>
                <a:gd name="T74" fmla="*/ 2147483647 w 612"/>
                <a:gd name="T75" fmla="*/ 2147483647 h 605"/>
                <a:gd name="T76" fmla="*/ 2147483647 w 612"/>
                <a:gd name="T77" fmla="*/ 2147483647 h 605"/>
                <a:gd name="T78" fmla="*/ 2147483647 w 612"/>
                <a:gd name="T79" fmla="*/ 2147483647 h 605"/>
                <a:gd name="T80" fmla="*/ 2147483647 w 612"/>
                <a:gd name="T81" fmla="*/ 2147483647 h 605"/>
                <a:gd name="T82" fmla="*/ 2147483647 w 612"/>
                <a:gd name="T83" fmla="*/ 2147483647 h 605"/>
                <a:gd name="T84" fmla="*/ 2147483647 w 612"/>
                <a:gd name="T85" fmla="*/ 2147483647 h 605"/>
                <a:gd name="T86" fmla="*/ 2147483647 w 612"/>
                <a:gd name="T87" fmla="*/ 2147483647 h 605"/>
                <a:gd name="T88" fmla="*/ 2147483647 w 612"/>
                <a:gd name="T89" fmla="*/ 2147483647 h 605"/>
                <a:gd name="T90" fmla="*/ 2147483647 w 612"/>
                <a:gd name="T91" fmla="*/ 2147483647 h 605"/>
                <a:gd name="T92" fmla="*/ 2147483647 w 612"/>
                <a:gd name="T93" fmla="*/ 2147483647 h 605"/>
                <a:gd name="T94" fmla="*/ 2147483647 w 612"/>
                <a:gd name="T95" fmla="*/ 2147483647 h 605"/>
                <a:gd name="T96" fmla="*/ 2147483647 w 612"/>
                <a:gd name="T97" fmla="*/ 2147483647 h 605"/>
                <a:gd name="T98" fmla="*/ 2147483647 w 612"/>
                <a:gd name="T99" fmla="*/ 2147483647 h 605"/>
                <a:gd name="T100" fmla="*/ 2147483647 w 612"/>
                <a:gd name="T101" fmla="*/ 2147483647 h 605"/>
                <a:gd name="T102" fmla="*/ 2147483647 w 612"/>
                <a:gd name="T103" fmla="*/ 2147483647 h 605"/>
                <a:gd name="T104" fmla="*/ 2147483647 w 612"/>
                <a:gd name="T105" fmla="*/ 2147483647 h 605"/>
                <a:gd name="T106" fmla="*/ 2147483647 w 612"/>
                <a:gd name="T107" fmla="*/ 2147483647 h 6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12"/>
                <a:gd name="T163" fmla="*/ 0 h 605"/>
                <a:gd name="T164" fmla="*/ 612 w 612"/>
                <a:gd name="T165" fmla="*/ 605 h 6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 name="Freeform 12">
              <a:extLst>
                <a:ext uri="{FF2B5EF4-FFF2-40B4-BE49-F238E27FC236}">
                  <a16:creationId xmlns:a16="http://schemas.microsoft.com/office/drawing/2014/main" id="{92E05711-1AEF-4DED-7F4C-4DAAC748C8D1}"/>
                </a:ext>
              </a:extLst>
            </p:cNvPr>
            <p:cNvSpPr>
              <a:spLocks noChangeAspect="1"/>
            </p:cNvSpPr>
            <p:nvPr userDrawn="1"/>
          </p:nvSpPr>
          <p:spPr bwMode="gray">
            <a:xfrm>
              <a:off x="5520967" y="3100283"/>
              <a:ext cx="592460" cy="641695"/>
            </a:xfrm>
            <a:custGeom>
              <a:avLst/>
              <a:gdLst>
                <a:gd name="T0" fmla="*/ 0 w 1112"/>
                <a:gd name="T1" fmla="*/ 2147483647 h 1129"/>
                <a:gd name="T2" fmla="*/ 2147483647 w 1112"/>
                <a:gd name="T3" fmla="*/ 2147483647 h 1129"/>
                <a:gd name="T4" fmla="*/ 2147483647 w 1112"/>
                <a:gd name="T5" fmla="*/ 2147483647 h 1129"/>
                <a:gd name="T6" fmla="*/ 2147483647 w 1112"/>
                <a:gd name="T7" fmla="*/ 2147483647 h 1129"/>
                <a:gd name="T8" fmla="*/ 2147483647 w 1112"/>
                <a:gd name="T9" fmla="*/ 2147483647 h 1129"/>
                <a:gd name="T10" fmla="*/ 2147483647 w 1112"/>
                <a:gd name="T11" fmla="*/ 2147483647 h 1129"/>
                <a:gd name="T12" fmla="*/ 2147483647 w 1112"/>
                <a:gd name="T13" fmla="*/ 2147483647 h 1129"/>
                <a:gd name="T14" fmla="*/ 2147483647 w 1112"/>
                <a:gd name="T15" fmla="*/ 2147483647 h 1129"/>
                <a:gd name="T16" fmla="*/ 2147483647 w 1112"/>
                <a:gd name="T17" fmla="*/ 2147483647 h 1129"/>
                <a:gd name="T18" fmla="*/ 2147483647 w 1112"/>
                <a:gd name="T19" fmla="*/ 2147483647 h 1129"/>
                <a:gd name="T20" fmla="*/ 2147483647 w 1112"/>
                <a:gd name="T21" fmla="*/ 2147483647 h 1129"/>
                <a:gd name="T22" fmla="*/ 2147483647 w 1112"/>
                <a:gd name="T23" fmla="*/ 2147483647 h 1129"/>
                <a:gd name="T24" fmla="*/ 2147483647 w 1112"/>
                <a:gd name="T25" fmla="*/ 2147483647 h 1129"/>
                <a:gd name="T26" fmla="*/ 2147483647 w 1112"/>
                <a:gd name="T27" fmla="*/ 2147483647 h 1129"/>
                <a:gd name="T28" fmla="*/ 2147483647 w 1112"/>
                <a:gd name="T29" fmla="*/ 2147483647 h 1129"/>
                <a:gd name="T30" fmla="*/ 2147483647 w 1112"/>
                <a:gd name="T31" fmla="*/ 2147483647 h 1129"/>
                <a:gd name="T32" fmla="*/ 2147483647 w 1112"/>
                <a:gd name="T33" fmla="*/ 2147483647 h 1129"/>
                <a:gd name="T34" fmla="*/ 2147483647 w 1112"/>
                <a:gd name="T35" fmla="*/ 2147483647 h 1129"/>
                <a:gd name="T36" fmla="*/ 2147483647 w 1112"/>
                <a:gd name="T37" fmla="*/ 2147483647 h 1129"/>
                <a:gd name="T38" fmla="*/ 2147483647 w 1112"/>
                <a:gd name="T39" fmla="*/ 2147483647 h 1129"/>
                <a:gd name="T40" fmla="*/ 2147483647 w 1112"/>
                <a:gd name="T41" fmla="*/ 2147483647 h 1129"/>
                <a:gd name="T42" fmla="*/ 2147483647 w 1112"/>
                <a:gd name="T43" fmla="*/ 2147483647 h 1129"/>
                <a:gd name="T44" fmla="*/ 2147483647 w 1112"/>
                <a:gd name="T45" fmla="*/ 0 h 1129"/>
                <a:gd name="T46" fmla="*/ 2147483647 w 1112"/>
                <a:gd name="T47" fmla="*/ 0 h 1129"/>
                <a:gd name="T48" fmla="*/ 2147483647 w 1112"/>
                <a:gd name="T49" fmla="*/ 0 h 1129"/>
                <a:gd name="T50" fmla="*/ 2147483647 w 1112"/>
                <a:gd name="T51" fmla="*/ 0 h 1129"/>
                <a:gd name="T52" fmla="*/ 2147483647 w 1112"/>
                <a:gd name="T53" fmla="*/ 0 h 1129"/>
                <a:gd name="T54" fmla="*/ 2147483647 w 1112"/>
                <a:gd name="T55" fmla="*/ 0 h 1129"/>
                <a:gd name="T56" fmla="*/ 2147483647 w 1112"/>
                <a:gd name="T57" fmla="*/ 0 h 1129"/>
                <a:gd name="T58" fmla="*/ 2147483647 w 1112"/>
                <a:gd name="T59" fmla="*/ 0 h 1129"/>
                <a:gd name="T60" fmla="*/ 2147483647 w 1112"/>
                <a:gd name="T61" fmla="*/ 0 h 1129"/>
                <a:gd name="T62" fmla="*/ 2147483647 w 1112"/>
                <a:gd name="T63" fmla="*/ 2147483647 h 1129"/>
                <a:gd name="T64" fmla="*/ 2147483647 w 1112"/>
                <a:gd name="T65" fmla="*/ 2147483647 h 1129"/>
                <a:gd name="T66" fmla="*/ 2147483647 w 1112"/>
                <a:gd name="T67" fmla="*/ 2147483647 h 1129"/>
                <a:gd name="T68" fmla="*/ 2147483647 w 1112"/>
                <a:gd name="T69" fmla="*/ 2147483647 h 1129"/>
                <a:gd name="T70" fmla="*/ 2147483647 w 1112"/>
                <a:gd name="T71" fmla="*/ 2147483647 h 1129"/>
                <a:gd name="T72" fmla="*/ 2147483647 w 1112"/>
                <a:gd name="T73" fmla="*/ 2147483647 h 1129"/>
                <a:gd name="T74" fmla="*/ 2147483647 w 1112"/>
                <a:gd name="T75" fmla="*/ 2147483647 h 1129"/>
                <a:gd name="T76" fmla="*/ 2147483647 w 1112"/>
                <a:gd name="T77" fmla="*/ 2147483647 h 1129"/>
                <a:gd name="T78" fmla="*/ 2147483647 w 1112"/>
                <a:gd name="T79" fmla="*/ 2147483647 h 1129"/>
                <a:gd name="T80" fmla="*/ 2147483647 w 1112"/>
                <a:gd name="T81" fmla="*/ 2147483647 h 1129"/>
                <a:gd name="T82" fmla="*/ 2147483647 w 1112"/>
                <a:gd name="T83" fmla="*/ 2147483647 h 1129"/>
                <a:gd name="T84" fmla="*/ 2147483647 w 1112"/>
                <a:gd name="T85" fmla="*/ 2147483647 h 1129"/>
                <a:gd name="T86" fmla="*/ 2147483647 w 1112"/>
                <a:gd name="T87" fmla="*/ 2147483647 h 1129"/>
                <a:gd name="T88" fmla="*/ 2147483647 w 1112"/>
                <a:gd name="T89" fmla="*/ 2147483647 h 1129"/>
                <a:gd name="T90" fmla="*/ 2147483647 w 1112"/>
                <a:gd name="T91" fmla="*/ 2147483647 h 1129"/>
                <a:gd name="T92" fmla="*/ 2147483647 w 1112"/>
                <a:gd name="T93" fmla="*/ 2147483647 h 1129"/>
                <a:gd name="T94" fmla="*/ 2147483647 w 1112"/>
                <a:gd name="T95" fmla="*/ 2147483647 h 1129"/>
                <a:gd name="T96" fmla="*/ 2147483647 w 1112"/>
                <a:gd name="T97" fmla="*/ 2147483647 h 1129"/>
                <a:gd name="T98" fmla="*/ 2147483647 w 1112"/>
                <a:gd name="T99" fmla="*/ 2147483647 h 1129"/>
                <a:gd name="T100" fmla="*/ 2147483647 w 1112"/>
                <a:gd name="T101" fmla="*/ 2147483647 h 1129"/>
                <a:gd name="T102" fmla="*/ 2147483647 w 1112"/>
                <a:gd name="T103" fmla="*/ 2147483647 h 1129"/>
                <a:gd name="T104" fmla="*/ 2147483647 w 1112"/>
                <a:gd name="T105" fmla="*/ 2147483647 h 1129"/>
                <a:gd name="T106" fmla="*/ 2147483647 w 1112"/>
                <a:gd name="T107" fmla="*/ 2147483647 h 11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12"/>
                <a:gd name="T163" fmla="*/ 0 h 1129"/>
                <a:gd name="T164" fmla="*/ 1112 w 1112"/>
                <a:gd name="T165" fmla="*/ 1129 h 112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 name="Freeform 13">
              <a:extLst>
                <a:ext uri="{FF2B5EF4-FFF2-40B4-BE49-F238E27FC236}">
                  <a16:creationId xmlns:a16="http://schemas.microsoft.com/office/drawing/2014/main" id="{A8474763-DEC4-5F99-02CF-78643773FCE5}"/>
                </a:ext>
              </a:extLst>
            </p:cNvPr>
            <p:cNvSpPr>
              <a:spLocks noChangeAspect="1"/>
            </p:cNvSpPr>
            <p:nvPr userDrawn="1"/>
          </p:nvSpPr>
          <p:spPr bwMode="gray">
            <a:xfrm>
              <a:off x="5276223" y="3461522"/>
              <a:ext cx="350701" cy="416112"/>
            </a:xfrm>
            <a:custGeom>
              <a:avLst/>
              <a:gdLst>
                <a:gd name="T0" fmla="*/ 2147483647 w 661"/>
                <a:gd name="T1" fmla="*/ 2147483647 h 727"/>
                <a:gd name="T2" fmla="*/ 0 w 661"/>
                <a:gd name="T3" fmla="*/ 2147483647 h 727"/>
                <a:gd name="T4" fmla="*/ 0 w 661"/>
                <a:gd name="T5" fmla="*/ 2147483647 h 727"/>
                <a:gd name="T6" fmla="*/ 0 w 661"/>
                <a:gd name="T7" fmla="*/ 2147483647 h 727"/>
                <a:gd name="T8" fmla="*/ 0 w 661"/>
                <a:gd name="T9" fmla="*/ 2147483647 h 727"/>
                <a:gd name="T10" fmla="*/ 0 w 661"/>
                <a:gd name="T11" fmla="*/ 2147483647 h 727"/>
                <a:gd name="T12" fmla="*/ 0 w 661"/>
                <a:gd name="T13" fmla="*/ 2147483647 h 727"/>
                <a:gd name="T14" fmla="*/ 0 w 661"/>
                <a:gd name="T15" fmla="*/ 2147483647 h 727"/>
                <a:gd name="T16" fmla="*/ 2147483647 w 661"/>
                <a:gd name="T17" fmla="*/ 2147483647 h 727"/>
                <a:gd name="T18" fmla="*/ 2147483647 w 661"/>
                <a:gd name="T19" fmla="*/ 2147483647 h 727"/>
                <a:gd name="T20" fmla="*/ 0 w 661"/>
                <a:gd name="T21" fmla="*/ 2147483647 h 727"/>
                <a:gd name="T22" fmla="*/ 0 w 661"/>
                <a:gd name="T23" fmla="*/ 2147483647 h 727"/>
                <a:gd name="T24" fmla="*/ 0 w 661"/>
                <a:gd name="T25" fmla="*/ 2147483647 h 727"/>
                <a:gd name="T26" fmla="*/ 2147483647 w 661"/>
                <a:gd name="T27" fmla="*/ 2147483647 h 727"/>
                <a:gd name="T28" fmla="*/ 2147483647 w 661"/>
                <a:gd name="T29" fmla="*/ 2147483647 h 727"/>
                <a:gd name="T30" fmla="*/ 2147483647 w 661"/>
                <a:gd name="T31" fmla="*/ 2147483647 h 727"/>
                <a:gd name="T32" fmla="*/ 2147483647 w 661"/>
                <a:gd name="T33" fmla="*/ 2147483647 h 727"/>
                <a:gd name="T34" fmla="*/ 2147483647 w 661"/>
                <a:gd name="T35" fmla="*/ 2147483647 h 727"/>
                <a:gd name="T36" fmla="*/ 2147483647 w 661"/>
                <a:gd name="T37" fmla="*/ 2147483647 h 727"/>
                <a:gd name="T38" fmla="*/ 2147483647 w 661"/>
                <a:gd name="T39" fmla="*/ 2147483647 h 727"/>
                <a:gd name="T40" fmla="*/ 2147483647 w 661"/>
                <a:gd name="T41" fmla="*/ 2147483647 h 727"/>
                <a:gd name="T42" fmla="*/ 2147483647 w 661"/>
                <a:gd name="T43" fmla="*/ 2147483647 h 727"/>
                <a:gd name="T44" fmla="*/ 2147483647 w 661"/>
                <a:gd name="T45" fmla="*/ 2147483647 h 727"/>
                <a:gd name="T46" fmla="*/ 2147483647 w 661"/>
                <a:gd name="T47" fmla="*/ 2147483647 h 727"/>
                <a:gd name="T48" fmla="*/ 2147483647 w 661"/>
                <a:gd name="T49" fmla="*/ 2147483647 h 727"/>
                <a:gd name="T50" fmla="*/ 2147483647 w 661"/>
                <a:gd name="T51" fmla="*/ 2147483647 h 727"/>
                <a:gd name="T52" fmla="*/ 2147483647 w 661"/>
                <a:gd name="T53" fmla="*/ 2147483647 h 727"/>
                <a:gd name="T54" fmla="*/ 2147483647 w 661"/>
                <a:gd name="T55" fmla="*/ 2147483647 h 727"/>
                <a:gd name="T56" fmla="*/ 2147483647 w 661"/>
                <a:gd name="T57" fmla="*/ 2147483647 h 727"/>
                <a:gd name="T58" fmla="*/ 2147483647 w 661"/>
                <a:gd name="T59" fmla="*/ 2147483647 h 727"/>
                <a:gd name="T60" fmla="*/ 2147483647 w 661"/>
                <a:gd name="T61" fmla="*/ 2147483647 h 727"/>
                <a:gd name="T62" fmla="*/ 2147483647 w 661"/>
                <a:gd name="T63" fmla="*/ 2147483647 h 727"/>
                <a:gd name="T64" fmla="*/ 2147483647 w 661"/>
                <a:gd name="T65" fmla="*/ 2147483647 h 727"/>
                <a:gd name="T66" fmla="*/ 2147483647 w 661"/>
                <a:gd name="T67" fmla="*/ 2147483647 h 727"/>
                <a:gd name="T68" fmla="*/ 2147483647 w 661"/>
                <a:gd name="T69" fmla="*/ 2147483647 h 727"/>
                <a:gd name="T70" fmla="*/ 2147483647 w 661"/>
                <a:gd name="T71" fmla="*/ 2147483647 h 727"/>
                <a:gd name="T72" fmla="*/ 2147483647 w 661"/>
                <a:gd name="T73" fmla="*/ 2147483647 h 727"/>
                <a:gd name="T74" fmla="*/ 2147483647 w 661"/>
                <a:gd name="T75" fmla="*/ 2147483647 h 727"/>
                <a:gd name="T76" fmla="*/ 2147483647 w 661"/>
                <a:gd name="T77" fmla="*/ 2147483647 h 727"/>
                <a:gd name="T78" fmla="*/ 2147483647 w 661"/>
                <a:gd name="T79" fmla="*/ 2147483647 h 727"/>
                <a:gd name="T80" fmla="*/ 2147483647 w 661"/>
                <a:gd name="T81" fmla="*/ 2147483647 h 727"/>
                <a:gd name="T82" fmla="*/ 2147483647 w 661"/>
                <a:gd name="T83" fmla="*/ 0 h 727"/>
                <a:gd name="T84" fmla="*/ 2147483647 w 661"/>
                <a:gd name="T85" fmla="*/ 0 h 727"/>
                <a:gd name="T86" fmla="*/ 2147483647 w 661"/>
                <a:gd name="T87" fmla="*/ 2147483647 h 727"/>
                <a:gd name="T88" fmla="*/ 2147483647 w 661"/>
                <a:gd name="T89" fmla="*/ 2147483647 h 727"/>
                <a:gd name="T90" fmla="*/ 2147483647 w 661"/>
                <a:gd name="T91" fmla="*/ 2147483647 h 727"/>
                <a:gd name="T92" fmla="*/ 2147483647 w 661"/>
                <a:gd name="T93" fmla="*/ 2147483647 h 727"/>
                <a:gd name="T94" fmla="*/ 2147483647 w 661"/>
                <a:gd name="T95" fmla="*/ 2147483647 h 7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61"/>
                <a:gd name="T145" fmla="*/ 0 h 727"/>
                <a:gd name="T146" fmla="*/ 661 w 661"/>
                <a:gd name="T147" fmla="*/ 727 h 7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 name="Freeform 14">
              <a:extLst>
                <a:ext uri="{FF2B5EF4-FFF2-40B4-BE49-F238E27FC236}">
                  <a16:creationId xmlns:a16="http://schemas.microsoft.com/office/drawing/2014/main" id="{A30F728B-C683-C694-21B5-12D1E1953C2C}"/>
                </a:ext>
              </a:extLst>
            </p:cNvPr>
            <p:cNvSpPr>
              <a:spLocks noChangeAspect="1"/>
            </p:cNvSpPr>
            <p:nvPr userDrawn="1"/>
          </p:nvSpPr>
          <p:spPr bwMode="gray">
            <a:xfrm>
              <a:off x="5392625" y="3149058"/>
              <a:ext cx="349208" cy="295698"/>
            </a:xfrm>
            <a:custGeom>
              <a:avLst/>
              <a:gdLst>
                <a:gd name="T0" fmla="*/ 2147483647 w 656"/>
                <a:gd name="T1" fmla="*/ 2147483647 h 526"/>
                <a:gd name="T2" fmla="*/ 2147483647 w 656"/>
                <a:gd name="T3" fmla="*/ 2147483647 h 526"/>
                <a:gd name="T4" fmla="*/ 0 w 656"/>
                <a:gd name="T5" fmla="*/ 2147483647 h 526"/>
                <a:gd name="T6" fmla="*/ 0 w 656"/>
                <a:gd name="T7" fmla="*/ 2147483647 h 526"/>
                <a:gd name="T8" fmla="*/ 2147483647 w 656"/>
                <a:gd name="T9" fmla="*/ 2147483647 h 526"/>
                <a:gd name="T10" fmla="*/ 2147483647 w 656"/>
                <a:gd name="T11" fmla="*/ 2147483647 h 526"/>
                <a:gd name="T12" fmla="*/ 2147483647 w 656"/>
                <a:gd name="T13" fmla="*/ 2147483647 h 526"/>
                <a:gd name="T14" fmla="*/ 2147483647 w 656"/>
                <a:gd name="T15" fmla="*/ 2147483647 h 526"/>
                <a:gd name="T16" fmla="*/ 2147483647 w 656"/>
                <a:gd name="T17" fmla="*/ 2147483647 h 526"/>
                <a:gd name="T18" fmla="*/ 2147483647 w 656"/>
                <a:gd name="T19" fmla="*/ 2147483647 h 526"/>
                <a:gd name="T20" fmla="*/ 2147483647 w 656"/>
                <a:gd name="T21" fmla="*/ 2147483647 h 526"/>
                <a:gd name="T22" fmla="*/ 2147483647 w 656"/>
                <a:gd name="T23" fmla="*/ 2147483647 h 526"/>
                <a:gd name="T24" fmla="*/ 2147483647 w 656"/>
                <a:gd name="T25" fmla="*/ 2147483647 h 526"/>
                <a:gd name="T26" fmla="*/ 2147483647 w 656"/>
                <a:gd name="T27" fmla="*/ 2147483647 h 526"/>
                <a:gd name="T28" fmla="*/ 2147483647 w 656"/>
                <a:gd name="T29" fmla="*/ 2147483647 h 526"/>
                <a:gd name="T30" fmla="*/ 2147483647 w 656"/>
                <a:gd name="T31" fmla="*/ 0 h 526"/>
                <a:gd name="T32" fmla="*/ 2147483647 w 656"/>
                <a:gd name="T33" fmla="*/ 0 h 526"/>
                <a:gd name="T34" fmla="*/ 2147483647 w 656"/>
                <a:gd name="T35" fmla="*/ 0 h 526"/>
                <a:gd name="T36" fmla="*/ 2147483647 w 656"/>
                <a:gd name="T37" fmla="*/ 0 h 526"/>
                <a:gd name="T38" fmla="*/ 2147483647 w 656"/>
                <a:gd name="T39" fmla="*/ 0 h 526"/>
                <a:gd name="T40" fmla="*/ 2147483647 w 656"/>
                <a:gd name="T41" fmla="*/ 0 h 526"/>
                <a:gd name="T42" fmla="*/ 2147483647 w 656"/>
                <a:gd name="T43" fmla="*/ 0 h 526"/>
                <a:gd name="T44" fmla="*/ 2147483647 w 656"/>
                <a:gd name="T45" fmla="*/ 0 h 526"/>
                <a:gd name="T46" fmla="*/ 2147483647 w 656"/>
                <a:gd name="T47" fmla="*/ 2147483647 h 526"/>
                <a:gd name="T48" fmla="*/ 2147483647 w 656"/>
                <a:gd name="T49" fmla="*/ 2147483647 h 526"/>
                <a:gd name="T50" fmla="*/ 2147483647 w 656"/>
                <a:gd name="T51" fmla="*/ 2147483647 h 526"/>
                <a:gd name="T52" fmla="*/ 2147483647 w 656"/>
                <a:gd name="T53" fmla="*/ 2147483647 h 526"/>
                <a:gd name="T54" fmla="*/ 2147483647 w 656"/>
                <a:gd name="T55" fmla="*/ 2147483647 h 526"/>
                <a:gd name="T56" fmla="*/ 2147483647 w 656"/>
                <a:gd name="T57" fmla="*/ 2147483647 h 526"/>
                <a:gd name="T58" fmla="*/ 2147483647 w 656"/>
                <a:gd name="T59" fmla="*/ 2147483647 h 526"/>
                <a:gd name="T60" fmla="*/ 2147483647 w 656"/>
                <a:gd name="T61" fmla="*/ 2147483647 h 526"/>
                <a:gd name="T62" fmla="*/ 2147483647 w 656"/>
                <a:gd name="T63" fmla="*/ 2147483647 h 526"/>
                <a:gd name="T64" fmla="*/ 2147483647 w 656"/>
                <a:gd name="T65" fmla="*/ 2147483647 h 526"/>
                <a:gd name="T66" fmla="*/ 2147483647 w 656"/>
                <a:gd name="T67" fmla="*/ 2147483647 h 526"/>
                <a:gd name="T68" fmla="*/ 2147483647 w 656"/>
                <a:gd name="T69" fmla="*/ 2147483647 h 526"/>
                <a:gd name="T70" fmla="*/ 2147483647 w 656"/>
                <a:gd name="T71" fmla="*/ 2147483647 h 526"/>
                <a:gd name="T72" fmla="*/ 2147483647 w 656"/>
                <a:gd name="T73" fmla="*/ 2147483647 h 526"/>
                <a:gd name="T74" fmla="*/ 2147483647 w 656"/>
                <a:gd name="T75" fmla="*/ 2147483647 h 526"/>
                <a:gd name="T76" fmla="*/ 2147483647 w 656"/>
                <a:gd name="T77" fmla="*/ 2147483647 h 526"/>
                <a:gd name="T78" fmla="*/ 2147483647 w 656"/>
                <a:gd name="T79" fmla="*/ 2147483647 h 526"/>
                <a:gd name="T80" fmla="*/ 2147483647 w 656"/>
                <a:gd name="T81" fmla="*/ 2147483647 h 526"/>
                <a:gd name="T82" fmla="*/ 2147483647 w 656"/>
                <a:gd name="T83" fmla="*/ 2147483647 h 526"/>
                <a:gd name="T84" fmla="*/ 2147483647 w 656"/>
                <a:gd name="T85" fmla="*/ 2147483647 h 526"/>
                <a:gd name="T86" fmla="*/ 2147483647 w 656"/>
                <a:gd name="T87" fmla="*/ 2147483647 h 526"/>
                <a:gd name="T88" fmla="*/ 2147483647 w 656"/>
                <a:gd name="T89" fmla="*/ 2147483647 h 526"/>
                <a:gd name="T90" fmla="*/ 2147483647 w 656"/>
                <a:gd name="T91" fmla="*/ 2147483647 h 526"/>
                <a:gd name="T92" fmla="*/ 2147483647 w 656"/>
                <a:gd name="T93" fmla="*/ 2147483647 h 526"/>
                <a:gd name="T94" fmla="*/ 2147483647 w 656"/>
                <a:gd name="T95" fmla="*/ 2147483647 h 526"/>
                <a:gd name="T96" fmla="*/ 2147483647 w 656"/>
                <a:gd name="T97" fmla="*/ 2147483647 h 526"/>
                <a:gd name="T98" fmla="*/ 2147483647 w 656"/>
                <a:gd name="T99" fmla="*/ 2147483647 h 526"/>
                <a:gd name="T100" fmla="*/ 2147483647 w 656"/>
                <a:gd name="T101" fmla="*/ 2147483647 h 526"/>
                <a:gd name="T102" fmla="*/ 2147483647 w 656"/>
                <a:gd name="T103" fmla="*/ 2147483647 h 526"/>
                <a:gd name="T104" fmla="*/ 2147483647 w 656"/>
                <a:gd name="T105" fmla="*/ 2147483647 h 526"/>
                <a:gd name="T106" fmla="*/ 2147483647 w 656"/>
                <a:gd name="T107" fmla="*/ 2147483647 h 5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56"/>
                <a:gd name="T163" fmla="*/ 0 h 526"/>
                <a:gd name="T164" fmla="*/ 656 w 656"/>
                <a:gd name="T165" fmla="*/ 526 h 52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2" name="Freeform 15">
              <a:extLst>
                <a:ext uri="{FF2B5EF4-FFF2-40B4-BE49-F238E27FC236}">
                  <a16:creationId xmlns:a16="http://schemas.microsoft.com/office/drawing/2014/main" id="{4F93F652-97C5-E593-EEC9-9364A8E7FF88}"/>
                </a:ext>
              </a:extLst>
            </p:cNvPr>
            <p:cNvSpPr>
              <a:spLocks noChangeAspect="1"/>
            </p:cNvSpPr>
            <p:nvPr userDrawn="1"/>
          </p:nvSpPr>
          <p:spPr bwMode="gray">
            <a:xfrm>
              <a:off x="6971523" y="3969087"/>
              <a:ext cx="299961" cy="422208"/>
            </a:xfrm>
            <a:custGeom>
              <a:avLst/>
              <a:gdLst>
                <a:gd name="T0" fmla="*/ 0 w 561"/>
                <a:gd name="T1" fmla="*/ 2147483647 h 740"/>
                <a:gd name="T2" fmla="*/ 0 w 561"/>
                <a:gd name="T3" fmla="*/ 2147483647 h 740"/>
                <a:gd name="T4" fmla="*/ 0 w 561"/>
                <a:gd name="T5" fmla="*/ 2147483647 h 740"/>
                <a:gd name="T6" fmla="*/ 2147483647 w 561"/>
                <a:gd name="T7" fmla="*/ 2147483647 h 740"/>
                <a:gd name="T8" fmla="*/ 2147483647 w 561"/>
                <a:gd name="T9" fmla="*/ 2147483647 h 740"/>
                <a:gd name="T10" fmla="*/ 2147483647 w 561"/>
                <a:gd name="T11" fmla="*/ 2147483647 h 740"/>
                <a:gd name="T12" fmla="*/ 2147483647 w 561"/>
                <a:gd name="T13" fmla="*/ 2147483647 h 740"/>
                <a:gd name="T14" fmla="*/ 2147483647 w 561"/>
                <a:gd name="T15" fmla="*/ 2147483647 h 740"/>
                <a:gd name="T16" fmla="*/ 2147483647 w 561"/>
                <a:gd name="T17" fmla="*/ 2147483647 h 740"/>
                <a:gd name="T18" fmla="*/ 2147483647 w 561"/>
                <a:gd name="T19" fmla="*/ 2147483647 h 740"/>
                <a:gd name="T20" fmla="*/ 2147483647 w 561"/>
                <a:gd name="T21" fmla="*/ 2147483647 h 740"/>
                <a:gd name="T22" fmla="*/ 2147483647 w 561"/>
                <a:gd name="T23" fmla="*/ 2147483647 h 740"/>
                <a:gd name="T24" fmla="*/ 2147483647 w 561"/>
                <a:gd name="T25" fmla="*/ 0 h 740"/>
                <a:gd name="T26" fmla="*/ 2147483647 w 561"/>
                <a:gd name="T27" fmla="*/ 0 h 740"/>
                <a:gd name="T28" fmla="*/ 2147483647 w 561"/>
                <a:gd name="T29" fmla="*/ 0 h 740"/>
                <a:gd name="T30" fmla="*/ 2147483647 w 561"/>
                <a:gd name="T31" fmla="*/ 0 h 740"/>
                <a:gd name="T32" fmla="*/ 2147483647 w 561"/>
                <a:gd name="T33" fmla="*/ 2147483647 h 740"/>
                <a:gd name="T34" fmla="*/ 2147483647 w 561"/>
                <a:gd name="T35" fmla="*/ 2147483647 h 740"/>
                <a:gd name="T36" fmla="*/ 2147483647 w 561"/>
                <a:gd name="T37" fmla="*/ 0 h 740"/>
                <a:gd name="T38" fmla="*/ 2147483647 w 561"/>
                <a:gd name="T39" fmla="*/ 0 h 740"/>
                <a:gd name="T40" fmla="*/ 2147483647 w 561"/>
                <a:gd name="T41" fmla="*/ 0 h 740"/>
                <a:gd name="T42" fmla="*/ 2147483647 w 561"/>
                <a:gd name="T43" fmla="*/ 0 h 740"/>
                <a:gd name="T44" fmla="*/ 2147483647 w 561"/>
                <a:gd name="T45" fmla="*/ 0 h 740"/>
                <a:gd name="T46" fmla="*/ 2147483647 w 561"/>
                <a:gd name="T47" fmla="*/ 0 h 740"/>
                <a:gd name="T48" fmla="*/ 2147483647 w 561"/>
                <a:gd name="T49" fmla="*/ 0 h 740"/>
                <a:gd name="T50" fmla="*/ 2147483647 w 561"/>
                <a:gd name="T51" fmla="*/ 0 h 740"/>
                <a:gd name="T52" fmla="*/ 2147483647 w 561"/>
                <a:gd name="T53" fmla="*/ 0 h 740"/>
                <a:gd name="T54" fmla="*/ 2147483647 w 561"/>
                <a:gd name="T55" fmla="*/ 0 h 740"/>
                <a:gd name="T56" fmla="*/ 2147483647 w 561"/>
                <a:gd name="T57" fmla="*/ 0 h 740"/>
                <a:gd name="T58" fmla="*/ 2147483647 w 561"/>
                <a:gd name="T59" fmla="*/ 0 h 740"/>
                <a:gd name="T60" fmla="*/ 2147483647 w 561"/>
                <a:gd name="T61" fmla="*/ 0 h 740"/>
                <a:gd name="T62" fmla="*/ 2147483647 w 561"/>
                <a:gd name="T63" fmla="*/ 0 h 740"/>
                <a:gd name="T64" fmla="*/ 2147483647 w 561"/>
                <a:gd name="T65" fmla="*/ 0 h 740"/>
                <a:gd name="T66" fmla="*/ 2147483647 w 561"/>
                <a:gd name="T67" fmla="*/ 0 h 740"/>
                <a:gd name="T68" fmla="*/ 2147483647 w 561"/>
                <a:gd name="T69" fmla="*/ 0 h 740"/>
                <a:gd name="T70" fmla="*/ 2147483647 w 561"/>
                <a:gd name="T71" fmla="*/ 2147483647 h 740"/>
                <a:gd name="T72" fmla="*/ 2147483647 w 561"/>
                <a:gd name="T73" fmla="*/ 2147483647 h 740"/>
                <a:gd name="T74" fmla="*/ 2147483647 w 561"/>
                <a:gd name="T75" fmla="*/ 2147483647 h 740"/>
                <a:gd name="T76" fmla="*/ 2147483647 w 561"/>
                <a:gd name="T77" fmla="*/ 2147483647 h 740"/>
                <a:gd name="T78" fmla="*/ 2147483647 w 561"/>
                <a:gd name="T79" fmla="*/ 2147483647 h 740"/>
                <a:gd name="T80" fmla="*/ 2147483647 w 561"/>
                <a:gd name="T81" fmla="*/ 2147483647 h 740"/>
                <a:gd name="T82" fmla="*/ 2147483647 w 561"/>
                <a:gd name="T83" fmla="*/ 2147483647 h 740"/>
                <a:gd name="T84" fmla="*/ 2147483647 w 561"/>
                <a:gd name="T85" fmla="*/ 2147483647 h 740"/>
                <a:gd name="T86" fmla="*/ 2147483647 w 561"/>
                <a:gd name="T87" fmla="*/ 2147483647 h 740"/>
                <a:gd name="T88" fmla="*/ 2147483647 w 561"/>
                <a:gd name="T89" fmla="*/ 2147483647 h 740"/>
                <a:gd name="T90" fmla="*/ 2147483647 w 561"/>
                <a:gd name="T91" fmla="*/ 2147483647 h 740"/>
                <a:gd name="T92" fmla="*/ 2147483647 w 561"/>
                <a:gd name="T93" fmla="*/ 2147483647 h 740"/>
                <a:gd name="T94" fmla="*/ 2147483647 w 561"/>
                <a:gd name="T95" fmla="*/ 2147483647 h 740"/>
                <a:gd name="T96" fmla="*/ 2147483647 w 561"/>
                <a:gd name="T97" fmla="*/ 2147483647 h 740"/>
                <a:gd name="T98" fmla="*/ 2147483647 w 561"/>
                <a:gd name="T99" fmla="*/ 2147483647 h 740"/>
                <a:gd name="T100" fmla="*/ 2147483647 w 561"/>
                <a:gd name="T101" fmla="*/ 2147483647 h 740"/>
                <a:gd name="T102" fmla="*/ 2147483647 w 561"/>
                <a:gd name="T103" fmla="*/ 2147483647 h 740"/>
                <a:gd name="T104" fmla="*/ 2147483647 w 561"/>
                <a:gd name="T105" fmla="*/ 2147483647 h 740"/>
                <a:gd name="T106" fmla="*/ 2147483647 w 561"/>
                <a:gd name="T107" fmla="*/ 2147483647 h 740"/>
                <a:gd name="T108" fmla="*/ 2147483647 w 561"/>
                <a:gd name="T109" fmla="*/ 2147483647 h 740"/>
                <a:gd name="T110" fmla="*/ 2147483647 w 561"/>
                <a:gd name="T111" fmla="*/ 2147483647 h 740"/>
                <a:gd name="T112" fmla="*/ 2147483647 w 561"/>
                <a:gd name="T113" fmla="*/ 2147483647 h 740"/>
                <a:gd name="T114" fmla="*/ 2147483647 w 561"/>
                <a:gd name="T115" fmla="*/ 2147483647 h 740"/>
                <a:gd name="T116" fmla="*/ 2147483647 w 561"/>
                <a:gd name="T117" fmla="*/ 2147483647 h 740"/>
                <a:gd name="T118" fmla="*/ 2147483647 w 561"/>
                <a:gd name="T119" fmla="*/ 2147483647 h 740"/>
                <a:gd name="T120" fmla="*/ 2147483647 w 561"/>
                <a:gd name="T121" fmla="*/ 2147483647 h 740"/>
                <a:gd name="T122" fmla="*/ 2147483647 w 561"/>
                <a:gd name="T123" fmla="*/ 2147483647 h 740"/>
                <a:gd name="T124" fmla="*/ 0 w 561"/>
                <a:gd name="T125" fmla="*/ 2147483647 h 7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1"/>
                <a:gd name="T190" fmla="*/ 0 h 740"/>
                <a:gd name="T191" fmla="*/ 561 w 561"/>
                <a:gd name="T192" fmla="*/ 740 h 7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3" name="Freeform 16">
              <a:extLst>
                <a:ext uri="{FF2B5EF4-FFF2-40B4-BE49-F238E27FC236}">
                  <a16:creationId xmlns:a16="http://schemas.microsoft.com/office/drawing/2014/main" id="{B9176D25-3699-85BA-EF1C-28C23AA445C7}"/>
                </a:ext>
              </a:extLst>
            </p:cNvPr>
            <p:cNvSpPr>
              <a:spLocks noChangeAspect="1"/>
            </p:cNvSpPr>
            <p:nvPr userDrawn="1"/>
          </p:nvSpPr>
          <p:spPr bwMode="gray">
            <a:xfrm>
              <a:off x="6411895" y="3604798"/>
              <a:ext cx="483519" cy="623405"/>
            </a:xfrm>
            <a:custGeom>
              <a:avLst/>
              <a:gdLst>
                <a:gd name="T0" fmla="*/ 2147483647 w 907"/>
                <a:gd name="T1" fmla="*/ 2147483647 h 1097"/>
                <a:gd name="T2" fmla="*/ 2147483647 w 907"/>
                <a:gd name="T3" fmla="*/ 2147483647 h 1097"/>
                <a:gd name="T4" fmla="*/ 2147483647 w 907"/>
                <a:gd name="T5" fmla="*/ 2147483647 h 1097"/>
                <a:gd name="T6" fmla="*/ 0 w 907"/>
                <a:gd name="T7" fmla="*/ 2147483647 h 1097"/>
                <a:gd name="T8" fmla="*/ 0 w 907"/>
                <a:gd name="T9" fmla="*/ 2147483647 h 1097"/>
                <a:gd name="T10" fmla="*/ 0 w 907"/>
                <a:gd name="T11" fmla="*/ 2147483647 h 1097"/>
                <a:gd name="T12" fmla="*/ 0 w 907"/>
                <a:gd name="T13" fmla="*/ 2147483647 h 1097"/>
                <a:gd name="T14" fmla="*/ 0 w 907"/>
                <a:gd name="T15" fmla="*/ 2147483647 h 1097"/>
                <a:gd name="T16" fmla="*/ 2147483647 w 907"/>
                <a:gd name="T17" fmla="*/ 2147483647 h 1097"/>
                <a:gd name="T18" fmla="*/ 2147483647 w 907"/>
                <a:gd name="T19" fmla="*/ 2147483647 h 1097"/>
                <a:gd name="T20" fmla="*/ 2147483647 w 907"/>
                <a:gd name="T21" fmla="*/ 2147483647 h 1097"/>
                <a:gd name="T22" fmla="*/ 2147483647 w 907"/>
                <a:gd name="T23" fmla="*/ 2147483647 h 1097"/>
                <a:gd name="T24" fmla="*/ 2147483647 w 907"/>
                <a:gd name="T25" fmla="*/ 2147483647 h 1097"/>
                <a:gd name="T26" fmla="*/ 2147483647 w 907"/>
                <a:gd name="T27" fmla="*/ 2147483647 h 1097"/>
                <a:gd name="T28" fmla="*/ 2147483647 w 907"/>
                <a:gd name="T29" fmla="*/ 2147483647 h 1097"/>
                <a:gd name="T30" fmla="*/ 2147483647 w 907"/>
                <a:gd name="T31" fmla="*/ 2147483647 h 1097"/>
                <a:gd name="T32" fmla="*/ 2147483647 w 907"/>
                <a:gd name="T33" fmla="*/ 2147483647 h 1097"/>
                <a:gd name="T34" fmla="*/ 2147483647 w 907"/>
                <a:gd name="T35" fmla="*/ 2147483647 h 1097"/>
                <a:gd name="T36" fmla="*/ 2147483647 w 907"/>
                <a:gd name="T37" fmla="*/ 2147483647 h 1097"/>
                <a:gd name="T38" fmla="*/ 2147483647 w 907"/>
                <a:gd name="T39" fmla="*/ 2147483647 h 1097"/>
                <a:gd name="T40" fmla="*/ 2147483647 w 907"/>
                <a:gd name="T41" fmla="*/ 2147483647 h 1097"/>
                <a:gd name="T42" fmla="*/ 2147483647 w 907"/>
                <a:gd name="T43" fmla="*/ 2147483647 h 1097"/>
                <a:gd name="T44" fmla="*/ 2147483647 w 907"/>
                <a:gd name="T45" fmla="*/ 2147483647 h 1097"/>
                <a:gd name="T46" fmla="*/ 2147483647 w 907"/>
                <a:gd name="T47" fmla="*/ 2147483647 h 1097"/>
                <a:gd name="T48" fmla="*/ 2147483647 w 907"/>
                <a:gd name="T49" fmla="*/ 2147483647 h 1097"/>
                <a:gd name="T50" fmla="*/ 2147483647 w 907"/>
                <a:gd name="T51" fmla="*/ 2147483647 h 1097"/>
                <a:gd name="T52" fmla="*/ 2147483647 w 907"/>
                <a:gd name="T53" fmla="*/ 2147483647 h 1097"/>
                <a:gd name="T54" fmla="*/ 2147483647 w 907"/>
                <a:gd name="T55" fmla="*/ 2147483647 h 1097"/>
                <a:gd name="T56" fmla="*/ 2147483647 w 907"/>
                <a:gd name="T57" fmla="*/ 2147483647 h 1097"/>
                <a:gd name="T58" fmla="*/ 2147483647 w 907"/>
                <a:gd name="T59" fmla="*/ 2147483647 h 1097"/>
                <a:gd name="T60" fmla="*/ 2147483647 w 907"/>
                <a:gd name="T61" fmla="*/ 2147483647 h 1097"/>
                <a:gd name="T62" fmla="*/ 2147483647 w 907"/>
                <a:gd name="T63" fmla="*/ 2147483647 h 1097"/>
                <a:gd name="T64" fmla="*/ 2147483647 w 907"/>
                <a:gd name="T65" fmla="*/ 2147483647 h 1097"/>
                <a:gd name="T66" fmla="*/ 2147483647 w 907"/>
                <a:gd name="T67" fmla="*/ 2147483647 h 1097"/>
                <a:gd name="T68" fmla="*/ 2147483647 w 907"/>
                <a:gd name="T69" fmla="*/ 2147483647 h 1097"/>
                <a:gd name="T70" fmla="*/ 2147483647 w 907"/>
                <a:gd name="T71" fmla="*/ 2147483647 h 1097"/>
                <a:gd name="T72" fmla="*/ 2147483647 w 907"/>
                <a:gd name="T73" fmla="*/ 2147483647 h 1097"/>
                <a:gd name="T74" fmla="*/ 2147483647 w 907"/>
                <a:gd name="T75" fmla="*/ 2147483647 h 1097"/>
                <a:gd name="T76" fmla="*/ 2147483647 w 907"/>
                <a:gd name="T77" fmla="*/ 2147483647 h 1097"/>
                <a:gd name="T78" fmla="*/ 2147483647 w 907"/>
                <a:gd name="T79" fmla="*/ 2147483647 h 1097"/>
                <a:gd name="T80" fmla="*/ 2147483647 w 907"/>
                <a:gd name="T81" fmla="*/ 2147483647 h 1097"/>
                <a:gd name="T82" fmla="*/ 2147483647 w 907"/>
                <a:gd name="T83" fmla="*/ 2147483647 h 1097"/>
                <a:gd name="T84" fmla="*/ 2147483647 w 907"/>
                <a:gd name="T85" fmla="*/ 2147483647 h 1097"/>
                <a:gd name="T86" fmla="*/ 2147483647 w 907"/>
                <a:gd name="T87" fmla="*/ 2147483647 h 1097"/>
                <a:gd name="T88" fmla="*/ 2147483647 w 907"/>
                <a:gd name="T89" fmla="*/ 2147483647 h 1097"/>
                <a:gd name="T90" fmla="*/ 2147483647 w 907"/>
                <a:gd name="T91" fmla="*/ 2147483647 h 1097"/>
                <a:gd name="T92" fmla="*/ 2147483647 w 907"/>
                <a:gd name="T93" fmla="*/ 2147483647 h 1097"/>
                <a:gd name="T94" fmla="*/ 2147483647 w 907"/>
                <a:gd name="T95" fmla="*/ 0 h 1097"/>
                <a:gd name="T96" fmla="*/ 2147483647 w 907"/>
                <a:gd name="T97" fmla="*/ 0 h 1097"/>
                <a:gd name="T98" fmla="*/ 2147483647 w 907"/>
                <a:gd name="T99" fmla="*/ 0 h 1097"/>
                <a:gd name="T100" fmla="*/ 2147483647 w 907"/>
                <a:gd name="T101" fmla="*/ 0 h 1097"/>
                <a:gd name="T102" fmla="*/ 2147483647 w 907"/>
                <a:gd name="T103" fmla="*/ 0 h 1097"/>
                <a:gd name="T104" fmla="*/ 2147483647 w 907"/>
                <a:gd name="T105" fmla="*/ 0 h 1097"/>
                <a:gd name="T106" fmla="*/ 2147483647 w 907"/>
                <a:gd name="T107" fmla="*/ 0 h 1097"/>
                <a:gd name="T108" fmla="*/ 2147483647 w 907"/>
                <a:gd name="T109" fmla="*/ 2147483647 h 10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7"/>
                <a:gd name="T166" fmla="*/ 0 h 1097"/>
                <a:gd name="T167" fmla="*/ 907 w 907"/>
                <a:gd name="T168" fmla="*/ 1097 h 109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7" h="1097">
                  <a:moveTo>
                    <a:pt x="118" y="210"/>
                  </a:moveTo>
                  <a:lnTo>
                    <a:pt x="118" y="266"/>
                  </a:lnTo>
                  <a:lnTo>
                    <a:pt x="118" y="320"/>
                  </a:lnTo>
                  <a:lnTo>
                    <a:pt x="118" y="375"/>
                  </a:lnTo>
                  <a:lnTo>
                    <a:pt x="116" y="424"/>
                  </a:lnTo>
                  <a:lnTo>
                    <a:pt x="110" y="425"/>
                  </a:lnTo>
                  <a:lnTo>
                    <a:pt x="81" y="425"/>
                  </a:lnTo>
                  <a:lnTo>
                    <a:pt x="72" y="426"/>
                  </a:lnTo>
                  <a:lnTo>
                    <a:pt x="60" y="428"/>
                  </a:lnTo>
                  <a:lnTo>
                    <a:pt x="59" y="429"/>
                  </a:lnTo>
                  <a:lnTo>
                    <a:pt x="56" y="438"/>
                  </a:lnTo>
                  <a:lnTo>
                    <a:pt x="55" y="449"/>
                  </a:lnTo>
                  <a:lnTo>
                    <a:pt x="51" y="460"/>
                  </a:lnTo>
                  <a:lnTo>
                    <a:pt x="39" y="477"/>
                  </a:lnTo>
                  <a:lnTo>
                    <a:pt x="23" y="495"/>
                  </a:lnTo>
                  <a:lnTo>
                    <a:pt x="23" y="508"/>
                  </a:lnTo>
                  <a:lnTo>
                    <a:pt x="24" y="516"/>
                  </a:lnTo>
                  <a:lnTo>
                    <a:pt x="23" y="521"/>
                  </a:lnTo>
                  <a:lnTo>
                    <a:pt x="22" y="522"/>
                  </a:lnTo>
                  <a:lnTo>
                    <a:pt x="14" y="527"/>
                  </a:lnTo>
                  <a:lnTo>
                    <a:pt x="11" y="531"/>
                  </a:lnTo>
                  <a:lnTo>
                    <a:pt x="9" y="541"/>
                  </a:lnTo>
                  <a:lnTo>
                    <a:pt x="9" y="555"/>
                  </a:lnTo>
                  <a:lnTo>
                    <a:pt x="7" y="564"/>
                  </a:lnTo>
                  <a:lnTo>
                    <a:pt x="1" y="575"/>
                  </a:lnTo>
                  <a:lnTo>
                    <a:pt x="0" y="580"/>
                  </a:lnTo>
                  <a:lnTo>
                    <a:pt x="0" y="596"/>
                  </a:lnTo>
                  <a:lnTo>
                    <a:pt x="3" y="596"/>
                  </a:lnTo>
                  <a:lnTo>
                    <a:pt x="8" y="595"/>
                  </a:lnTo>
                  <a:lnTo>
                    <a:pt x="24" y="591"/>
                  </a:lnTo>
                  <a:lnTo>
                    <a:pt x="23" y="607"/>
                  </a:lnTo>
                  <a:lnTo>
                    <a:pt x="28" y="623"/>
                  </a:lnTo>
                  <a:lnTo>
                    <a:pt x="40" y="657"/>
                  </a:lnTo>
                  <a:lnTo>
                    <a:pt x="41" y="659"/>
                  </a:lnTo>
                  <a:lnTo>
                    <a:pt x="48" y="662"/>
                  </a:lnTo>
                  <a:lnTo>
                    <a:pt x="51" y="667"/>
                  </a:lnTo>
                  <a:lnTo>
                    <a:pt x="54" y="676"/>
                  </a:lnTo>
                  <a:lnTo>
                    <a:pt x="54" y="684"/>
                  </a:lnTo>
                  <a:lnTo>
                    <a:pt x="45" y="688"/>
                  </a:lnTo>
                  <a:lnTo>
                    <a:pt x="55" y="703"/>
                  </a:lnTo>
                  <a:lnTo>
                    <a:pt x="72" y="722"/>
                  </a:lnTo>
                  <a:lnTo>
                    <a:pt x="88" y="743"/>
                  </a:lnTo>
                  <a:lnTo>
                    <a:pt x="93" y="759"/>
                  </a:lnTo>
                  <a:lnTo>
                    <a:pt x="88" y="777"/>
                  </a:lnTo>
                  <a:lnTo>
                    <a:pt x="86" y="793"/>
                  </a:lnTo>
                  <a:lnTo>
                    <a:pt x="88" y="806"/>
                  </a:lnTo>
                  <a:lnTo>
                    <a:pt x="98" y="816"/>
                  </a:lnTo>
                  <a:lnTo>
                    <a:pt x="109" y="817"/>
                  </a:lnTo>
                  <a:lnTo>
                    <a:pt x="122" y="821"/>
                  </a:lnTo>
                  <a:lnTo>
                    <a:pt x="127" y="836"/>
                  </a:lnTo>
                  <a:lnTo>
                    <a:pt x="138" y="840"/>
                  </a:lnTo>
                  <a:lnTo>
                    <a:pt x="161" y="840"/>
                  </a:lnTo>
                  <a:lnTo>
                    <a:pt x="169" y="847"/>
                  </a:lnTo>
                  <a:lnTo>
                    <a:pt x="179" y="854"/>
                  </a:lnTo>
                  <a:lnTo>
                    <a:pt x="180" y="859"/>
                  </a:lnTo>
                  <a:lnTo>
                    <a:pt x="179" y="869"/>
                  </a:lnTo>
                  <a:lnTo>
                    <a:pt x="185" y="880"/>
                  </a:lnTo>
                  <a:lnTo>
                    <a:pt x="204" y="892"/>
                  </a:lnTo>
                  <a:lnTo>
                    <a:pt x="222" y="904"/>
                  </a:lnTo>
                  <a:lnTo>
                    <a:pt x="229" y="914"/>
                  </a:lnTo>
                  <a:lnTo>
                    <a:pt x="240" y="920"/>
                  </a:lnTo>
                  <a:lnTo>
                    <a:pt x="245" y="930"/>
                  </a:lnTo>
                  <a:lnTo>
                    <a:pt x="249" y="941"/>
                  </a:lnTo>
                  <a:lnTo>
                    <a:pt x="256" y="950"/>
                  </a:lnTo>
                  <a:lnTo>
                    <a:pt x="258" y="961"/>
                  </a:lnTo>
                  <a:lnTo>
                    <a:pt x="267" y="964"/>
                  </a:lnTo>
                  <a:lnTo>
                    <a:pt x="297" y="984"/>
                  </a:lnTo>
                  <a:lnTo>
                    <a:pt x="303" y="993"/>
                  </a:lnTo>
                  <a:lnTo>
                    <a:pt x="304" y="1004"/>
                  </a:lnTo>
                  <a:lnTo>
                    <a:pt x="310" y="1011"/>
                  </a:lnTo>
                  <a:lnTo>
                    <a:pt x="317" y="1022"/>
                  </a:lnTo>
                  <a:lnTo>
                    <a:pt x="329" y="1031"/>
                  </a:lnTo>
                  <a:lnTo>
                    <a:pt x="335" y="1039"/>
                  </a:lnTo>
                  <a:lnTo>
                    <a:pt x="340" y="1049"/>
                  </a:lnTo>
                  <a:lnTo>
                    <a:pt x="363" y="1058"/>
                  </a:lnTo>
                  <a:lnTo>
                    <a:pt x="369" y="1055"/>
                  </a:lnTo>
                  <a:lnTo>
                    <a:pt x="376" y="1047"/>
                  </a:lnTo>
                  <a:lnTo>
                    <a:pt x="403" y="1053"/>
                  </a:lnTo>
                  <a:lnTo>
                    <a:pt x="414" y="1052"/>
                  </a:lnTo>
                  <a:lnTo>
                    <a:pt x="426" y="1042"/>
                  </a:lnTo>
                  <a:lnTo>
                    <a:pt x="437" y="1048"/>
                  </a:lnTo>
                  <a:lnTo>
                    <a:pt x="461" y="1074"/>
                  </a:lnTo>
                  <a:lnTo>
                    <a:pt x="475" y="1082"/>
                  </a:lnTo>
                  <a:lnTo>
                    <a:pt x="484" y="1091"/>
                  </a:lnTo>
                  <a:lnTo>
                    <a:pt x="490" y="1096"/>
                  </a:lnTo>
                  <a:lnTo>
                    <a:pt x="496" y="1096"/>
                  </a:lnTo>
                  <a:lnTo>
                    <a:pt x="503" y="1091"/>
                  </a:lnTo>
                  <a:lnTo>
                    <a:pt x="517" y="1090"/>
                  </a:lnTo>
                  <a:lnTo>
                    <a:pt x="528" y="1093"/>
                  </a:lnTo>
                  <a:lnTo>
                    <a:pt x="538" y="1091"/>
                  </a:lnTo>
                  <a:lnTo>
                    <a:pt x="550" y="1090"/>
                  </a:lnTo>
                  <a:lnTo>
                    <a:pt x="556" y="1097"/>
                  </a:lnTo>
                  <a:lnTo>
                    <a:pt x="573" y="1093"/>
                  </a:lnTo>
                  <a:lnTo>
                    <a:pt x="587" y="1092"/>
                  </a:lnTo>
                  <a:lnTo>
                    <a:pt x="600" y="1087"/>
                  </a:lnTo>
                  <a:lnTo>
                    <a:pt x="616" y="1089"/>
                  </a:lnTo>
                  <a:lnTo>
                    <a:pt x="635" y="1089"/>
                  </a:lnTo>
                  <a:lnTo>
                    <a:pt x="662" y="1071"/>
                  </a:lnTo>
                  <a:lnTo>
                    <a:pt x="662" y="1068"/>
                  </a:lnTo>
                  <a:lnTo>
                    <a:pt x="662" y="1071"/>
                  </a:lnTo>
                  <a:lnTo>
                    <a:pt x="678" y="1052"/>
                  </a:lnTo>
                  <a:lnTo>
                    <a:pt x="690" y="1044"/>
                  </a:lnTo>
                  <a:lnTo>
                    <a:pt x="701" y="1043"/>
                  </a:lnTo>
                  <a:lnTo>
                    <a:pt x="731" y="1046"/>
                  </a:lnTo>
                  <a:lnTo>
                    <a:pt x="744" y="1046"/>
                  </a:lnTo>
                  <a:lnTo>
                    <a:pt x="765" y="1043"/>
                  </a:lnTo>
                  <a:lnTo>
                    <a:pt x="766" y="1021"/>
                  </a:lnTo>
                  <a:lnTo>
                    <a:pt x="767" y="1011"/>
                  </a:lnTo>
                  <a:lnTo>
                    <a:pt x="766" y="1004"/>
                  </a:lnTo>
                  <a:lnTo>
                    <a:pt x="759" y="999"/>
                  </a:lnTo>
                  <a:lnTo>
                    <a:pt x="735" y="994"/>
                  </a:lnTo>
                  <a:lnTo>
                    <a:pt x="727" y="988"/>
                  </a:lnTo>
                  <a:lnTo>
                    <a:pt x="722" y="979"/>
                  </a:lnTo>
                  <a:lnTo>
                    <a:pt x="712" y="952"/>
                  </a:lnTo>
                  <a:lnTo>
                    <a:pt x="707" y="940"/>
                  </a:lnTo>
                  <a:lnTo>
                    <a:pt x="702" y="930"/>
                  </a:lnTo>
                  <a:lnTo>
                    <a:pt x="680" y="917"/>
                  </a:lnTo>
                  <a:lnTo>
                    <a:pt x="673" y="909"/>
                  </a:lnTo>
                  <a:lnTo>
                    <a:pt x="667" y="901"/>
                  </a:lnTo>
                  <a:lnTo>
                    <a:pt x="665" y="891"/>
                  </a:lnTo>
                  <a:lnTo>
                    <a:pt x="657" y="881"/>
                  </a:lnTo>
                  <a:lnTo>
                    <a:pt x="648" y="876"/>
                  </a:lnTo>
                  <a:lnTo>
                    <a:pt x="637" y="872"/>
                  </a:lnTo>
                  <a:lnTo>
                    <a:pt x="629" y="874"/>
                  </a:lnTo>
                  <a:lnTo>
                    <a:pt x="621" y="867"/>
                  </a:lnTo>
                  <a:lnTo>
                    <a:pt x="615" y="867"/>
                  </a:lnTo>
                  <a:lnTo>
                    <a:pt x="609" y="863"/>
                  </a:lnTo>
                  <a:lnTo>
                    <a:pt x="614" y="855"/>
                  </a:lnTo>
                  <a:lnTo>
                    <a:pt x="620" y="850"/>
                  </a:lnTo>
                  <a:lnTo>
                    <a:pt x="620" y="836"/>
                  </a:lnTo>
                  <a:lnTo>
                    <a:pt x="630" y="832"/>
                  </a:lnTo>
                  <a:lnTo>
                    <a:pt x="652" y="834"/>
                  </a:lnTo>
                  <a:lnTo>
                    <a:pt x="663" y="829"/>
                  </a:lnTo>
                  <a:lnTo>
                    <a:pt x="670" y="823"/>
                  </a:lnTo>
                  <a:lnTo>
                    <a:pt x="672" y="808"/>
                  </a:lnTo>
                  <a:lnTo>
                    <a:pt x="672" y="763"/>
                  </a:lnTo>
                  <a:lnTo>
                    <a:pt x="676" y="747"/>
                  </a:lnTo>
                  <a:lnTo>
                    <a:pt x="678" y="736"/>
                  </a:lnTo>
                  <a:lnTo>
                    <a:pt x="676" y="730"/>
                  </a:lnTo>
                  <a:lnTo>
                    <a:pt x="676" y="719"/>
                  </a:lnTo>
                  <a:lnTo>
                    <a:pt x="680" y="721"/>
                  </a:lnTo>
                  <a:lnTo>
                    <a:pt x="683" y="714"/>
                  </a:lnTo>
                  <a:lnTo>
                    <a:pt x="690" y="702"/>
                  </a:lnTo>
                  <a:lnTo>
                    <a:pt x="697" y="697"/>
                  </a:lnTo>
                  <a:lnTo>
                    <a:pt x="708" y="697"/>
                  </a:lnTo>
                  <a:lnTo>
                    <a:pt x="713" y="692"/>
                  </a:lnTo>
                  <a:lnTo>
                    <a:pt x="718" y="665"/>
                  </a:lnTo>
                  <a:lnTo>
                    <a:pt x="723" y="651"/>
                  </a:lnTo>
                  <a:lnTo>
                    <a:pt x="758" y="602"/>
                  </a:lnTo>
                  <a:lnTo>
                    <a:pt x="767" y="592"/>
                  </a:lnTo>
                  <a:lnTo>
                    <a:pt x="776" y="590"/>
                  </a:lnTo>
                  <a:lnTo>
                    <a:pt x="783" y="582"/>
                  </a:lnTo>
                  <a:lnTo>
                    <a:pt x="801" y="525"/>
                  </a:lnTo>
                  <a:lnTo>
                    <a:pt x="801" y="509"/>
                  </a:lnTo>
                  <a:lnTo>
                    <a:pt x="798" y="493"/>
                  </a:lnTo>
                  <a:lnTo>
                    <a:pt x="798" y="473"/>
                  </a:lnTo>
                  <a:lnTo>
                    <a:pt x="802" y="456"/>
                  </a:lnTo>
                  <a:lnTo>
                    <a:pt x="809" y="442"/>
                  </a:lnTo>
                  <a:lnTo>
                    <a:pt x="818" y="408"/>
                  </a:lnTo>
                  <a:lnTo>
                    <a:pt x="821" y="387"/>
                  </a:lnTo>
                  <a:lnTo>
                    <a:pt x="821" y="379"/>
                  </a:lnTo>
                  <a:lnTo>
                    <a:pt x="825" y="358"/>
                  </a:lnTo>
                  <a:lnTo>
                    <a:pt x="829" y="349"/>
                  </a:lnTo>
                  <a:lnTo>
                    <a:pt x="842" y="348"/>
                  </a:lnTo>
                  <a:lnTo>
                    <a:pt x="851" y="343"/>
                  </a:lnTo>
                  <a:lnTo>
                    <a:pt x="856" y="336"/>
                  </a:lnTo>
                  <a:lnTo>
                    <a:pt x="877" y="326"/>
                  </a:lnTo>
                  <a:lnTo>
                    <a:pt x="885" y="323"/>
                  </a:lnTo>
                  <a:lnTo>
                    <a:pt x="898" y="317"/>
                  </a:lnTo>
                  <a:lnTo>
                    <a:pt x="905" y="302"/>
                  </a:lnTo>
                  <a:lnTo>
                    <a:pt x="907" y="293"/>
                  </a:lnTo>
                  <a:lnTo>
                    <a:pt x="904" y="284"/>
                  </a:lnTo>
                  <a:lnTo>
                    <a:pt x="899" y="284"/>
                  </a:lnTo>
                  <a:lnTo>
                    <a:pt x="896" y="280"/>
                  </a:lnTo>
                  <a:lnTo>
                    <a:pt x="891" y="282"/>
                  </a:lnTo>
                  <a:lnTo>
                    <a:pt x="887" y="270"/>
                  </a:lnTo>
                  <a:lnTo>
                    <a:pt x="880" y="264"/>
                  </a:lnTo>
                  <a:lnTo>
                    <a:pt x="873" y="263"/>
                  </a:lnTo>
                  <a:lnTo>
                    <a:pt x="858" y="257"/>
                  </a:lnTo>
                  <a:lnTo>
                    <a:pt x="852" y="252"/>
                  </a:lnTo>
                  <a:lnTo>
                    <a:pt x="847" y="245"/>
                  </a:lnTo>
                  <a:lnTo>
                    <a:pt x="840" y="214"/>
                  </a:lnTo>
                  <a:lnTo>
                    <a:pt x="837" y="191"/>
                  </a:lnTo>
                  <a:lnTo>
                    <a:pt x="837" y="157"/>
                  </a:lnTo>
                  <a:lnTo>
                    <a:pt x="836" y="117"/>
                  </a:lnTo>
                  <a:lnTo>
                    <a:pt x="839" y="118"/>
                  </a:lnTo>
                  <a:lnTo>
                    <a:pt x="836" y="111"/>
                  </a:lnTo>
                  <a:lnTo>
                    <a:pt x="821" y="94"/>
                  </a:lnTo>
                  <a:lnTo>
                    <a:pt x="820" y="81"/>
                  </a:lnTo>
                  <a:lnTo>
                    <a:pt x="819" y="65"/>
                  </a:lnTo>
                  <a:lnTo>
                    <a:pt x="808" y="49"/>
                  </a:lnTo>
                  <a:lnTo>
                    <a:pt x="798" y="44"/>
                  </a:lnTo>
                  <a:lnTo>
                    <a:pt x="787" y="31"/>
                  </a:lnTo>
                  <a:lnTo>
                    <a:pt x="776" y="25"/>
                  </a:lnTo>
                  <a:lnTo>
                    <a:pt x="761" y="19"/>
                  </a:lnTo>
                  <a:lnTo>
                    <a:pt x="749" y="0"/>
                  </a:lnTo>
                  <a:lnTo>
                    <a:pt x="727" y="20"/>
                  </a:lnTo>
                  <a:lnTo>
                    <a:pt x="713" y="15"/>
                  </a:lnTo>
                  <a:lnTo>
                    <a:pt x="701" y="46"/>
                  </a:lnTo>
                  <a:lnTo>
                    <a:pt x="672" y="53"/>
                  </a:lnTo>
                  <a:lnTo>
                    <a:pt x="664" y="78"/>
                  </a:lnTo>
                  <a:lnTo>
                    <a:pt x="637" y="80"/>
                  </a:lnTo>
                  <a:lnTo>
                    <a:pt x="619" y="67"/>
                  </a:lnTo>
                  <a:lnTo>
                    <a:pt x="522" y="65"/>
                  </a:lnTo>
                  <a:lnTo>
                    <a:pt x="527" y="54"/>
                  </a:lnTo>
                  <a:lnTo>
                    <a:pt x="524" y="54"/>
                  </a:lnTo>
                  <a:lnTo>
                    <a:pt x="522" y="53"/>
                  </a:lnTo>
                  <a:lnTo>
                    <a:pt x="519" y="53"/>
                  </a:lnTo>
                  <a:lnTo>
                    <a:pt x="512" y="65"/>
                  </a:lnTo>
                  <a:lnTo>
                    <a:pt x="484" y="65"/>
                  </a:lnTo>
                  <a:lnTo>
                    <a:pt x="431" y="65"/>
                  </a:lnTo>
                  <a:lnTo>
                    <a:pt x="379" y="65"/>
                  </a:lnTo>
                  <a:lnTo>
                    <a:pt x="326" y="65"/>
                  </a:lnTo>
                  <a:lnTo>
                    <a:pt x="275" y="65"/>
                  </a:lnTo>
                  <a:lnTo>
                    <a:pt x="223" y="65"/>
                  </a:lnTo>
                  <a:lnTo>
                    <a:pt x="170" y="65"/>
                  </a:lnTo>
                  <a:lnTo>
                    <a:pt x="170" y="118"/>
                  </a:lnTo>
                  <a:lnTo>
                    <a:pt x="170" y="177"/>
                  </a:lnTo>
                  <a:lnTo>
                    <a:pt x="118" y="177"/>
                  </a:lnTo>
                  <a:lnTo>
                    <a:pt x="118" y="21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4" name="Freeform 17">
              <a:extLst>
                <a:ext uri="{FF2B5EF4-FFF2-40B4-BE49-F238E27FC236}">
                  <a16:creationId xmlns:a16="http://schemas.microsoft.com/office/drawing/2014/main" id="{1AD7A36B-7360-DCFA-9D2E-7C1C92CDDD3E}"/>
                </a:ext>
              </a:extLst>
            </p:cNvPr>
            <p:cNvSpPr>
              <a:spLocks noChangeAspect="1"/>
            </p:cNvSpPr>
            <p:nvPr userDrawn="1"/>
          </p:nvSpPr>
          <p:spPr bwMode="gray">
            <a:xfrm>
              <a:off x="5774665" y="3588032"/>
              <a:ext cx="464119" cy="387152"/>
            </a:xfrm>
            <a:custGeom>
              <a:avLst/>
              <a:gdLst>
                <a:gd name="T0" fmla="*/ 2147483647 w 872"/>
                <a:gd name="T1" fmla="*/ 2147483647 h 678"/>
                <a:gd name="T2" fmla="*/ 2147483647 w 872"/>
                <a:gd name="T3" fmla="*/ 2147483647 h 678"/>
                <a:gd name="T4" fmla="*/ 2147483647 w 872"/>
                <a:gd name="T5" fmla="*/ 2147483647 h 678"/>
                <a:gd name="T6" fmla="*/ 2147483647 w 872"/>
                <a:gd name="T7" fmla="*/ 2147483647 h 678"/>
                <a:gd name="T8" fmla="*/ 2147483647 w 872"/>
                <a:gd name="T9" fmla="*/ 2147483647 h 678"/>
                <a:gd name="T10" fmla="*/ 0 w 872"/>
                <a:gd name="T11" fmla="*/ 2147483647 h 678"/>
                <a:gd name="T12" fmla="*/ 0 w 872"/>
                <a:gd name="T13" fmla="*/ 2147483647 h 678"/>
                <a:gd name="T14" fmla="*/ 0 w 872"/>
                <a:gd name="T15" fmla="*/ 2147483647 h 678"/>
                <a:gd name="T16" fmla="*/ 0 w 872"/>
                <a:gd name="T17" fmla="*/ 2147483647 h 678"/>
                <a:gd name="T18" fmla="*/ 2147483647 w 872"/>
                <a:gd name="T19" fmla="*/ 2147483647 h 678"/>
                <a:gd name="T20" fmla="*/ 2147483647 w 872"/>
                <a:gd name="T21" fmla="*/ 2147483647 h 678"/>
                <a:gd name="T22" fmla="*/ 2147483647 w 872"/>
                <a:gd name="T23" fmla="*/ 2147483647 h 678"/>
                <a:gd name="T24" fmla="*/ 2147483647 w 872"/>
                <a:gd name="T25" fmla="*/ 2147483647 h 678"/>
                <a:gd name="T26" fmla="*/ 2147483647 w 872"/>
                <a:gd name="T27" fmla="*/ 2147483647 h 678"/>
                <a:gd name="T28" fmla="*/ 2147483647 w 872"/>
                <a:gd name="T29" fmla="*/ 2147483647 h 678"/>
                <a:gd name="T30" fmla="*/ 2147483647 w 872"/>
                <a:gd name="T31" fmla="*/ 2147483647 h 678"/>
                <a:gd name="T32" fmla="*/ 2147483647 w 872"/>
                <a:gd name="T33" fmla="*/ 2147483647 h 678"/>
                <a:gd name="T34" fmla="*/ 2147483647 w 872"/>
                <a:gd name="T35" fmla="*/ 2147483647 h 678"/>
                <a:gd name="T36" fmla="*/ 2147483647 w 872"/>
                <a:gd name="T37" fmla="*/ 2147483647 h 678"/>
                <a:gd name="T38" fmla="*/ 2147483647 w 872"/>
                <a:gd name="T39" fmla="*/ 2147483647 h 678"/>
                <a:gd name="T40" fmla="*/ 2147483647 w 872"/>
                <a:gd name="T41" fmla="*/ 2147483647 h 678"/>
                <a:gd name="T42" fmla="*/ 2147483647 w 872"/>
                <a:gd name="T43" fmla="*/ 2147483647 h 678"/>
                <a:gd name="T44" fmla="*/ 2147483647 w 872"/>
                <a:gd name="T45" fmla="*/ 2147483647 h 678"/>
                <a:gd name="T46" fmla="*/ 2147483647 w 872"/>
                <a:gd name="T47" fmla="*/ 2147483647 h 678"/>
                <a:gd name="T48" fmla="*/ 2147483647 w 872"/>
                <a:gd name="T49" fmla="*/ 2147483647 h 678"/>
                <a:gd name="T50" fmla="*/ 2147483647 w 872"/>
                <a:gd name="T51" fmla="*/ 2147483647 h 678"/>
                <a:gd name="T52" fmla="*/ 2147483647 w 872"/>
                <a:gd name="T53" fmla="*/ 2147483647 h 678"/>
                <a:gd name="T54" fmla="*/ 2147483647 w 872"/>
                <a:gd name="T55" fmla="*/ 2147483647 h 678"/>
                <a:gd name="T56" fmla="*/ 2147483647 w 872"/>
                <a:gd name="T57" fmla="*/ 2147483647 h 678"/>
                <a:gd name="T58" fmla="*/ 2147483647 w 872"/>
                <a:gd name="T59" fmla="*/ 2147483647 h 678"/>
                <a:gd name="T60" fmla="*/ 2147483647 w 872"/>
                <a:gd name="T61" fmla="*/ 2147483647 h 678"/>
                <a:gd name="T62" fmla="*/ 2147483647 w 872"/>
                <a:gd name="T63" fmla="*/ 2147483647 h 678"/>
                <a:gd name="T64" fmla="*/ 2147483647 w 872"/>
                <a:gd name="T65" fmla="*/ 2147483647 h 678"/>
                <a:gd name="T66" fmla="*/ 2147483647 w 872"/>
                <a:gd name="T67" fmla="*/ 2147483647 h 678"/>
                <a:gd name="T68" fmla="*/ 2147483647 w 872"/>
                <a:gd name="T69" fmla="*/ 2147483647 h 678"/>
                <a:gd name="T70" fmla="*/ 2147483647 w 872"/>
                <a:gd name="T71" fmla="*/ 2147483647 h 678"/>
                <a:gd name="T72" fmla="*/ 2147483647 w 872"/>
                <a:gd name="T73" fmla="*/ 2147483647 h 678"/>
                <a:gd name="T74" fmla="*/ 2147483647 w 872"/>
                <a:gd name="T75" fmla="*/ 2147483647 h 678"/>
                <a:gd name="T76" fmla="*/ 2147483647 w 872"/>
                <a:gd name="T77" fmla="*/ 2147483647 h 678"/>
                <a:gd name="T78" fmla="*/ 2147483647 w 872"/>
                <a:gd name="T79" fmla="*/ 2147483647 h 678"/>
                <a:gd name="T80" fmla="*/ 2147483647 w 872"/>
                <a:gd name="T81" fmla="*/ 2147483647 h 678"/>
                <a:gd name="T82" fmla="*/ 2147483647 w 872"/>
                <a:gd name="T83" fmla="*/ 2147483647 h 678"/>
                <a:gd name="T84" fmla="*/ 2147483647 w 872"/>
                <a:gd name="T85" fmla="*/ 2147483647 h 678"/>
                <a:gd name="T86" fmla="*/ 2147483647 w 872"/>
                <a:gd name="T87" fmla="*/ 2147483647 h 678"/>
                <a:gd name="T88" fmla="*/ 2147483647 w 872"/>
                <a:gd name="T89" fmla="*/ 2147483647 h 678"/>
                <a:gd name="T90" fmla="*/ 2147483647 w 872"/>
                <a:gd name="T91" fmla="*/ 2147483647 h 678"/>
                <a:gd name="T92" fmla="*/ 2147483647 w 872"/>
                <a:gd name="T93" fmla="*/ 0 h 678"/>
                <a:gd name="T94" fmla="*/ 2147483647 w 872"/>
                <a:gd name="T95" fmla="*/ 0 h 678"/>
                <a:gd name="T96" fmla="*/ 2147483647 w 872"/>
                <a:gd name="T97" fmla="*/ 0 h 678"/>
                <a:gd name="T98" fmla="*/ 2147483647 w 872"/>
                <a:gd name="T99" fmla="*/ 0 h 678"/>
                <a:gd name="T100" fmla="*/ 2147483647 w 872"/>
                <a:gd name="T101" fmla="*/ 0 h 678"/>
                <a:gd name="T102" fmla="*/ 2147483647 w 872"/>
                <a:gd name="T103" fmla="*/ 2147483647 h 678"/>
                <a:gd name="T104" fmla="*/ 2147483647 w 872"/>
                <a:gd name="T105" fmla="*/ 2147483647 h 678"/>
                <a:gd name="T106" fmla="*/ 2147483647 w 872"/>
                <a:gd name="T107" fmla="*/ 2147483647 h 678"/>
                <a:gd name="T108" fmla="*/ 2147483647 w 872"/>
                <a:gd name="T109" fmla="*/ 2147483647 h 67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2"/>
                <a:gd name="T166" fmla="*/ 0 h 678"/>
                <a:gd name="T167" fmla="*/ 872 w 872"/>
                <a:gd name="T168" fmla="*/ 678 h 67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5" name="Freeform 18">
              <a:extLst>
                <a:ext uri="{FF2B5EF4-FFF2-40B4-BE49-F238E27FC236}">
                  <a16:creationId xmlns:a16="http://schemas.microsoft.com/office/drawing/2014/main" id="{B0BC75DA-4E1D-5A7F-A409-12B965F0FFD0}"/>
                </a:ext>
              </a:extLst>
            </p:cNvPr>
            <p:cNvSpPr>
              <a:spLocks noChangeAspect="1"/>
            </p:cNvSpPr>
            <p:nvPr userDrawn="1"/>
          </p:nvSpPr>
          <p:spPr bwMode="gray">
            <a:xfrm>
              <a:off x="6737226" y="3876110"/>
              <a:ext cx="441733" cy="353619"/>
            </a:xfrm>
            <a:custGeom>
              <a:avLst/>
              <a:gdLst>
                <a:gd name="T0" fmla="*/ 2147483647 w 824"/>
                <a:gd name="T1" fmla="*/ 2147483647 h 626"/>
                <a:gd name="T2" fmla="*/ 2147483647 w 824"/>
                <a:gd name="T3" fmla="*/ 2147483647 h 626"/>
                <a:gd name="T4" fmla="*/ 2147483647 w 824"/>
                <a:gd name="T5" fmla="*/ 2147483647 h 626"/>
                <a:gd name="T6" fmla="*/ 2147483647 w 824"/>
                <a:gd name="T7" fmla="*/ 2147483647 h 626"/>
                <a:gd name="T8" fmla="*/ 2147483647 w 824"/>
                <a:gd name="T9" fmla="*/ 2147483647 h 626"/>
                <a:gd name="T10" fmla="*/ 2147483647 w 824"/>
                <a:gd name="T11" fmla="*/ 2147483647 h 626"/>
                <a:gd name="T12" fmla="*/ 2147483647 w 824"/>
                <a:gd name="T13" fmla="*/ 2147483647 h 626"/>
                <a:gd name="T14" fmla="*/ 0 w 824"/>
                <a:gd name="T15" fmla="*/ 2147483647 h 626"/>
                <a:gd name="T16" fmla="*/ 0 w 824"/>
                <a:gd name="T17" fmla="*/ 2147483647 h 626"/>
                <a:gd name="T18" fmla="*/ 0 w 824"/>
                <a:gd name="T19" fmla="*/ 2147483647 h 626"/>
                <a:gd name="T20" fmla="*/ 0 w 824"/>
                <a:gd name="T21" fmla="*/ 2147483647 h 626"/>
                <a:gd name="T22" fmla="*/ 2147483647 w 824"/>
                <a:gd name="T23" fmla="*/ 2147483647 h 626"/>
                <a:gd name="T24" fmla="*/ 2147483647 w 824"/>
                <a:gd name="T25" fmla="*/ 2147483647 h 626"/>
                <a:gd name="T26" fmla="*/ 2147483647 w 824"/>
                <a:gd name="T27" fmla="*/ 2147483647 h 626"/>
                <a:gd name="T28" fmla="*/ 2147483647 w 824"/>
                <a:gd name="T29" fmla="*/ 2147483647 h 626"/>
                <a:gd name="T30" fmla="*/ 2147483647 w 824"/>
                <a:gd name="T31" fmla="*/ 2147483647 h 626"/>
                <a:gd name="T32" fmla="*/ 2147483647 w 824"/>
                <a:gd name="T33" fmla="*/ 2147483647 h 626"/>
                <a:gd name="T34" fmla="*/ 2147483647 w 824"/>
                <a:gd name="T35" fmla="*/ 2147483647 h 626"/>
                <a:gd name="T36" fmla="*/ 2147483647 w 824"/>
                <a:gd name="T37" fmla="*/ 2147483647 h 626"/>
                <a:gd name="T38" fmla="*/ 2147483647 w 824"/>
                <a:gd name="T39" fmla="*/ 2147483647 h 626"/>
                <a:gd name="T40" fmla="*/ 2147483647 w 824"/>
                <a:gd name="T41" fmla="*/ 2147483647 h 626"/>
                <a:gd name="T42" fmla="*/ 2147483647 w 824"/>
                <a:gd name="T43" fmla="*/ 2147483647 h 626"/>
                <a:gd name="T44" fmla="*/ 2147483647 w 824"/>
                <a:gd name="T45" fmla="*/ 2147483647 h 626"/>
                <a:gd name="T46" fmla="*/ 2147483647 w 824"/>
                <a:gd name="T47" fmla="*/ 2147483647 h 626"/>
                <a:gd name="T48" fmla="*/ 2147483647 w 824"/>
                <a:gd name="T49" fmla="*/ 2147483647 h 626"/>
                <a:gd name="T50" fmla="*/ 2147483647 w 824"/>
                <a:gd name="T51" fmla="*/ 2147483647 h 626"/>
                <a:gd name="T52" fmla="*/ 2147483647 w 824"/>
                <a:gd name="T53" fmla="*/ 2147483647 h 626"/>
                <a:gd name="T54" fmla="*/ 2147483647 w 824"/>
                <a:gd name="T55" fmla="*/ 2147483647 h 626"/>
                <a:gd name="T56" fmla="*/ 2147483647 w 824"/>
                <a:gd name="T57" fmla="*/ 2147483647 h 626"/>
                <a:gd name="T58" fmla="*/ 2147483647 w 824"/>
                <a:gd name="T59" fmla="*/ 2147483647 h 626"/>
                <a:gd name="T60" fmla="*/ 2147483647 w 824"/>
                <a:gd name="T61" fmla="*/ 2147483647 h 626"/>
                <a:gd name="T62" fmla="*/ 2147483647 w 824"/>
                <a:gd name="T63" fmla="*/ 2147483647 h 626"/>
                <a:gd name="T64" fmla="*/ 2147483647 w 824"/>
                <a:gd name="T65" fmla="*/ 2147483647 h 626"/>
                <a:gd name="T66" fmla="*/ 2147483647 w 824"/>
                <a:gd name="T67" fmla="*/ 2147483647 h 626"/>
                <a:gd name="T68" fmla="*/ 2147483647 w 824"/>
                <a:gd name="T69" fmla="*/ 2147483647 h 626"/>
                <a:gd name="T70" fmla="*/ 2147483647 w 824"/>
                <a:gd name="T71" fmla="*/ 2147483647 h 626"/>
                <a:gd name="T72" fmla="*/ 2147483647 w 824"/>
                <a:gd name="T73" fmla="*/ 2147483647 h 626"/>
                <a:gd name="T74" fmla="*/ 2147483647 w 824"/>
                <a:gd name="T75" fmla="*/ 2147483647 h 626"/>
                <a:gd name="T76" fmla="*/ 2147483647 w 824"/>
                <a:gd name="T77" fmla="*/ 2147483647 h 626"/>
                <a:gd name="T78" fmla="*/ 2147483647 w 824"/>
                <a:gd name="T79" fmla="*/ 0 h 626"/>
                <a:gd name="T80" fmla="*/ 2147483647 w 824"/>
                <a:gd name="T81" fmla="*/ 0 h 626"/>
                <a:gd name="T82" fmla="*/ 2147483647 w 824"/>
                <a:gd name="T83" fmla="*/ 0 h 626"/>
                <a:gd name="T84" fmla="*/ 2147483647 w 824"/>
                <a:gd name="T85" fmla="*/ 0 h 626"/>
                <a:gd name="T86" fmla="*/ 2147483647 w 824"/>
                <a:gd name="T87" fmla="*/ 0 h 626"/>
                <a:gd name="T88" fmla="*/ 2147483647 w 824"/>
                <a:gd name="T89" fmla="*/ 0 h 626"/>
                <a:gd name="T90" fmla="*/ 2147483647 w 824"/>
                <a:gd name="T91" fmla="*/ 0 h 626"/>
                <a:gd name="T92" fmla="*/ 2147483647 w 824"/>
                <a:gd name="T93" fmla="*/ 0 h 626"/>
                <a:gd name="T94" fmla="*/ 2147483647 w 824"/>
                <a:gd name="T95" fmla="*/ 0 h 626"/>
                <a:gd name="T96" fmla="*/ 2147483647 w 824"/>
                <a:gd name="T97" fmla="*/ 0 h 626"/>
                <a:gd name="T98" fmla="*/ 2147483647 w 824"/>
                <a:gd name="T99" fmla="*/ 0 h 626"/>
                <a:gd name="T100" fmla="*/ 2147483647 w 824"/>
                <a:gd name="T101" fmla="*/ 0 h 626"/>
                <a:gd name="T102" fmla="*/ 2147483647 w 824"/>
                <a:gd name="T103" fmla="*/ 0 h 626"/>
                <a:gd name="T104" fmla="*/ 2147483647 w 824"/>
                <a:gd name="T105" fmla="*/ 0 h 626"/>
                <a:gd name="T106" fmla="*/ 2147483647 w 824"/>
                <a:gd name="T107" fmla="*/ 0 h 6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24"/>
                <a:gd name="T163" fmla="*/ 0 h 626"/>
                <a:gd name="T164" fmla="*/ 824 w 824"/>
                <a:gd name="T165" fmla="*/ 626 h 62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6" name="Freeform 19">
              <a:extLst>
                <a:ext uri="{FF2B5EF4-FFF2-40B4-BE49-F238E27FC236}">
                  <a16:creationId xmlns:a16="http://schemas.microsoft.com/office/drawing/2014/main" id="{EE7CCEE4-67FB-58A6-C1DF-5C7ED68B805E}"/>
                </a:ext>
              </a:extLst>
            </p:cNvPr>
            <p:cNvSpPr>
              <a:spLocks noChangeAspect="1"/>
            </p:cNvSpPr>
            <p:nvPr userDrawn="1"/>
          </p:nvSpPr>
          <p:spPr bwMode="gray">
            <a:xfrm>
              <a:off x="6038810" y="3249657"/>
              <a:ext cx="464118" cy="475556"/>
            </a:xfrm>
            <a:custGeom>
              <a:avLst/>
              <a:gdLst>
                <a:gd name="T0" fmla="*/ 2147483647 w 871"/>
                <a:gd name="T1" fmla="*/ 2147483647 h 832"/>
                <a:gd name="T2" fmla="*/ 2147483647 w 871"/>
                <a:gd name="T3" fmla="*/ 2147483647 h 832"/>
                <a:gd name="T4" fmla="*/ 0 w 871"/>
                <a:gd name="T5" fmla="*/ 2147483647 h 832"/>
                <a:gd name="T6" fmla="*/ 0 w 871"/>
                <a:gd name="T7" fmla="*/ 2147483647 h 832"/>
                <a:gd name="T8" fmla="*/ 0 w 871"/>
                <a:gd name="T9" fmla="*/ 2147483647 h 832"/>
                <a:gd name="T10" fmla="*/ 0 w 871"/>
                <a:gd name="T11" fmla="*/ 2147483647 h 832"/>
                <a:gd name="T12" fmla="*/ 0 w 871"/>
                <a:gd name="T13" fmla="*/ 2147483647 h 832"/>
                <a:gd name="T14" fmla="*/ 0 w 871"/>
                <a:gd name="T15" fmla="*/ 2147483647 h 832"/>
                <a:gd name="T16" fmla="*/ 0 w 871"/>
                <a:gd name="T17" fmla="*/ 2147483647 h 832"/>
                <a:gd name="T18" fmla="*/ 0 w 871"/>
                <a:gd name="T19" fmla="*/ 2147483647 h 832"/>
                <a:gd name="T20" fmla="*/ 2147483647 w 871"/>
                <a:gd name="T21" fmla="*/ 2147483647 h 832"/>
                <a:gd name="T22" fmla="*/ 2147483647 w 871"/>
                <a:gd name="T23" fmla="*/ 2147483647 h 832"/>
                <a:gd name="T24" fmla="*/ 2147483647 w 871"/>
                <a:gd name="T25" fmla="*/ 0 h 832"/>
                <a:gd name="T26" fmla="*/ 2147483647 w 871"/>
                <a:gd name="T27" fmla="*/ 0 h 832"/>
                <a:gd name="T28" fmla="*/ 2147483647 w 871"/>
                <a:gd name="T29" fmla="*/ 0 h 832"/>
                <a:gd name="T30" fmla="*/ 2147483647 w 871"/>
                <a:gd name="T31" fmla="*/ 0 h 832"/>
                <a:gd name="T32" fmla="*/ 2147483647 w 871"/>
                <a:gd name="T33" fmla="*/ 0 h 832"/>
                <a:gd name="T34" fmla="*/ 2147483647 w 871"/>
                <a:gd name="T35" fmla="*/ 0 h 832"/>
                <a:gd name="T36" fmla="*/ 2147483647 w 871"/>
                <a:gd name="T37" fmla="*/ 0 h 832"/>
                <a:gd name="T38" fmla="*/ 2147483647 w 871"/>
                <a:gd name="T39" fmla="*/ 2147483647 h 832"/>
                <a:gd name="T40" fmla="*/ 2147483647 w 871"/>
                <a:gd name="T41" fmla="*/ 2147483647 h 832"/>
                <a:gd name="T42" fmla="*/ 2147483647 w 871"/>
                <a:gd name="T43" fmla="*/ 2147483647 h 832"/>
                <a:gd name="T44" fmla="*/ 2147483647 w 871"/>
                <a:gd name="T45" fmla="*/ 2147483647 h 832"/>
                <a:gd name="T46" fmla="*/ 2147483647 w 871"/>
                <a:gd name="T47" fmla="*/ 2147483647 h 832"/>
                <a:gd name="T48" fmla="*/ 2147483647 w 871"/>
                <a:gd name="T49" fmla="*/ 2147483647 h 832"/>
                <a:gd name="T50" fmla="*/ 2147483647 w 871"/>
                <a:gd name="T51" fmla="*/ 2147483647 h 832"/>
                <a:gd name="T52" fmla="*/ 2147483647 w 871"/>
                <a:gd name="T53" fmla="*/ 2147483647 h 832"/>
                <a:gd name="T54" fmla="*/ 2147483647 w 871"/>
                <a:gd name="T55" fmla="*/ 2147483647 h 832"/>
                <a:gd name="T56" fmla="*/ 2147483647 w 871"/>
                <a:gd name="T57" fmla="*/ 0 h 832"/>
                <a:gd name="T58" fmla="*/ 2147483647 w 871"/>
                <a:gd name="T59" fmla="*/ 0 h 832"/>
                <a:gd name="T60" fmla="*/ 2147483647 w 871"/>
                <a:gd name="T61" fmla="*/ 0 h 832"/>
                <a:gd name="T62" fmla="*/ 2147483647 w 871"/>
                <a:gd name="T63" fmla="*/ 0 h 832"/>
                <a:gd name="T64" fmla="*/ 2147483647 w 871"/>
                <a:gd name="T65" fmla="*/ 0 h 832"/>
                <a:gd name="T66" fmla="*/ 2147483647 w 871"/>
                <a:gd name="T67" fmla="*/ 0 h 832"/>
                <a:gd name="T68" fmla="*/ 2147483647 w 871"/>
                <a:gd name="T69" fmla="*/ 0 h 832"/>
                <a:gd name="T70" fmla="*/ 2147483647 w 871"/>
                <a:gd name="T71" fmla="*/ 2147483647 h 832"/>
                <a:gd name="T72" fmla="*/ 2147483647 w 871"/>
                <a:gd name="T73" fmla="*/ 2147483647 h 832"/>
                <a:gd name="T74" fmla="*/ 2147483647 w 871"/>
                <a:gd name="T75" fmla="*/ 2147483647 h 832"/>
                <a:gd name="T76" fmla="*/ 2147483647 w 871"/>
                <a:gd name="T77" fmla="*/ 2147483647 h 832"/>
                <a:gd name="T78" fmla="*/ 2147483647 w 871"/>
                <a:gd name="T79" fmla="*/ 2147483647 h 832"/>
                <a:gd name="T80" fmla="*/ 2147483647 w 871"/>
                <a:gd name="T81" fmla="*/ 2147483647 h 832"/>
                <a:gd name="T82" fmla="*/ 2147483647 w 871"/>
                <a:gd name="T83" fmla="*/ 2147483647 h 832"/>
                <a:gd name="T84" fmla="*/ 2147483647 w 871"/>
                <a:gd name="T85" fmla="*/ 2147483647 h 832"/>
                <a:gd name="T86" fmla="*/ 2147483647 w 871"/>
                <a:gd name="T87" fmla="*/ 2147483647 h 832"/>
                <a:gd name="T88" fmla="*/ 2147483647 w 871"/>
                <a:gd name="T89" fmla="*/ 2147483647 h 832"/>
                <a:gd name="T90" fmla="*/ 2147483647 w 871"/>
                <a:gd name="T91" fmla="*/ 2147483647 h 832"/>
                <a:gd name="T92" fmla="*/ 2147483647 w 871"/>
                <a:gd name="T93" fmla="*/ 2147483647 h 832"/>
                <a:gd name="T94" fmla="*/ 2147483647 w 871"/>
                <a:gd name="T95" fmla="*/ 2147483647 h 832"/>
                <a:gd name="T96" fmla="*/ 2147483647 w 871"/>
                <a:gd name="T97" fmla="*/ 2147483647 h 832"/>
                <a:gd name="T98" fmla="*/ 2147483647 w 871"/>
                <a:gd name="T99" fmla="*/ 2147483647 h 832"/>
                <a:gd name="T100" fmla="*/ 2147483647 w 871"/>
                <a:gd name="T101" fmla="*/ 2147483647 h 832"/>
                <a:gd name="T102" fmla="*/ 2147483647 w 871"/>
                <a:gd name="T103" fmla="*/ 2147483647 h 832"/>
                <a:gd name="T104" fmla="*/ 2147483647 w 871"/>
                <a:gd name="T105" fmla="*/ 2147483647 h 832"/>
                <a:gd name="T106" fmla="*/ 2147483647 w 871"/>
                <a:gd name="T107" fmla="*/ 2147483647 h 832"/>
                <a:gd name="T108" fmla="*/ 2147483647 w 871"/>
                <a:gd name="T109" fmla="*/ 2147483647 h 83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1"/>
                <a:gd name="T166" fmla="*/ 0 h 832"/>
                <a:gd name="T167" fmla="*/ 871 w 871"/>
                <a:gd name="T168" fmla="*/ 832 h 83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7" name="Freeform 20">
              <a:extLst>
                <a:ext uri="{FF2B5EF4-FFF2-40B4-BE49-F238E27FC236}">
                  <a16:creationId xmlns:a16="http://schemas.microsoft.com/office/drawing/2014/main" id="{29329213-75A7-F8DE-11E3-C4E65A25D465}"/>
                </a:ext>
              </a:extLst>
            </p:cNvPr>
            <p:cNvSpPr>
              <a:spLocks noChangeAspect="1"/>
            </p:cNvSpPr>
            <p:nvPr userDrawn="1"/>
          </p:nvSpPr>
          <p:spPr bwMode="gray">
            <a:xfrm>
              <a:off x="5276223" y="3444756"/>
              <a:ext cx="244744" cy="228632"/>
            </a:xfrm>
            <a:custGeom>
              <a:avLst/>
              <a:gdLst>
                <a:gd name="T0" fmla="*/ 2147483647 w 459"/>
                <a:gd name="T1" fmla="*/ 2147483647 h 401"/>
                <a:gd name="T2" fmla="*/ 2147483647 w 459"/>
                <a:gd name="T3" fmla="*/ 2147483647 h 401"/>
                <a:gd name="T4" fmla="*/ 2147483647 w 459"/>
                <a:gd name="T5" fmla="*/ 2147483647 h 401"/>
                <a:gd name="T6" fmla="*/ 0 w 459"/>
                <a:gd name="T7" fmla="*/ 2147483647 h 401"/>
                <a:gd name="T8" fmla="*/ 0 w 459"/>
                <a:gd name="T9" fmla="*/ 2147483647 h 401"/>
                <a:gd name="T10" fmla="*/ 0 w 459"/>
                <a:gd name="T11" fmla="*/ 2147483647 h 401"/>
                <a:gd name="T12" fmla="*/ 0 w 459"/>
                <a:gd name="T13" fmla="*/ 2147483647 h 401"/>
                <a:gd name="T14" fmla="*/ 0 w 459"/>
                <a:gd name="T15" fmla="*/ 2147483647 h 401"/>
                <a:gd name="T16" fmla="*/ 0 w 459"/>
                <a:gd name="T17" fmla="*/ 2147483647 h 401"/>
                <a:gd name="T18" fmla="*/ 0 w 459"/>
                <a:gd name="T19" fmla="*/ 2147483647 h 401"/>
                <a:gd name="T20" fmla="*/ 0 w 459"/>
                <a:gd name="T21" fmla="*/ 2147483647 h 401"/>
                <a:gd name="T22" fmla="*/ 0 w 459"/>
                <a:gd name="T23" fmla="*/ 2147483647 h 401"/>
                <a:gd name="T24" fmla="*/ 0 w 459"/>
                <a:gd name="T25" fmla="*/ 2147483647 h 401"/>
                <a:gd name="T26" fmla="*/ 0 w 459"/>
                <a:gd name="T27" fmla="*/ 2147483647 h 401"/>
                <a:gd name="T28" fmla="*/ 0 w 459"/>
                <a:gd name="T29" fmla="*/ 2147483647 h 401"/>
                <a:gd name="T30" fmla="*/ 2147483647 w 459"/>
                <a:gd name="T31" fmla="*/ 2147483647 h 401"/>
                <a:gd name="T32" fmla="*/ 0 w 459"/>
                <a:gd name="T33" fmla="*/ 2147483647 h 401"/>
                <a:gd name="T34" fmla="*/ 2147483647 w 459"/>
                <a:gd name="T35" fmla="*/ 2147483647 h 401"/>
                <a:gd name="T36" fmla="*/ 2147483647 w 459"/>
                <a:gd name="T37" fmla="*/ 2147483647 h 401"/>
                <a:gd name="T38" fmla="*/ 2147483647 w 459"/>
                <a:gd name="T39" fmla="*/ 2147483647 h 401"/>
                <a:gd name="T40" fmla="*/ 2147483647 w 459"/>
                <a:gd name="T41" fmla="*/ 2147483647 h 401"/>
                <a:gd name="T42" fmla="*/ 2147483647 w 459"/>
                <a:gd name="T43" fmla="*/ 2147483647 h 401"/>
                <a:gd name="T44" fmla="*/ 2147483647 w 459"/>
                <a:gd name="T45" fmla="*/ 2147483647 h 401"/>
                <a:gd name="T46" fmla="*/ 2147483647 w 459"/>
                <a:gd name="T47" fmla="*/ 2147483647 h 401"/>
                <a:gd name="T48" fmla="*/ 2147483647 w 459"/>
                <a:gd name="T49" fmla="*/ 2147483647 h 401"/>
                <a:gd name="T50" fmla="*/ 2147483647 w 459"/>
                <a:gd name="T51" fmla="*/ 2147483647 h 401"/>
                <a:gd name="T52" fmla="*/ 2147483647 w 459"/>
                <a:gd name="T53" fmla="*/ 2147483647 h 401"/>
                <a:gd name="T54" fmla="*/ 2147483647 w 459"/>
                <a:gd name="T55" fmla="*/ 0 h 401"/>
                <a:gd name="T56" fmla="*/ 2147483647 w 459"/>
                <a:gd name="T57" fmla="*/ 0 h 401"/>
                <a:gd name="T58" fmla="*/ 2147483647 w 459"/>
                <a:gd name="T59" fmla="*/ 0 h 401"/>
                <a:gd name="T60" fmla="*/ 2147483647 w 459"/>
                <a:gd name="T61" fmla="*/ 0 h 401"/>
                <a:gd name="T62" fmla="*/ 2147483647 w 459"/>
                <a:gd name="T63" fmla="*/ 0 h 401"/>
                <a:gd name="T64" fmla="*/ 2147483647 w 459"/>
                <a:gd name="T65" fmla="*/ 0 h 401"/>
                <a:gd name="T66" fmla="*/ 2147483647 w 459"/>
                <a:gd name="T67" fmla="*/ 0 h 401"/>
                <a:gd name="T68" fmla="*/ 2147483647 w 459"/>
                <a:gd name="T69" fmla="*/ 0 h 401"/>
                <a:gd name="T70" fmla="*/ 2147483647 w 459"/>
                <a:gd name="T71" fmla="*/ 0 h 401"/>
                <a:gd name="T72" fmla="*/ 2147483647 w 459"/>
                <a:gd name="T73" fmla="*/ 0 h 401"/>
                <a:gd name="T74" fmla="*/ 2147483647 w 459"/>
                <a:gd name="T75" fmla="*/ 0 h 401"/>
                <a:gd name="T76" fmla="*/ 2147483647 w 459"/>
                <a:gd name="T77" fmla="*/ 0 h 401"/>
                <a:gd name="T78" fmla="*/ 2147483647 w 459"/>
                <a:gd name="T79" fmla="*/ 0 h 401"/>
                <a:gd name="T80" fmla="*/ 2147483647 w 459"/>
                <a:gd name="T81" fmla="*/ 0 h 401"/>
                <a:gd name="T82" fmla="*/ 2147483647 w 459"/>
                <a:gd name="T83" fmla="*/ 0 h 401"/>
                <a:gd name="T84" fmla="*/ 2147483647 w 459"/>
                <a:gd name="T85" fmla="*/ 2147483647 h 401"/>
                <a:gd name="T86" fmla="*/ 2147483647 w 459"/>
                <a:gd name="T87" fmla="*/ 2147483647 h 401"/>
                <a:gd name="T88" fmla="*/ 2147483647 w 459"/>
                <a:gd name="T89" fmla="*/ 2147483647 h 401"/>
                <a:gd name="T90" fmla="*/ 2147483647 w 459"/>
                <a:gd name="T91" fmla="*/ 2147483647 h 401"/>
                <a:gd name="T92" fmla="*/ 2147483647 w 459"/>
                <a:gd name="T93" fmla="*/ 2147483647 h 401"/>
                <a:gd name="T94" fmla="*/ 2147483647 w 459"/>
                <a:gd name="T95" fmla="*/ 2147483647 h 401"/>
                <a:gd name="T96" fmla="*/ 2147483647 w 459"/>
                <a:gd name="T97" fmla="*/ 2147483647 h 401"/>
                <a:gd name="T98" fmla="*/ 2147483647 w 459"/>
                <a:gd name="T99" fmla="*/ 2147483647 h 401"/>
                <a:gd name="T100" fmla="*/ 2147483647 w 459"/>
                <a:gd name="T101" fmla="*/ 2147483647 h 401"/>
                <a:gd name="T102" fmla="*/ 2147483647 w 459"/>
                <a:gd name="T103" fmla="*/ 2147483647 h 401"/>
                <a:gd name="T104" fmla="*/ 2147483647 w 459"/>
                <a:gd name="T105" fmla="*/ 2147483647 h 401"/>
                <a:gd name="T106" fmla="*/ 2147483647 w 459"/>
                <a:gd name="T107" fmla="*/ 2147483647 h 401"/>
                <a:gd name="T108" fmla="*/ 2147483647 w 459"/>
                <a:gd name="T109" fmla="*/ 2147483647 h 401"/>
                <a:gd name="T110" fmla="*/ 2147483647 w 459"/>
                <a:gd name="T111" fmla="*/ 2147483647 h 401"/>
                <a:gd name="T112" fmla="*/ 2147483647 w 459"/>
                <a:gd name="T113" fmla="*/ 2147483647 h 401"/>
                <a:gd name="T114" fmla="*/ 2147483647 w 459"/>
                <a:gd name="T115" fmla="*/ 2147483647 h 401"/>
                <a:gd name="T116" fmla="*/ 2147483647 w 459"/>
                <a:gd name="T117" fmla="*/ 2147483647 h 401"/>
                <a:gd name="T118" fmla="*/ 2147483647 w 459"/>
                <a:gd name="T119" fmla="*/ 2147483647 h 401"/>
                <a:gd name="T120" fmla="*/ 2147483647 w 459"/>
                <a:gd name="T121" fmla="*/ 2147483647 h 401"/>
                <a:gd name="T122" fmla="*/ 2147483647 w 459"/>
                <a:gd name="T123" fmla="*/ 2147483647 h 4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59"/>
                <a:gd name="T187" fmla="*/ 0 h 401"/>
                <a:gd name="T188" fmla="*/ 459 w 459"/>
                <a:gd name="T189" fmla="*/ 401 h 4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8" name="Freeform 27">
              <a:extLst>
                <a:ext uri="{FF2B5EF4-FFF2-40B4-BE49-F238E27FC236}">
                  <a16:creationId xmlns:a16="http://schemas.microsoft.com/office/drawing/2014/main" id="{89273B56-35A2-3B0C-3655-1A02EAE5FED5}"/>
                </a:ext>
              </a:extLst>
            </p:cNvPr>
            <p:cNvSpPr>
              <a:spLocks noChangeAspect="1"/>
            </p:cNvSpPr>
            <p:nvPr userDrawn="1"/>
          </p:nvSpPr>
          <p:spPr bwMode="gray">
            <a:xfrm>
              <a:off x="6120888" y="4478176"/>
              <a:ext cx="29847" cy="45726"/>
            </a:xfrm>
            <a:custGeom>
              <a:avLst/>
              <a:gdLst>
                <a:gd name="T0" fmla="*/ 0 w 56"/>
                <a:gd name="T1" fmla="*/ 0 h 78"/>
                <a:gd name="T2" fmla="*/ 0 w 56"/>
                <a:gd name="T3" fmla="*/ 0 h 78"/>
                <a:gd name="T4" fmla="*/ 0 w 56"/>
                <a:gd name="T5" fmla="*/ 0 h 78"/>
                <a:gd name="T6" fmla="*/ 0 w 56"/>
                <a:gd name="T7" fmla="*/ 0 h 78"/>
                <a:gd name="T8" fmla="*/ 0 w 56"/>
                <a:gd name="T9" fmla="*/ 0 h 78"/>
                <a:gd name="T10" fmla="*/ 0 w 56"/>
                <a:gd name="T11" fmla="*/ 0 h 78"/>
                <a:gd name="T12" fmla="*/ 0 w 56"/>
                <a:gd name="T13" fmla="*/ 0 h 78"/>
                <a:gd name="T14" fmla="*/ 0 w 56"/>
                <a:gd name="T15" fmla="*/ 0 h 78"/>
                <a:gd name="T16" fmla="*/ 0 w 56"/>
                <a:gd name="T17" fmla="*/ 0 h 78"/>
                <a:gd name="T18" fmla="*/ 0 w 56"/>
                <a:gd name="T19" fmla="*/ 0 h 78"/>
                <a:gd name="T20" fmla="*/ 0 w 56"/>
                <a:gd name="T21" fmla="*/ 0 h 78"/>
                <a:gd name="T22" fmla="*/ 0 w 56"/>
                <a:gd name="T23" fmla="*/ 0 h 78"/>
                <a:gd name="T24" fmla="*/ 0 w 56"/>
                <a:gd name="T25" fmla="*/ 0 h 78"/>
                <a:gd name="T26" fmla="*/ 0 w 56"/>
                <a:gd name="T27" fmla="*/ 0 h 78"/>
                <a:gd name="T28" fmla="*/ 0 w 56"/>
                <a:gd name="T29" fmla="*/ 0 h 78"/>
                <a:gd name="T30" fmla="*/ 0 w 56"/>
                <a:gd name="T31" fmla="*/ 0 h 78"/>
                <a:gd name="T32" fmla="*/ 0 w 56"/>
                <a:gd name="T33" fmla="*/ 0 h 78"/>
                <a:gd name="T34" fmla="*/ 0 w 56"/>
                <a:gd name="T35" fmla="*/ 0 h 78"/>
                <a:gd name="T36" fmla="*/ 0 w 56"/>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
                <a:gd name="T58" fmla="*/ 0 h 78"/>
                <a:gd name="T59" fmla="*/ 56 w 56"/>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9" name="Freeform 34">
              <a:extLst>
                <a:ext uri="{FF2B5EF4-FFF2-40B4-BE49-F238E27FC236}">
                  <a16:creationId xmlns:a16="http://schemas.microsoft.com/office/drawing/2014/main" id="{2B292449-6606-4BCD-B249-3B7DC7463AFA}"/>
                </a:ext>
              </a:extLst>
            </p:cNvPr>
            <p:cNvSpPr>
              <a:spLocks noChangeAspect="1"/>
            </p:cNvSpPr>
            <p:nvPr userDrawn="1"/>
          </p:nvSpPr>
          <p:spPr bwMode="gray">
            <a:xfrm>
              <a:off x="5331440" y="3941651"/>
              <a:ext cx="214897" cy="176809"/>
            </a:xfrm>
            <a:custGeom>
              <a:avLst/>
              <a:gdLst>
                <a:gd name="T0" fmla="*/ 2147483647 w 404"/>
                <a:gd name="T1" fmla="*/ 0 h 307"/>
                <a:gd name="T2" fmla="*/ 2147483647 w 404"/>
                <a:gd name="T3" fmla="*/ 0 h 307"/>
                <a:gd name="T4" fmla="*/ 2147483647 w 404"/>
                <a:gd name="T5" fmla="*/ 0 h 307"/>
                <a:gd name="T6" fmla="*/ 2147483647 w 404"/>
                <a:gd name="T7" fmla="*/ 0 h 307"/>
                <a:gd name="T8" fmla="*/ 2147483647 w 404"/>
                <a:gd name="T9" fmla="*/ 0 h 307"/>
                <a:gd name="T10" fmla="*/ 2147483647 w 404"/>
                <a:gd name="T11" fmla="*/ 0 h 307"/>
                <a:gd name="T12" fmla="*/ 2147483647 w 404"/>
                <a:gd name="T13" fmla="*/ 0 h 307"/>
                <a:gd name="T14" fmla="*/ 0 w 404"/>
                <a:gd name="T15" fmla="*/ 2147483647 h 307"/>
                <a:gd name="T16" fmla="*/ 0 w 404"/>
                <a:gd name="T17" fmla="*/ 2147483647 h 307"/>
                <a:gd name="T18" fmla="*/ 0 w 404"/>
                <a:gd name="T19" fmla="*/ 2147483647 h 307"/>
                <a:gd name="T20" fmla="*/ 0 w 404"/>
                <a:gd name="T21" fmla="*/ 2147483647 h 307"/>
                <a:gd name="T22" fmla="*/ 2147483647 w 404"/>
                <a:gd name="T23" fmla="*/ 2147483647 h 307"/>
                <a:gd name="T24" fmla="*/ 2147483647 w 404"/>
                <a:gd name="T25" fmla="*/ 2147483647 h 307"/>
                <a:gd name="T26" fmla="*/ 2147483647 w 404"/>
                <a:gd name="T27" fmla="*/ 2147483647 h 307"/>
                <a:gd name="T28" fmla="*/ 2147483647 w 404"/>
                <a:gd name="T29" fmla="*/ 2147483647 h 307"/>
                <a:gd name="T30" fmla="*/ 2147483647 w 404"/>
                <a:gd name="T31" fmla="*/ 2147483647 h 307"/>
                <a:gd name="T32" fmla="*/ 2147483647 w 404"/>
                <a:gd name="T33" fmla="*/ 2147483647 h 307"/>
                <a:gd name="T34" fmla="*/ 2147483647 w 404"/>
                <a:gd name="T35" fmla="*/ 2147483647 h 307"/>
                <a:gd name="T36" fmla="*/ 2147483647 w 404"/>
                <a:gd name="T37" fmla="*/ 2147483647 h 307"/>
                <a:gd name="T38" fmla="*/ 2147483647 w 404"/>
                <a:gd name="T39" fmla="*/ 2147483647 h 307"/>
                <a:gd name="T40" fmla="*/ 2147483647 w 404"/>
                <a:gd name="T41" fmla="*/ 2147483647 h 307"/>
                <a:gd name="T42" fmla="*/ 2147483647 w 404"/>
                <a:gd name="T43" fmla="*/ 2147483647 h 307"/>
                <a:gd name="T44" fmla="*/ 2147483647 w 404"/>
                <a:gd name="T45" fmla="*/ 2147483647 h 307"/>
                <a:gd name="T46" fmla="*/ 2147483647 w 404"/>
                <a:gd name="T47" fmla="*/ 2147483647 h 307"/>
                <a:gd name="T48" fmla="*/ 2147483647 w 404"/>
                <a:gd name="T49" fmla="*/ 2147483647 h 307"/>
                <a:gd name="T50" fmla="*/ 2147483647 w 404"/>
                <a:gd name="T51" fmla="*/ 2147483647 h 307"/>
                <a:gd name="T52" fmla="*/ 2147483647 w 404"/>
                <a:gd name="T53" fmla="*/ 2147483647 h 307"/>
                <a:gd name="T54" fmla="*/ 2147483647 w 404"/>
                <a:gd name="T55" fmla="*/ 2147483647 h 307"/>
                <a:gd name="T56" fmla="*/ 2147483647 w 404"/>
                <a:gd name="T57" fmla="*/ 2147483647 h 307"/>
                <a:gd name="T58" fmla="*/ 2147483647 w 404"/>
                <a:gd name="T59" fmla="*/ 2147483647 h 307"/>
                <a:gd name="T60" fmla="*/ 2147483647 w 404"/>
                <a:gd name="T61" fmla="*/ 2147483647 h 307"/>
                <a:gd name="T62" fmla="*/ 2147483647 w 404"/>
                <a:gd name="T63" fmla="*/ 2147483647 h 307"/>
                <a:gd name="T64" fmla="*/ 2147483647 w 404"/>
                <a:gd name="T65" fmla="*/ 2147483647 h 307"/>
                <a:gd name="T66" fmla="*/ 2147483647 w 404"/>
                <a:gd name="T67" fmla="*/ 2147483647 h 307"/>
                <a:gd name="T68" fmla="*/ 2147483647 w 404"/>
                <a:gd name="T69" fmla="*/ 2147483647 h 307"/>
                <a:gd name="T70" fmla="*/ 2147483647 w 404"/>
                <a:gd name="T71" fmla="*/ 2147483647 h 307"/>
                <a:gd name="T72" fmla="*/ 2147483647 w 404"/>
                <a:gd name="T73" fmla="*/ 2147483647 h 307"/>
                <a:gd name="T74" fmla="*/ 2147483647 w 404"/>
                <a:gd name="T75" fmla="*/ 2147483647 h 307"/>
                <a:gd name="T76" fmla="*/ 2147483647 w 404"/>
                <a:gd name="T77" fmla="*/ 2147483647 h 307"/>
                <a:gd name="T78" fmla="*/ 2147483647 w 404"/>
                <a:gd name="T79" fmla="*/ 2147483647 h 307"/>
                <a:gd name="T80" fmla="*/ 2147483647 w 404"/>
                <a:gd name="T81" fmla="*/ 2147483647 h 307"/>
                <a:gd name="T82" fmla="*/ 2147483647 w 404"/>
                <a:gd name="T83" fmla="*/ 2147483647 h 307"/>
                <a:gd name="T84" fmla="*/ 2147483647 w 404"/>
                <a:gd name="T85" fmla="*/ 2147483647 h 307"/>
                <a:gd name="T86" fmla="*/ 2147483647 w 404"/>
                <a:gd name="T87" fmla="*/ 2147483647 h 307"/>
                <a:gd name="T88" fmla="*/ 2147483647 w 404"/>
                <a:gd name="T89" fmla="*/ 0 h 307"/>
                <a:gd name="T90" fmla="*/ 2147483647 w 404"/>
                <a:gd name="T91" fmla="*/ 0 h 307"/>
                <a:gd name="T92" fmla="*/ 2147483647 w 404"/>
                <a:gd name="T93" fmla="*/ 0 h 307"/>
                <a:gd name="T94" fmla="*/ 2147483647 w 404"/>
                <a:gd name="T95" fmla="*/ 0 h 307"/>
                <a:gd name="T96" fmla="*/ 2147483647 w 404"/>
                <a:gd name="T97" fmla="*/ 0 h 307"/>
                <a:gd name="T98" fmla="*/ 2147483647 w 404"/>
                <a:gd name="T99" fmla="*/ 0 h 307"/>
                <a:gd name="T100" fmla="*/ 2147483647 w 404"/>
                <a:gd name="T101" fmla="*/ 0 h 307"/>
                <a:gd name="T102" fmla="*/ 2147483647 w 404"/>
                <a:gd name="T103" fmla="*/ 0 h 307"/>
                <a:gd name="T104" fmla="*/ 2147483647 w 404"/>
                <a:gd name="T105" fmla="*/ 0 h 307"/>
                <a:gd name="T106" fmla="*/ 2147483647 w 404"/>
                <a:gd name="T107" fmla="*/ 0 h 30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04"/>
                <a:gd name="T163" fmla="*/ 0 h 307"/>
                <a:gd name="T164" fmla="*/ 404 w 404"/>
                <a:gd name="T165" fmla="*/ 307 h 30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0" name="Freeform 35">
              <a:extLst>
                <a:ext uri="{FF2B5EF4-FFF2-40B4-BE49-F238E27FC236}">
                  <a16:creationId xmlns:a16="http://schemas.microsoft.com/office/drawing/2014/main" id="{CFED2725-5A9F-171C-DA37-83F9F31C38D5}"/>
                </a:ext>
              </a:extLst>
            </p:cNvPr>
            <p:cNvSpPr>
              <a:spLocks noChangeAspect="1"/>
            </p:cNvSpPr>
            <p:nvPr userDrawn="1"/>
          </p:nvSpPr>
          <p:spPr bwMode="gray">
            <a:xfrm>
              <a:off x="6194013" y="3993475"/>
              <a:ext cx="383531" cy="260641"/>
            </a:xfrm>
            <a:custGeom>
              <a:avLst/>
              <a:gdLst>
                <a:gd name="T0" fmla="*/ 2147483647 w 718"/>
                <a:gd name="T1" fmla="*/ 0 h 451"/>
                <a:gd name="T2" fmla="*/ 2147483647 w 718"/>
                <a:gd name="T3" fmla="*/ 0 h 451"/>
                <a:gd name="T4" fmla="*/ 2147483647 w 718"/>
                <a:gd name="T5" fmla="*/ 0 h 451"/>
                <a:gd name="T6" fmla="*/ 2147483647 w 718"/>
                <a:gd name="T7" fmla="*/ 0 h 451"/>
                <a:gd name="T8" fmla="*/ 2147483647 w 718"/>
                <a:gd name="T9" fmla="*/ 2147483647 h 451"/>
                <a:gd name="T10" fmla="*/ 2147483647 w 718"/>
                <a:gd name="T11" fmla="*/ 2147483647 h 451"/>
                <a:gd name="T12" fmla="*/ 2147483647 w 718"/>
                <a:gd name="T13" fmla="*/ 2147483647 h 451"/>
                <a:gd name="T14" fmla="*/ 2147483647 w 718"/>
                <a:gd name="T15" fmla="*/ 2147483647 h 451"/>
                <a:gd name="T16" fmla="*/ 2147483647 w 718"/>
                <a:gd name="T17" fmla="*/ 2147483647 h 451"/>
                <a:gd name="T18" fmla="*/ 2147483647 w 718"/>
                <a:gd name="T19" fmla="*/ 2147483647 h 451"/>
                <a:gd name="T20" fmla="*/ 2147483647 w 718"/>
                <a:gd name="T21" fmla="*/ 2147483647 h 451"/>
                <a:gd name="T22" fmla="*/ 2147483647 w 718"/>
                <a:gd name="T23" fmla="*/ 2147483647 h 451"/>
                <a:gd name="T24" fmla="*/ 2147483647 w 718"/>
                <a:gd name="T25" fmla="*/ 2147483647 h 451"/>
                <a:gd name="T26" fmla="*/ 2147483647 w 718"/>
                <a:gd name="T27" fmla="*/ 2147483647 h 451"/>
                <a:gd name="T28" fmla="*/ 2147483647 w 718"/>
                <a:gd name="T29" fmla="*/ 2147483647 h 451"/>
                <a:gd name="T30" fmla="*/ 2147483647 w 718"/>
                <a:gd name="T31" fmla="*/ 2147483647 h 451"/>
                <a:gd name="T32" fmla="*/ 2147483647 w 718"/>
                <a:gd name="T33" fmla="*/ 2147483647 h 451"/>
                <a:gd name="T34" fmla="*/ 2147483647 w 718"/>
                <a:gd name="T35" fmla="*/ 2147483647 h 451"/>
                <a:gd name="T36" fmla="*/ 2147483647 w 718"/>
                <a:gd name="T37" fmla="*/ 2147483647 h 451"/>
                <a:gd name="T38" fmla="*/ 2147483647 w 718"/>
                <a:gd name="T39" fmla="*/ 2147483647 h 451"/>
                <a:gd name="T40" fmla="*/ 2147483647 w 718"/>
                <a:gd name="T41" fmla="*/ 2147483647 h 451"/>
                <a:gd name="T42" fmla="*/ 2147483647 w 718"/>
                <a:gd name="T43" fmla="*/ 2147483647 h 451"/>
                <a:gd name="T44" fmla="*/ 0 w 718"/>
                <a:gd name="T45" fmla="*/ 2147483647 h 451"/>
                <a:gd name="T46" fmla="*/ 0 w 718"/>
                <a:gd name="T47" fmla="*/ 2147483647 h 451"/>
                <a:gd name="T48" fmla="*/ 0 w 718"/>
                <a:gd name="T49" fmla="*/ 2147483647 h 451"/>
                <a:gd name="T50" fmla="*/ 0 w 718"/>
                <a:gd name="T51" fmla="*/ 2147483647 h 451"/>
                <a:gd name="T52" fmla="*/ 2147483647 w 718"/>
                <a:gd name="T53" fmla="*/ 2147483647 h 451"/>
                <a:gd name="T54" fmla="*/ 2147483647 w 718"/>
                <a:gd name="T55" fmla="*/ 2147483647 h 451"/>
                <a:gd name="T56" fmla="*/ 2147483647 w 718"/>
                <a:gd name="T57" fmla="*/ 2147483647 h 451"/>
                <a:gd name="T58" fmla="*/ 2147483647 w 718"/>
                <a:gd name="T59" fmla="*/ 2147483647 h 451"/>
                <a:gd name="T60" fmla="*/ 2147483647 w 718"/>
                <a:gd name="T61" fmla="*/ 2147483647 h 451"/>
                <a:gd name="T62" fmla="*/ 2147483647 w 718"/>
                <a:gd name="T63" fmla="*/ 2147483647 h 451"/>
                <a:gd name="T64" fmla="*/ 2147483647 w 718"/>
                <a:gd name="T65" fmla="*/ 2147483647 h 451"/>
                <a:gd name="T66" fmla="*/ 2147483647 w 718"/>
                <a:gd name="T67" fmla="*/ 2147483647 h 451"/>
                <a:gd name="T68" fmla="*/ 2147483647 w 718"/>
                <a:gd name="T69" fmla="*/ 2147483647 h 451"/>
                <a:gd name="T70" fmla="*/ 2147483647 w 718"/>
                <a:gd name="T71" fmla="*/ 2147483647 h 451"/>
                <a:gd name="T72" fmla="*/ 2147483647 w 718"/>
                <a:gd name="T73" fmla="*/ 2147483647 h 451"/>
                <a:gd name="T74" fmla="*/ 2147483647 w 718"/>
                <a:gd name="T75" fmla="*/ 2147483647 h 451"/>
                <a:gd name="T76" fmla="*/ 2147483647 w 718"/>
                <a:gd name="T77" fmla="*/ 2147483647 h 451"/>
                <a:gd name="T78" fmla="*/ 2147483647 w 718"/>
                <a:gd name="T79" fmla="*/ 2147483647 h 451"/>
                <a:gd name="T80" fmla="*/ 2147483647 w 718"/>
                <a:gd name="T81" fmla="*/ 2147483647 h 451"/>
                <a:gd name="T82" fmla="*/ 2147483647 w 718"/>
                <a:gd name="T83" fmla="*/ 2147483647 h 451"/>
                <a:gd name="T84" fmla="*/ 2147483647 w 718"/>
                <a:gd name="T85" fmla="*/ 2147483647 h 451"/>
                <a:gd name="T86" fmla="*/ 2147483647 w 718"/>
                <a:gd name="T87" fmla="*/ 2147483647 h 451"/>
                <a:gd name="T88" fmla="*/ 2147483647 w 718"/>
                <a:gd name="T89" fmla="*/ 2147483647 h 451"/>
                <a:gd name="T90" fmla="*/ 2147483647 w 718"/>
                <a:gd name="T91" fmla="*/ 2147483647 h 451"/>
                <a:gd name="T92" fmla="*/ 2147483647 w 718"/>
                <a:gd name="T93" fmla="*/ 2147483647 h 451"/>
                <a:gd name="T94" fmla="*/ 2147483647 w 718"/>
                <a:gd name="T95" fmla="*/ 2147483647 h 451"/>
                <a:gd name="T96" fmla="*/ 2147483647 w 718"/>
                <a:gd name="T97" fmla="*/ 2147483647 h 451"/>
                <a:gd name="T98" fmla="*/ 2147483647 w 718"/>
                <a:gd name="T99" fmla="*/ 2147483647 h 451"/>
                <a:gd name="T100" fmla="*/ 2147483647 w 718"/>
                <a:gd name="T101" fmla="*/ 2147483647 h 451"/>
                <a:gd name="T102" fmla="*/ 2147483647 w 718"/>
                <a:gd name="T103" fmla="*/ 2147483647 h 451"/>
                <a:gd name="T104" fmla="*/ 2147483647 w 718"/>
                <a:gd name="T105" fmla="*/ 2147483647 h 451"/>
                <a:gd name="T106" fmla="*/ 2147483647 w 718"/>
                <a:gd name="T107" fmla="*/ 0 h 451"/>
                <a:gd name="T108" fmla="*/ 2147483647 w 718"/>
                <a:gd name="T109" fmla="*/ 0 h 45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18"/>
                <a:gd name="T166" fmla="*/ 0 h 451"/>
                <a:gd name="T167" fmla="*/ 718 w 718"/>
                <a:gd name="T168" fmla="*/ 451 h 45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1" name="Freeform 36">
              <a:extLst>
                <a:ext uri="{FF2B5EF4-FFF2-40B4-BE49-F238E27FC236}">
                  <a16:creationId xmlns:a16="http://schemas.microsoft.com/office/drawing/2014/main" id="{D09D3937-A778-8802-57FF-2BFAE4CB2D10}"/>
                </a:ext>
              </a:extLst>
            </p:cNvPr>
            <p:cNvSpPr>
              <a:spLocks noChangeAspect="1"/>
            </p:cNvSpPr>
            <p:nvPr userDrawn="1"/>
          </p:nvSpPr>
          <p:spPr bwMode="gray">
            <a:xfrm>
              <a:off x="6028363" y="4266309"/>
              <a:ext cx="162666" cy="198148"/>
            </a:xfrm>
            <a:custGeom>
              <a:avLst/>
              <a:gdLst>
                <a:gd name="T0" fmla="*/ 2147483647 w 304"/>
                <a:gd name="T1" fmla="*/ 2147483647 h 343"/>
                <a:gd name="T2" fmla="*/ 2147483647 w 304"/>
                <a:gd name="T3" fmla="*/ 2147483647 h 343"/>
                <a:gd name="T4" fmla="*/ 2147483647 w 304"/>
                <a:gd name="T5" fmla="*/ 2147483647 h 343"/>
                <a:gd name="T6" fmla="*/ 0 w 304"/>
                <a:gd name="T7" fmla="*/ 2147483647 h 343"/>
                <a:gd name="T8" fmla="*/ 0 w 304"/>
                <a:gd name="T9" fmla="*/ 2147483647 h 343"/>
                <a:gd name="T10" fmla="*/ 0 w 304"/>
                <a:gd name="T11" fmla="*/ 2147483647 h 343"/>
                <a:gd name="T12" fmla="*/ 0 w 304"/>
                <a:gd name="T13" fmla="*/ 2147483647 h 343"/>
                <a:gd name="T14" fmla="*/ 0 w 304"/>
                <a:gd name="T15" fmla="*/ 2147483647 h 343"/>
                <a:gd name="T16" fmla="*/ 0 w 304"/>
                <a:gd name="T17" fmla="*/ 2147483647 h 343"/>
                <a:gd name="T18" fmla="*/ 0 w 304"/>
                <a:gd name="T19" fmla="*/ 2147483647 h 343"/>
                <a:gd name="T20" fmla="*/ 0 w 304"/>
                <a:gd name="T21" fmla="*/ 2147483647 h 343"/>
                <a:gd name="T22" fmla="*/ 2147483647 w 304"/>
                <a:gd name="T23" fmla="*/ 2147483647 h 343"/>
                <a:gd name="T24" fmla="*/ 0 w 304"/>
                <a:gd name="T25" fmla="*/ 2147483647 h 343"/>
                <a:gd name="T26" fmla="*/ 0 w 304"/>
                <a:gd name="T27" fmla="*/ 2147483647 h 343"/>
                <a:gd name="T28" fmla="*/ 0 w 304"/>
                <a:gd name="T29" fmla="*/ 2147483647 h 343"/>
                <a:gd name="T30" fmla="*/ 0 w 304"/>
                <a:gd name="T31" fmla="*/ 2147483647 h 343"/>
                <a:gd name="T32" fmla="*/ 2147483647 w 304"/>
                <a:gd name="T33" fmla="*/ 0 h 343"/>
                <a:gd name="T34" fmla="*/ 2147483647 w 304"/>
                <a:gd name="T35" fmla="*/ 0 h 343"/>
                <a:gd name="T36" fmla="*/ 2147483647 w 304"/>
                <a:gd name="T37" fmla="*/ 0 h 343"/>
                <a:gd name="T38" fmla="*/ 2147483647 w 304"/>
                <a:gd name="T39" fmla="*/ 0 h 343"/>
                <a:gd name="T40" fmla="*/ 2147483647 w 304"/>
                <a:gd name="T41" fmla="*/ 0 h 343"/>
                <a:gd name="T42" fmla="*/ 2147483647 w 304"/>
                <a:gd name="T43" fmla="*/ 0 h 343"/>
                <a:gd name="T44" fmla="*/ 2147483647 w 304"/>
                <a:gd name="T45" fmla="*/ 0 h 343"/>
                <a:gd name="T46" fmla="*/ 2147483647 w 304"/>
                <a:gd name="T47" fmla="*/ 0 h 343"/>
                <a:gd name="T48" fmla="*/ 2147483647 w 304"/>
                <a:gd name="T49" fmla="*/ 0 h 343"/>
                <a:gd name="T50" fmla="*/ 2147483647 w 304"/>
                <a:gd name="T51" fmla="*/ 0 h 343"/>
                <a:gd name="T52" fmla="*/ 2147483647 w 304"/>
                <a:gd name="T53" fmla="*/ 2147483647 h 343"/>
                <a:gd name="T54" fmla="*/ 2147483647 w 304"/>
                <a:gd name="T55" fmla="*/ 2147483647 h 343"/>
                <a:gd name="T56" fmla="*/ 2147483647 w 304"/>
                <a:gd name="T57" fmla="*/ 2147483647 h 343"/>
                <a:gd name="T58" fmla="*/ 2147483647 w 304"/>
                <a:gd name="T59" fmla="*/ 2147483647 h 343"/>
                <a:gd name="T60" fmla="*/ 2147483647 w 304"/>
                <a:gd name="T61" fmla="*/ 2147483647 h 343"/>
                <a:gd name="T62" fmla="*/ 2147483647 w 304"/>
                <a:gd name="T63" fmla="*/ 2147483647 h 343"/>
                <a:gd name="T64" fmla="*/ 2147483647 w 304"/>
                <a:gd name="T65" fmla="*/ 2147483647 h 343"/>
                <a:gd name="T66" fmla="*/ 2147483647 w 304"/>
                <a:gd name="T67" fmla="*/ 2147483647 h 343"/>
                <a:gd name="T68" fmla="*/ 2147483647 w 304"/>
                <a:gd name="T69" fmla="*/ 2147483647 h 343"/>
                <a:gd name="T70" fmla="*/ 2147483647 w 304"/>
                <a:gd name="T71" fmla="*/ 2147483647 h 343"/>
                <a:gd name="T72" fmla="*/ 2147483647 w 304"/>
                <a:gd name="T73" fmla="*/ 2147483647 h 343"/>
                <a:gd name="T74" fmla="*/ 2147483647 w 304"/>
                <a:gd name="T75" fmla="*/ 2147483647 h 343"/>
                <a:gd name="T76" fmla="*/ 2147483647 w 304"/>
                <a:gd name="T77" fmla="*/ 2147483647 h 34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04"/>
                <a:gd name="T118" fmla="*/ 0 h 343"/>
                <a:gd name="T119" fmla="*/ 304 w 304"/>
                <a:gd name="T120" fmla="*/ 343 h 34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2" name="Freeform 37">
              <a:extLst>
                <a:ext uri="{FF2B5EF4-FFF2-40B4-BE49-F238E27FC236}">
                  <a16:creationId xmlns:a16="http://schemas.microsoft.com/office/drawing/2014/main" id="{A09067E3-792C-59BF-01DB-A197C57B2D36}"/>
                </a:ext>
              </a:extLst>
            </p:cNvPr>
            <p:cNvSpPr>
              <a:spLocks noChangeAspect="1"/>
            </p:cNvSpPr>
            <p:nvPr userDrawn="1"/>
          </p:nvSpPr>
          <p:spPr bwMode="gray">
            <a:xfrm>
              <a:off x="5277715" y="3906594"/>
              <a:ext cx="91032" cy="25912"/>
            </a:xfrm>
            <a:custGeom>
              <a:avLst/>
              <a:gdLst>
                <a:gd name="T0" fmla="*/ 0 w 168"/>
                <a:gd name="T1" fmla="*/ 0 h 45"/>
                <a:gd name="T2" fmla="*/ 0 w 168"/>
                <a:gd name="T3" fmla="*/ 0 h 45"/>
                <a:gd name="T4" fmla="*/ 2147483647 w 168"/>
                <a:gd name="T5" fmla="*/ 0 h 45"/>
                <a:gd name="T6" fmla="*/ 2147483647 w 168"/>
                <a:gd name="T7" fmla="*/ 0 h 45"/>
                <a:gd name="T8" fmla="*/ 2147483647 w 168"/>
                <a:gd name="T9" fmla="*/ 0 h 45"/>
                <a:gd name="T10" fmla="*/ 2147483647 w 168"/>
                <a:gd name="T11" fmla="*/ 0 h 45"/>
                <a:gd name="T12" fmla="*/ 2147483647 w 168"/>
                <a:gd name="T13" fmla="*/ 0 h 45"/>
                <a:gd name="T14" fmla="*/ 2147483647 w 168"/>
                <a:gd name="T15" fmla="*/ 0 h 45"/>
                <a:gd name="T16" fmla="*/ 2147483647 w 168"/>
                <a:gd name="T17" fmla="*/ 0 h 45"/>
                <a:gd name="T18" fmla="*/ 2147483647 w 168"/>
                <a:gd name="T19" fmla="*/ 0 h 45"/>
                <a:gd name="T20" fmla="*/ 2147483647 w 168"/>
                <a:gd name="T21" fmla="*/ 0 h 45"/>
                <a:gd name="T22" fmla="*/ 2147483647 w 168"/>
                <a:gd name="T23" fmla="*/ 0 h 45"/>
                <a:gd name="T24" fmla="*/ 2147483647 w 168"/>
                <a:gd name="T25" fmla="*/ 0 h 45"/>
                <a:gd name="T26" fmla="*/ 2147483647 w 168"/>
                <a:gd name="T27" fmla="*/ 0 h 45"/>
                <a:gd name="T28" fmla="*/ 2147483647 w 168"/>
                <a:gd name="T29" fmla="*/ 0 h 45"/>
                <a:gd name="T30" fmla="*/ 2147483647 w 168"/>
                <a:gd name="T31" fmla="*/ 0 h 45"/>
                <a:gd name="T32" fmla="*/ 2147483647 w 168"/>
                <a:gd name="T33" fmla="*/ 0 h 45"/>
                <a:gd name="T34" fmla="*/ 2147483647 w 168"/>
                <a:gd name="T35" fmla="*/ 0 h 45"/>
                <a:gd name="T36" fmla="*/ 2147483647 w 168"/>
                <a:gd name="T37" fmla="*/ 0 h 45"/>
                <a:gd name="T38" fmla="*/ 2147483647 w 168"/>
                <a:gd name="T39" fmla="*/ 0 h 45"/>
                <a:gd name="T40" fmla="*/ 2147483647 w 168"/>
                <a:gd name="T41" fmla="*/ 0 h 45"/>
                <a:gd name="T42" fmla="*/ 2147483647 w 168"/>
                <a:gd name="T43" fmla="*/ 0 h 45"/>
                <a:gd name="T44" fmla="*/ 2147483647 w 168"/>
                <a:gd name="T45" fmla="*/ 0 h 45"/>
                <a:gd name="T46" fmla="*/ 2147483647 w 168"/>
                <a:gd name="T47" fmla="*/ 0 h 45"/>
                <a:gd name="T48" fmla="*/ 2147483647 w 168"/>
                <a:gd name="T49" fmla="*/ 0 h 45"/>
                <a:gd name="T50" fmla="*/ 2147483647 w 168"/>
                <a:gd name="T51" fmla="*/ 0 h 45"/>
                <a:gd name="T52" fmla="*/ 2147483647 w 168"/>
                <a:gd name="T53" fmla="*/ 0 h 45"/>
                <a:gd name="T54" fmla="*/ 2147483647 w 168"/>
                <a:gd name="T55" fmla="*/ 0 h 45"/>
                <a:gd name="T56" fmla="*/ 2147483647 w 168"/>
                <a:gd name="T57" fmla="*/ 0 h 45"/>
                <a:gd name="T58" fmla="*/ 2147483647 w 168"/>
                <a:gd name="T59" fmla="*/ 0 h 45"/>
                <a:gd name="T60" fmla="*/ 2147483647 w 168"/>
                <a:gd name="T61" fmla="*/ 0 h 45"/>
                <a:gd name="T62" fmla="*/ 2147483647 w 168"/>
                <a:gd name="T63" fmla="*/ 0 h 45"/>
                <a:gd name="T64" fmla="*/ 2147483647 w 168"/>
                <a:gd name="T65" fmla="*/ 0 h 45"/>
                <a:gd name="T66" fmla="*/ 2147483647 w 168"/>
                <a:gd name="T67" fmla="*/ 0 h 45"/>
                <a:gd name="T68" fmla="*/ 2147483647 w 168"/>
                <a:gd name="T69" fmla="*/ 0 h 45"/>
                <a:gd name="T70" fmla="*/ 2147483647 w 168"/>
                <a:gd name="T71" fmla="*/ 0 h 45"/>
                <a:gd name="T72" fmla="*/ 2147483647 w 168"/>
                <a:gd name="T73" fmla="*/ 0 h 45"/>
                <a:gd name="T74" fmla="*/ 2147483647 w 168"/>
                <a:gd name="T75" fmla="*/ 0 h 45"/>
                <a:gd name="T76" fmla="*/ 2147483647 w 168"/>
                <a:gd name="T77" fmla="*/ 0 h 45"/>
                <a:gd name="T78" fmla="*/ 2147483647 w 168"/>
                <a:gd name="T79" fmla="*/ 0 h 45"/>
                <a:gd name="T80" fmla="*/ 2147483647 w 168"/>
                <a:gd name="T81" fmla="*/ 0 h 45"/>
                <a:gd name="T82" fmla="*/ 2147483647 w 168"/>
                <a:gd name="T83" fmla="*/ 0 h 45"/>
                <a:gd name="T84" fmla="*/ 2147483647 w 168"/>
                <a:gd name="T85" fmla="*/ 0 h 45"/>
                <a:gd name="T86" fmla="*/ 2147483647 w 168"/>
                <a:gd name="T87" fmla="*/ 0 h 45"/>
                <a:gd name="T88" fmla="*/ 0 w 168"/>
                <a:gd name="T89" fmla="*/ 0 h 45"/>
                <a:gd name="T90" fmla="*/ 0 w 168"/>
                <a:gd name="T91" fmla="*/ 0 h 45"/>
                <a:gd name="T92" fmla="*/ 0 w 168"/>
                <a:gd name="T93" fmla="*/ 0 h 45"/>
                <a:gd name="T94" fmla="*/ 0 w 168"/>
                <a:gd name="T95" fmla="*/ 0 h 45"/>
                <a:gd name="T96" fmla="*/ 0 w 168"/>
                <a:gd name="T97" fmla="*/ 0 h 45"/>
                <a:gd name="T98" fmla="*/ 0 w 168"/>
                <a:gd name="T99" fmla="*/ 0 h 45"/>
                <a:gd name="T100" fmla="*/ 0 w 168"/>
                <a:gd name="T101" fmla="*/ 0 h 45"/>
                <a:gd name="T102" fmla="*/ 0 w 168"/>
                <a:gd name="T103" fmla="*/ 0 h 45"/>
                <a:gd name="T104" fmla="*/ 0 w 168"/>
                <a:gd name="T105" fmla="*/ 0 h 45"/>
                <a:gd name="T106" fmla="*/ 0 w 168"/>
                <a:gd name="T107" fmla="*/ 0 h 45"/>
                <a:gd name="T108" fmla="*/ 0 w 168"/>
                <a:gd name="T109" fmla="*/ 0 h 45"/>
                <a:gd name="T110" fmla="*/ 0 w 168"/>
                <a:gd name="T111" fmla="*/ 0 h 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8"/>
                <a:gd name="T169" fmla="*/ 0 h 45"/>
                <a:gd name="T170" fmla="*/ 168 w 168"/>
                <a:gd name="T171" fmla="*/ 45 h 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3" name="Freeform 38">
              <a:extLst>
                <a:ext uri="{FF2B5EF4-FFF2-40B4-BE49-F238E27FC236}">
                  <a16:creationId xmlns:a16="http://schemas.microsoft.com/office/drawing/2014/main" id="{8185C850-3EF8-F8DF-150D-14C5815CE5EB}"/>
                </a:ext>
              </a:extLst>
            </p:cNvPr>
            <p:cNvSpPr>
              <a:spLocks noChangeAspect="1"/>
            </p:cNvSpPr>
            <p:nvPr userDrawn="1"/>
          </p:nvSpPr>
          <p:spPr bwMode="gray">
            <a:xfrm>
              <a:off x="5280700" y="3941651"/>
              <a:ext cx="92525" cy="56396"/>
            </a:xfrm>
            <a:custGeom>
              <a:avLst/>
              <a:gdLst>
                <a:gd name="T0" fmla="*/ 2147483647 w 173"/>
                <a:gd name="T1" fmla="*/ 0 h 99"/>
                <a:gd name="T2" fmla="*/ 2147483647 w 173"/>
                <a:gd name="T3" fmla="*/ 0 h 99"/>
                <a:gd name="T4" fmla="*/ 2147483647 w 173"/>
                <a:gd name="T5" fmla="*/ 0 h 99"/>
                <a:gd name="T6" fmla="*/ 2147483647 w 173"/>
                <a:gd name="T7" fmla="*/ 0 h 99"/>
                <a:gd name="T8" fmla="*/ 2147483647 w 173"/>
                <a:gd name="T9" fmla="*/ 0 h 99"/>
                <a:gd name="T10" fmla="*/ 2147483647 w 173"/>
                <a:gd name="T11" fmla="*/ 0 h 99"/>
                <a:gd name="T12" fmla="*/ 2147483647 w 173"/>
                <a:gd name="T13" fmla="*/ 0 h 99"/>
                <a:gd name="T14" fmla="*/ 2147483647 w 173"/>
                <a:gd name="T15" fmla="*/ 0 h 99"/>
                <a:gd name="T16" fmla="*/ 2147483647 w 173"/>
                <a:gd name="T17" fmla="*/ 0 h 99"/>
                <a:gd name="T18" fmla="*/ 2147483647 w 173"/>
                <a:gd name="T19" fmla="*/ 0 h 99"/>
                <a:gd name="T20" fmla="*/ 2147483647 w 173"/>
                <a:gd name="T21" fmla="*/ 0 h 99"/>
                <a:gd name="T22" fmla="*/ 2147483647 w 173"/>
                <a:gd name="T23" fmla="*/ 0 h 99"/>
                <a:gd name="T24" fmla="*/ 2147483647 w 173"/>
                <a:gd name="T25" fmla="*/ 0 h 99"/>
                <a:gd name="T26" fmla="*/ 2147483647 w 173"/>
                <a:gd name="T27" fmla="*/ 0 h 99"/>
                <a:gd name="T28" fmla="*/ 2147483647 w 173"/>
                <a:gd name="T29" fmla="*/ 0 h 99"/>
                <a:gd name="T30" fmla="*/ 2147483647 w 173"/>
                <a:gd name="T31" fmla="*/ 0 h 99"/>
                <a:gd name="T32" fmla="*/ 2147483647 w 173"/>
                <a:gd name="T33" fmla="*/ 0 h 99"/>
                <a:gd name="T34" fmla="*/ 2147483647 w 173"/>
                <a:gd name="T35" fmla="*/ 2147483647 h 99"/>
                <a:gd name="T36" fmla="*/ 2147483647 w 173"/>
                <a:gd name="T37" fmla="*/ 2147483647 h 99"/>
                <a:gd name="T38" fmla="*/ 2147483647 w 173"/>
                <a:gd name="T39" fmla="*/ 2147483647 h 99"/>
                <a:gd name="T40" fmla="*/ 2147483647 w 173"/>
                <a:gd name="T41" fmla="*/ 2147483647 h 99"/>
                <a:gd name="T42" fmla="*/ 2147483647 w 173"/>
                <a:gd name="T43" fmla="*/ 2147483647 h 99"/>
                <a:gd name="T44" fmla="*/ 2147483647 w 173"/>
                <a:gd name="T45" fmla="*/ 2147483647 h 99"/>
                <a:gd name="T46" fmla="*/ 2147483647 w 173"/>
                <a:gd name="T47" fmla="*/ 2147483647 h 99"/>
                <a:gd name="T48" fmla="*/ 2147483647 w 173"/>
                <a:gd name="T49" fmla="*/ 2147483647 h 99"/>
                <a:gd name="T50" fmla="*/ 2147483647 w 173"/>
                <a:gd name="T51" fmla="*/ 2147483647 h 99"/>
                <a:gd name="T52" fmla="*/ 2147483647 w 173"/>
                <a:gd name="T53" fmla="*/ 2147483647 h 99"/>
                <a:gd name="T54" fmla="*/ 2147483647 w 173"/>
                <a:gd name="T55" fmla="*/ 2147483647 h 99"/>
                <a:gd name="T56" fmla="*/ 2147483647 w 173"/>
                <a:gd name="T57" fmla="*/ 0 h 99"/>
                <a:gd name="T58" fmla="*/ 2147483647 w 173"/>
                <a:gd name="T59" fmla="*/ 0 h 99"/>
                <a:gd name="T60" fmla="*/ 2147483647 w 173"/>
                <a:gd name="T61" fmla="*/ 0 h 99"/>
                <a:gd name="T62" fmla="*/ 2147483647 w 173"/>
                <a:gd name="T63" fmla="*/ 0 h 99"/>
                <a:gd name="T64" fmla="*/ 2147483647 w 173"/>
                <a:gd name="T65" fmla="*/ 0 h 99"/>
                <a:gd name="T66" fmla="*/ 2147483647 w 173"/>
                <a:gd name="T67" fmla="*/ 0 h 99"/>
                <a:gd name="T68" fmla="*/ 2147483647 w 173"/>
                <a:gd name="T69" fmla="*/ 0 h 99"/>
                <a:gd name="T70" fmla="*/ 2147483647 w 173"/>
                <a:gd name="T71" fmla="*/ 0 h 99"/>
                <a:gd name="T72" fmla="*/ 2147483647 w 173"/>
                <a:gd name="T73" fmla="*/ 0 h 99"/>
                <a:gd name="T74" fmla="*/ 2147483647 w 173"/>
                <a:gd name="T75" fmla="*/ 0 h 99"/>
                <a:gd name="T76" fmla="*/ 0 w 173"/>
                <a:gd name="T77" fmla="*/ 0 h 99"/>
                <a:gd name="T78" fmla="*/ 0 w 173"/>
                <a:gd name="T79" fmla="*/ 0 h 99"/>
                <a:gd name="T80" fmla="*/ 0 w 173"/>
                <a:gd name="T81" fmla="*/ 0 h 99"/>
                <a:gd name="T82" fmla="*/ 0 w 173"/>
                <a:gd name="T83" fmla="*/ 0 h 99"/>
                <a:gd name="T84" fmla="*/ 0 w 173"/>
                <a:gd name="T85" fmla="*/ 0 h 99"/>
                <a:gd name="T86" fmla="*/ 0 w 173"/>
                <a:gd name="T87" fmla="*/ 0 h 99"/>
                <a:gd name="T88" fmla="*/ 0 w 173"/>
                <a:gd name="T89" fmla="*/ 0 h 99"/>
                <a:gd name="T90" fmla="*/ 0 w 173"/>
                <a:gd name="T91" fmla="*/ 0 h 99"/>
                <a:gd name="T92" fmla="*/ 0 w 173"/>
                <a:gd name="T93" fmla="*/ 0 h 99"/>
                <a:gd name="T94" fmla="*/ 0 w 173"/>
                <a:gd name="T95" fmla="*/ 0 h 99"/>
                <a:gd name="T96" fmla="*/ 0 w 173"/>
                <a:gd name="T97" fmla="*/ 0 h 99"/>
                <a:gd name="T98" fmla="*/ 0 w 173"/>
                <a:gd name="T99" fmla="*/ 0 h 99"/>
                <a:gd name="T100" fmla="*/ 0 w 173"/>
                <a:gd name="T101" fmla="*/ 0 h 99"/>
                <a:gd name="T102" fmla="*/ 0 w 173"/>
                <a:gd name="T103" fmla="*/ 0 h 99"/>
                <a:gd name="T104" fmla="*/ 2147483647 w 173"/>
                <a:gd name="T105" fmla="*/ 0 h 99"/>
                <a:gd name="T106" fmla="*/ 2147483647 w 173"/>
                <a:gd name="T107" fmla="*/ 0 h 99"/>
                <a:gd name="T108" fmla="*/ 2147483647 w 173"/>
                <a:gd name="T109" fmla="*/ 0 h 99"/>
                <a:gd name="T110" fmla="*/ 2147483647 w 173"/>
                <a:gd name="T111" fmla="*/ 0 h 99"/>
                <a:gd name="T112" fmla="*/ 2147483647 w 173"/>
                <a:gd name="T113" fmla="*/ 0 h 99"/>
                <a:gd name="T114" fmla="*/ 2147483647 w 173"/>
                <a:gd name="T115" fmla="*/ 0 h 99"/>
                <a:gd name="T116" fmla="*/ 2147483647 w 173"/>
                <a:gd name="T117" fmla="*/ 0 h 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3"/>
                <a:gd name="T178" fmla="*/ 0 h 99"/>
                <a:gd name="T179" fmla="*/ 173 w 173"/>
                <a:gd name="T180" fmla="*/ 99 h 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4" name="Freeform 39">
              <a:extLst>
                <a:ext uri="{FF2B5EF4-FFF2-40B4-BE49-F238E27FC236}">
                  <a16:creationId xmlns:a16="http://schemas.microsoft.com/office/drawing/2014/main" id="{A3ADEF05-4187-CFCA-6828-D1EB39C26A7F}"/>
                </a:ext>
              </a:extLst>
            </p:cNvPr>
            <p:cNvSpPr>
              <a:spLocks noChangeAspect="1"/>
            </p:cNvSpPr>
            <p:nvPr userDrawn="1"/>
          </p:nvSpPr>
          <p:spPr bwMode="gray">
            <a:xfrm>
              <a:off x="5434411" y="4075783"/>
              <a:ext cx="120880" cy="129558"/>
            </a:xfrm>
            <a:custGeom>
              <a:avLst/>
              <a:gdLst>
                <a:gd name="T0" fmla="*/ 0 w 227"/>
                <a:gd name="T1" fmla="*/ 2147483647 h 228"/>
                <a:gd name="T2" fmla="*/ 0 w 227"/>
                <a:gd name="T3" fmla="*/ 2147483647 h 228"/>
                <a:gd name="T4" fmla="*/ 0 w 227"/>
                <a:gd name="T5" fmla="*/ 0 h 228"/>
                <a:gd name="T6" fmla="*/ 0 w 227"/>
                <a:gd name="T7" fmla="*/ 0 h 228"/>
                <a:gd name="T8" fmla="*/ 0 w 227"/>
                <a:gd name="T9" fmla="*/ 0 h 228"/>
                <a:gd name="T10" fmla="*/ 0 w 227"/>
                <a:gd name="T11" fmla="*/ 0 h 228"/>
                <a:gd name="T12" fmla="*/ 0 w 227"/>
                <a:gd name="T13" fmla="*/ 0 h 228"/>
                <a:gd name="T14" fmla="*/ 2147483647 w 227"/>
                <a:gd name="T15" fmla="*/ 0 h 228"/>
                <a:gd name="T16" fmla="*/ 2147483647 w 227"/>
                <a:gd name="T17" fmla="*/ 0 h 228"/>
                <a:gd name="T18" fmla="*/ 2147483647 w 227"/>
                <a:gd name="T19" fmla="*/ 0 h 228"/>
                <a:gd name="T20" fmla="*/ 2147483647 w 227"/>
                <a:gd name="T21" fmla="*/ 0 h 228"/>
                <a:gd name="T22" fmla="*/ 2147483647 w 227"/>
                <a:gd name="T23" fmla="*/ 0 h 228"/>
                <a:gd name="T24" fmla="*/ 2147483647 w 227"/>
                <a:gd name="T25" fmla="*/ 0 h 228"/>
                <a:gd name="T26" fmla="*/ 2147483647 w 227"/>
                <a:gd name="T27" fmla="*/ 0 h 228"/>
                <a:gd name="T28" fmla="*/ 2147483647 w 227"/>
                <a:gd name="T29" fmla="*/ 0 h 228"/>
                <a:gd name="T30" fmla="*/ 2147483647 w 227"/>
                <a:gd name="T31" fmla="*/ 0 h 228"/>
                <a:gd name="T32" fmla="*/ 2147483647 w 227"/>
                <a:gd name="T33" fmla="*/ 0 h 228"/>
                <a:gd name="T34" fmla="*/ 2147483647 w 227"/>
                <a:gd name="T35" fmla="*/ 0 h 228"/>
                <a:gd name="T36" fmla="*/ 2147483647 w 227"/>
                <a:gd name="T37" fmla="*/ 0 h 228"/>
                <a:gd name="T38" fmla="*/ 2147483647 w 227"/>
                <a:gd name="T39" fmla="*/ 0 h 228"/>
                <a:gd name="T40" fmla="*/ 2147483647 w 227"/>
                <a:gd name="T41" fmla="*/ 0 h 228"/>
                <a:gd name="T42" fmla="*/ 2147483647 w 227"/>
                <a:gd name="T43" fmla="*/ 0 h 228"/>
                <a:gd name="T44" fmla="*/ 2147483647 w 227"/>
                <a:gd name="T45" fmla="*/ 0 h 228"/>
                <a:gd name="T46" fmla="*/ 2147483647 w 227"/>
                <a:gd name="T47" fmla="*/ 0 h 228"/>
                <a:gd name="T48" fmla="*/ 2147483647 w 227"/>
                <a:gd name="T49" fmla="*/ 0 h 228"/>
                <a:gd name="T50" fmla="*/ 2147483647 w 227"/>
                <a:gd name="T51" fmla="*/ 0 h 228"/>
                <a:gd name="T52" fmla="*/ 2147483647 w 227"/>
                <a:gd name="T53" fmla="*/ 0 h 228"/>
                <a:gd name="T54" fmla="*/ 2147483647 w 227"/>
                <a:gd name="T55" fmla="*/ 0 h 228"/>
                <a:gd name="T56" fmla="*/ 2147483647 w 227"/>
                <a:gd name="T57" fmla="*/ 0 h 228"/>
                <a:gd name="T58" fmla="*/ 2147483647 w 227"/>
                <a:gd name="T59" fmla="*/ 0 h 228"/>
                <a:gd name="T60" fmla="*/ 2147483647 w 227"/>
                <a:gd name="T61" fmla="*/ 0 h 228"/>
                <a:gd name="T62" fmla="*/ 2147483647 w 227"/>
                <a:gd name="T63" fmla="*/ 2147483647 h 228"/>
                <a:gd name="T64" fmla="*/ 2147483647 w 227"/>
                <a:gd name="T65" fmla="*/ 2147483647 h 228"/>
                <a:gd name="T66" fmla="*/ 2147483647 w 227"/>
                <a:gd name="T67" fmla="*/ 2147483647 h 228"/>
                <a:gd name="T68" fmla="*/ 2147483647 w 227"/>
                <a:gd name="T69" fmla="*/ 2147483647 h 228"/>
                <a:gd name="T70" fmla="*/ 2147483647 w 227"/>
                <a:gd name="T71" fmla="*/ 2147483647 h 228"/>
                <a:gd name="T72" fmla="*/ 2147483647 w 227"/>
                <a:gd name="T73" fmla="*/ 2147483647 h 228"/>
                <a:gd name="T74" fmla="*/ 2147483647 w 227"/>
                <a:gd name="T75" fmla="*/ 2147483647 h 228"/>
                <a:gd name="T76" fmla="*/ 2147483647 w 227"/>
                <a:gd name="T77" fmla="*/ 2147483647 h 228"/>
                <a:gd name="T78" fmla="*/ 2147483647 w 227"/>
                <a:gd name="T79" fmla="*/ 2147483647 h 228"/>
                <a:gd name="T80" fmla="*/ 2147483647 w 227"/>
                <a:gd name="T81" fmla="*/ 2147483647 h 228"/>
                <a:gd name="T82" fmla="*/ 2147483647 w 227"/>
                <a:gd name="T83" fmla="*/ 2147483647 h 228"/>
                <a:gd name="T84" fmla="*/ 2147483647 w 227"/>
                <a:gd name="T85" fmla="*/ 2147483647 h 228"/>
                <a:gd name="T86" fmla="*/ 2147483647 w 227"/>
                <a:gd name="T87" fmla="*/ 2147483647 h 228"/>
                <a:gd name="T88" fmla="*/ 2147483647 w 227"/>
                <a:gd name="T89" fmla="*/ 2147483647 h 228"/>
                <a:gd name="T90" fmla="*/ 2147483647 w 227"/>
                <a:gd name="T91" fmla="*/ 2147483647 h 228"/>
                <a:gd name="T92" fmla="*/ 2147483647 w 227"/>
                <a:gd name="T93" fmla="*/ 2147483647 h 228"/>
                <a:gd name="T94" fmla="*/ 2147483647 w 227"/>
                <a:gd name="T95" fmla="*/ 2147483647 h 228"/>
                <a:gd name="T96" fmla="*/ 2147483647 w 227"/>
                <a:gd name="T97" fmla="*/ 2147483647 h 228"/>
                <a:gd name="T98" fmla="*/ 2147483647 w 227"/>
                <a:gd name="T99" fmla="*/ 2147483647 h 228"/>
                <a:gd name="T100" fmla="*/ 2147483647 w 227"/>
                <a:gd name="T101" fmla="*/ 2147483647 h 228"/>
                <a:gd name="T102" fmla="*/ 2147483647 w 227"/>
                <a:gd name="T103" fmla="*/ 2147483647 h 228"/>
                <a:gd name="T104" fmla="*/ 2147483647 w 227"/>
                <a:gd name="T105" fmla="*/ 2147483647 h 228"/>
                <a:gd name="T106" fmla="*/ 2147483647 w 227"/>
                <a:gd name="T107" fmla="*/ 2147483647 h 228"/>
                <a:gd name="T108" fmla="*/ 2147483647 w 227"/>
                <a:gd name="T109" fmla="*/ 2147483647 h 228"/>
                <a:gd name="T110" fmla="*/ 2147483647 w 227"/>
                <a:gd name="T111" fmla="*/ 2147483647 h 228"/>
                <a:gd name="T112" fmla="*/ 2147483647 w 227"/>
                <a:gd name="T113" fmla="*/ 2147483647 h 228"/>
                <a:gd name="T114" fmla="*/ 0 w 227"/>
                <a:gd name="T115" fmla="*/ 2147483647 h 228"/>
                <a:gd name="T116" fmla="*/ 0 w 227"/>
                <a:gd name="T117" fmla="*/ 2147483647 h 228"/>
                <a:gd name="T118" fmla="*/ 0 w 227"/>
                <a:gd name="T119" fmla="*/ 2147483647 h 228"/>
                <a:gd name="T120" fmla="*/ 0 w 227"/>
                <a:gd name="T121" fmla="*/ 2147483647 h 228"/>
                <a:gd name="T122" fmla="*/ 0 w 227"/>
                <a:gd name="T123" fmla="*/ 2147483647 h 2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7"/>
                <a:gd name="T187" fmla="*/ 0 h 228"/>
                <a:gd name="T188" fmla="*/ 227 w 227"/>
                <a:gd name="T189" fmla="*/ 228 h 2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5" name="Freeform 40">
              <a:extLst>
                <a:ext uri="{FF2B5EF4-FFF2-40B4-BE49-F238E27FC236}">
                  <a16:creationId xmlns:a16="http://schemas.microsoft.com/office/drawing/2014/main" id="{5BDB0716-1892-54FD-8D4B-EAD8960E75BF}"/>
                </a:ext>
              </a:extLst>
            </p:cNvPr>
            <p:cNvSpPr>
              <a:spLocks noChangeAspect="1"/>
            </p:cNvSpPr>
            <p:nvPr userDrawn="1"/>
          </p:nvSpPr>
          <p:spPr bwMode="gray">
            <a:xfrm>
              <a:off x="5849282" y="3906594"/>
              <a:ext cx="344731" cy="304844"/>
            </a:xfrm>
            <a:custGeom>
              <a:avLst/>
              <a:gdLst>
                <a:gd name="T0" fmla="*/ 2147483647 w 642"/>
                <a:gd name="T1" fmla="*/ 2147483647 h 532"/>
                <a:gd name="T2" fmla="*/ 2147483647 w 642"/>
                <a:gd name="T3" fmla="*/ 0 h 532"/>
                <a:gd name="T4" fmla="*/ 2147483647 w 642"/>
                <a:gd name="T5" fmla="*/ 0 h 532"/>
                <a:gd name="T6" fmla="*/ 2147483647 w 642"/>
                <a:gd name="T7" fmla="*/ 0 h 532"/>
                <a:gd name="T8" fmla="*/ 2147483647 w 642"/>
                <a:gd name="T9" fmla="*/ 0 h 532"/>
                <a:gd name="T10" fmla="*/ 2147483647 w 642"/>
                <a:gd name="T11" fmla="*/ 0 h 532"/>
                <a:gd name="T12" fmla="*/ 2147483647 w 642"/>
                <a:gd name="T13" fmla="*/ 0 h 532"/>
                <a:gd name="T14" fmla="*/ 2147483647 w 642"/>
                <a:gd name="T15" fmla="*/ 0 h 532"/>
                <a:gd name="T16" fmla="*/ 2147483647 w 642"/>
                <a:gd name="T17" fmla="*/ 0 h 532"/>
                <a:gd name="T18" fmla="*/ 2147483647 w 642"/>
                <a:gd name="T19" fmla="*/ 0 h 532"/>
                <a:gd name="T20" fmla="*/ 2147483647 w 642"/>
                <a:gd name="T21" fmla="*/ 0 h 532"/>
                <a:gd name="T22" fmla="*/ 2147483647 w 642"/>
                <a:gd name="T23" fmla="*/ 0 h 532"/>
                <a:gd name="T24" fmla="*/ 2147483647 w 642"/>
                <a:gd name="T25" fmla="*/ 0 h 532"/>
                <a:gd name="T26" fmla="*/ 2147483647 w 642"/>
                <a:gd name="T27" fmla="*/ 0 h 532"/>
                <a:gd name="T28" fmla="*/ 2147483647 w 642"/>
                <a:gd name="T29" fmla="*/ 0 h 532"/>
                <a:gd name="T30" fmla="*/ 2147483647 w 642"/>
                <a:gd name="T31" fmla="*/ 0 h 532"/>
                <a:gd name="T32" fmla="*/ 2147483647 w 642"/>
                <a:gd name="T33" fmla="*/ 0 h 532"/>
                <a:gd name="T34" fmla="*/ 2147483647 w 642"/>
                <a:gd name="T35" fmla="*/ 0 h 532"/>
                <a:gd name="T36" fmla="*/ 2147483647 w 642"/>
                <a:gd name="T37" fmla="*/ 0 h 532"/>
                <a:gd name="T38" fmla="*/ 2147483647 w 642"/>
                <a:gd name="T39" fmla="*/ 0 h 532"/>
                <a:gd name="T40" fmla="*/ 2147483647 w 642"/>
                <a:gd name="T41" fmla="*/ 2147483647 h 532"/>
                <a:gd name="T42" fmla="*/ 2147483647 w 642"/>
                <a:gd name="T43" fmla="*/ 2147483647 h 532"/>
                <a:gd name="T44" fmla="*/ 2147483647 w 642"/>
                <a:gd name="T45" fmla="*/ 2147483647 h 532"/>
                <a:gd name="T46" fmla="*/ 2147483647 w 642"/>
                <a:gd name="T47" fmla="*/ 2147483647 h 532"/>
                <a:gd name="T48" fmla="*/ 2147483647 w 642"/>
                <a:gd name="T49" fmla="*/ 2147483647 h 532"/>
                <a:gd name="T50" fmla="*/ 2147483647 w 642"/>
                <a:gd name="T51" fmla="*/ 2147483647 h 532"/>
                <a:gd name="T52" fmla="*/ 2147483647 w 642"/>
                <a:gd name="T53" fmla="*/ 2147483647 h 532"/>
                <a:gd name="T54" fmla="*/ 2147483647 w 642"/>
                <a:gd name="T55" fmla="*/ 2147483647 h 532"/>
                <a:gd name="T56" fmla="*/ 2147483647 w 642"/>
                <a:gd name="T57" fmla="*/ 2147483647 h 532"/>
                <a:gd name="T58" fmla="*/ 2147483647 w 642"/>
                <a:gd name="T59" fmla="*/ 2147483647 h 532"/>
                <a:gd name="T60" fmla="*/ 2147483647 w 642"/>
                <a:gd name="T61" fmla="*/ 2147483647 h 532"/>
                <a:gd name="T62" fmla="*/ 2147483647 w 642"/>
                <a:gd name="T63" fmla="*/ 2147483647 h 532"/>
                <a:gd name="T64" fmla="*/ 2147483647 w 642"/>
                <a:gd name="T65" fmla="*/ 2147483647 h 532"/>
                <a:gd name="T66" fmla="*/ 2147483647 w 642"/>
                <a:gd name="T67" fmla="*/ 2147483647 h 532"/>
                <a:gd name="T68" fmla="*/ 2147483647 w 642"/>
                <a:gd name="T69" fmla="*/ 2147483647 h 532"/>
                <a:gd name="T70" fmla="*/ 2147483647 w 642"/>
                <a:gd name="T71" fmla="*/ 2147483647 h 532"/>
                <a:gd name="T72" fmla="*/ 2147483647 w 642"/>
                <a:gd name="T73" fmla="*/ 2147483647 h 532"/>
                <a:gd name="T74" fmla="*/ 2147483647 w 642"/>
                <a:gd name="T75" fmla="*/ 2147483647 h 532"/>
                <a:gd name="T76" fmla="*/ 2147483647 w 642"/>
                <a:gd name="T77" fmla="*/ 2147483647 h 532"/>
                <a:gd name="T78" fmla="*/ 2147483647 w 642"/>
                <a:gd name="T79" fmla="*/ 2147483647 h 532"/>
                <a:gd name="T80" fmla="*/ 2147483647 w 642"/>
                <a:gd name="T81" fmla="*/ 2147483647 h 532"/>
                <a:gd name="T82" fmla="*/ 2147483647 w 642"/>
                <a:gd name="T83" fmla="*/ 2147483647 h 532"/>
                <a:gd name="T84" fmla="*/ 2147483647 w 642"/>
                <a:gd name="T85" fmla="*/ 2147483647 h 532"/>
                <a:gd name="T86" fmla="*/ 2147483647 w 642"/>
                <a:gd name="T87" fmla="*/ 2147483647 h 532"/>
                <a:gd name="T88" fmla="*/ 2147483647 w 642"/>
                <a:gd name="T89" fmla="*/ 2147483647 h 532"/>
                <a:gd name="T90" fmla="*/ 2147483647 w 642"/>
                <a:gd name="T91" fmla="*/ 2147483647 h 532"/>
                <a:gd name="T92" fmla="*/ 2147483647 w 642"/>
                <a:gd name="T93" fmla="*/ 2147483647 h 532"/>
                <a:gd name="T94" fmla="*/ 2147483647 w 642"/>
                <a:gd name="T95" fmla="*/ 2147483647 h 532"/>
                <a:gd name="T96" fmla="*/ 2147483647 w 642"/>
                <a:gd name="T97" fmla="*/ 2147483647 h 532"/>
                <a:gd name="T98" fmla="*/ 0 w 642"/>
                <a:gd name="T99" fmla="*/ 2147483647 h 532"/>
                <a:gd name="T100" fmla="*/ 0 w 642"/>
                <a:gd name="T101" fmla="*/ 2147483647 h 532"/>
                <a:gd name="T102" fmla="*/ 0 w 642"/>
                <a:gd name="T103" fmla="*/ 2147483647 h 532"/>
                <a:gd name="T104" fmla="*/ 0 w 642"/>
                <a:gd name="T105" fmla="*/ 2147483647 h 532"/>
                <a:gd name="T106" fmla="*/ 2147483647 w 642"/>
                <a:gd name="T107" fmla="*/ 2147483647 h 532"/>
                <a:gd name="T108" fmla="*/ 2147483647 w 642"/>
                <a:gd name="T109" fmla="*/ 2147483647 h 532"/>
                <a:gd name="T110" fmla="*/ 2147483647 w 642"/>
                <a:gd name="T111" fmla="*/ 2147483647 h 532"/>
                <a:gd name="T112" fmla="*/ 2147483647 w 642"/>
                <a:gd name="T113" fmla="*/ 2147483647 h 532"/>
                <a:gd name="T114" fmla="*/ 2147483647 w 642"/>
                <a:gd name="T115" fmla="*/ 2147483647 h 532"/>
                <a:gd name="T116" fmla="*/ 0 w 642"/>
                <a:gd name="T117" fmla="*/ 2147483647 h 53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42"/>
                <a:gd name="T178" fmla="*/ 0 h 532"/>
                <a:gd name="T179" fmla="*/ 642 w 642"/>
                <a:gd name="T180" fmla="*/ 532 h 53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6" name="Freeform 41">
              <a:extLst>
                <a:ext uri="{FF2B5EF4-FFF2-40B4-BE49-F238E27FC236}">
                  <a16:creationId xmlns:a16="http://schemas.microsoft.com/office/drawing/2014/main" id="{AC45B1DB-EC4B-D803-D16A-A3F78BD3BEED}"/>
                </a:ext>
              </a:extLst>
            </p:cNvPr>
            <p:cNvSpPr>
              <a:spLocks noChangeAspect="1"/>
            </p:cNvSpPr>
            <p:nvPr userDrawn="1"/>
          </p:nvSpPr>
          <p:spPr bwMode="gray">
            <a:xfrm>
              <a:off x="6094026" y="4223631"/>
              <a:ext cx="223851" cy="272836"/>
            </a:xfrm>
            <a:custGeom>
              <a:avLst/>
              <a:gdLst>
                <a:gd name="T0" fmla="*/ 2147483647 w 417"/>
                <a:gd name="T1" fmla="*/ 0 h 479"/>
                <a:gd name="T2" fmla="*/ 2147483647 w 417"/>
                <a:gd name="T3" fmla="*/ 0 h 479"/>
                <a:gd name="T4" fmla="*/ 2147483647 w 417"/>
                <a:gd name="T5" fmla="*/ 0 h 479"/>
                <a:gd name="T6" fmla="*/ 2147483647 w 417"/>
                <a:gd name="T7" fmla="*/ 0 h 479"/>
                <a:gd name="T8" fmla="*/ 2147483647 w 417"/>
                <a:gd name="T9" fmla="*/ 0 h 479"/>
                <a:gd name="T10" fmla="*/ 2147483647 w 417"/>
                <a:gd name="T11" fmla="*/ 2147483647 h 479"/>
                <a:gd name="T12" fmla="*/ 2147483647 w 417"/>
                <a:gd name="T13" fmla="*/ 2147483647 h 479"/>
                <a:gd name="T14" fmla="*/ 2147483647 w 417"/>
                <a:gd name="T15" fmla="*/ 2147483647 h 479"/>
                <a:gd name="T16" fmla="*/ 2147483647 w 417"/>
                <a:gd name="T17" fmla="*/ 2147483647 h 479"/>
                <a:gd name="T18" fmla="*/ 2147483647 w 417"/>
                <a:gd name="T19" fmla="*/ 2147483647 h 479"/>
                <a:gd name="T20" fmla="*/ 2147483647 w 417"/>
                <a:gd name="T21" fmla="*/ 2147483647 h 479"/>
                <a:gd name="T22" fmla="*/ 2147483647 w 417"/>
                <a:gd name="T23" fmla="*/ 2147483647 h 479"/>
                <a:gd name="T24" fmla="*/ 2147483647 w 417"/>
                <a:gd name="T25" fmla="*/ 2147483647 h 479"/>
                <a:gd name="T26" fmla="*/ 2147483647 w 417"/>
                <a:gd name="T27" fmla="*/ 2147483647 h 479"/>
                <a:gd name="T28" fmla="*/ 2147483647 w 417"/>
                <a:gd name="T29" fmla="*/ 2147483647 h 479"/>
                <a:gd name="T30" fmla="*/ 2147483647 w 417"/>
                <a:gd name="T31" fmla="*/ 2147483647 h 479"/>
                <a:gd name="T32" fmla="*/ 2147483647 w 417"/>
                <a:gd name="T33" fmla="*/ 2147483647 h 479"/>
                <a:gd name="T34" fmla="*/ 2147483647 w 417"/>
                <a:gd name="T35" fmla="*/ 2147483647 h 479"/>
                <a:gd name="T36" fmla="*/ 2147483647 w 417"/>
                <a:gd name="T37" fmla="*/ 2147483647 h 479"/>
                <a:gd name="T38" fmla="*/ 2147483647 w 417"/>
                <a:gd name="T39" fmla="*/ 2147483647 h 479"/>
                <a:gd name="T40" fmla="*/ 2147483647 w 417"/>
                <a:gd name="T41" fmla="*/ 2147483647 h 479"/>
                <a:gd name="T42" fmla="*/ 0 w 417"/>
                <a:gd name="T43" fmla="*/ 2147483647 h 479"/>
                <a:gd name="T44" fmla="*/ 0 w 417"/>
                <a:gd name="T45" fmla="*/ 2147483647 h 479"/>
                <a:gd name="T46" fmla="*/ 0 w 417"/>
                <a:gd name="T47" fmla="*/ 2147483647 h 479"/>
                <a:gd name="T48" fmla="*/ 0 w 417"/>
                <a:gd name="T49" fmla="*/ 2147483647 h 479"/>
                <a:gd name="T50" fmla="*/ 0 w 417"/>
                <a:gd name="T51" fmla="*/ 2147483647 h 479"/>
                <a:gd name="T52" fmla="*/ 0 w 417"/>
                <a:gd name="T53" fmla="*/ 2147483647 h 479"/>
                <a:gd name="T54" fmla="*/ 0 w 417"/>
                <a:gd name="T55" fmla="*/ 2147483647 h 479"/>
                <a:gd name="T56" fmla="*/ 0 w 417"/>
                <a:gd name="T57" fmla="*/ 2147483647 h 479"/>
                <a:gd name="T58" fmla="*/ 2147483647 w 417"/>
                <a:gd name="T59" fmla="*/ 2147483647 h 479"/>
                <a:gd name="T60" fmla="*/ 2147483647 w 417"/>
                <a:gd name="T61" fmla="*/ 2147483647 h 479"/>
                <a:gd name="T62" fmla="*/ 2147483647 w 417"/>
                <a:gd name="T63" fmla="*/ 2147483647 h 479"/>
                <a:gd name="T64" fmla="*/ 2147483647 w 417"/>
                <a:gd name="T65" fmla="*/ 2147483647 h 479"/>
                <a:gd name="T66" fmla="*/ 2147483647 w 417"/>
                <a:gd name="T67" fmla="*/ 2147483647 h 479"/>
                <a:gd name="T68" fmla="*/ 2147483647 w 417"/>
                <a:gd name="T69" fmla="*/ 2147483647 h 479"/>
                <a:gd name="T70" fmla="*/ 2147483647 w 417"/>
                <a:gd name="T71" fmla="*/ 2147483647 h 479"/>
                <a:gd name="T72" fmla="*/ 2147483647 w 417"/>
                <a:gd name="T73" fmla="*/ 2147483647 h 479"/>
                <a:gd name="T74" fmla="*/ 2147483647 w 417"/>
                <a:gd name="T75" fmla="*/ 2147483647 h 479"/>
                <a:gd name="T76" fmla="*/ 2147483647 w 417"/>
                <a:gd name="T77" fmla="*/ 2147483647 h 479"/>
                <a:gd name="T78" fmla="*/ 2147483647 w 417"/>
                <a:gd name="T79" fmla="*/ 2147483647 h 479"/>
                <a:gd name="T80" fmla="*/ 2147483647 w 417"/>
                <a:gd name="T81" fmla="*/ 2147483647 h 479"/>
                <a:gd name="T82" fmla="*/ 2147483647 w 417"/>
                <a:gd name="T83" fmla="*/ 2147483647 h 479"/>
                <a:gd name="T84" fmla="*/ 2147483647 w 417"/>
                <a:gd name="T85" fmla="*/ 2147483647 h 479"/>
                <a:gd name="T86" fmla="*/ 2147483647 w 417"/>
                <a:gd name="T87" fmla="*/ 2147483647 h 479"/>
                <a:gd name="T88" fmla="*/ 2147483647 w 417"/>
                <a:gd name="T89" fmla="*/ 2147483647 h 479"/>
                <a:gd name="T90" fmla="*/ 2147483647 w 417"/>
                <a:gd name="T91" fmla="*/ 0 h 479"/>
                <a:gd name="T92" fmla="*/ 2147483647 w 417"/>
                <a:gd name="T93" fmla="*/ 0 h 47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17"/>
                <a:gd name="T142" fmla="*/ 0 h 479"/>
                <a:gd name="T143" fmla="*/ 417 w 417"/>
                <a:gd name="T144" fmla="*/ 479 h 47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7" name="Freeform 42">
              <a:extLst>
                <a:ext uri="{FF2B5EF4-FFF2-40B4-BE49-F238E27FC236}">
                  <a16:creationId xmlns:a16="http://schemas.microsoft.com/office/drawing/2014/main" id="{94B608D2-EA2E-1AFC-1CEE-6D38DF53AFD7}"/>
                </a:ext>
              </a:extLst>
            </p:cNvPr>
            <p:cNvSpPr>
              <a:spLocks noChangeAspect="1"/>
            </p:cNvSpPr>
            <p:nvPr userDrawn="1"/>
          </p:nvSpPr>
          <p:spPr bwMode="gray">
            <a:xfrm>
              <a:off x="6043286" y="4270882"/>
              <a:ext cx="56709" cy="38105"/>
            </a:xfrm>
            <a:custGeom>
              <a:avLst/>
              <a:gdLst>
                <a:gd name="T0" fmla="*/ 2147483647 w 107"/>
                <a:gd name="T1" fmla="*/ 0 h 69"/>
                <a:gd name="T2" fmla="*/ 2147483647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2147483647 w 107"/>
                <a:gd name="T27" fmla="*/ 0 h 69"/>
                <a:gd name="T28" fmla="*/ 2147483647 w 107"/>
                <a:gd name="T29" fmla="*/ 0 h 69"/>
                <a:gd name="T30" fmla="*/ 2147483647 w 107"/>
                <a:gd name="T31" fmla="*/ 0 h 69"/>
                <a:gd name="T32" fmla="*/ 2147483647 w 107"/>
                <a:gd name="T33" fmla="*/ 0 h 69"/>
                <a:gd name="T34" fmla="*/ 2147483647 w 107"/>
                <a:gd name="T35" fmla="*/ 0 h 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7"/>
                <a:gd name="T55" fmla="*/ 0 h 69"/>
                <a:gd name="T56" fmla="*/ 107 w 107"/>
                <a:gd name="T57" fmla="*/ 69 h 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8" name="Freeform 43">
              <a:extLst>
                <a:ext uri="{FF2B5EF4-FFF2-40B4-BE49-F238E27FC236}">
                  <a16:creationId xmlns:a16="http://schemas.microsoft.com/office/drawing/2014/main" id="{0A0E60B3-320B-D909-4AEC-29633CF5DCF7}"/>
                </a:ext>
              </a:extLst>
            </p:cNvPr>
            <p:cNvSpPr>
              <a:spLocks noChangeAspect="1"/>
            </p:cNvSpPr>
            <p:nvPr userDrawn="1"/>
          </p:nvSpPr>
          <p:spPr bwMode="gray">
            <a:xfrm>
              <a:off x="6625300" y="4412634"/>
              <a:ext cx="47755" cy="64017"/>
            </a:xfrm>
            <a:custGeom>
              <a:avLst/>
              <a:gdLst>
                <a:gd name="T0" fmla="*/ 2147483647 w 93"/>
                <a:gd name="T1" fmla="*/ 0 h 114"/>
                <a:gd name="T2" fmla="*/ 2147483647 w 93"/>
                <a:gd name="T3" fmla="*/ 0 h 114"/>
                <a:gd name="T4" fmla="*/ 2147483647 w 93"/>
                <a:gd name="T5" fmla="*/ 0 h 114"/>
                <a:gd name="T6" fmla="*/ 2147483647 w 93"/>
                <a:gd name="T7" fmla="*/ 0 h 114"/>
                <a:gd name="T8" fmla="*/ 2147483647 w 93"/>
                <a:gd name="T9" fmla="*/ 0 h 114"/>
                <a:gd name="T10" fmla="*/ 0 w 93"/>
                <a:gd name="T11" fmla="*/ 0 h 114"/>
                <a:gd name="T12" fmla="*/ 0 w 93"/>
                <a:gd name="T13" fmla="*/ 0 h 114"/>
                <a:gd name="T14" fmla="*/ 0 w 93"/>
                <a:gd name="T15" fmla="*/ 0 h 114"/>
                <a:gd name="T16" fmla="*/ 0 w 93"/>
                <a:gd name="T17" fmla="*/ 0 h 114"/>
                <a:gd name="T18" fmla="*/ 0 w 93"/>
                <a:gd name="T19" fmla="*/ 0 h 114"/>
                <a:gd name="T20" fmla="*/ 0 w 93"/>
                <a:gd name="T21" fmla="*/ 0 h 114"/>
                <a:gd name="T22" fmla="*/ 0 w 93"/>
                <a:gd name="T23" fmla="*/ 0 h 114"/>
                <a:gd name="T24" fmla="*/ 0 w 93"/>
                <a:gd name="T25" fmla="*/ 0 h 114"/>
                <a:gd name="T26" fmla="*/ 0 w 93"/>
                <a:gd name="T27" fmla="*/ 0 h 114"/>
                <a:gd name="T28" fmla="*/ 0 w 93"/>
                <a:gd name="T29" fmla="*/ 0 h 114"/>
                <a:gd name="T30" fmla="*/ 0 w 93"/>
                <a:gd name="T31" fmla="*/ 0 h 114"/>
                <a:gd name="T32" fmla="*/ 0 w 93"/>
                <a:gd name="T33" fmla="*/ 0 h 114"/>
                <a:gd name="T34" fmla="*/ 0 w 93"/>
                <a:gd name="T35" fmla="*/ 0 h 114"/>
                <a:gd name="T36" fmla="*/ 0 w 93"/>
                <a:gd name="T37" fmla="*/ 0 h 114"/>
                <a:gd name="T38" fmla="*/ 0 w 93"/>
                <a:gd name="T39" fmla="*/ 0 h 114"/>
                <a:gd name="T40" fmla="*/ 0 w 93"/>
                <a:gd name="T41" fmla="*/ 0 h 114"/>
                <a:gd name="T42" fmla="*/ 0 w 93"/>
                <a:gd name="T43" fmla="*/ 0 h 114"/>
                <a:gd name="T44" fmla="*/ 0 w 93"/>
                <a:gd name="T45" fmla="*/ 0 h 114"/>
                <a:gd name="T46" fmla="*/ 0 w 93"/>
                <a:gd name="T47" fmla="*/ 0 h 114"/>
                <a:gd name="T48" fmla="*/ 0 w 93"/>
                <a:gd name="T49" fmla="*/ 0 h 114"/>
                <a:gd name="T50" fmla="*/ 0 w 93"/>
                <a:gd name="T51" fmla="*/ 0 h 114"/>
                <a:gd name="T52" fmla="*/ 0 w 93"/>
                <a:gd name="T53" fmla="*/ 0 h 114"/>
                <a:gd name="T54" fmla="*/ 0 w 93"/>
                <a:gd name="T55" fmla="*/ 2147483647 h 114"/>
                <a:gd name="T56" fmla="*/ 0 w 93"/>
                <a:gd name="T57" fmla="*/ 2147483647 h 114"/>
                <a:gd name="T58" fmla="*/ 0 w 93"/>
                <a:gd name="T59" fmla="*/ 2147483647 h 114"/>
                <a:gd name="T60" fmla="*/ 0 w 93"/>
                <a:gd name="T61" fmla="*/ 2147483647 h 114"/>
                <a:gd name="T62" fmla="*/ 0 w 93"/>
                <a:gd name="T63" fmla="*/ 2147483647 h 114"/>
                <a:gd name="T64" fmla="*/ 0 w 93"/>
                <a:gd name="T65" fmla="*/ 2147483647 h 114"/>
                <a:gd name="T66" fmla="*/ 0 w 93"/>
                <a:gd name="T67" fmla="*/ 2147483647 h 114"/>
                <a:gd name="T68" fmla="*/ 0 w 93"/>
                <a:gd name="T69" fmla="*/ 2147483647 h 114"/>
                <a:gd name="T70" fmla="*/ 2147483647 w 93"/>
                <a:gd name="T71" fmla="*/ 2147483647 h 114"/>
                <a:gd name="T72" fmla="*/ 2147483647 w 93"/>
                <a:gd name="T73" fmla="*/ 2147483647 h 114"/>
                <a:gd name="T74" fmla="*/ 2147483647 w 93"/>
                <a:gd name="T75" fmla="*/ 0 h 114"/>
                <a:gd name="T76" fmla="*/ 2147483647 w 93"/>
                <a:gd name="T77" fmla="*/ 0 h 114"/>
                <a:gd name="T78" fmla="*/ 2147483647 w 93"/>
                <a:gd name="T79" fmla="*/ 0 h 114"/>
                <a:gd name="T80" fmla="*/ 2147483647 w 93"/>
                <a:gd name="T81" fmla="*/ 0 h 114"/>
                <a:gd name="T82" fmla="*/ 2147483647 w 93"/>
                <a:gd name="T83" fmla="*/ 0 h 114"/>
                <a:gd name="T84" fmla="*/ 2147483647 w 93"/>
                <a:gd name="T85" fmla="*/ 0 h 114"/>
                <a:gd name="T86" fmla="*/ 2147483647 w 93"/>
                <a:gd name="T87" fmla="*/ 0 h 114"/>
                <a:gd name="T88" fmla="*/ 2147483647 w 93"/>
                <a:gd name="T89" fmla="*/ 0 h 114"/>
                <a:gd name="T90" fmla="*/ 2147483647 w 93"/>
                <a:gd name="T91" fmla="*/ 0 h 114"/>
                <a:gd name="T92" fmla="*/ 2147483647 w 93"/>
                <a:gd name="T93" fmla="*/ 0 h 114"/>
                <a:gd name="T94" fmla="*/ 2147483647 w 93"/>
                <a:gd name="T95" fmla="*/ 0 h 114"/>
                <a:gd name="T96" fmla="*/ 2147483647 w 93"/>
                <a:gd name="T97" fmla="*/ 0 h 1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3"/>
                <a:gd name="T148" fmla="*/ 0 h 114"/>
                <a:gd name="T149" fmla="*/ 93 w 93"/>
                <a:gd name="T150" fmla="*/ 114 h 1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49" name="Freeform 44">
              <a:extLst>
                <a:ext uri="{FF2B5EF4-FFF2-40B4-BE49-F238E27FC236}">
                  <a16:creationId xmlns:a16="http://schemas.microsoft.com/office/drawing/2014/main" id="{08A2C7B3-B55C-A57A-91F8-3E90BCA90D4C}"/>
                </a:ext>
              </a:extLst>
            </p:cNvPr>
            <p:cNvSpPr>
              <a:spLocks noChangeAspect="1"/>
            </p:cNvSpPr>
            <p:nvPr userDrawn="1"/>
          </p:nvSpPr>
          <p:spPr bwMode="gray">
            <a:xfrm>
              <a:off x="6641716" y="4211438"/>
              <a:ext cx="155204" cy="173761"/>
            </a:xfrm>
            <a:custGeom>
              <a:avLst/>
              <a:gdLst>
                <a:gd name="T0" fmla="*/ 2147483647 w 289"/>
                <a:gd name="T1" fmla="*/ 0 h 302"/>
                <a:gd name="T2" fmla="*/ 2147483647 w 289"/>
                <a:gd name="T3" fmla="*/ 0 h 302"/>
                <a:gd name="T4" fmla="*/ 2147483647 w 289"/>
                <a:gd name="T5" fmla="*/ 0 h 302"/>
                <a:gd name="T6" fmla="*/ 2147483647 w 289"/>
                <a:gd name="T7" fmla="*/ 0 h 302"/>
                <a:gd name="T8" fmla="*/ 2147483647 w 289"/>
                <a:gd name="T9" fmla="*/ 0 h 302"/>
                <a:gd name="T10" fmla="*/ 2147483647 w 289"/>
                <a:gd name="T11" fmla="*/ 0 h 302"/>
                <a:gd name="T12" fmla="*/ 2147483647 w 289"/>
                <a:gd name="T13" fmla="*/ 0 h 302"/>
                <a:gd name="T14" fmla="*/ 2147483647 w 289"/>
                <a:gd name="T15" fmla="*/ 0 h 302"/>
                <a:gd name="T16" fmla="*/ 2147483647 w 289"/>
                <a:gd name="T17" fmla="*/ 0 h 302"/>
                <a:gd name="T18" fmla="*/ 2147483647 w 289"/>
                <a:gd name="T19" fmla="*/ 2147483647 h 302"/>
                <a:gd name="T20" fmla="*/ 2147483647 w 289"/>
                <a:gd name="T21" fmla="*/ 2147483647 h 302"/>
                <a:gd name="T22" fmla="*/ 2147483647 w 289"/>
                <a:gd name="T23" fmla="*/ 2147483647 h 302"/>
                <a:gd name="T24" fmla="*/ 2147483647 w 289"/>
                <a:gd name="T25" fmla="*/ 2147483647 h 302"/>
                <a:gd name="T26" fmla="*/ 2147483647 w 289"/>
                <a:gd name="T27" fmla="*/ 2147483647 h 302"/>
                <a:gd name="T28" fmla="*/ 2147483647 w 289"/>
                <a:gd name="T29" fmla="*/ 2147483647 h 302"/>
                <a:gd name="T30" fmla="*/ 0 w 289"/>
                <a:gd name="T31" fmla="*/ 2147483647 h 302"/>
                <a:gd name="T32" fmla="*/ 0 w 289"/>
                <a:gd name="T33" fmla="*/ 2147483647 h 302"/>
                <a:gd name="T34" fmla="*/ 0 w 289"/>
                <a:gd name="T35" fmla="*/ 2147483647 h 302"/>
                <a:gd name="T36" fmla="*/ 0 w 289"/>
                <a:gd name="T37" fmla="*/ 2147483647 h 302"/>
                <a:gd name="T38" fmla="*/ 0 w 289"/>
                <a:gd name="T39" fmla="*/ 2147483647 h 302"/>
                <a:gd name="T40" fmla="*/ 0 w 289"/>
                <a:gd name="T41" fmla="*/ 2147483647 h 302"/>
                <a:gd name="T42" fmla="*/ 0 w 289"/>
                <a:gd name="T43" fmla="*/ 2147483647 h 302"/>
                <a:gd name="T44" fmla="*/ 0 w 289"/>
                <a:gd name="T45" fmla="*/ 2147483647 h 302"/>
                <a:gd name="T46" fmla="*/ 2147483647 w 289"/>
                <a:gd name="T47" fmla="*/ 2147483647 h 302"/>
                <a:gd name="T48" fmla="*/ 2147483647 w 289"/>
                <a:gd name="T49" fmla="*/ 2147483647 h 302"/>
                <a:gd name="T50" fmla="*/ 2147483647 w 289"/>
                <a:gd name="T51" fmla="*/ 2147483647 h 302"/>
                <a:gd name="T52" fmla="*/ 2147483647 w 289"/>
                <a:gd name="T53" fmla="*/ 2147483647 h 302"/>
                <a:gd name="T54" fmla="*/ 2147483647 w 289"/>
                <a:gd name="T55" fmla="*/ 2147483647 h 302"/>
                <a:gd name="T56" fmla="*/ 2147483647 w 289"/>
                <a:gd name="T57" fmla="*/ 2147483647 h 302"/>
                <a:gd name="T58" fmla="*/ 2147483647 w 289"/>
                <a:gd name="T59" fmla="*/ 2147483647 h 302"/>
                <a:gd name="T60" fmla="*/ 2147483647 w 289"/>
                <a:gd name="T61" fmla="*/ 2147483647 h 302"/>
                <a:gd name="T62" fmla="*/ 2147483647 w 289"/>
                <a:gd name="T63" fmla="*/ 2147483647 h 302"/>
                <a:gd name="T64" fmla="*/ 2147483647 w 289"/>
                <a:gd name="T65" fmla="*/ 2147483647 h 302"/>
                <a:gd name="T66" fmla="*/ 2147483647 w 289"/>
                <a:gd name="T67" fmla="*/ 2147483647 h 302"/>
                <a:gd name="T68" fmla="*/ 2147483647 w 289"/>
                <a:gd name="T69" fmla="*/ 2147483647 h 302"/>
                <a:gd name="T70" fmla="*/ 2147483647 w 289"/>
                <a:gd name="T71" fmla="*/ 2147483647 h 302"/>
                <a:gd name="T72" fmla="*/ 2147483647 w 289"/>
                <a:gd name="T73" fmla="*/ 2147483647 h 302"/>
                <a:gd name="T74" fmla="*/ 2147483647 w 289"/>
                <a:gd name="T75" fmla="*/ 2147483647 h 302"/>
                <a:gd name="T76" fmla="*/ 2147483647 w 289"/>
                <a:gd name="T77" fmla="*/ 2147483647 h 302"/>
                <a:gd name="T78" fmla="*/ 2147483647 w 289"/>
                <a:gd name="T79" fmla="*/ 2147483647 h 302"/>
                <a:gd name="T80" fmla="*/ 2147483647 w 289"/>
                <a:gd name="T81" fmla="*/ 0 h 302"/>
                <a:gd name="T82" fmla="*/ 2147483647 w 289"/>
                <a:gd name="T83" fmla="*/ 0 h 302"/>
                <a:gd name="T84" fmla="*/ 2147483647 w 289"/>
                <a:gd name="T85" fmla="*/ 0 h 302"/>
                <a:gd name="T86" fmla="*/ 2147483647 w 289"/>
                <a:gd name="T87" fmla="*/ 0 h 302"/>
                <a:gd name="T88" fmla="*/ 2147483647 w 289"/>
                <a:gd name="T89" fmla="*/ 0 h 302"/>
                <a:gd name="T90" fmla="*/ 2147483647 w 289"/>
                <a:gd name="T91" fmla="*/ 0 h 302"/>
                <a:gd name="T92" fmla="*/ 2147483647 w 289"/>
                <a:gd name="T93" fmla="*/ 0 h 3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89"/>
                <a:gd name="T142" fmla="*/ 0 h 302"/>
                <a:gd name="T143" fmla="*/ 289 w 289"/>
                <a:gd name="T144" fmla="*/ 302 h 3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0" name="Freeform 45">
              <a:extLst>
                <a:ext uri="{FF2B5EF4-FFF2-40B4-BE49-F238E27FC236}">
                  <a16:creationId xmlns:a16="http://schemas.microsoft.com/office/drawing/2014/main" id="{1D5C735A-4D87-8B52-79D9-3564DFCBFA1E}"/>
                </a:ext>
              </a:extLst>
            </p:cNvPr>
            <p:cNvSpPr>
              <a:spLocks noChangeAspect="1"/>
            </p:cNvSpPr>
            <p:nvPr userDrawn="1"/>
          </p:nvSpPr>
          <p:spPr bwMode="gray">
            <a:xfrm>
              <a:off x="6620823" y="4373004"/>
              <a:ext cx="55216" cy="54872"/>
            </a:xfrm>
            <a:custGeom>
              <a:avLst/>
              <a:gdLst>
                <a:gd name="T0" fmla="*/ 0 w 104"/>
                <a:gd name="T1" fmla="*/ 2147483647 h 96"/>
                <a:gd name="T2" fmla="*/ 0 w 104"/>
                <a:gd name="T3" fmla="*/ 2147483647 h 96"/>
                <a:gd name="T4" fmla="*/ 0 w 104"/>
                <a:gd name="T5" fmla="*/ 2147483647 h 96"/>
                <a:gd name="T6" fmla="*/ 0 w 104"/>
                <a:gd name="T7" fmla="*/ 0 h 96"/>
                <a:gd name="T8" fmla="*/ 0 w 104"/>
                <a:gd name="T9" fmla="*/ 0 h 96"/>
                <a:gd name="T10" fmla="*/ 0 w 104"/>
                <a:gd name="T11" fmla="*/ 0 h 96"/>
                <a:gd name="T12" fmla="*/ 0 w 104"/>
                <a:gd name="T13" fmla="*/ 2147483647 h 96"/>
                <a:gd name="T14" fmla="*/ 0 w 104"/>
                <a:gd name="T15" fmla="*/ 2147483647 h 96"/>
                <a:gd name="T16" fmla="*/ 0 w 104"/>
                <a:gd name="T17" fmla="*/ 2147483647 h 96"/>
                <a:gd name="T18" fmla="*/ 0 w 104"/>
                <a:gd name="T19" fmla="*/ 2147483647 h 96"/>
                <a:gd name="T20" fmla="*/ 0 w 104"/>
                <a:gd name="T21" fmla="*/ 2147483647 h 96"/>
                <a:gd name="T22" fmla="*/ 2147483647 w 104"/>
                <a:gd name="T23" fmla="*/ 2147483647 h 96"/>
                <a:gd name="T24" fmla="*/ 2147483647 w 104"/>
                <a:gd name="T25" fmla="*/ 2147483647 h 96"/>
                <a:gd name="T26" fmla="*/ 2147483647 w 104"/>
                <a:gd name="T27" fmla="*/ 0 h 96"/>
                <a:gd name="T28" fmla="*/ 2147483647 w 104"/>
                <a:gd name="T29" fmla="*/ 0 h 96"/>
                <a:gd name="T30" fmla="*/ 2147483647 w 104"/>
                <a:gd name="T31" fmla="*/ 0 h 96"/>
                <a:gd name="T32" fmla="*/ 2147483647 w 104"/>
                <a:gd name="T33" fmla="*/ 0 h 96"/>
                <a:gd name="T34" fmla="*/ 2147483647 w 104"/>
                <a:gd name="T35" fmla="*/ 0 h 96"/>
                <a:gd name="T36" fmla="*/ 2147483647 w 104"/>
                <a:gd name="T37" fmla="*/ 0 h 96"/>
                <a:gd name="T38" fmla="*/ 2147483647 w 104"/>
                <a:gd name="T39" fmla="*/ 0 h 96"/>
                <a:gd name="T40" fmla="*/ 2147483647 w 104"/>
                <a:gd name="T41" fmla="*/ 0 h 96"/>
                <a:gd name="T42" fmla="*/ 2147483647 w 104"/>
                <a:gd name="T43" fmla="*/ 0 h 96"/>
                <a:gd name="T44" fmla="*/ 2147483647 w 104"/>
                <a:gd name="T45" fmla="*/ 0 h 96"/>
                <a:gd name="T46" fmla="*/ 2147483647 w 104"/>
                <a:gd name="T47" fmla="*/ 0 h 96"/>
                <a:gd name="T48" fmla="*/ 2147483647 w 104"/>
                <a:gd name="T49" fmla="*/ 0 h 96"/>
                <a:gd name="T50" fmla="*/ 2147483647 w 104"/>
                <a:gd name="T51" fmla="*/ 0 h 96"/>
                <a:gd name="T52" fmla="*/ 2147483647 w 104"/>
                <a:gd name="T53" fmla="*/ 0 h 96"/>
                <a:gd name="T54" fmla="*/ 2147483647 w 104"/>
                <a:gd name="T55" fmla="*/ 0 h 96"/>
                <a:gd name="T56" fmla="*/ 2147483647 w 104"/>
                <a:gd name="T57" fmla="*/ 0 h 96"/>
                <a:gd name="T58" fmla="*/ 2147483647 w 104"/>
                <a:gd name="T59" fmla="*/ 0 h 96"/>
                <a:gd name="T60" fmla="*/ 2147483647 w 104"/>
                <a:gd name="T61" fmla="*/ 0 h 96"/>
                <a:gd name="T62" fmla="*/ 2147483647 w 104"/>
                <a:gd name="T63" fmla="*/ 0 h 96"/>
                <a:gd name="T64" fmla="*/ 2147483647 w 104"/>
                <a:gd name="T65" fmla="*/ 0 h 96"/>
                <a:gd name="T66" fmla="*/ 0 w 104"/>
                <a:gd name="T67" fmla="*/ 0 h 96"/>
                <a:gd name="T68" fmla="*/ 0 w 104"/>
                <a:gd name="T69" fmla="*/ 0 h 96"/>
                <a:gd name="T70" fmla="*/ 0 w 104"/>
                <a:gd name="T71" fmla="*/ 0 h 96"/>
                <a:gd name="T72" fmla="*/ 0 w 104"/>
                <a:gd name="T73" fmla="*/ 0 h 96"/>
                <a:gd name="T74" fmla="*/ 0 w 104"/>
                <a:gd name="T75" fmla="*/ 0 h 96"/>
                <a:gd name="T76" fmla="*/ 0 w 104"/>
                <a:gd name="T77" fmla="*/ 0 h 96"/>
                <a:gd name="T78" fmla="*/ 0 w 104"/>
                <a:gd name="T79" fmla="*/ 0 h 96"/>
                <a:gd name="T80" fmla="*/ 0 w 104"/>
                <a:gd name="T81" fmla="*/ 0 h 96"/>
                <a:gd name="T82" fmla="*/ 0 w 104"/>
                <a:gd name="T83" fmla="*/ 0 h 96"/>
                <a:gd name="T84" fmla="*/ 0 w 104"/>
                <a:gd name="T85" fmla="*/ 2147483647 h 96"/>
                <a:gd name="T86" fmla="*/ 0 w 104"/>
                <a:gd name="T87" fmla="*/ 2147483647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4"/>
                <a:gd name="T133" fmla="*/ 0 h 96"/>
                <a:gd name="T134" fmla="*/ 104 w 104"/>
                <a:gd name="T135" fmla="*/ 96 h 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1" name="Freeform 46">
              <a:extLst>
                <a:ext uri="{FF2B5EF4-FFF2-40B4-BE49-F238E27FC236}">
                  <a16:creationId xmlns:a16="http://schemas.microsoft.com/office/drawing/2014/main" id="{D0D9E2F6-082D-E55A-7FFA-50D6EA17941C}"/>
                </a:ext>
              </a:extLst>
            </p:cNvPr>
            <p:cNvSpPr>
              <a:spLocks noChangeAspect="1"/>
            </p:cNvSpPr>
            <p:nvPr userDrawn="1"/>
          </p:nvSpPr>
          <p:spPr bwMode="gray">
            <a:xfrm>
              <a:off x="6764088" y="4197720"/>
              <a:ext cx="232805" cy="288077"/>
            </a:xfrm>
            <a:custGeom>
              <a:avLst/>
              <a:gdLst>
                <a:gd name="T0" fmla="*/ 2147483647 w 435"/>
                <a:gd name="T1" fmla="*/ 2147483647 h 504"/>
                <a:gd name="T2" fmla="*/ 2147483647 w 435"/>
                <a:gd name="T3" fmla="*/ 2147483647 h 504"/>
                <a:gd name="T4" fmla="*/ 2147483647 w 435"/>
                <a:gd name="T5" fmla="*/ 0 h 504"/>
                <a:gd name="T6" fmla="*/ 2147483647 w 435"/>
                <a:gd name="T7" fmla="*/ 0 h 504"/>
                <a:gd name="T8" fmla="*/ 2147483647 w 435"/>
                <a:gd name="T9" fmla="*/ 0 h 504"/>
                <a:gd name="T10" fmla="*/ 2147483647 w 435"/>
                <a:gd name="T11" fmla="*/ 0 h 504"/>
                <a:gd name="T12" fmla="*/ 2147483647 w 435"/>
                <a:gd name="T13" fmla="*/ 0 h 504"/>
                <a:gd name="T14" fmla="*/ 2147483647 w 435"/>
                <a:gd name="T15" fmla="*/ 0 h 504"/>
                <a:gd name="T16" fmla="*/ 2147483647 w 435"/>
                <a:gd name="T17" fmla="*/ 0 h 504"/>
                <a:gd name="T18" fmla="*/ 2147483647 w 435"/>
                <a:gd name="T19" fmla="*/ 0 h 504"/>
                <a:gd name="T20" fmla="*/ 2147483647 w 435"/>
                <a:gd name="T21" fmla="*/ 0 h 504"/>
                <a:gd name="T22" fmla="*/ 2147483647 w 435"/>
                <a:gd name="T23" fmla="*/ 0 h 504"/>
                <a:gd name="T24" fmla="*/ 2147483647 w 435"/>
                <a:gd name="T25" fmla="*/ 0 h 504"/>
                <a:gd name="T26" fmla="*/ 2147483647 w 435"/>
                <a:gd name="T27" fmla="*/ 0 h 504"/>
                <a:gd name="T28" fmla="*/ 0 w 435"/>
                <a:gd name="T29" fmla="*/ 0 h 504"/>
                <a:gd name="T30" fmla="*/ 0 w 435"/>
                <a:gd name="T31" fmla="*/ 0 h 504"/>
                <a:gd name="T32" fmla="*/ 0 w 435"/>
                <a:gd name="T33" fmla="*/ 0 h 504"/>
                <a:gd name="T34" fmla="*/ 0 w 435"/>
                <a:gd name="T35" fmla="*/ 0 h 504"/>
                <a:gd name="T36" fmla="*/ 0 w 435"/>
                <a:gd name="T37" fmla="*/ 0 h 504"/>
                <a:gd name="T38" fmla="*/ 0 w 435"/>
                <a:gd name="T39" fmla="*/ 0 h 504"/>
                <a:gd name="T40" fmla="*/ 0 w 435"/>
                <a:gd name="T41" fmla="*/ 2147483647 h 504"/>
                <a:gd name="T42" fmla="*/ 0 w 435"/>
                <a:gd name="T43" fmla="*/ 2147483647 h 504"/>
                <a:gd name="T44" fmla="*/ 2147483647 w 435"/>
                <a:gd name="T45" fmla="*/ 2147483647 h 504"/>
                <a:gd name="T46" fmla="*/ 2147483647 w 435"/>
                <a:gd name="T47" fmla="*/ 2147483647 h 504"/>
                <a:gd name="T48" fmla="*/ 2147483647 w 435"/>
                <a:gd name="T49" fmla="*/ 2147483647 h 504"/>
                <a:gd name="T50" fmla="*/ 0 w 435"/>
                <a:gd name="T51" fmla="*/ 2147483647 h 504"/>
                <a:gd name="T52" fmla="*/ 0 w 435"/>
                <a:gd name="T53" fmla="*/ 2147483647 h 504"/>
                <a:gd name="T54" fmla="*/ 0 w 435"/>
                <a:gd name="T55" fmla="*/ 2147483647 h 504"/>
                <a:gd name="T56" fmla="*/ 0 w 435"/>
                <a:gd name="T57" fmla="*/ 2147483647 h 504"/>
                <a:gd name="T58" fmla="*/ 0 w 435"/>
                <a:gd name="T59" fmla="*/ 2147483647 h 504"/>
                <a:gd name="T60" fmla="*/ 0 w 435"/>
                <a:gd name="T61" fmla="*/ 2147483647 h 504"/>
                <a:gd name="T62" fmla="*/ 0 w 435"/>
                <a:gd name="T63" fmla="*/ 2147483647 h 504"/>
                <a:gd name="T64" fmla="*/ 0 w 435"/>
                <a:gd name="T65" fmla="*/ 2147483647 h 504"/>
                <a:gd name="T66" fmla="*/ 0 w 435"/>
                <a:gd name="T67" fmla="*/ 2147483647 h 504"/>
                <a:gd name="T68" fmla="*/ 2147483647 w 435"/>
                <a:gd name="T69" fmla="*/ 2147483647 h 504"/>
                <a:gd name="T70" fmla="*/ 2147483647 w 435"/>
                <a:gd name="T71" fmla="*/ 2147483647 h 504"/>
                <a:gd name="T72" fmla="*/ 2147483647 w 435"/>
                <a:gd name="T73" fmla="*/ 2147483647 h 504"/>
                <a:gd name="T74" fmla="*/ 2147483647 w 435"/>
                <a:gd name="T75" fmla="*/ 2147483647 h 504"/>
                <a:gd name="T76" fmla="*/ 2147483647 w 435"/>
                <a:gd name="T77" fmla="*/ 2147483647 h 504"/>
                <a:gd name="T78" fmla="*/ 2147483647 w 435"/>
                <a:gd name="T79" fmla="*/ 2147483647 h 504"/>
                <a:gd name="T80" fmla="*/ 2147483647 w 435"/>
                <a:gd name="T81" fmla="*/ 2147483647 h 504"/>
                <a:gd name="T82" fmla="*/ 2147483647 w 435"/>
                <a:gd name="T83" fmla="*/ 2147483647 h 504"/>
                <a:gd name="T84" fmla="*/ 2147483647 w 435"/>
                <a:gd name="T85" fmla="*/ 2147483647 h 504"/>
                <a:gd name="T86" fmla="*/ 2147483647 w 435"/>
                <a:gd name="T87" fmla="*/ 2147483647 h 504"/>
                <a:gd name="T88" fmla="*/ 2147483647 w 435"/>
                <a:gd name="T89" fmla="*/ 2147483647 h 504"/>
                <a:gd name="T90" fmla="*/ 2147483647 w 435"/>
                <a:gd name="T91" fmla="*/ 2147483647 h 504"/>
                <a:gd name="T92" fmla="*/ 2147483647 w 435"/>
                <a:gd name="T93" fmla="*/ 2147483647 h 504"/>
                <a:gd name="T94" fmla="*/ 2147483647 w 435"/>
                <a:gd name="T95" fmla="*/ 2147483647 h 504"/>
                <a:gd name="T96" fmla="*/ 2147483647 w 435"/>
                <a:gd name="T97" fmla="*/ 2147483647 h 5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5"/>
                <a:gd name="T148" fmla="*/ 0 h 504"/>
                <a:gd name="T149" fmla="*/ 435 w 435"/>
                <a:gd name="T150" fmla="*/ 504 h 5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2" name="Freeform 47">
              <a:extLst>
                <a:ext uri="{FF2B5EF4-FFF2-40B4-BE49-F238E27FC236}">
                  <a16:creationId xmlns:a16="http://schemas.microsoft.com/office/drawing/2014/main" id="{146F5472-B941-ECA5-53B0-ED7A89179BE0}"/>
                </a:ext>
              </a:extLst>
            </p:cNvPr>
            <p:cNvSpPr>
              <a:spLocks noChangeAspect="1"/>
            </p:cNvSpPr>
            <p:nvPr userDrawn="1"/>
          </p:nvSpPr>
          <p:spPr bwMode="gray">
            <a:xfrm>
              <a:off x="5259807" y="3816666"/>
              <a:ext cx="180573" cy="138704"/>
            </a:xfrm>
            <a:custGeom>
              <a:avLst/>
              <a:gdLst>
                <a:gd name="T0" fmla="*/ 0 w 344"/>
                <a:gd name="T1" fmla="*/ 2147483647 h 244"/>
                <a:gd name="T2" fmla="*/ 0 w 344"/>
                <a:gd name="T3" fmla="*/ 2147483647 h 244"/>
                <a:gd name="T4" fmla="*/ 0 w 344"/>
                <a:gd name="T5" fmla="*/ 2147483647 h 244"/>
                <a:gd name="T6" fmla="*/ 0 w 344"/>
                <a:gd name="T7" fmla="*/ 2147483647 h 244"/>
                <a:gd name="T8" fmla="*/ 0 w 344"/>
                <a:gd name="T9" fmla="*/ 2147483647 h 244"/>
                <a:gd name="T10" fmla="*/ 0 w 344"/>
                <a:gd name="T11" fmla="*/ 0 h 244"/>
                <a:gd name="T12" fmla="*/ 2147483647 w 344"/>
                <a:gd name="T13" fmla="*/ 0 h 244"/>
                <a:gd name="T14" fmla="*/ 2147483647 w 344"/>
                <a:gd name="T15" fmla="*/ 0 h 244"/>
                <a:gd name="T16" fmla="*/ 2147483647 w 344"/>
                <a:gd name="T17" fmla="*/ 0 h 244"/>
                <a:gd name="T18" fmla="*/ 2147483647 w 344"/>
                <a:gd name="T19" fmla="*/ 0 h 244"/>
                <a:gd name="T20" fmla="*/ 2147483647 w 344"/>
                <a:gd name="T21" fmla="*/ 0 h 244"/>
                <a:gd name="T22" fmla="*/ 2147483647 w 344"/>
                <a:gd name="T23" fmla="*/ 0 h 244"/>
                <a:gd name="T24" fmla="*/ 2147483647 w 344"/>
                <a:gd name="T25" fmla="*/ 0 h 244"/>
                <a:gd name="T26" fmla="*/ 2147483647 w 344"/>
                <a:gd name="T27" fmla="*/ 0 h 244"/>
                <a:gd name="T28" fmla="*/ 2147483647 w 344"/>
                <a:gd name="T29" fmla="*/ 0 h 244"/>
                <a:gd name="T30" fmla="*/ 2147483647 w 344"/>
                <a:gd name="T31" fmla="*/ 0 h 244"/>
                <a:gd name="T32" fmla="*/ 2147483647 w 344"/>
                <a:gd name="T33" fmla="*/ 0 h 244"/>
                <a:gd name="T34" fmla="*/ 2147483647 w 344"/>
                <a:gd name="T35" fmla="*/ 2147483647 h 244"/>
                <a:gd name="T36" fmla="*/ 2147483647 w 344"/>
                <a:gd name="T37" fmla="*/ 2147483647 h 244"/>
                <a:gd name="T38" fmla="*/ 2147483647 w 344"/>
                <a:gd name="T39" fmla="*/ 2147483647 h 244"/>
                <a:gd name="T40" fmla="*/ 2147483647 w 344"/>
                <a:gd name="T41" fmla="*/ 2147483647 h 244"/>
                <a:gd name="T42" fmla="*/ 2147483647 w 344"/>
                <a:gd name="T43" fmla="*/ 2147483647 h 244"/>
                <a:gd name="T44" fmla="*/ 2147483647 w 344"/>
                <a:gd name="T45" fmla="*/ 2147483647 h 244"/>
                <a:gd name="T46" fmla="*/ 2147483647 w 344"/>
                <a:gd name="T47" fmla="*/ 2147483647 h 244"/>
                <a:gd name="T48" fmla="*/ 2147483647 w 344"/>
                <a:gd name="T49" fmla="*/ 2147483647 h 244"/>
                <a:gd name="T50" fmla="*/ 2147483647 w 344"/>
                <a:gd name="T51" fmla="*/ 2147483647 h 244"/>
                <a:gd name="T52" fmla="*/ 2147483647 w 344"/>
                <a:gd name="T53" fmla="*/ 2147483647 h 244"/>
                <a:gd name="T54" fmla="*/ 2147483647 w 344"/>
                <a:gd name="T55" fmla="*/ 2147483647 h 244"/>
                <a:gd name="T56" fmla="*/ 2147483647 w 344"/>
                <a:gd name="T57" fmla="*/ 2147483647 h 244"/>
                <a:gd name="T58" fmla="*/ 2147483647 w 344"/>
                <a:gd name="T59" fmla="*/ 2147483647 h 244"/>
                <a:gd name="T60" fmla="*/ 2147483647 w 344"/>
                <a:gd name="T61" fmla="*/ 2147483647 h 244"/>
                <a:gd name="T62" fmla="*/ 2147483647 w 344"/>
                <a:gd name="T63" fmla="*/ 2147483647 h 244"/>
                <a:gd name="T64" fmla="*/ 2147483647 w 344"/>
                <a:gd name="T65" fmla="*/ 2147483647 h 244"/>
                <a:gd name="T66" fmla="*/ 2147483647 w 344"/>
                <a:gd name="T67" fmla="*/ 2147483647 h 244"/>
                <a:gd name="T68" fmla="*/ 2147483647 w 344"/>
                <a:gd name="T69" fmla="*/ 2147483647 h 244"/>
                <a:gd name="T70" fmla="*/ 2147483647 w 344"/>
                <a:gd name="T71" fmla="*/ 2147483647 h 244"/>
                <a:gd name="T72" fmla="*/ 0 w 344"/>
                <a:gd name="T73" fmla="*/ 2147483647 h 244"/>
                <a:gd name="T74" fmla="*/ 0 w 344"/>
                <a:gd name="T75" fmla="*/ 2147483647 h 244"/>
                <a:gd name="T76" fmla="*/ 0 w 344"/>
                <a:gd name="T77" fmla="*/ 2147483647 h 244"/>
                <a:gd name="T78" fmla="*/ 2147483647 w 344"/>
                <a:gd name="T79" fmla="*/ 2147483647 h 244"/>
                <a:gd name="T80" fmla="*/ 2147483647 w 344"/>
                <a:gd name="T81" fmla="*/ 2147483647 h 244"/>
                <a:gd name="T82" fmla="*/ 2147483647 w 344"/>
                <a:gd name="T83" fmla="*/ 2147483647 h 244"/>
                <a:gd name="T84" fmla="*/ 2147483647 w 344"/>
                <a:gd name="T85" fmla="*/ 2147483647 h 244"/>
                <a:gd name="T86" fmla="*/ 2147483647 w 344"/>
                <a:gd name="T87" fmla="*/ 2147483647 h 244"/>
                <a:gd name="T88" fmla="*/ 2147483647 w 344"/>
                <a:gd name="T89" fmla="*/ 2147483647 h 244"/>
                <a:gd name="T90" fmla="*/ 2147483647 w 344"/>
                <a:gd name="T91" fmla="*/ 2147483647 h 244"/>
                <a:gd name="T92" fmla="*/ 2147483647 w 344"/>
                <a:gd name="T93" fmla="*/ 2147483647 h 244"/>
                <a:gd name="T94" fmla="*/ 2147483647 w 344"/>
                <a:gd name="T95" fmla="*/ 2147483647 h 244"/>
                <a:gd name="T96" fmla="*/ 2147483647 w 344"/>
                <a:gd name="T97" fmla="*/ 2147483647 h 2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4"/>
                <a:gd name="T148" fmla="*/ 0 h 244"/>
                <a:gd name="T149" fmla="*/ 344 w 344"/>
                <a:gd name="T150" fmla="*/ 244 h 2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3" name="Freeform 48">
              <a:extLst>
                <a:ext uri="{FF2B5EF4-FFF2-40B4-BE49-F238E27FC236}">
                  <a16:creationId xmlns:a16="http://schemas.microsoft.com/office/drawing/2014/main" id="{69678FEF-3A9B-4219-4B17-132C1AB7AACD}"/>
                </a:ext>
              </a:extLst>
            </p:cNvPr>
            <p:cNvSpPr>
              <a:spLocks noChangeAspect="1"/>
            </p:cNvSpPr>
            <p:nvPr userDrawn="1"/>
          </p:nvSpPr>
          <p:spPr bwMode="gray">
            <a:xfrm>
              <a:off x="6640223" y="4369956"/>
              <a:ext cx="319361" cy="333804"/>
            </a:xfrm>
            <a:custGeom>
              <a:avLst/>
              <a:gdLst>
                <a:gd name="T0" fmla="*/ 2147483647 w 596"/>
                <a:gd name="T1" fmla="*/ 2147483647 h 591"/>
                <a:gd name="T2" fmla="*/ 2147483647 w 596"/>
                <a:gd name="T3" fmla="*/ 2147483647 h 591"/>
                <a:gd name="T4" fmla="*/ 2147483647 w 596"/>
                <a:gd name="T5" fmla="*/ 2147483647 h 591"/>
                <a:gd name="T6" fmla="*/ 2147483647 w 596"/>
                <a:gd name="T7" fmla="*/ 2147483647 h 591"/>
                <a:gd name="T8" fmla="*/ 2147483647 w 596"/>
                <a:gd name="T9" fmla="*/ 2147483647 h 591"/>
                <a:gd name="T10" fmla="*/ 2147483647 w 596"/>
                <a:gd name="T11" fmla="*/ 2147483647 h 591"/>
                <a:gd name="T12" fmla="*/ 2147483647 w 596"/>
                <a:gd name="T13" fmla="*/ 2147483647 h 591"/>
                <a:gd name="T14" fmla="*/ 2147483647 w 596"/>
                <a:gd name="T15" fmla="*/ 2147483647 h 591"/>
                <a:gd name="T16" fmla="*/ 2147483647 w 596"/>
                <a:gd name="T17" fmla="*/ 2147483647 h 591"/>
                <a:gd name="T18" fmla="*/ 2147483647 w 596"/>
                <a:gd name="T19" fmla="*/ 2147483647 h 591"/>
                <a:gd name="T20" fmla="*/ 2147483647 w 596"/>
                <a:gd name="T21" fmla="*/ 2147483647 h 591"/>
                <a:gd name="T22" fmla="*/ 2147483647 w 596"/>
                <a:gd name="T23" fmla="*/ 2147483647 h 591"/>
                <a:gd name="T24" fmla="*/ 2147483647 w 596"/>
                <a:gd name="T25" fmla="*/ 2147483647 h 591"/>
                <a:gd name="T26" fmla="*/ 2147483647 w 596"/>
                <a:gd name="T27" fmla="*/ 2147483647 h 591"/>
                <a:gd name="T28" fmla="*/ 2147483647 w 596"/>
                <a:gd name="T29" fmla="*/ 2147483647 h 591"/>
                <a:gd name="T30" fmla="*/ 2147483647 w 596"/>
                <a:gd name="T31" fmla="*/ 2147483647 h 591"/>
                <a:gd name="T32" fmla="*/ 2147483647 w 596"/>
                <a:gd name="T33" fmla="*/ 2147483647 h 591"/>
                <a:gd name="T34" fmla="*/ 2147483647 w 596"/>
                <a:gd name="T35" fmla="*/ 2147483647 h 591"/>
                <a:gd name="T36" fmla="*/ 2147483647 w 596"/>
                <a:gd name="T37" fmla="*/ 2147483647 h 591"/>
                <a:gd name="T38" fmla="*/ 2147483647 w 596"/>
                <a:gd name="T39" fmla="*/ 2147483647 h 591"/>
                <a:gd name="T40" fmla="*/ 2147483647 w 596"/>
                <a:gd name="T41" fmla="*/ 2147483647 h 591"/>
                <a:gd name="T42" fmla="*/ 2147483647 w 596"/>
                <a:gd name="T43" fmla="*/ 2147483647 h 591"/>
                <a:gd name="T44" fmla="*/ 2147483647 w 596"/>
                <a:gd name="T45" fmla="*/ 2147483647 h 591"/>
                <a:gd name="T46" fmla="*/ 2147483647 w 596"/>
                <a:gd name="T47" fmla="*/ 2147483647 h 591"/>
                <a:gd name="T48" fmla="*/ 2147483647 w 596"/>
                <a:gd name="T49" fmla="*/ 2147483647 h 591"/>
                <a:gd name="T50" fmla="*/ 2147483647 w 596"/>
                <a:gd name="T51" fmla="*/ 2147483647 h 591"/>
                <a:gd name="T52" fmla="*/ 2147483647 w 596"/>
                <a:gd name="T53" fmla="*/ 2147483647 h 591"/>
                <a:gd name="T54" fmla="*/ 2147483647 w 596"/>
                <a:gd name="T55" fmla="*/ 2147483647 h 591"/>
                <a:gd name="T56" fmla="*/ 0 w 596"/>
                <a:gd name="T57" fmla="*/ 2147483647 h 591"/>
                <a:gd name="T58" fmla="*/ 0 w 596"/>
                <a:gd name="T59" fmla="*/ 2147483647 h 591"/>
                <a:gd name="T60" fmla="*/ 0 w 596"/>
                <a:gd name="T61" fmla="*/ 2147483647 h 591"/>
                <a:gd name="T62" fmla="*/ 0 w 596"/>
                <a:gd name="T63" fmla="*/ 2147483647 h 591"/>
                <a:gd name="T64" fmla="*/ 2147483647 w 596"/>
                <a:gd name="T65" fmla="*/ 2147483647 h 591"/>
                <a:gd name="T66" fmla="*/ 2147483647 w 596"/>
                <a:gd name="T67" fmla="*/ 2147483647 h 591"/>
                <a:gd name="T68" fmla="*/ 2147483647 w 596"/>
                <a:gd name="T69" fmla="*/ 2147483647 h 591"/>
                <a:gd name="T70" fmla="*/ 2147483647 w 596"/>
                <a:gd name="T71" fmla="*/ 0 h 591"/>
                <a:gd name="T72" fmla="*/ 2147483647 w 596"/>
                <a:gd name="T73" fmla="*/ 0 h 591"/>
                <a:gd name="T74" fmla="*/ 2147483647 w 596"/>
                <a:gd name="T75" fmla="*/ 0 h 591"/>
                <a:gd name="T76" fmla="*/ 2147483647 w 596"/>
                <a:gd name="T77" fmla="*/ 2147483647 h 591"/>
                <a:gd name="T78" fmla="*/ 2147483647 w 596"/>
                <a:gd name="T79" fmla="*/ 2147483647 h 591"/>
                <a:gd name="T80" fmla="*/ 2147483647 w 596"/>
                <a:gd name="T81" fmla="*/ 0 h 591"/>
                <a:gd name="T82" fmla="*/ 2147483647 w 596"/>
                <a:gd name="T83" fmla="*/ 2147483647 h 591"/>
                <a:gd name="T84" fmla="*/ 2147483647 w 596"/>
                <a:gd name="T85" fmla="*/ 2147483647 h 591"/>
                <a:gd name="T86" fmla="*/ 2147483647 w 596"/>
                <a:gd name="T87" fmla="*/ 2147483647 h 591"/>
                <a:gd name="T88" fmla="*/ 2147483647 w 596"/>
                <a:gd name="T89" fmla="*/ 0 h 591"/>
                <a:gd name="T90" fmla="*/ 2147483647 w 596"/>
                <a:gd name="T91" fmla="*/ 0 h 591"/>
                <a:gd name="T92" fmla="*/ 2147483647 w 596"/>
                <a:gd name="T93" fmla="*/ 0 h 591"/>
                <a:gd name="T94" fmla="*/ 2147483647 w 596"/>
                <a:gd name="T95" fmla="*/ 0 h 591"/>
                <a:gd name="T96" fmla="*/ 2147483647 w 596"/>
                <a:gd name="T97" fmla="*/ 0 h 59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96"/>
                <a:gd name="T148" fmla="*/ 0 h 591"/>
                <a:gd name="T149" fmla="*/ 596 w 596"/>
                <a:gd name="T150" fmla="*/ 591 h 59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4" name="Freeform 49">
              <a:extLst>
                <a:ext uri="{FF2B5EF4-FFF2-40B4-BE49-F238E27FC236}">
                  <a16:creationId xmlns:a16="http://schemas.microsoft.com/office/drawing/2014/main" id="{17833F0E-0E0D-B533-6FA3-D71D8526B308}"/>
                </a:ext>
              </a:extLst>
            </p:cNvPr>
            <p:cNvSpPr>
              <a:spLocks noChangeAspect="1"/>
            </p:cNvSpPr>
            <p:nvPr userDrawn="1"/>
          </p:nvSpPr>
          <p:spPr bwMode="gray">
            <a:xfrm>
              <a:off x="5382179" y="4028531"/>
              <a:ext cx="88048" cy="92977"/>
            </a:xfrm>
            <a:custGeom>
              <a:avLst/>
              <a:gdLst>
                <a:gd name="T0" fmla="*/ 0 w 167"/>
                <a:gd name="T1" fmla="*/ 0 h 166"/>
                <a:gd name="T2" fmla="*/ 0 w 167"/>
                <a:gd name="T3" fmla="*/ 0 h 166"/>
                <a:gd name="T4" fmla="*/ 0 w 167"/>
                <a:gd name="T5" fmla="*/ 0 h 166"/>
                <a:gd name="T6" fmla="*/ 0 w 167"/>
                <a:gd name="T7" fmla="*/ 0 h 166"/>
                <a:gd name="T8" fmla="*/ 0 w 167"/>
                <a:gd name="T9" fmla="*/ 0 h 166"/>
                <a:gd name="T10" fmla="*/ 0 w 167"/>
                <a:gd name="T11" fmla="*/ 0 h 166"/>
                <a:gd name="T12" fmla="*/ 0 w 167"/>
                <a:gd name="T13" fmla="*/ 0 h 166"/>
                <a:gd name="T14" fmla="*/ 0 w 167"/>
                <a:gd name="T15" fmla="*/ 0 h 166"/>
                <a:gd name="T16" fmla="*/ 2147483647 w 167"/>
                <a:gd name="T17" fmla="*/ 0 h 166"/>
                <a:gd name="T18" fmla="*/ 2147483647 w 167"/>
                <a:gd name="T19" fmla="*/ 0 h 166"/>
                <a:gd name="T20" fmla="*/ 2147483647 w 167"/>
                <a:gd name="T21" fmla="*/ 0 h 166"/>
                <a:gd name="T22" fmla="*/ 2147483647 w 167"/>
                <a:gd name="T23" fmla="*/ 0 h 166"/>
                <a:gd name="T24" fmla="*/ 2147483647 w 167"/>
                <a:gd name="T25" fmla="*/ 0 h 166"/>
                <a:gd name="T26" fmla="*/ 2147483647 w 167"/>
                <a:gd name="T27" fmla="*/ 0 h 166"/>
                <a:gd name="T28" fmla="*/ 2147483647 w 167"/>
                <a:gd name="T29" fmla="*/ 0 h 166"/>
                <a:gd name="T30" fmla="*/ 2147483647 w 167"/>
                <a:gd name="T31" fmla="*/ 0 h 166"/>
                <a:gd name="T32" fmla="*/ 2147483647 w 167"/>
                <a:gd name="T33" fmla="*/ 0 h 166"/>
                <a:gd name="T34" fmla="*/ 2147483647 w 167"/>
                <a:gd name="T35" fmla="*/ 0 h 166"/>
                <a:gd name="T36" fmla="*/ 2147483647 w 167"/>
                <a:gd name="T37" fmla="*/ 0 h 166"/>
                <a:gd name="T38" fmla="*/ 2147483647 w 167"/>
                <a:gd name="T39" fmla="*/ 0 h 166"/>
                <a:gd name="T40" fmla="*/ 2147483647 w 167"/>
                <a:gd name="T41" fmla="*/ 0 h 166"/>
                <a:gd name="T42" fmla="*/ 2147483647 w 167"/>
                <a:gd name="T43" fmla="*/ 2147483647 h 166"/>
                <a:gd name="T44" fmla="*/ 2147483647 w 167"/>
                <a:gd name="T45" fmla="*/ 2147483647 h 166"/>
                <a:gd name="T46" fmla="*/ 2147483647 w 167"/>
                <a:gd name="T47" fmla="*/ 2147483647 h 166"/>
                <a:gd name="T48" fmla="*/ 2147483647 w 167"/>
                <a:gd name="T49" fmla="*/ 2147483647 h 166"/>
                <a:gd name="T50" fmla="*/ 2147483647 w 167"/>
                <a:gd name="T51" fmla="*/ 2147483647 h 166"/>
                <a:gd name="T52" fmla="*/ 2147483647 w 167"/>
                <a:gd name="T53" fmla="*/ 2147483647 h 166"/>
                <a:gd name="T54" fmla="*/ 2147483647 w 167"/>
                <a:gd name="T55" fmla="*/ 2147483647 h 166"/>
                <a:gd name="T56" fmla="*/ 2147483647 w 167"/>
                <a:gd name="T57" fmla="*/ 2147483647 h 166"/>
                <a:gd name="T58" fmla="*/ 2147483647 w 167"/>
                <a:gd name="T59" fmla="*/ 2147483647 h 166"/>
                <a:gd name="T60" fmla="*/ 2147483647 w 167"/>
                <a:gd name="T61" fmla="*/ 2147483647 h 166"/>
                <a:gd name="T62" fmla="*/ 2147483647 w 167"/>
                <a:gd name="T63" fmla="*/ 2147483647 h 166"/>
                <a:gd name="T64" fmla="*/ 2147483647 w 167"/>
                <a:gd name="T65" fmla="*/ 2147483647 h 166"/>
                <a:gd name="T66" fmla="*/ 2147483647 w 167"/>
                <a:gd name="T67" fmla="*/ 2147483647 h 166"/>
                <a:gd name="T68" fmla="*/ 2147483647 w 167"/>
                <a:gd name="T69" fmla="*/ 2147483647 h 166"/>
                <a:gd name="T70" fmla="*/ 2147483647 w 167"/>
                <a:gd name="T71" fmla="*/ 2147483647 h 166"/>
                <a:gd name="T72" fmla="*/ 0 w 167"/>
                <a:gd name="T73" fmla="*/ 2147483647 h 166"/>
                <a:gd name="T74" fmla="*/ 0 w 167"/>
                <a:gd name="T75" fmla="*/ 2147483647 h 166"/>
                <a:gd name="T76" fmla="*/ 0 w 167"/>
                <a:gd name="T77" fmla="*/ 2147483647 h 166"/>
                <a:gd name="T78" fmla="*/ 0 w 167"/>
                <a:gd name="T79" fmla="*/ 2147483647 h 166"/>
                <a:gd name="T80" fmla="*/ 0 w 167"/>
                <a:gd name="T81" fmla="*/ 2147483647 h 166"/>
                <a:gd name="T82" fmla="*/ 0 w 167"/>
                <a:gd name="T83" fmla="*/ 2147483647 h 166"/>
                <a:gd name="T84" fmla="*/ 0 w 167"/>
                <a:gd name="T85" fmla="*/ 2147483647 h 166"/>
                <a:gd name="T86" fmla="*/ 0 w 167"/>
                <a:gd name="T87" fmla="*/ 2147483647 h 166"/>
                <a:gd name="T88" fmla="*/ 0 w 167"/>
                <a:gd name="T89" fmla="*/ 2147483647 h 166"/>
                <a:gd name="T90" fmla="*/ 0 w 167"/>
                <a:gd name="T91" fmla="*/ 2147483647 h 166"/>
                <a:gd name="T92" fmla="*/ 0 w 167"/>
                <a:gd name="T93" fmla="*/ 2147483647 h 166"/>
                <a:gd name="T94" fmla="*/ 0 w 167"/>
                <a:gd name="T95" fmla="*/ 0 h 166"/>
                <a:gd name="T96" fmla="*/ 0 w 167"/>
                <a:gd name="T97" fmla="*/ 0 h 166"/>
                <a:gd name="T98" fmla="*/ 0 w 167"/>
                <a:gd name="T99" fmla="*/ 0 h 16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7"/>
                <a:gd name="T151" fmla="*/ 0 h 166"/>
                <a:gd name="T152" fmla="*/ 167 w 167"/>
                <a:gd name="T153" fmla="*/ 166 h 16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5" name="Freeform 50">
              <a:extLst>
                <a:ext uri="{FF2B5EF4-FFF2-40B4-BE49-F238E27FC236}">
                  <a16:creationId xmlns:a16="http://schemas.microsoft.com/office/drawing/2014/main" id="{814C23F5-53E7-4066-77D7-96700651A3D2}"/>
                </a:ext>
              </a:extLst>
            </p:cNvPr>
            <p:cNvSpPr>
              <a:spLocks noChangeAspect="1"/>
            </p:cNvSpPr>
            <p:nvPr userDrawn="1"/>
          </p:nvSpPr>
          <p:spPr bwMode="gray">
            <a:xfrm>
              <a:off x="5520967" y="4007192"/>
              <a:ext cx="177589" cy="198148"/>
            </a:xfrm>
            <a:custGeom>
              <a:avLst/>
              <a:gdLst>
                <a:gd name="T0" fmla="*/ 2147483647 w 337"/>
                <a:gd name="T1" fmla="*/ 2147483647 h 354"/>
                <a:gd name="T2" fmla="*/ 2147483647 w 337"/>
                <a:gd name="T3" fmla="*/ 2147483647 h 354"/>
                <a:gd name="T4" fmla="*/ 2147483647 w 337"/>
                <a:gd name="T5" fmla="*/ 2147483647 h 354"/>
                <a:gd name="T6" fmla="*/ 2147483647 w 337"/>
                <a:gd name="T7" fmla="*/ 2147483647 h 354"/>
                <a:gd name="T8" fmla="*/ 2147483647 w 337"/>
                <a:gd name="T9" fmla="*/ 2147483647 h 354"/>
                <a:gd name="T10" fmla="*/ 2147483647 w 337"/>
                <a:gd name="T11" fmla="*/ 2147483647 h 354"/>
                <a:gd name="T12" fmla="*/ 2147483647 w 337"/>
                <a:gd name="T13" fmla="*/ 2147483647 h 354"/>
                <a:gd name="T14" fmla="*/ 2147483647 w 337"/>
                <a:gd name="T15" fmla="*/ 2147483647 h 354"/>
                <a:gd name="T16" fmla="*/ 2147483647 w 337"/>
                <a:gd name="T17" fmla="*/ 2147483647 h 354"/>
                <a:gd name="T18" fmla="*/ 2147483647 w 337"/>
                <a:gd name="T19" fmla="*/ 2147483647 h 354"/>
                <a:gd name="T20" fmla="*/ 2147483647 w 337"/>
                <a:gd name="T21" fmla="*/ 2147483647 h 354"/>
                <a:gd name="T22" fmla="*/ 2147483647 w 337"/>
                <a:gd name="T23" fmla="*/ 2147483647 h 354"/>
                <a:gd name="T24" fmla="*/ 2147483647 w 337"/>
                <a:gd name="T25" fmla="*/ 0 h 354"/>
                <a:gd name="T26" fmla="*/ 2147483647 w 337"/>
                <a:gd name="T27" fmla="*/ 0 h 354"/>
                <a:gd name="T28" fmla="*/ 2147483647 w 337"/>
                <a:gd name="T29" fmla="*/ 0 h 354"/>
                <a:gd name="T30" fmla="*/ 2147483647 w 337"/>
                <a:gd name="T31" fmla="*/ 0 h 354"/>
                <a:gd name="T32" fmla="*/ 2147483647 w 337"/>
                <a:gd name="T33" fmla="*/ 0 h 354"/>
                <a:gd name="T34" fmla="*/ 2147483647 w 337"/>
                <a:gd name="T35" fmla="*/ 0 h 354"/>
                <a:gd name="T36" fmla="*/ 2147483647 w 337"/>
                <a:gd name="T37" fmla="*/ 0 h 354"/>
                <a:gd name="T38" fmla="*/ 2147483647 w 337"/>
                <a:gd name="T39" fmla="*/ 0 h 354"/>
                <a:gd name="T40" fmla="*/ 2147483647 w 337"/>
                <a:gd name="T41" fmla="*/ 0 h 354"/>
                <a:gd name="T42" fmla="*/ 2147483647 w 337"/>
                <a:gd name="T43" fmla="*/ 0 h 354"/>
                <a:gd name="T44" fmla="*/ 2147483647 w 337"/>
                <a:gd name="T45" fmla="*/ 0 h 354"/>
                <a:gd name="T46" fmla="*/ 2147483647 w 337"/>
                <a:gd name="T47" fmla="*/ 0 h 354"/>
                <a:gd name="T48" fmla="*/ 2147483647 w 337"/>
                <a:gd name="T49" fmla="*/ 0 h 354"/>
                <a:gd name="T50" fmla="*/ 2147483647 w 337"/>
                <a:gd name="T51" fmla="*/ 0 h 354"/>
                <a:gd name="T52" fmla="*/ 2147483647 w 337"/>
                <a:gd name="T53" fmla="*/ 0 h 354"/>
                <a:gd name="T54" fmla="*/ 2147483647 w 337"/>
                <a:gd name="T55" fmla="*/ 0 h 354"/>
                <a:gd name="T56" fmla="*/ 2147483647 w 337"/>
                <a:gd name="T57" fmla="*/ 0 h 354"/>
                <a:gd name="T58" fmla="*/ 2147483647 w 337"/>
                <a:gd name="T59" fmla="*/ 0 h 354"/>
                <a:gd name="T60" fmla="*/ 2147483647 w 337"/>
                <a:gd name="T61" fmla="*/ 0 h 354"/>
                <a:gd name="T62" fmla="*/ 2147483647 w 337"/>
                <a:gd name="T63" fmla="*/ 0 h 354"/>
                <a:gd name="T64" fmla="*/ 0 w 337"/>
                <a:gd name="T65" fmla="*/ 0 h 354"/>
                <a:gd name="T66" fmla="*/ 0 w 337"/>
                <a:gd name="T67" fmla="*/ 0 h 354"/>
                <a:gd name="T68" fmla="*/ 0 w 337"/>
                <a:gd name="T69" fmla="*/ 0 h 354"/>
                <a:gd name="T70" fmla="*/ 0 w 337"/>
                <a:gd name="T71" fmla="*/ 2147483647 h 354"/>
                <a:gd name="T72" fmla="*/ 0 w 337"/>
                <a:gd name="T73" fmla="*/ 2147483647 h 354"/>
                <a:gd name="T74" fmla="*/ 0 w 337"/>
                <a:gd name="T75" fmla="*/ 2147483647 h 354"/>
                <a:gd name="T76" fmla="*/ 0 w 337"/>
                <a:gd name="T77" fmla="*/ 2147483647 h 354"/>
                <a:gd name="T78" fmla="*/ 0 w 337"/>
                <a:gd name="T79" fmla="*/ 2147483647 h 354"/>
                <a:gd name="T80" fmla="*/ 0 w 337"/>
                <a:gd name="T81" fmla="*/ 2147483647 h 354"/>
                <a:gd name="T82" fmla="*/ 0 w 337"/>
                <a:gd name="T83" fmla="*/ 2147483647 h 354"/>
                <a:gd name="T84" fmla="*/ 0 w 337"/>
                <a:gd name="T85" fmla="*/ 2147483647 h 354"/>
                <a:gd name="T86" fmla="*/ 0 w 337"/>
                <a:gd name="T87" fmla="*/ 2147483647 h 354"/>
                <a:gd name="T88" fmla="*/ 0 w 337"/>
                <a:gd name="T89" fmla="*/ 2147483647 h 354"/>
                <a:gd name="T90" fmla="*/ 0 w 337"/>
                <a:gd name="T91" fmla="*/ 2147483647 h 354"/>
                <a:gd name="T92" fmla="*/ 0 w 337"/>
                <a:gd name="T93" fmla="*/ 2147483647 h 354"/>
                <a:gd name="T94" fmla="*/ 0 w 337"/>
                <a:gd name="T95" fmla="*/ 2147483647 h 354"/>
                <a:gd name="T96" fmla="*/ 0 w 337"/>
                <a:gd name="T97" fmla="*/ 2147483647 h 354"/>
                <a:gd name="T98" fmla="*/ 0 w 337"/>
                <a:gd name="T99" fmla="*/ 2147483647 h 354"/>
                <a:gd name="T100" fmla="*/ 0 w 337"/>
                <a:gd name="T101" fmla="*/ 2147483647 h 354"/>
                <a:gd name="T102" fmla="*/ 2147483647 w 337"/>
                <a:gd name="T103" fmla="*/ 2147483647 h 354"/>
                <a:gd name="T104" fmla="*/ 2147483647 w 337"/>
                <a:gd name="T105" fmla="*/ 2147483647 h 354"/>
                <a:gd name="T106" fmla="*/ 2147483647 w 337"/>
                <a:gd name="T107" fmla="*/ 2147483647 h 354"/>
                <a:gd name="T108" fmla="*/ 2147483647 w 337"/>
                <a:gd name="T109" fmla="*/ 2147483647 h 354"/>
                <a:gd name="T110" fmla="*/ 2147483647 w 337"/>
                <a:gd name="T111" fmla="*/ 2147483647 h 3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37"/>
                <a:gd name="T169" fmla="*/ 0 h 354"/>
                <a:gd name="T170" fmla="*/ 337 w 337"/>
                <a:gd name="T171" fmla="*/ 354 h 35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6" name="Freeform 51">
              <a:extLst>
                <a:ext uri="{FF2B5EF4-FFF2-40B4-BE49-F238E27FC236}">
                  <a16:creationId xmlns:a16="http://schemas.microsoft.com/office/drawing/2014/main" id="{CB3F1632-448A-370E-66A8-E276710F6FA0}"/>
                </a:ext>
              </a:extLst>
            </p:cNvPr>
            <p:cNvSpPr>
              <a:spLocks noChangeAspect="1"/>
            </p:cNvSpPr>
            <p:nvPr userDrawn="1"/>
          </p:nvSpPr>
          <p:spPr bwMode="gray">
            <a:xfrm>
              <a:off x="5767203" y="3991950"/>
              <a:ext cx="62678" cy="163092"/>
            </a:xfrm>
            <a:custGeom>
              <a:avLst/>
              <a:gdLst>
                <a:gd name="T0" fmla="*/ 2147483647 w 120"/>
                <a:gd name="T1" fmla="*/ 2147483647 h 281"/>
                <a:gd name="T2" fmla="*/ 2147483647 w 120"/>
                <a:gd name="T3" fmla="*/ 2147483647 h 281"/>
                <a:gd name="T4" fmla="*/ 2147483647 w 120"/>
                <a:gd name="T5" fmla="*/ 2147483647 h 281"/>
                <a:gd name="T6" fmla="*/ 2147483647 w 120"/>
                <a:gd name="T7" fmla="*/ 2147483647 h 281"/>
                <a:gd name="T8" fmla="*/ 0 w 120"/>
                <a:gd name="T9" fmla="*/ 2147483647 h 281"/>
                <a:gd name="T10" fmla="*/ 0 w 120"/>
                <a:gd name="T11" fmla="*/ 2147483647 h 281"/>
                <a:gd name="T12" fmla="*/ 0 w 120"/>
                <a:gd name="T13" fmla="*/ 2147483647 h 281"/>
                <a:gd name="T14" fmla="*/ 0 w 120"/>
                <a:gd name="T15" fmla="*/ 2147483647 h 281"/>
                <a:gd name="T16" fmla="*/ 0 w 120"/>
                <a:gd name="T17" fmla="*/ 2147483647 h 281"/>
                <a:gd name="T18" fmla="*/ 0 w 120"/>
                <a:gd name="T19" fmla="*/ 2147483647 h 281"/>
                <a:gd name="T20" fmla="*/ 0 w 120"/>
                <a:gd name="T21" fmla="*/ 2147483647 h 281"/>
                <a:gd name="T22" fmla="*/ 0 w 120"/>
                <a:gd name="T23" fmla="*/ 2147483647 h 281"/>
                <a:gd name="T24" fmla="*/ 0 w 120"/>
                <a:gd name="T25" fmla="*/ 2147483647 h 281"/>
                <a:gd name="T26" fmla="*/ 0 w 120"/>
                <a:gd name="T27" fmla="*/ 0 h 281"/>
                <a:gd name="T28" fmla="*/ 0 w 120"/>
                <a:gd name="T29" fmla="*/ 0 h 281"/>
                <a:gd name="T30" fmla="*/ 0 w 120"/>
                <a:gd name="T31" fmla="*/ 0 h 281"/>
                <a:gd name="T32" fmla="*/ 0 w 120"/>
                <a:gd name="T33" fmla="*/ 0 h 281"/>
                <a:gd name="T34" fmla="*/ 0 w 120"/>
                <a:gd name="T35" fmla="*/ 0 h 281"/>
                <a:gd name="T36" fmla="*/ 0 w 120"/>
                <a:gd name="T37" fmla="*/ 0 h 281"/>
                <a:gd name="T38" fmla="*/ 0 w 120"/>
                <a:gd name="T39" fmla="*/ 0 h 281"/>
                <a:gd name="T40" fmla="*/ 0 w 120"/>
                <a:gd name="T41" fmla="*/ 0 h 281"/>
                <a:gd name="T42" fmla="*/ 0 w 120"/>
                <a:gd name="T43" fmla="*/ 0 h 281"/>
                <a:gd name="T44" fmla="*/ 0 w 120"/>
                <a:gd name="T45" fmla="*/ 0 h 281"/>
                <a:gd name="T46" fmla="*/ 0 w 120"/>
                <a:gd name="T47" fmla="*/ 0 h 281"/>
                <a:gd name="T48" fmla="*/ 0 w 120"/>
                <a:gd name="T49" fmla="*/ 0 h 281"/>
                <a:gd name="T50" fmla="*/ 0 w 120"/>
                <a:gd name="T51" fmla="*/ 0 h 281"/>
                <a:gd name="T52" fmla="*/ 0 w 120"/>
                <a:gd name="T53" fmla="*/ 0 h 281"/>
                <a:gd name="T54" fmla="*/ 0 w 120"/>
                <a:gd name="T55" fmla="*/ 0 h 281"/>
                <a:gd name="T56" fmla="*/ 0 w 120"/>
                <a:gd name="T57" fmla="*/ 0 h 281"/>
                <a:gd name="T58" fmla="*/ 0 w 120"/>
                <a:gd name="T59" fmla="*/ 0 h 281"/>
                <a:gd name="T60" fmla="*/ 0 w 120"/>
                <a:gd name="T61" fmla="*/ 0 h 281"/>
                <a:gd name="T62" fmla="*/ 0 w 120"/>
                <a:gd name="T63" fmla="*/ 0 h 281"/>
                <a:gd name="T64" fmla="*/ 2147483647 w 120"/>
                <a:gd name="T65" fmla="*/ 0 h 281"/>
                <a:gd name="T66" fmla="*/ 2147483647 w 120"/>
                <a:gd name="T67" fmla="*/ 0 h 281"/>
                <a:gd name="T68" fmla="*/ 2147483647 w 120"/>
                <a:gd name="T69" fmla="*/ 0 h 281"/>
                <a:gd name="T70" fmla="*/ 2147483647 w 120"/>
                <a:gd name="T71" fmla="*/ 0 h 281"/>
                <a:gd name="T72" fmla="*/ 2147483647 w 120"/>
                <a:gd name="T73" fmla="*/ 0 h 281"/>
                <a:gd name="T74" fmla="*/ 2147483647 w 120"/>
                <a:gd name="T75" fmla="*/ 0 h 281"/>
                <a:gd name="T76" fmla="*/ 2147483647 w 120"/>
                <a:gd name="T77" fmla="*/ 0 h 281"/>
                <a:gd name="T78" fmla="*/ 2147483647 w 120"/>
                <a:gd name="T79" fmla="*/ 0 h 281"/>
                <a:gd name="T80" fmla="*/ 2147483647 w 120"/>
                <a:gd name="T81" fmla="*/ 0 h 281"/>
                <a:gd name="T82" fmla="*/ 2147483647 w 120"/>
                <a:gd name="T83" fmla="*/ 0 h 281"/>
                <a:gd name="T84" fmla="*/ 2147483647 w 120"/>
                <a:gd name="T85" fmla="*/ 0 h 281"/>
                <a:gd name="T86" fmla="*/ 2147483647 w 120"/>
                <a:gd name="T87" fmla="*/ 0 h 281"/>
                <a:gd name="T88" fmla="*/ 2147483647 w 120"/>
                <a:gd name="T89" fmla="*/ 2147483647 h 281"/>
                <a:gd name="T90" fmla="*/ 2147483647 w 120"/>
                <a:gd name="T91" fmla="*/ 2147483647 h 281"/>
                <a:gd name="T92" fmla="*/ 2147483647 w 120"/>
                <a:gd name="T93" fmla="*/ 2147483647 h 281"/>
                <a:gd name="T94" fmla="*/ 2147483647 w 120"/>
                <a:gd name="T95" fmla="*/ 2147483647 h 281"/>
                <a:gd name="T96" fmla="*/ 2147483647 w 120"/>
                <a:gd name="T97" fmla="*/ 2147483647 h 281"/>
                <a:gd name="T98" fmla="*/ 2147483647 w 120"/>
                <a:gd name="T99" fmla="*/ 2147483647 h 281"/>
                <a:gd name="T100" fmla="*/ 2147483647 w 120"/>
                <a:gd name="T101" fmla="*/ 2147483647 h 281"/>
                <a:gd name="T102" fmla="*/ 2147483647 w 120"/>
                <a:gd name="T103" fmla="*/ 2147483647 h 281"/>
                <a:gd name="T104" fmla="*/ 2147483647 w 120"/>
                <a:gd name="T105" fmla="*/ 2147483647 h 281"/>
                <a:gd name="T106" fmla="*/ 2147483647 w 120"/>
                <a:gd name="T107" fmla="*/ 2147483647 h 281"/>
                <a:gd name="T108" fmla="*/ 2147483647 w 120"/>
                <a:gd name="T109" fmla="*/ 2147483647 h 281"/>
                <a:gd name="T110" fmla="*/ 2147483647 w 120"/>
                <a:gd name="T111" fmla="*/ 2147483647 h 281"/>
                <a:gd name="T112" fmla="*/ 2147483647 w 120"/>
                <a:gd name="T113" fmla="*/ 2147483647 h 281"/>
                <a:gd name="T114" fmla="*/ 2147483647 w 120"/>
                <a:gd name="T115" fmla="*/ 2147483647 h 281"/>
                <a:gd name="T116" fmla="*/ 2147483647 w 120"/>
                <a:gd name="T117" fmla="*/ 2147483647 h 281"/>
                <a:gd name="T118" fmla="*/ 2147483647 w 120"/>
                <a:gd name="T119" fmla="*/ 2147483647 h 2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281"/>
                <a:gd name="T182" fmla="*/ 120 w 120"/>
                <a:gd name="T183" fmla="*/ 281 h 2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7" name="Freeform 52">
              <a:extLst>
                <a:ext uri="{FF2B5EF4-FFF2-40B4-BE49-F238E27FC236}">
                  <a16:creationId xmlns:a16="http://schemas.microsoft.com/office/drawing/2014/main" id="{6AB8823C-91E2-38C8-DEE5-97C4795046DF}"/>
                </a:ext>
              </a:extLst>
            </p:cNvPr>
            <p:cNvSpPr>
              <a:spLocks noChangeAspect="1"/>
            </p:cNvSpPr>
            <p:nvPr userDrawn="1"/>
          </p:nvSpPr>
          <p:spPr bwMode="gray">
            <a:xfrm>
              <a:off x="6128350" y="4177905"/>
              <a:ext cx="558136" cy="579203"/>
            </a:xfrm>
            <a:custGeom>
              <a:avLst/>
              <a:gdLst>
                <a:gd name="T0" fmla="*/ 2147483647 w 1045"/>
                <a:gd name="T1" fmla="*/ 2147483647 h 1018"/>
                <a:gd name="T2" fmla="*/ 2147483647 w 1045"/>
                <a:gd name="T3" fmla="*/ 2147483647 h 1018"/>
                <a:gd name="T4" fmla="*/ 2147483647 w 1045"/>
                <a:gd name="T5" fmla="*/ 2147483647 h 1018"/>
                <a:gd name="T6" fmla="*/ 2147483647 w 1045"/>
                <a:gd name="T7" fmla="*/ 2147483647 h 1018"/>
                <a:gd name="T8" fmla="*/ 2147483647 w 1045"/>
                <a:gd name="T9" fmla="*/ 2147483647 h 1018"/>
                <a:gd name="T10" fmla="*/ 2147483647 w 1045"/>
                <a:gd name="T11" fmla="*/ 2147483647 h 1018"/>
                <a:gd name="T12" fmla="*/ 2147483647 w 1045"/>
                <a:gd name="T13" fmla="*/ 2147483647 h 1018"/>
                <a:gd name="T14" fmla="*/ 2147483647 w 1045"/>
                <a:gd name="T15" fmla="*/ 2147483647 h 1018"/>
                <a:gd name="T16" fmla="*/ 2147483647 w 1045"/>
                <a:gd name="T17" fmla="*/ 2147483647 h 1018"/>
                <a:gd name="T18" fmla="*/ 2147483647 w 1045"/>
                <a:gd name="T19" fmla="*/ 2147483647 h 1018"/>
                <a:gd name="T20" fmla="*/ 2147483647 w 1045"/>
                <a:gd name="T21" fmla="*/ 2147483647 h 1018"/>
                <a:gd name="T22" fmla="*/ 2147483647 w 1045"/>
                <a:gd name="T23" fmla="*/ 2147483647 h 1018"/>
                <a:gd name="T24" fmla="*/ 2147483647 w 1045"/>
                <a:gd name="T25" fmla="*/ 0 h 1018"/>
                <a:gd name="T26" fmla="*/ 2147483647 w 1045"/>
                <a:gd name="T27" fmla="*/ 0 h 1018"/>
                <a:gd name="T28" fmla="*/ 2147483647 w 1045"/>
                <a:gd name="T29" fmla="*/ 0 h 1018"/>
                <a:gd name="T30" fmla="*/ 2147483647 w 1045"/>
                <a:gd name="T31" fmla="*/ 0 h 1018"/>
                <a:gd name="T32" fmla="*/ 2147483647 w 1045"/>
                <a:gd name="T33" fmla="*/ 0 h 1018"/>
                <a:gd name="T34" fmla="*/ 2147483647 w 1045"/>
                <a:gd name="T35" fmla="*/ 0 h 1018"/>
                <a:gd name="T36" fmla="*/ 2147483647 w 1045"/>
                <a:gd name="T37" fmla="*/ 0 h 1018"/>
                <a:gd name="T38" fmla="*/ 2147483647 w 1045"/>
                <a:gd name="T39" fmla="*/ 0 h 1018"/>
                <a:gd name="T40" fmla="*/ 2147483647 w 1045"/>
                <a:gd name="T41" fmla="*/ 0 h 1018"/>
                <a:gd name="T42" fmla="*/ 2147483647 w 1045"/>
                <a:gd name="T43" fmla="*/ 0 h 1018"/>
                <a:gd name="T44" fmla="*/ 2147483647 w 1045"/>
                <a:gd name="T45" fmla="*/ 0 h 1018"/>
                <a:gd name="T46" fmla="*/ 2147483647 w 1045"/>
                <a:gd name="T47" fmla="*/ 2147483647 h 1018"/>
                <a:gd name="T48" fmla="*/ 2147483647 w 1045"/>
                <a:gd name="T49" fmla="*/ 2147483647 h 1018"/>
                <a:gd name="T50" fmla="*/ 2147483647 w 1045"/>
                <a:gd name="T51" fmla="*/ 2147483647 h 1018"/>
                <a:gd name="T52" fmla="*/ 2147483647 w 1045"/>
                <a:gd name="T53" fmla="*/ 2147483647 h 1018"/>
                <a:gd name="T54" fmla="*/ 2147483647 w 1045"/>
                <a:gd name="T55" fmla="*/ 2147483647 h 1018"/>
                <a:gd name="T56" fmla="*/ 2147483647 w 1045"/>
                <a:gd name="T57" fmla="*/ 2147483647 h 1018"/>
                <a:gd name="T58" fmla="*/ 0 w 1045"/>
                <a:gd name="T59" fmla="*/ 2147483647 h 1018"/>
                <a:gd name="T60" fmla="*/ 0 w 1045"/>
                <a:gd name="T61" fmla="*/ 2147483647 h 1018"/>
                <a:gd name="T62" fmla="*/ 0 w 1045"/>
                <a:gd name="T63" fmla="*/ 2147483647 h 1018"/>
                <a:gd name="T64" fmla="*/ 2147483647 w 1045"/>
                <a:gd name="T65" fmla="*/ 2147483647 h 1018"/>
                <a:gd name="T66" fmla="*/ 2147483647 w 1045"/>
                <a:gd name="T67" fmla="*/ 2147483647 h 1018"/>
                <a:gd name="T68" fmla="*/ 2147483647 w 1045"/>
                <a:gd name="T69" fmla="*/ 2147483647 h 1018"/>
                <a:gd name="T70" fmla="*/ 2147483647 w 1045"/>
                <a:gd name="T71" fmla="*/ 2147483647 h 1018"/>
                <a:gd name="T72" fmla="*/ 2147483647 w 1045"/>
                <a:gd name="T73" fmla="*/ 2147483647 h 1018"/>
                <a:gd name="T74" fmla="*/ 2147483647 w 1045"/>
                <a:gd name="T75" fmla="*/ 2147483647 h 1018"/>
                <a:gd name="T76" fmla="*/ 2147483647 w 1045"/>
                <a:gd name="T77" fmla="*/ 2147483647 h 1018"/>
                <a:gd name="T78" fmla="*/ 2147483647 w 1045"/>
                <a:gd name="T79" fmla="*/ 2147483647 h 1018"/>
                <a:gd name="T80" fmla="*/ 2147483647 w 1045"/>
                <a:gd name="T81" fmla="*/ 2147483647 h 1018"/>
                <a:gd name="T82" fmla="*/ 2147483647 w 1045"/>
                <a:gd name="T83" fmla="*/ 2147483647 h 1018"/>
                <a:gd name="T84" fmla="*/ 2147483647 w 1045"/>
                <a:gd name="T85" fmla="*/ 2147483647 h 1018"/>
                <a:gd name="T86" fmla="*/ 2147483647 w 1045"/>
                <a:gd name="T87" fmla="*/ 2147483647 h 1018"/>
                <a:gd name="T88" fmla="*/ 2147483647 w 1045"/>
                <a:gd name="T89" fmla="*/ 2147483647 h 1018"/>
                <a:gd name="T90" fmla="*/ 2147483647 w 1045"/>
                <a:gd name="T91" fmla="*/ 2147483647 h 1018"/>
                <a:gd name="T92" fmla="*/ 2147483647 w 1045"/>
                <a:gd name="T93" fmla="*/ 2147483647 h 1018"/>
                <a:gd name="T94" fmla="*/ 2147483647 w 1045"/>
                <a:gd name="T95" fmla="*/ 2147483647 h 1018"/>
                <a:gd name="T96" fmla="*/ 2147483647 w 1045"/>
                <a:gd name="T97" fmla="*/ 2147483647 h 1018"/>
                <a:gd name="T98" fmla="*/ 2147483647 w 1045"/>
                <a:gd name="T99" fmla="*/ 2147483647 h 1018"/>
                <a:gd name="T100" fmla="*/ 2147483647 w 1045"/>
                <a:gd name="T101" fmla="*/ 2147483647 h 1018"/>
                <a:gd name="T102" fmla="*/ 2147483647 w 1045"/>
                <a:gd name="T103" fmla="*/ 2147483647 h 1018"/>
                <a:gd name="T104" fmla="*/ 2147483647 w 1045"/>
                <a:gd name="T105" fmla="*/ 2147483647 h 1018"/>
                <a:gd name="T106" fmla="*/ 2147483647 w 1045"/>
                <a:gd name="T107" fmla="*/ 2147483647 h 1018"/>
                <a:gd name="T108" fmla="*/ 2147483647 w 1045"/>
                <a:gd name="T109" fmla="*/ 2147483647 h 1018"/>
                <a:gd name="T110" fmla="*/ 2147483647 w 1045"/>
                <a:gd name="T111" fmla="*/ 2147483647 h 1018"/>
                <a:gd name="T112" fmla="*/ 2147483647 w 1045"/>
                <a:gd name="T113" fmla="*/ 2147483647 h 1018"/>
                <a:gd name="T114" fmla="*/ 2147483647 w 1045"/>
                <a:gd name="T115" fmla="*/ 2147483647 h 1018"/>
                <a:gd name="T116" fmla="*/ 2147483647 w 1045"/>
                <a:gd name="T117" fmla="*/ 2147483647 h 1018"/>
                <a:gd name="T118" fmla="*/ 2147483647 w 1045"/>
                <a:gd name="T119" fmla="*/ 2147483647 h 1018"/>
                <a:gd name="T120" fmla="*/ 2147483647 w 1045"/>
                <a:gd name="T121" fmla="*/ 2147483647 h 101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45"/>
                <a:gd name="T184" fmla="*/ 0 h 1018"/>
                <a:gd name="T185" fmla="*/ 1045 w 1045"/>
                <a:gd name="T186" fmla="*/ 1018 h 101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8" name="Freeform 53">
              <a:extLst>
                <a:ext uri="{FF2B5EF4-FFF2-40B4-BE49-F238E27FC236}">
                  <a16:creationId xmlns:a16="http://schemas.microsoft.com/office/drawing/2014/main" id="{B74BAB6D-BCEA-2B42-A24C-6F5871B7A6E5}"/>
                </a:ext>
              </a:extLst>
            </p:cNvPr>
            <p:cNvSpPr>
              <a:spLocks noChangeAspect="1"/>
            </p:cNvSpPr>
            <p:nvPr userDrawn="1"/>
          </p:nvSpPr>
          <p:spPr bwMode="gray">
            <a:xfrm>
              <a:off x="10006946" y="5721938"/>
              <a:ext cx="105957" cy="123462"/>
            </a:xfrm>
            <a:custGeom>
              <a:avLst/>
              <a:gdLst>
                <a:gd name="T0" fmla="*/ 0 w 201"/>
                <a:gd name="T1" fmla="*/ 0 h 216"/>
                <a:gd name="T2" fmla="*/ 0 w 201"/>
                <a:gd name="T3" fmla="*/ 0 h 216"/>
                <a:gd name="T4" fmla="*/ 0 w 201"/>
                <a:gd name="T5" fmla="*/ 0 h 216"/>
                <a:gd name="T6" fmla="*/ 2147483647 w 201"/>
                <a:gd name="T7" fmla="*/ 0 h 216"/>
                <a:gd name="T8" fmla="*/ 2147483647 w 201"/>
                <a:gd name="T9" fmla="*/ 0 h 216"/>
                <a:gd name="T10" fmla="*/ 2147483647 w 201"/>
                <a:gd name="T11" fmla="*/ 0 h 216"/>
                <a:gd name="T12" fmla="*/ 2147483647 w 201"/>
                <a:gd name="T13" fmla="*/ 0 h 216"/>
                <a:gd name="T14" fmla="*/ 2147483647 w 201"/>
                <a:gd name="T15" fmla="*/ 0 h 216"/>
                <a:gd name="T16" fmla="*/ 2147483647 w 201"/>
                <a:gd name="T17" fmla="*/ 0 h 216"/>
                <a:gd name="T18" fmla="*/ 2147483647 w 201"/>
                <a:gd name="T19" fmla="*/ 0 h 216"/>
                <a:gd name="T20" fmla="*/ 2147483647 w 201"/>
                <a:gd name="T21" fmla="*/ 0 h 216"/>
                <a:gd name="T22" fmla="*/ 2147483647 w 201"/>
                <a:gd name="T23" fmla="*/ 2147483647 h 216"/>
                <a:gd name="T24" fmla="*/ 2147483647 w 201"/>
                <a:gd name="T25" fmla="*/ 2147483647 h 216"/>
                <a:gd name="T26" fmla="*/ 2147483647 w 201"/>
                <a:gd name="T27" fmla="*/ 2147483647 h 216"/>
                <a:gd name="T28" fmla="*/ 2147483647 w 201"/>
                <a:gd name="T29" fmla="*/ 2147483647 h 216"/>
                <a:gd name="T30" fmla="*/ 2147483647 w 201"/>
                <a:gd name="T31" fmla="*/ 2147483647 h 216"/>
                <a:gd name="T32" fmla="*/ 2147483647 w 201"/>
                <a:gd name="T33" fmla="*/ 2147483647 h 216"/>
                <a:gd name="T34" fmla="*/ 2147483647 w 201"/>
                <a:gd name="T35" fmla="*/ 2147483647 h 216"/>
                <a:gd name="T36" fmla="*/ 2147483647 w 201"/>
                <a:gd name="T37" fmla="*/ 2147483647 h 216"/>
                <a:gd name="T38" fmla="*/ 2147483647 w 201"/>
                <a:gd name="T39" fmla="*/ 2147483647 h 216"/>
                <a:gd name="T40" fmla="*/ 2147483647 w 201"/>
                <a:gd name="T41" fmla="*/ 2147483647 h 216"/>
                <a:gd name="T42" fmla="*/ 2147483647 w 201"/>
                <a:gd name="T43" fmla="*/ 2147483647 h 216"/>
                <a:gd name="T44" fmla="*/ 2147483647 w 201"/>
                <a:gd name="T45" fmla="*/ 2147483647 h 216"/>
                <a:gd name="T46" fmla="*/ 2147483647 w 201"/>
                <a:gd name="T47" fmla="*/ 2147483647 h 216"/>
                <a:gd name="T48" fmla="*/ 2147483647 w 201"/>
                <a:gd name="T49" fmla="*/ 2147483647 h 216"/>
                <a:gd name="T50" fmla="*/ 2147483647 w 201"/>
                <a:gd name="T51" fmla="*/ 2147483647 h 216"/>
                <a:gd name="T52" fmla="*/ 2147483647 w 201"/>
                <a:gd name="T53" fmla="*/ 2147483647 h 216"/>
                <a:gd name="T54" fmla="*/ 2147483647 w 201"/>
                <a:gd name="T55" fmla="*/ 2147483647 h 216"/>
                <a:gd name="T56" fmla="*/ 2147483647 w 201"/>
                <a:gd name="T57" fmla="*/ 2147483647 h 216"/>
                <a:gd name="T58" fmla="*/ 2147483647 w 201"/>
                <a:gd name="T59" fmla="*/ 2147483647 h 216"/>
                <a:gd name="T60" fmla="*/ 0 w 201"/>
                <a:gd name="T61" fmla="*/ 2147483647 h 216"/>
                <a:gd name="T62" fmla="*/ 0 w 201"/>
                <a:gd name="T63" fmla="*/ 2147483647 h 216"/>
                <a:gd name="T64" fmla="*/ 0 w 201"/>
                <a:gd name="T65" fmla="*/ 2147483647 h 216"/>
                <a:gd name="T66" fmla="*/ 0 w 201"/>
                <a:gd name="T67" fmla="*/ 2147483647 h 216"/>
                <a:gd name="T68" fmla="*/ 0 w 201"/>
                <a:gd name="T69" fmla="*/ 0 h 2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01"/>
                <a:gd name="T106" fmla="*/ 0 h 216"/>
                <a:gd name="T107" fmla="*/ 201 w 201"/>
                <a:gd name="T108" fmla="*/ 216 h 2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59" name="Freeform 55">
              <a:extLst>
                <a:ext uri="{FF2B5EF4-FFF2-40B4-BE49-F238E27FC236}">
                  <a16:creationId xmlns:a16="http://schemas.microsoft.com/office/drawing/2014/main" id="{B47F9EB8-893D-926B-B4F8-5CF6C6DE8114}"/>
                </a:ext>
              </a:extLst>
            </p:cNvPr>
            <p:cNvSpPr>
              <a:spLocks noChangeAspect="1"/>
            </p:cNvSpPr>
            <p:nvPr userDrawn="1"/>
          </p:nvSpPr>
          <p:spPr bwMode="gray">
            <a:xfrm>
              <a:off x="10641192" y="5720413"/>
              <a:ext cx="226836" cy="263690"/>
            </a:xfrm>
            <a:custGeom>
              <a:avLst/>
              <a:gdLst>
                <a:gd name="T0" fmla="*/ 2147483647 w 424"/>
                <a:gd name="T1" fmla="*/ 0 h 463"/>
                <a:gd name="T2" fmla="*/ 2147483647 w 424"/>
                <a:gd name="T3" fmla="*/ 0 h 463"/>
                <a:gd name="T4" fmla="*/ 2147483647 w 424"/>
                <a:gd name="T5" fmla="*/ 0 h 463"/>
                <a:gd name="T6" fmla="*/ 2147483647 w 424"/>
                <a:gd name="T7" fmla="*/ 0 h 463"/>
                <a:gd name="T8" fmla="*/ 2147483647 w 424"/>
                <a:gd name="T9" fmla="*/ 0 h 463"/>
                <a:gd name="T10" fmla="*/ 2147483647 w 424"/>
                <a:gd name="T11" fmla="*/ 0 h 463"/>
                <a:gd name="T12" fmla="*/ 2147483647 w 424"/>
                <a:gd name="T13" fmla="*/ 0 h 463"/>
                <a:gd name="T14" fmla="*/ 2147483647 w 424"/>
                <a:gd name="T15" fmla="*/ 0 h 463"/>
                <a:gd name="T16" fmla="*/ 2147483647 w 424"/>
                <a:gd name="T17" fmla="*/ 0 h 463"/>
                <a:gd name="T18" fmla="*/ 2147483647 w 424"/>
                <a:gd name="T19" fmla="*/ 2147483647 h 463"/>
                <a:gd name="T20" fmla="*/ 2147483647 w 424"/>
                <a:gd name="T21" fmla="*/ 2147483647 h 463"/>
                <a:gd name="T22" fmla="*/ 2147483647 w 424"/>
                <a:gd name="T23" fmla="*/ 2147483647 h 463"/>
                <a:gd name="T24" fmla="*/ 2147483647 w 424"/>
                <a:gd name="T25" fmla="*/ 2147483647 h 463"/>
                <a:gd name="T26" fmla="*/ 2147483647 w 424"/>
                <a:gd name="T27" fmla="*/ 2147483647 h 463"/>
                <a:gd name="T28" fmla="*/ 2147483647 w 424"/>
                <a:gd name="T29" fmla="*/ 2147483647 h 463"/>
                <a:gd name="T30" fmla="*/ 2147483647 w 424"/>
                <a:gd name="T31" fmla="*/ 2147483647 h 463"/>
                <a:gd name="T32" fmla="*/ 2147483647 w 424"/>
                <a:gd name="T33" fmla="*/ 2147483647 h 463"/>
                <a:gd name="T34" fmla="*/ 2147483647 w 424"/>
                <a:gd name="T35" fmla="*/ 2147483647 h 463"/>
                <a:gd name="T36" fmla="*/ 2147483647 w 424"/>
                <a:gd name="T37" fmla="*/ 2147483647 h 463"/>
                <a:gd name="T38" fmla="*/ 2147483647 w 424"/>
                <a:gd name="T39" fmla="*/ 2147483647 h 463"/>
                <a:gd name="T40" fmla="*/ 2147483647 w 424"/>
                <a:gd name="T41" fmla="*/ 2147483647 h 463"/>
                <a:gd name="T42" fmla="*/ 2147483647 w 424"/>
                <a:gd name="T43" fmla="*/ 2147483647 h 463"/>
                <a:gd name="T44" fmla="*/ 2147483647 w 424"/>
                <a:gd name="T45" fmla="*/ 2147483647 h 463"/>
                <a:gd name="T46" fmla="*/ 2147483647 w 424"/>
                <a:gd name="T47" fmla="*/ 2147483647 h 463"/>
                <a:gd name="T48" fmla="*/ 2147483647 w 424"/>
                <a:gd name="T49" fmla="*/ 2147483647 h 463"/>
                <a:gd name="T50" fmla="*/ 2147483647 w 424"/>
                <a:gd name="T51" fmla="*/ 2147483647 h 463"/>
                <a:gd name="T52" fmla="*/ 2147483647 w 424"/>
                <a:gd name="T53" fmla="*/ 2147483647 h 463"/>
                <a:gd name="T54" fmla="*/ 2147483647 w 424"/>
                <a:gd name="T55" fmla="*/ 2147483647 h 463"/>
                <a:gd name="T56" fmla="*/ 2147483647 w 424"/>
                <a:gd name="T57" fmla="*/ 2147483647 h 463"/>
                <a:gd name="T58" fmla="*/ 0 w 424"/>
                <a:gd name="T59" fmla="*/ 2147483647 h 463"/>
                <a:gd name="T60" fmla="*/ 0 w 424"/>
                <a:gd name="T61" fmla="*/ 2147483647 h 463"/>
                <a:gd name="T62" fmla="*/ 0 w 424"/>
                <a:gd name="T63" fmla="*/ 2147483647 h 463"/>
                <a:gd name="T64" fmla="*/ 0 w 424"/>
                <a:gd name="T65" fmla="*/ 2147483647 h 463"/>
                <a:gd name="T66" fmla="*/ 0 w 424"/>
                <a:gd name="T67" fmla="*/ 2147483647 h 463"/>
                <a:gd name="T68" fmla="*/ 0 w 424"/>
                <a:gd name="T69" fmla="*/ 2147483647 h 463"/>
                <a:gd name="T70" fmla="*/ 0 w 424"/>
                <a:gd name="T71" fmla="*/ 2147483647 h 463"/>
                <a:gd name="T72" fmla="*/ 0 w 424"/>
                <a:gd name="T73" fmla="*/ 2147483647 h 463"/>
                <a:gd name="T74" fmla="*/ 0 w 424"/>
                <a:gd name="T75" fmla="*/ 2147483647 h 463"/>
                <a:gd name="T76" fmla="*/ 0 w 424"/>
                <a:gd name="T77" fmla="*/ 2147483647 h 463"/>
                <a:gd name="T78" fmla="*/ 2147483647 w 424"/>
                <a:gd name="T79" fmla="*/ 2147483647 h 463"/>
                <a:gd name="T80" fmla="*/ 2147483647 w 424"/>
                <a:gd name="T81" fmla="*/ 2147483647 h 463"/>
                <a:gd name="T82" fmla="*/ 2147483647 w 424"/>
                <a:gd name="T83" fmla="*/ 2147483647 h 463"/>
                <a:gd name="T84" fmla="*/ 2147483647 w 424"/>
                <a:gd name="T85" fmla="*/ 2147483647 h 463"/>
                <a:gd name="T86" fmla="*/ 2147483647 w 424"/>
                <a:gd name="T87" fmla="*/ 2147483647 h 463"/>
                <a:gd name="T88" fmla="*/ 2147483647 w 424"/>
                <a:gd name="T89" fmla="*/ 2147483647 h 463"/>
                <a:gd name="T90" fmla="*/ 2147483647 w 424"/>
                <a:gd name="T91" fmla="*/ 2147483647 h 463"/>
                <a:gd name="T92" fmla="*/ 2147483647 w 424"/>
                <a:gd name="T93" fmla="*/ 2147483647 h 463"/>
                <a:gd name="T94" fmla="*/ 2147483647 w 424"/>
                <a:gd name="T95" fmla="*/ 2147483647 h 463"/>
                <a:gd name="T96" fmla="*/ 2147483647 w 424"/>
                <a:gd name="T97" fmla="*/ 0 h 4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4"/>
                <a:gd name="T148" fmla="*/ 0 h 463"/>
                <a:gd name="T149" fmla="*/ 424 w 424"/>
                <a:gd name="T150" fmla="*/ 463 h 4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0" name="Freeform 56">
              <a:extLst>
                <a:ext uri="{FF2B5EF4-FFF2-40B4-BE49-F238E27FC236}">
                  <a16:creationId xmlns:a16="http://schemas.microsoft.com/office/drawing/2014/main" id="{9E565E23-CB24-5AAE-BC5B-6C05D2CA1FA1}"/>
                </a:ext>
              </a:extLst>
            </p:cNvPr>
            <p:cNvSpPr>
              <a:spLocks noChangeAspect="1"/>
            </p:cNvSpPr>
            <p:nvPr userDrawn="1"/>
          </p:nvSpPr>
          <p:spPr bwMode="gray">
            <a:xfrm>
              <a:off x="10823258" y="5479586"/>
              <a:ext cx="167142" cy="281981"/>
            </a:xfrm>
            <a:custGeom>
              <a:avLst/>
              <a:gdLst>
                <a:gd name="T0" fmla="*/ 2147483647 w 313"/>
                <a:gd name="T1" fmla="*/ 2147483647 h 495"/>
                <a:gd name="T2" fmla="*/ 2147483647 w 313"/>
                <a:gd name="T3" fmla="*/ 2147483647 h 495"/>
                <a:gd name="T4" fmla="*/ 2147483647 w 313"/>
                <a:gd name="T5" fmla="*/ 2147483647 h 495"/>
                <a:gd name="T6" fmla="*/ 2147483647 w 313"/>
                <a:gd name="T7" fmla="*/ 2147483647 h 495"/>
                <a:gd name="T8" fmla="*/ 2147483647 w 313"/>
                <a:gd name="T9" fmla="*/ 2147483647 h 495"/>
                <a:gd name="T10" fmla="*/ 2147483647 w 313"/>
                <a:gd name="T11" fmla="*/ 2147483647 h 495"/>
                <a:gd name="T12" fmla="*/ 2147483647 w 313"/>
                <a:gd name="T13" fmla="*/ 2147483647 h 495"/>
                <a:gd name="T14" fmla="*/ 2147483647 w 313"/>
                <a:gd name="T15" fmla="*/ 2147483647 h 495"/>
                <a:gd name="T16" fmla="*/ 2147483647 w 313"/>
                <a:gd name="T17" fmla="*/ 2147483647 h 495"/>
                <a:gd name="T18" fmla="*/ 2147483647 w 313"/>
                <a:gd name="T19" fmla="*/ 2147483647 h 495"/>
                <a:gd name="T20" fmla="*/ 2147483647 w 313"/>
                <a:gd name="T21" fmla="*/ 2147483647 h 495"/>
                <a:gd name="T22" fmla="*/ 2147483647 w 313"/>
                <a:gd name="T23" fmla="*/ 2147483647 h 495"/>
                <a:gd name="T24" fmla="*/ 2147483647 w 313"/>
                <a:gd name="T25" fmla="*/ 2147483647 h 495"/>
                <a:gd name="T26" fmla="*/ 0 w 313"/>
                <a:gd name="T27" fmla="*/ 2147483647 h 495"/>
                <a:gd name="T28" fmla="*/ 0 w 313"/>
                <a:gd name="T29" fmla="*/ 0 h 495"/>
                <a:gd name="T30" fmla="*/ 0 w 313"/>
                <a:gd name="T31" fmla="*/ 0 h 495"/>
                <a:gd name="T32" fmla="*/ 0 w 313"/>
                <a:gd name="T33" fmla="*/ 0 h 495"/>
                <a:gd name="T34" fmla="*/ 0 w 313"/>
                <a:gd name="T35" fmla="*/ 0 h 495"/>
                <a:gd name="T36" fmla="*/ 0 w 313"/>
                <a:gd name="T37" fmla="*/ 0 h 495"/>
                <a:gd name="T38" fmla="*/ 0 w 313"/>
                <a:gd name="T39" fmla="*/ 0 h 495"/>
                <a:gd name="T40" fmla="*/ 2147483647 w 313"/>
                <a:gd name="T41" fmla="*/ 0 h 495"/>
                <a:gd name="T42" fmla="*/ 2147483647 w 313"/>
                <a:gd name="T43" fmla="*/ 0 h 495"/>
                <a:gd name="T44" fmla="*/ 2147483647 w 313"/>
                <a:gd name="T45" fmla="*/ 0 h 495"/>
                <a:gd name="T46" fmla="*/ 2147483647 w 313"/>
                <a:gd name="T47" fmla="*/ 2147483647 h 495"/>
                <a:gd name="T48" fmla="*/ 2147483647 w 313"/>
                <a:gd name="T49" fmla="*/ 2147483647 h 495"/>
                <a:gd name="T50" fmla="*/ 2147483647 w 313"/>
                <a:gd name="T51" fmla="*/ 2147483647 h 495"/>
                <a:gd name="T52" fmla="*/ 2147483647 w 313"/>
                <a:gd name="T53" fmla="*/ 2147483647 h 495"/>
                <a:gd name="T54" fmla="*/ 2147483647 w 313"/>
                <a:gd name="T55" fmla="*/ 2147483647 h 495"/>
                <a:gd name="T56" fmla="*/ 2147483647 w 313"/>
                <a:gd name="T57" fmla="*/ 2147483647 h 495"/>
                <a:gd name="T58" fmla="*/ 2147483647 w 313"/>
                <a:gd name="T59" fmla="*/ 2147483647 h 495"/>
                <a:gd name="T60" fmla="*/ 2147483647 w 313"/>
                <a:gd name="T61" fmla="*/ 2147483647 h 495"/>
                <a:gd name="T62" fmla="*/ 2147483647 w 313"/>
                <a:gd name="T63" fmla="*/ 2147483647 h 495"/>
                <a:gd name="T64" fmla="*/ 2147483647 w 313"/>
                <a:gd name="T65" fmla="*/ 2147483647 h 495"/>
                <a:gd name="T66" fmla="*/ 2147483647 w 313"/>
                <a:gd name="T67" fmla="*/ 2147483647 h 495"/>
                <a:gd name="T68" fmla="*/ 2147483647 w 313"/>
                <a:gd name="T69" fmla="*/ 2147483647 h 495"/>
                <a:gd name="T70" fmla="*/ 2147483647 w 313"/>
                <a:gd name="T71" fmla="*/ 2147483647 h 495"/>
                <a:gd name="T72" fmla="*/ 2147483647 w 313"/>
                <a:gd name="T73" fmla="*/ 2147483647 h 495"/>
                <a:gd name="T74" fmla="*/ 2147483647 w 313"/>
                <a:gd name="T75" fmla="*/ 2147483647 h 495"/>
                <a:gd name="T76" fmla="*/ 2147483647 w 313"/>
                <a:gd name="T77" fmla="*/ 2147483647 h 495"/>
                <a:gd name="T78" fmla="*/ 2147483647 w 313"/>
                <a:gd name="T79" fmla="*/ 2147483647 h 495"/>
                <a:gd name="T80" fmla="*/ 2147483647 w 313"/>
                <a:gd name="T81" fmla="*/ 2147483647 h 495"/>
                <a:gd name="T82" fmla="*/ 2147483647 w 313"/>
                <a:gd name="T83" fmla="*/ 2147483647 h 495"/>
                <a:gd name="T84" fmla="*/ 2147483647 w 313"/>
                <a:gd name="T85" fmla="*/ 2147483647 h 495"/>
                <a:gd name="T86" fmla="*/ 2147483647 w 313"/>
                <a:gd name="T87" fmla="*/ 2147483647 h 495"/>
                <a:gd name="T88" fmla="*/ 2147483647 w 313"/>
                <a:gd name="T89" fmla="*/ 2147483647 h 495"/>
                <a:gd name="T90" fmla="*/ 2147483647 w 313"/>
                <a:gd name="T91" fmla="*/ 2147483647 h 495"/>
                <a:gd name="T92" fmla="*/ 2147483647 w 313"/>
                <a:gd name="T93" fmla="*/ 2147483647 h 495"/>
                <a:gd name="T94" fmla="*/ 2147483647 w 313"/>
                <a:gd name="T95" fmla="*/ 2147483647 h 4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3"/>
                <a:gd name="T145" fmla="*/ 0 h 495"/>
                <a:gd name="T146" fmla="*/ 313 w 313"/>
                <a:gd name="T147" fmla="*/ 495 h 49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1" name="Freeform 57">
              <a:extLst>
                <a:ext uri="{FF2B5EF4-FFF2-40B4-BE49-F238E27FC236}">
                  <a16:creationId xmlns:a16="http://schemas.microsoft.com/office/drawing/2014/main" id="{4B908570-F017-D453-3654-6AB3DC9F1028}"/>
                </a:ext>
              </a:extLst>
            </p:cNvPr>
            <p:cNvSpPr>
              <a:spLocks noChangeAspect="1"/>
            </p:cNvSpPr>
            <p:nvPr userDrawn="1"/>
          </p:nvSpPr>
          <p:spPr bwMode="gray">
            <a:xfrm>
              <a:off x="10568067" y="4982691"/>
              <a:ext cx="83571" cy="71639"/>
            </a:xfrm>
            <a:custGeom>
              <a:avLst/>
              <a:gdLst>
                <a:gd name="T0" fmla="*/ 2147483647 w 159"/>
                <a:gd name="T1" fmla="*/ 0 h 133"/>
                <a:gd name="T2" fmla="*/ 0 w 159"/>
                <a:gd name="T3" fmla="*/ 0 h 133"/>
                <a:gd name="T4" fmla="*/ 0 w 159"/>
                <a:gd name="T5" fmla="*/ 0 h 133"/>
                <a:gd name="T6" fmla="*/ 0 w 159"/>
                <a:gd name="T7" fmla="*/ 0 h 133"/>
                <a:gd name="T8" fmla="*/ 0 w 159"/>
                <a:gd name="T9" fmla="*/ 0 h 133"/>
                <a:gd name="T10" fmla="*/ 0 w 159"/>
                <a:gd name="T11" fmla="*/ 0 h 133"/>
                <a:gd name="T12" fmla="*/ 0 w 159"/>
                <a:gd name="T13" fmla="*/ 0 h 133"/>
                <a:gd name="T14" fmla="*/ 0 w 159"/>
                <a:gd name="T15" fmla="*/ 0 h 133"/>
                <a:gd name="T16" fmla="*/ 0 w 159"/>
                <a:gd name="T17" fmla="*/ 0 h 133"/>
                <a:gd name="T18" fmla="*/ 0 w 159"/>
                <a:gd name="T19" fmla="*/ 0 h 133"/>
                <a:gd name="T20" fmla="*/ 0 w 159"/>
                <a:gd name="T21" fmla="*/ 0 h 133"/>
                <a:gd name="T22" fmla="*/ 0 w 159"/>
                <a:gd name="T23" fmla="*/ 0 h 133"/>
                <a:gd name="T24" fmla="*/ 0 w 159"/>
                <a:gd name="T25" fmla="*/ 0 h 133"/>
                <a:gd name="T26" fmla="*/ 0 w 159"/>
                <a:gd name="T27" fmla="*/ 0 h 133"/>
                <a:gd name="T28" fmla="*/ 0 w 159"/>
                <a:gd name="T29" fmla="*/ 0 h 133"/>
                <a:gd name="T30" fmla="*/ 2147483647 w 159"/>
                <a:gd name="T31" fmla="*/ 0 h 133"/>
                <a:gd name="T32" fmla="*/ 2147483647 w 159"/>
                <a:gd name="T33" fmla="*/ 0 h 133"/>
                <a:gd name="T34" fmla="*/ 2147483647 w 159"/>
                <a:gd name="T35" fmla="*/ 0 h 133"/>
                <a:gd name="T36" fmla="*/ 2147483647 w 159"/>
                <a:gd name="T37" fmla="*/ 0 h 133"/>
                <a:gd name="T38" fmla="*/ 2147483647 w 159"/>
                <a:gd name="T39" fmla="*/ 0 h 133"/>
                <a:gd name="T40" fmla="*/ 2147483647 w 159"/>
                <a:gd name="T41" fmla="*/ 0 h 133"/>
                <a:gd name="T42" fmla="*/ 2147483647 w 159"/>
                <a:gd name="T43" fmla="*/ 0 h 133"/>
                <a:gd name="T44" fmla="*/ 2147483647 w 159"/>
                <a:gd name="T45" fmla="*/ 0 h 133"/>
                <a:gd name="T46" fmla="*/ 2147483647 w 159"/>
                <a:gd name="T47" fmla="*/ 0 h 133"/>
                <a:gd name="T48" fmla="*/ 2147483647 w 159"/>
                <a:gd name="T49" fmla="*/ 0 h 133"/>
                <a:gd name="T50" fmla="*/ 2147483647 w 159"/>
                <a:gd name="T51" fmla="*/ 0 h 133"/>
                <a:gd name="T52" fmla="*/ 2147483647 w 159"/>
                <a:gd name="T53" fmla="*/ 0 h 133"/>
                <a:gd name="T54" fmla="*/ 2147483647 w 159"/>
                <a:gd name="T55" fmla="*/ 2147483647 h 133"/>
                <a:gd name="T56" fmla="*/ 2147483647 w 159"/>
                <a:gd name="T57" fmla="*/ 2147483647 h 133"/>
                <a:gd name="T58" fmla="*/ 2147483647 w 159"/>
                <a:gd name="T59" fmla="*/ 2147483647 h 133"/>
                <a:gd name="T60" fmla="*/ 2147483647 w 159"/>
                <a:gd name="T61" fmla="*/ 2147483647 h 133"/>
                <a:gd name="T62" fmla="*/ 2147483647 w 159"/>
                <a:gd name="T63" fmla="*/ 2147483647 h 133"/>
                <a:gd name="T64" fmla="*/ 2147483647 w 159"/>
                <a:gd name="T65" fmla="*/ 2147483647 h 133"/>
                <a:gd name="T66" fmla="*/ 2147483647 w 159"/>
                <a:gd name="T67" fmla="*/ 2147483647 h 133"/>
                <a:gd name="T68" fmla="*/ 2147483647 w 159"/>
                <a:gd name="T69" fmla="*/ 2147483647 h 133"/>
                <a:gd name="T70" fmla="*/ 2147483647 w 159"/>
                <a:gd name="T71" fmla="*/ 2147483647 h 133"/>
                <a:gd name="T72" fmla="*/ 2147483647 w 159"/>
                <a:gd name="T73" fmla="*/ 2147483647 h 133"/>
                <a:gd name="T74" fmla="*/ 2147483647 w 159"/>
                <a:gd name="T75" fmla="*/ 2147483647 h 133"/>
                <a:gd name="T76" fmla="*/ 2147483647 w 159"/>
                <a:gd name="T77" fmla="*/ 2147483647 h 133"/>
                <a:gd name="T78" fmla="*/ 2147483647 w 159"/>
                <a:gd name="T79" fmla="*/ 2147483647 h 133"/>
                <a:gd name="T80" fmla="*/ 2147483647 w 159"/>
                <a:gd name="T81" fmla="*/ 2147483647 h 133"/>
                <a:gd name="T82" fmla="*/ 2147483647 w 159"/>
                <a:gd name="T83" fmla="*/ 2147483647 h 133"/>
                <a:gd name="T84" fmla="*/ 2147483647 w 159"/>
                <a:gd name="T85" fmla="*/ 2147483647 h 133"/>
                <a:gd name="T86" fmla="*/ 2147483647 w 159"/>
                <a:gd name="T87" fmla="*/ 2147483647 h 133"/>
                <a:gd name="T88" fmla="*/ 2147483647 w 159"/>
                <a:gd name="T89" fmla="*/ 2147483647 h 133"/>
                <a:gd name="T90" fmla="*/ 2147483647 w 159"/>
                <a:gd name="T91" fmla="*/ 2147483647 h 133"/>
                <a:gd name="T92" fmla="*/ 2147483647 w 159"/>
                <a:gd name="T93" fmla="*/ 2147483647 h 133"/>
                <a:gd name="T94" fmla="*/ 2147483647 w 159"/>
                <a:gd name="T95" fmla="*/ 2147483647 h 133"/>
                <a:gd name="T96" fmla="*/ 2147483647 w 159"/>
                <a:gd name="T97" fmla="*/ 2147483647 h 133"/>
                <a:gd name="T98" fmla="*/ 2147483647 w 159"/>
                <a:gd name="T99" fmla="*/ 2147483647 h 133"/>
                <a:gd name="T100" fmla="*/ 2147483647 w 159"/>
                <a:gd name="T101" fmla="*/ 2147483647 h 133"/>
                <a:gd name="T102" fmla="*/ 2147483647 w 159"/>
                <a:gd name="T103" fmla="*/ 2147483647 h 133"/>
                <a:gd name="T104" fmla="*/ 2147483647 w 159"/>
                <a:gd name="T105" fmla="*/ 2147483647 h 133"/>
                <a:gd name="T106" fmla="*/ 2147483647 w 159"/>
                <a:gd name="T107" fmla="*/ 2147483647 h 133"/>
                <a:gd name="T108" fmla="*/ 2147483647 w 159"/>
                <a:gd name="T109" fmla="*/ 0 h 133"/>
                <a:gd name="T110" fmla="*/ 2147483647 w 159"/>
                <a:gd name="T111" fmla="*/ 0 h 133"/>
                <a:gd name="T112" fmla="*/ 2147483647 w 159"/>
                <a:gd name="T113" fmla="*/ 0 h 1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
                <a:gd name="T172" fmla="*/ 0 h 133"/>
                <a:gd name="T173" fmla="*/ 159 w 159"/>
                <a:gd name="T174" fmla="*/ 133 h 1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2" name="Freeform 58">
              <a:extLst>
                <a:ext uri="{FF2B5EF4-FFF2-40B4-BE49-F238E27FC236}">
                  <a16:creationId xmlns:a16="http://schemas.microsoft.com/office/drawing/2014/main" id="{82BEA184-97E7-A4C6-234B-541A8E8523F2}"/>
                </a:ext>
              </a:extLst>
            </p:cNvPr>
            <p:cNvSpPr>
              <a:spLocks noChangeAspect="1"/>
            </p:cNvSpPr>
            <p:nvPr userDrawn="1"/>
          </p:nvSpPr>
          <p:spPr bwMode="gray">
            <a:xfrm>
              <a:off x="7796788" y="2850312"/>
              <a:ext cx="322346" cy="164615"/>
            </a:xfrm>
            <a:custGeom>
              <a:avLst/>
              <a:gdLst>
                <a:gd name="T0" fmla="*/ 2147483647 w 604"/>
                <a:gd name="T1" fmla="*/ 2147483647 h 288"/>
                <a:gd name="T2" fmla="*/ 2147483647 w 604"/>
                <a:gd name="T3" fmla="*/ 2147483647 h 288"/>
                <a:gd name="T4" fmla="*/ 2147483647 w 604"/>
                <a:gd name="T5" fmla="*/ 2147483647 h 288"/>
                <a:gd name="T6" fmla="*/ 2147483647 w 604"/>
                <a:gd name="T7" fmla="*/ 2147483647 h 288"/>
                <a:gd name="T8" fmla="*/ 2147483647 w 604"/>
                <a:gd name="T9" fmla="*/ 2147483647 h 288"/>
                <a:gd name="T10" fmla="*/ 2147483647 w 604"/>
                <a:gd name="T11" fmla="*/ 2147483647 h 288"/>
                <a:gd name="T12" fmla="*/ 2147483647 w 604"/>
                <a:gd name="T13" fmla="*/ 2147483647 h 288"/>
                <a:gd name="T14" fmla="*/ 2147483647 w 604"/>
                <a:gd name="T15" fmla="*/ 2147483647 h 288"/>
                <a:gd name="T16" fmla="*/ 2147483647 w 604"/>
                <a:gd name="T17" fmla="*/ 2147483647 h 288"/>
                <a:gd name="T18" fmla="*/ 2147483647 w 604"/>
                <a:gd name="T19" fmla="*/ 0 h 288"/>
                <a:gd name="T20" fmla="*/ 2147483647 w 604"/>
                <a:gd name="T21" fmla="*/ 0 h 288"/>
                <a:gd name="T22" fmla="*/ 2147483647 w 604"/>
                <a:gd name="T23" fmla="*/ 0 h 288"/>
                <a:gd name="T24" fmla="*/ 2147483647 w 604"/>
                <a:gd name="T25" fmla="*/ 0 h 288"/>
                <a:gd name="T26" fmla="*/ 2147483647 w 604"/>
                <a:gd name="T27" fmla="*/ 0 h 288"/>
                <a:gd name="T28" fmla="*/ 2147483647 w 604"/>
                <a:gd name="T29" fmla="*/ 0 h 288"/>
                <a:gd name="T30" fmla="*/ 2147483647 w 604"/>
                <a:gd name="T31" fmla="*/ 0 h 288"/>
                <a:gd name="T32" fmla="*/ 2147483647 w 604"/>
                <a:gd name="T33" fmla="*/ 0 h 288"/>
                <a:gd name="T34" fmla="*/ 2147483647 w 604"/>
                <a:gd name="T35" fmla="*/ 0 h 288"/>
                <a:gd name="T36" fmla="*/ 2147483647 w 604"/>
                <a:gd name="T37" fmla="*/ 0 h 288"/>
                <a:gd name="T38" fmla="*/ 2147483647 w 604"/>
                <a:gd name="T39" fmla="*/ 0 h 288"/>
                <a:gd name="T40" fmla="*/ 2147483647 w 604"/>
                <a:gd name="T41" fmla="*/ 0 h 288"/>
                <a:gd name="T42" fmla="*/ 2147483647 w 604"/>
                <a:gd name="T43" fmla="*/ 0 h 288"/>
                <a:gd name="T44" fmla="*/ 2147483647 w 604"/>
                <a:gd name="T45" fmla="*/ 0 h 288"/>
                <a:gd name="T46" fmla="*/ 2147483647 w 604"/>
                <a:gd name="T47" fmla="*/ 0 h 288"/>
                <a:gd name="T48" fmla="*/ 2147483647 w 604"/>
                <a:gd name="T49" fmla="*/ 0 h 288"/>
                <a:gd name="T50" fmla="*/ 2147483647 w 604"/>
                <a:gd name="T51" fmla="*/ 2147483647 h 288"/>
                <a:gd name="T52" fmla="*/ 2147483647 w 604"/>
                <a:gd name="T53" fmla="*/ 2147483647 h 288"/>
                <a:gd name="T54" fmla="*/ 2147483647 w 604"/>
                <a:gd name="T55" fmla="*/ 2147483647 h 288"/>
                <a:gd name="T56" fmla="*/ 2147483647 w 604"/>
                <a:gd name="T57" fmla="*/ 2147483647 h 288"/>
                <a:gd name="T58" fmla="*/ 2147483647 w 604"/>
                <a:gd name="T59" fmla="*/ 2147483647 h 288"/>
                <a:gd name="T60" fmla="*/ 2147483647 w 604"/>
                <a:gd name="T61" fmla="*/ 2147483647 h 288"/>
                <a:gd name="T62" fmla="*/ 2147483647 w 604"/>
                <a:gd name="T63" fmla="*/ 2147483647 h 288"/>
                <a:gd name="T64" fmla="*/ 2147483647 w 604"/>
                <a:gd name="T65" fmla="*/ 2147483647 h 288"/>
                <a:gd name="T66" fmla="*/ 2147483647 w 604"/>
                <a:gd name="T67" fmla="*/ 2147483647 h 288"/>
                <a:gd name="T68" fmla="*/ 2147483647 w 604"/>
                <a:gd name="T69" fmla="*/ 2147483647 h 288"/>
                <a:gd name="T70" fmla="*/ 2147483647 w 604"/>
                <a:gd name="T71" fmla="*/ 2147483647 h 288"/>
                <a:gd name="T72" fmla="*/ 2147483647 w 604"/>
                <a:gd name="T73" fmla="*/ 2147483647 h 288"/>
                <a:gd name="T74" fmla="*/ 2147483647 w 604"/>
                <a:gd name="T75" fmla="*/ 2147483647 h 288"/>
                <a:gd name="T76" fmla="*/ 2147483647 w 604"/>
                <a:gd name="T77" fmla="*/ 2147483647 h 288"/>
                <a:gd name="T78" fmla="*/ 2147483647 w 604"/>
                <a:gd name="T79" fmla="*/ 2147483647 h 288"/>
                <a:gd name="T80" fmla="*/ 0 w 604"/>
                <a:gd name="T81" fmla="*/ 2147483647 h 288"/>
                <a:gd name="T82" fmla="*/ 0 w 604"/>
                <a:gd name="T83" fmla="*/ 2147483647 h 288"/>
                <a:gd name="T84" fmla="*/ 0 w 604"/>
                <a:gd name="T85" fmla="*/ 2147483647 h 288"/>
                <a:gd name="T86" fmla="*/ 0 w 604"/>
                <a:gd name="T87" fmla="*/ 2147483647 h 288"/>
                <a:gd name="T88" fmla="*/ 2147483647 w 604"/>
                <a:gd name="T89" fmla="*/ 2147483647 h 288"/>
                <a:gd name="T90" fmla="*/ 2147483647 w 604"/>
                <a:gd name="T91" fmla="*/ 2147483647 h 288"/>
                <a:gd name="T92" fmla="*/ 2147483647 w 604"/>
                <a:gd name="T93" fmla="*/ 2147483647 h 288"/>
                <a:gd name="T94" fmla="*/ 2147483647 w 604"/>
                <a:gd name="T95" fmla="*/ 2147483647 h 288"/>
                <a:gd name="T96" fmla="*/ 2147483647 w 604"/>
                <a:gd name="T97" fmla="*/ 2147483647 h 288"/>
                <a:gd name="T98" fmla="*/ 2147483647 w 604"/>
                <a:gd name="T99" fmla="*/ 2147483647 h 2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4"/>
                <a:gd name="T151" fmla="*/ 0 h 288"/>
                <a:gd name="T152" fmla="*/ 604 w 604"/>
                <a:gd name="T153" fmla="*/ 288 h 2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3" name="Freeform 59">
              <a:extLst>
                <a:ext uri="{FF2B5EF4-FFF2-40B4-BE49-F238E27FC236}">
                  <a16:creationId xmlns:a16="http://schemas.microsoft.com/office/drawing/2014/main" id="{CD085032-1336-168F-0FE1-DFA563FC8EB0}"/>
                </a:ext>
              </a:extLst>
            </p:cNvPr>
            <p:cNvSpPr>
              <a:spLocks noChangeAspect="1"/>
            </p:cNvSpPr>
            <p:nvPr userDrawn="1"/>
          </p:nvSpPr>
          <p:spPr bwMode="gray">
            <a:xfrm>
              <a:off x="7743064" y="2938716"/>
              <a:ext cx="222358" cy="178333"/>
            </a:xfrm>
            <a:custGeom>
              <a:avLst/>
              <a:gdLst>
                <a:gd name="T0" fmla="*/ 0 w 417"/>
                <a:gd name="T1" fmla="*/ 2147483647 h 312"/>
                <a:gd name="T2" fmla="*/ 2147483647 w 417"/>
                <a:gd name="T3" fmla="*/ 2147483647 h 312"/>
                <a:gd name="T4" fmla="*/ 2147483647 w 417"/>
                <a:gd name="T5" fmla="*/ 2147483647 h 312"/>
                <a:gd name="T6" fmla="*/ 2147483647 w 417"/>
                <a:gd name="T7" fmla="*/ 2147483647 h 312"/>
                <a:gd name="T8" fmla="*/ 2147483647 w 417"/>
                <a:gd name="T9" fmla="*/ 2147483647 h 312"/>
                <a:gd name="T10" fmla="*/ 2147483647 w 417"/>
                <a:gd name="T11" fmla="*/ 2147483647 h 312"/>
                <a:gd name="T12" fmla="*/ 2147483647 w 417"/>
                <a:gd name="T13" fmla="*/ 2147483647 h 312"/>
                <a:gd name="T14" fmla="*/ 2147483647 w 417"/>
                <a:gd name="T15" fmla="*/ 2147483647 h 312"/>
                <a:gd name="T16" fmla="*/ 2147483647 w 417"/>
                <a:gd name="T17" fmla="*/ 2147483647 h 312"/>
                <a:gd name="T18" fmla="*/ 2147483647 w 417"/>
                <a:gd name="T19" fmla="*/ 2147483647 h 312"/>
                <a:gd name="T20" fmla="*/ 2147483647 w 417"/>
                <a:gd name="T21" fmla="*/ 2147483647 h 312"/>
                <a:gd name="T22" fmla="*/ 2147483647 w 417"/>
                <a:gd name="T23" fmla="*/ 2147483647 h 312"/>
                <a:gd name="T24" fmla="*/ 2147483647 w 417"/>
                <a:gd name="T25" fmla="*/ 2147483647 h 312"/>
                <a:gd name="T26" fmla="*/ 2147483647 w 417"/>
                <a:gd name="T27" fmla="*/ 2147483647 h 312"/>
                <a:gd name="T28" fmla="*/ 2147483647 w 417"/>
                <a:gd name="T29" fmla="*/ 2147483647 h 312"/>
                <a:gd name="T30" fmla="*/ 2147483647 w 417"/>
                <a:gd name="T31" fmla="*/ 2147483647 h 312"/>
                <a:gd name="T32" fmla="*/ 2147483647 w 417"/>
                <a:gd name="T33" fmla="*/ 2147483647 h 312"/>
                <a:gd name="T34" fmla="*/ 2147483647 w 417"/>
                <a:gd name="T35" fmla="*/ 2147483647 h 312"/>
                <a:gd name="T36" fmla="*/ 2147483647 w 417"/>
                <a:gd name="T37" fmla="*/ 2147483647 h 312"/>
                <a:gd name="T38" fmla="*/ 2147483647 w 417"/>
                <a:gd name="T39" fmla="*/ 2147483647 h 312"/>
                <a:gd name="T40" fmla="*/ 2147483647 w 417"/>
                <a:gd name="T41" fmla="*/ 2147483647 h 312"/>
                <a:gd name="T42" fmla="*/ 2147483647 w 417"/>
                <a:gd name="T43" fmla="*/ 2147483647 h 312"/>
                <a:gd name="T44" fmla="*/ 2147483647 w 417"/>
                <a:gd name="T45" fmla="*/ 2147483647 h 312"/>
                <a:gd name="T46" fmla="*/ 2147483647 w 417"/>
                <a:gd name="T47" fmla="*/ 2147483647 h 312"/>
                <a:gd name="T48" fmla="*/ 2147483647 w 417"/>
                <a:gd name="T49" fmla="*/ 2147483647 h 312"/>
                <a:gd name="T50" fmla="*/ 2147483647 w 417"/>
                <a:gd name="T51" fmla="*/ 2147483647 h 312"/>
                <a:gd name="T52" fmla="*/ 2147483647 w 417"/>
                <a:gd name="T53" fmla="*/ 2147483647 h 312"/>
                <a:gd name="T54" fmla="*/ 2147483647 w 417"/>
                <a:gd name="T55" fmla="*/ 2147483647 h 312"/>
                <a:gd name="T56" fmla="*/ 2147483647 w 417"/>
                <a:gd name="T57" fmla="*/ 2147483647 h 312"/>
                <a:gd name="T58" fmla="*/ 2147483647 w 417"/>
                <a:gd name="T59" fmla="*/ 2147483647 h 312"/>
                <a:gd name="T60" fmla="*/ 2147483647 w 417"/>
                <a:gd name="T61" fmla="*/ 2147483647 h 312"/>
                <a:gd name="T62" fmla="*/ 2147483647 w 417"/>
                <a:gd name="T63" fmla="*/ 0 h 312"/>
                <a:gd name="T64" fmla="*/ 2147483647 w 417"/>
                <a:gd name="T65" fmla="*/ 0 h 312"/>
                <a:gd name="T66" fmla="*/ 2147483647 w 417"/>
                <a:gd name="T67" fmla="*/ 0 h 312"/>
                <a:gd name="T68" fmla="*/ 2147483647 w 417"/>
                <a:gd name="T69" fmla="*/ 0 h 312"/>
                <a:gd name="T70" fmla="*/ 2147483647 w 417"/>
                <a:gd name="T71" fmla="*/ 0 h 312"/>
                <a:gd name="T72" fmla="*/ 2147483647 w 417"/>
                <a:gd name="T73" fmla="*/ 0 h 312"/>
                <a:gd name="T74" fmla="*/ 2147483647 w 417"/>
                <a:gd name="T75" fmla="*/ 0 h 312"/>
                <a:gd name="T76" fmla="*/ 2147483647 w 417"/>
                <a:gd name="T77" fmla="*/ 0 h 312"/>
                <a:gd name="T78" fmla="*/ 2147483647 w 417"/>
                <a:gd name="T79" fmla="*/ 0 h 312"/>
                <a:gd name="T80" fmla="*/ 2147483647 w 417"/>
                <a:gd name="T81" fmla="*/ 2147483647 h 312"/>
                <a:gd name="T82" fmla="*/ 0 w 417"/>
                <a:gd name="T83" fmla="*/ 2147483647 h 312"/>
                <a:gd name="T84" fmla="*/ 0 w 417"/>
                <a:gd name="T85" fmla="*/ 2147483647 h 312"/>
                <a:gd name="T86" fmla="*/ 0 w 417"/>
                <a:gd name="T87" fmla="*/ 2147483647 h 312"/>
                <a:gd name="T88" fmla="*/ 0 w 417"/>
                <a:gd name="T89" fmla="*/ 2147483647 h 312"/>
                <a:gd name="T90" fmla="*/ 0 w 417"/>
                <a:gd name="T91" fmla="*/ 2147483647 h 312"/>
                <a:gd name="T92" fmla="*/ 2147483647 w 417"/>
                <a:gd name="T93" fmla="*/ 2147483647 h 312"/>
                <a:gd name="T94" fmla="*/ 0 w 417"/>
                <a:gd name="T95" fmla="*/ 2147483647 h 312"/>
                <a:gd name="T96" fmla="*/ 0 w 417"/>
                <a:gd name="T97" fmla="*/ 2147483647 h 3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17"/>
                <a:gd name="T148" fmla="*/ 0 h 312"/>
                <a:gd name="T149" fmla="*/ 417 w 417"/>
                <a:gd name="T150" fmla="*/ 312 h 31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4" name="Freeform 60">
              <a:extLst>
                <a:ext uri="{FF2B5EF4-FFF2-40B4-BE49-F238E27FC236}">
                  <a16:creationId xmlns:a16="http://schemas.microsoft.com/office/drawing/2014/main" id="{FEE463D2-F6CC-D463-102D-D0FEE456BE74}"/>
                </a:ext>
              </a:extLst>
            </p:cNvPr>
            <p:cNvSpPr>
              <a:spLocks noChangeAspect="1"/>
            </p:cNvSpPr>
            <p:nvPr userDrawn="1"/>
          </p:nvSpPr>
          <p:spPr bwMode="gray">
            <a:xfrm>
              <a:off x="7847528" y="2978346"/>
              <a:ext cx="7461" cy="9145"/>
            </a:xfrm>
            <a:custGeom>
              <a:avLst/>
              <a:gdLst>
                <a:gd name="T0" fmla="*/ 0 w 16"/>
                <a:gd name="T1" fmla="*/ 0 h 22"/>
                <a:gd name="T2" fmla="*/ 0 w 16"/>
                <a:gd name="T3" fmla="*/ 0 h 22"/>
                <a:gd name="T4" fmla="*/ 0 w 16"/>
                <a:gd name="T5" fmla="*/ 0 h 22"/>
                <a:gd name="T6" fmla="*/ 0 w 16"/>
                <a:gd name="T7" fmla="*/ 0 h 22"/>
                <a:gd name="T8" fmla="*/ 0 w 16"/>
                <a:gd name="T9" fmla="*/ 0 h 22"/>
                <a:gd name="T10" fmla="*/ 0 w 16"/>
                <a:gd name="T11" fmla="*/ 0 h 22"/>
                <a:gd name="T12" fmla="*/ 0 w 16"/>
                <a:gd name="T13" fmla="*/ 0 h 22"/>
                <a:gd name="T14" fmla="*/ 0 w 16"/>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22"/>
                <a:gd name="T26" fmla="*/ 16 w 1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22">
                  <a:moveTo>
                    <a:pt x="16" y="19"/>
                  </a:moveTo>
                  <a:lnTo>
                    <a:pt x="14" y="12"/>
                  </a:lnTo>
                  <a:lnTo>
                    <a:pt x="5" y="0"/>
                  </a:lnTo>
                  <a:lnTo>
                    <a:pt x="0" y="6"/>
                  </a:lnTo>
                  <a:lnTo>
                    <a:pt x="1" y="13"/>
                  </a:lnTo>
                  <a:lnTo>
                    <a:pt x="3" y="21"/>
                  </a:lnTo>
                  <a:lnTo>
                    <a:pt x="12" y="22"/>
                  </a:lnTo>
                  <a:lnTo>
                    <a:pt x="16" y="1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5" name="Freeform 61">
              <a:extLst>
                <a:ext uri="{FF2B5EF4-FFF2-40B4-BE49-F238E27FC236}">
                  <a16:creationId xmlns:a16="http://schemas.microsoft.com/office/drawing/2014/main" id="{67C9A546-0264-33B1-F9D0-E324964C2863}"/>
                </a:ext>
              </a:extLst>
            </p:cNvPr>
            <p:cNvSpPr>
              <a:spLocks noChangeAspect="1"/>
            </p:cNvSpPr>
            <p:nvPr userDrawn="1"/>
          </p:nvSpPr>
          <p:spPr bwMode="gray">
            <a:xfrm>
              <a:off x="7865436" y="2981394"/>
              <a:ext cx="8954" cy="6097"/>
            </a:xfrm>
            <a:custGeom>
              <a:avLst/>
              <a:gdLst>
                <a:gd name="T0" fmla="*/ 0 w 15"/>
                <a:gd name="T1" fmla="*/ 0 h 9"/>
                <a:gd name="T2" fmla="*/ 0 w 15"/>
                <a:gd name="T3" fmla="*/ 0 h 9"/>
                <a:gd name="T4" fmla="*/ 0 w 15"/>
                <a:gd name="T5" fmla="*/ 0 h 9"/>
                <a:gd name="T6" fmla="*/ 0 w 15"/>
                <a:gd name="T7" fmla="*/ 0 h 9"/>
                <a:gd name="T8" fmla="*/ 0 w 15"/>
                <a:gd name="T9" fmla="*/ 0 h 9"/>
                <a:gd name="T10" fmla="*/ 0 w 15"/>
                <a:gd name="T11" fmla="*/ 0 h 9"/>
                <a:gd name="T12" fmla="*/ 0 60000 65536"/>
                <a:gd name="T13" fmla="*/ 0 60000 65536"/>
                <a:gd name="T14" fmla="*/ 0 60000 65536"/>
                <a:gd name="T15" fmla="*/ 0 60000 65536"/>
                <a:gd name="T16" fmla="*/ 0 60000 65536"/>
                <a:gd name="T17" fmla="*/ 0 60000 65536"/>
                <a:gd name="T18" fmla="*/ 0 w 15"/>
                <a:gd name="T19" fmla="*/ 0 h 9"/>
                <a:gd name="T20" fmla="*/ 15 w 15"/>
                <a:gd name="T21" fmla="*/ 9 h 9"/>
              </a:gdLst>
              <a:ahLst/>
              <a:cxnLst>
                <a:cxn ang="T12">
                  <a:pos x="T0" y="T1"/>
                </a:cxn>
                <a:cxn ang="T13">
                  <a:pos x="T2" y="T3"/>
                </a:cxn>
                <a:cxn ang="T14">
                  <a:pos x="T4" y="T5"/>
                </a:cxn>
                <a:cxn ang="T15">
                  <a:pos x="T6" y="T7"/>
                </a:cxn>
                <a:cxn ang="T16">
                  <a:pos x="T8" y="T9"/>
                </a:cxn>
                <a:cxn ang="T17">
                  <a:pos x="T10" y="T11"/>
                </a:cxn>
              </a:cxnLst>
              <a:rect l="T18" t="T19" r="T20" b="T21"/>
              <a:pathLst>
                <a:path w="15" h="9">
                  <a:moveTo>
                    <a:pt x="15" y="4"/>
                  </a:moveTo>
                  <a:lnTo>
                    <a:pt x="7" y="0"/>
                  </a:lnTo>
                  <a:lnTo>
                    <a:pt x="0" y="3"/>
                  </a:lnTo>
                  <a:lnTo>
                    <a:pt x="6" y="9"/>
                  </a:lnTo>
                  <a:lnTo>
                    <a:pt x="14" y="6"/>
                  </a:lnTo>
                  <a:lnTo>
                    <a:pt x="15"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6" name="Freeform 62">
              <a:extLst>
                <a:ext uri="{FF2B5EF4-FFF2-40B4-BE49-F238E27FC236}">
                  <a16:creationId xmlns:a16="http://schemas.microsoft.com/office/drawing/2014/main" id="{3EE5E2FD-D0BA-36CF-9BE5-FA9DF5DA6F68}"/>
                </a:ext>
              </a:extLst>
            </p:cNvPr>
            <p:cNvSpPr>
              <a:spLocks noChangeAspect="1"/>
            </p:cNvSpPr>
            <p:nvPr userDrawn="1"/>
          </p:nvSpPr>
          <p:spPr bwMode="gray">
            <a:xfrm>
              <a:off x="7834097" y="2987491"/>
              <a:ext cx="5969" cy="7621"/>
            </a:xfrm>
            <a:custGeom>
              <a:avLst/>
              <a:gdLst>
                <a:gd name="T0" fmla="*/ 0 w 12"/>
                <a:gd name="T1" fmla="*/ 0 h 8"/>
                <a:gd name="T2" fmla="*/ 0 w 12"/>
                <a:gd name="T3" fmla="*/ 0 h 8"/>
                <a:gd name="T4" fmla="*/ 0 w 12"/>
                <a:gd name="T5" fmla="*/ 0 h 8"/>
                <a:gd name="T6" fmla="*/ 0 w 12"/>
                <a:gd name="T7" fmla="*/ 0 h 8"/>
                <a:gd name="T8" fmla="*/ 0 w 12"/>
                <a:gd name="T9" fmla="*/ 0 h 8"/>
                <a:gd name="T10" fmla="*/ 0 w 12"/>
                <a:gd name="T11" fmla="*/ 0 h 8"/>
                <a:gd name="T12" fmla="*/ 0 60000 65536"/>
                <a:gd name="T13" fmla="*/ 0 60000 65536"/>
                <a:gd name="T14" fmla="*/ 0 60000 65536"/>
                <a:gd name="T15" fmla="*/ 0 60000 65536"/>
                <a:gd name="T16" fmla="*/ 0 60000 65536"/>
                <a:gd name="T17" fmla="*/ 0 60000 65536"/>
                <a:gd name="T18" fmla="*/ 0 w 12"/>
                <a:gd name="T19" fmla="*/ 0 h 8"/>
                <a:gd name="T20" fmla="*/ 12 w 12"/>
                <a:gd name="T21" fmla="*/ 8 h 8"/>
              </a:gdLst>
              <a:ahLst/>
              <a:cxnLst>
                <a:cxn ang="T12">
                  <a:pos x="T0" y="T1"/>
                </a:cxn>
                <a:cxn ang="T13">
                  <a:pos x="T2" y="T3"/>
                </a:cxn>
                <a:cxn ang="T14">
                  <a:pos x="T4" y="T5"/>
                </a:cxn>
                <a:cxn ang="T15">
                  <a:pos x="T6" y="T7"/>
                </a:cxn>
                <a:cxn ang="T16">
                  <a:pos x="T8" y="T9"/>
                </a:cxn>
                <a:cxn ang="T17">
                  <a:pos x="T10" y="T11"/>
                </a:cxn>
              </a:cxnLst>
              <a:rect l="T18" t="T19" r="T20" b="T21"/>
              <a:pathLst>
                <a:path w="12" h="8">
                  <a:moveTo>
                    <a:pt x="12" y="6"/>
                  </a:moveTo>
                  <a:lnTo>
                    <a:pt x="8" y="0"/>
                  </a:lnTo>
                  <a:lnTo>
                    <a:pt x="0" y="1"/>
                  </a:lnTo>
                  <a:lnTo>
                    <a:pt x="2" y="8"/>
                  </a:lnTo>
                  <a:lnTo>
                    <a:pt x="11" y="8"/>
                  </a:lnTo>
                  <a:lnTo>
                    <a:pt x="12" y="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7" name="Freeform 63">
              <a:extLst>
                <a:ext uri="{FF2B5EF4-FFF2-40B4-BE49-F238E27FC236}">
                  <a16:creationId xmlns:a16="http://schemas.microsoft.com/office/drawing/2014/main" id="{2596A6F1-B794-FA2F-3E41-ECF205A990AD}"/>
                </a:ext>
              </a:extLst>
            </p:cNvPr>
            <p:cNvSpPr>
              <a:spLocks noChangeAspect="1"/>
            </p:cNvSpPr>
            <p:nvPr userDrawn="1"/>
          </p:nvSpPr>
          <p:spPr bwMode="gray">
            <a:xfrm>
              <a:off x="7540106" y="3045411"/>
              <a:ext cx="422332" cy="341424"/>
            </a:xfrm>
            <a:custGeom>
              <a:avLst/>
              <a:gdLst>
                <a:gd name="T0" fmla="*/ 2147483647 w 788"/>
                <a:gd name="T1" fmla="*/ 2147483647 h 599"/>
                <a:gd name="T2" fmla="*/ 0 w 788"/>
                <a:gd name="T3" fmla="*/ 2147483647 h 599"/>
                <a:gd name="T4" fmla="*/ 0 w 788"/>
                <a:gd name="T5" fmla="*/ 2147483647 h 599"/>
                <a:gd name="T6" fmla="*/ 0 w 788"/>
                <a:gd name="T7" fmla="*/ 2147483647 h 599"/>
                <a:gd name="T8" fmla="*/ 0 w 788"/>
                <a:gd name="T9" fmla="*/ 2147483647 h 599"/>
                <a:gd name="T10" fmla="*/ 2147483647 w 788"/>
                <a:gd name="T11" fmla="*/ 2147483647 h 599"/>
                <a:gd name="T12" fmla="*/ 2147483647 w 788"/>
                <a:gd name="T13" fmla="*/ 2147483647 h 599"/>
                <a:gd name="T14" fmla="*/ 2147483647 w 788"/>
                <a:gd name="T15" fmla="*/ 2147483647 h 599"/>
                <a:gd name="T16" fmla="*/ 2147483647 w 788"/>
                <a:gd name="T17" fmla="*/ 2147483647 h 599"/>
                <a:gd name="T18" fmla="*/ 2147483647 w 788"/>
                <a:gd name="T19" fmla="*/ 2147483647 h 599"/>
                <a:gd name="T20" fmla="*/ 2147483647 w 788"/>
                <a:gd name="T21" fmla="*/ 2147483647 h 599"/>
                <a:gd name="T22" fmla="*/ 2147483647 w 788"/>
                <a:gd name="T23" fmla="*/ 2147483647 h 599"/>
                <a:gd name="T24" fmla="*/ 2147483647 w 788"/>
                <a:gd name="T25" fmla="*/ 2147483647 h 599"/>
                <a:gd name="T26" fmla="*/ 2147483647 w 788"/>
                <a:gd name="T27" fmla="*/ 0 h 599"/>
                <a:gd name="T28" fmla="*/ 2147483647 w 788"/>
                <a:gd name="T29" fmla="*/ 0 h 599"/>
                <a:gd name="T30" fmla="*/ 2147483647 w 788"/>
                <a:gd name="T31" fmla="*/ 2147483647 h 599"/>
                <a:gd name="T32" fmla="*/ 2147483647 w 788"/>
                <a:gd name="T33" fmla="*/ 2147483647 h 599"/>
                <a:gd name="T34" fmla="*/ 2147483647 w 788"/>
                <a:gd name="T35" fmla="*/ 2147483647 h 599"/>
                <a:gd name="T36" fmla="*/ 2147483647 w 788"/>
                <a:gd name="T37" fmla="*/ 2147483647 h 599"/>
                <a:gd name="T38" fmla="*/ 2147483647 w 788"/>
                <a:gd name="T39" fmla="*/ 0 h 599"/>
                <a:gd name="T40" fmla="*/ 2147483647 w 788"/>
                <a:gd name="T41" fmla="*/ 0 h 599"/>
                <a:gd name="T42" fmla="*/ 2147483647 w 788"/>
                <a:gd name="T43" fmla="*/ 0 h 599"/>
                <a:gd name="T44" fmla="*/ 2147483647 w 788"/>
                <a:gd name="T45" fmla="*/ 0 h 599"/>
                <a:gd name="T46" fmla="*/ 2147483647 w 788"/>
                <a:gd name="T47" fmla="*/ 0 h 599"/>
                <a:gd name="T48" fmla="*/ 2147483647 w 788"/>
                <a:gd name="T49" fmla="*/ 0 h 599"/>
                <a:gd name="T50" fmla="*/ 2147483647 w 788"/>
                <a:gd name="T51" fmla="*/ 0 h 599"/>
                <a:gd name="T52" fmla="*/ 2147483647 w 788"/>
                <a:gd name="T53" fmla="*/ 2147483647 h 599"/>
                <a:gd name="T54" fmla="*/ 2147483647 w 788"/>
                <a:gd name="T55" fmla="*/ 2147483647 h 599"/>
                <a:gd name="T56" fmla="*/ 2147483647 w 788"/>
                <a:gd name="T57" fmla="*/ 2147483647 h 599"/>
                <a:gd name="T58" fmla="*/ 2147483647 w 788"/>
                <a:gd name="T59" fmla="*/ 0 h 599"/>
                <a:gd name="T60" fmla="*/ 2147483647 w 788"/>
                <a:gd name="T61" fmla="*/ 0 h 599"/>
                <a:gd name="T62" fmla="*/ 2147483647 w 788"/>
                <a:gd name="T63" fmla="*/ 2147483647 h 599"/>
                <a:gd name="T64" fmla="*/ 2147483647 w 788"/>
                <a:gd name="T65" fmla="*/ 0 h 599"/>
                <a:gd name="T66" fmla="*/ 2147483647 w 788"/>
                <a:gd name="T67" fmla="*/ 2147483647 h 599"/>
                <a:gd name="T68" fmla="*/ 2147483647 w 788"/>
                <a:gd name="T69" fmla="*/ 2147483647 h 599"/>
                <a:gd name="T70" fmla="*/ 2147483647 w 788"/>
                <a:gd name="T71" fmla="*/ 2147483647 h 599"/>
                <a:gd name="T72" fmla="*/ 2147483647 w 788"/>
                <a:gd name="T73" fmla="*/ 2147483647 h 599"/>
                <a:gd name="T74" fmla="*/ 2147483647 w 788"/>
                <a:gd name="T75" fmla="*/ 2147483647 h 599"/>
                <a:gd name="T76" fmla="*/ 2147483647 w 788"/>
                <a:gd name="T77" fmla="*/ 2147483647 h 599"/>
                <a:gd name="T78" fmla="*/ 2147483647 w 788"/>
                <a:gd name="T79" fmla="*/ 2147483647 h 599"/>
                <a:gd name="T80" fmla="*/ 2147483647 w 788"/>
                <a:gd name="T81" fmla="*/ 2147483647 h 599"/>
                <a:gd name="T82" fmla="*/ 2147483647 w 788"/>
                <a:gd name="T83" fmla="*/ 2147483647 h 599"/>
                <a:gd name="T84" fmla="*/ 2147483647 w 788"/>
                <a:gd name="T85" fmla="*/ 2147483647 h 599"/>
                <a:gd name="T86" fmla="*/ 2147483647 w 788"/>
                <a:gd name="T87" fmla="*/ 2147483647 h 599"/>
                <a:gd name="T88" fmla="*/ 2147483647 w 788"/>
                <a:gd name="T89" fmla="*/ 2147483647 h 599"/>
                <a:gd name="T90" fmla="*/ 2147483647 w 788"/>
                <a:gd name="T91" fmla="*/ 2147483647 h 599"/>
                <a:gd name="T92" fmla="*/ 2147483647 w 788"/>
                <a:gd name="T93" fmla="*/ 2147483647 h 599"/>
                <a:gd name="T94" fmla="*/ 2147483647 w 788"/>
                <a:gd name="T95" fmla="*/ 2147483647 h 599"/>
                <a:gd name="T96" fmla="*/ 2147483647 w 788"/>
                <a:gd name="T97" fmla="*/ 2147483647 h 599"/>
                <a:gd name="T98" fmla="*/ 2147483647 w 788"/>
                <a:gd name="T99" fmla="*/ 2147483647 h 599"/>
                <a:gd name="T100" fmla="*/ 2147483647 w 788"/>
                <a:gd name="T101" fmla="*/ 2147483647 h 599"/>
                <a:gd name="T102" fmla="*/ 2147483647 w 788"/>
                <a:gd name="T103" fmla="*/ 2147483647 h 599"/>
                <a:gd name="T104" fmla="*/ 2147483647 w 788"/>
                <a:gd name="T105" fmla="*/ 2147483647 h 599"/>
                <a:gd name="T106" fmla="*/ 2147483647 w 788"/>
                <a:gd name="T107" fmla="*/ 2147483647 h 599"/>
                <a:gd name="T108" fmla="*/ 2147483647 w 788"/>
                <a:gd name="T109" fmla="*/ 2147483647 h 599"/>
                <a:gd name="T110" fmla="*/ 2147483647 w 788"/>
                <a:gd name="T111" fmla="*/ 2147483647 h 599"/>
                <a:gd name="T112" fmla="*/ 2147483647 w 788"/>
                <a:gd name="T113" fmla="*/ 2147483647 h 599"/>
                <a:gd name="T114" fmla="*/ 2147483647 w 788"/>
                <a:gd name="T115" fmla="*/ 2147483647 h 599"/>
                <a:gd name="T116" fmla="*/ 2147483647 w 788"/>
                <a:gd name="T117" fmla="*/ 2147483647 h 599"/>
                <a:gd name="T118" fmla="*/ 2147483647 w 788"/>
                <a:gd name="T119" fmla="*/ 2147483647 h 599"/>
                <a:gd name="T120" fmla="*/ 2147483647 w 788"/>
                <a:gd name="T121" fmla="*/ 2147483647 h 599"/>
                <a:gd name="T122" fmla="*/ 2147483647 w 788"/>
                <a:gd name="T123" fmla="*/ 2147483647 h 599"/>
                <a:gd name="T124" fmla="*/ 2147483647 w 788"/>
                <a:gd name="T125" fmla="*/ 2147483647 h 59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88"/>
                <a:gd name="T190" fmla="*/ 0 h 599"/>
                <a:gd name="T191" fmla="*/ 788 w 788"/>
                <a:gd name="T192" fmla="*/ 599 h 59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8" name="Freeform 64">
              <a:extLst>
                <a:ext uri="{FF2B5EF4-FFF2-40B4-BE49-F238E27FC236}">
                  <a16:creationId xmlns:a16="http://schemas.microsoft.com/office/drawing/2014/main" id="{CFA427B9-FBA2-A338-E7AC-4EB9ED389D50}"/>
                </a:ext>
              </a:extLst>
            </p:cNvPr>
            <p:cNvSpPr>
              <a:spLocks noChangeAspect="1"/>
            </p:cNvSpPr>
            <p:nvPr userDrawn="1"/>
          </p:nvSpPr>
          <p:spPr bwMode="gray">
            <a:xfrm>
              <a:off x="8559375" y="4164187"/>
              <a:ext cx="319361" cy="358190"/>
            </a:xfrm>
            <a:custGeom>
              <a:avLst/>
              <a:gdLst>
                <a:gd name="T0" fmla="*/ 0 w 594"/>
                <a:gd name="T1" fmla="*/ 0 h 626"/>
                <a:gd name="T2" fmla="*/ 0 w 594"/>
                <a:gd name="T3" fmla="*/ 0 h 626"/>
                <a:gd name="T4" fmla="*/ 2147483647 w 594"/>
                <a:gd name="T5" fmla="*/ 0 h 626"/>
                <a:gd name="T6" fmla="*/ 2147483647 w 594"/>
                <a:gd name="T7" fmla="*/ 0 h 626"/>
                <a:gd name="T8" fmla="*/ 2147483647 w 594"/>
                <a:gd name="T9" fmla="*/ 0 h 626"/>
                <a:gd name="T10" fmla="*/ 2147483647 w 594"/>
                <a:gd name="T11" fmla="*/ 0 h 626"/>
                <a:gd name="T12" fmla="*/ 2147483647 w 594"/>
                <a:gd name="T13" fmla="*/ 0 h 626"/>
                <a:gd name="T14" fmla="*/ 2147483647 w 594"/>
                <a:gd name="T15" fmla="*/ 2147483647 h 626"/>
                <a:gd name="T16" fmla="*/ 2147483647 w 594"/>
                <a:gd name="T17" fmla="*/ 2147483647 h 626"/>
                <a:gd name="T18" fmla="*/ 2147483647 w 594"/>
                <a:gd name="T19" fmla="*/ 2147483647 h 626"/>
                <a:gd name="T20" fmla="*/ 2147483647 w 594"/>
                <a:gd name="T21" fmla="*/ 2147483647 h 626"/>
                <a:gd name="T22" fmla="*/ 2147483647 w 594"/>
                <a:gd name="T23" fmla="*/ 2147483647 h 626"/>
                <a:gd name="T24" fmla="*/ 2147483647 w 594"/>
                <a:gd name="T25" fmla="*/ 2147483647 h 626"/>
                <a:gd name="T26" fmla="*/ 2147483647 w 594"/>
                <a:gd name="T27" fmla="*/ 2147483647 h 626"/>
                <a:gd name="T28" fmla="*/ 2147483647 w 594"/>
                <a:gd name="T29" fmla="*/ 2147483647 h 626"/>
                <a:gd name="T30" fmla="*/ 2147483647 w 594"/>
                <a:gd name="T31" fmla="*/ 2147483647 h 626"/>
                <a:gd name="T32" fmla="*/ 2147483647 w 594"/>
                <a:gd name="T33" fmla="*/ 2147483647 h 626"/>
                <a:gd name="T34" fmla="*/ 2147483647 w 594"/>
                <a:gd name="T35" fmla="*/ 2147483647 h 626"/>
                <a:gd name="T36" fmla="*/ 2147483647 w 594"/>
                <a:gd name="T37" fmla="*/ 2147483647 h 626"/>
                <a:gd name="T38" fmla="*/ 2147483647 w 594"/>
                <a:gd name="T39" fmla="*/ 2147483647 h 626"/>
                <a:gd name="T40" fmla="*/ 2147483647 w 594"/>
                <a:gd name="T41" fmla="*/ 2147483647 h 626"/>
                <a:gd name="T42" fmla="*/ 2147483647 w 594"/>
                <a:gd name="T43" fmla="*/ 2147483647 h 626"/>
                <a:gd name="T44" fmla="*/ 2147483647 w 594"/>
                <a:gd name="T45" fmla="*/ 2147483647 h 626"/>
                <a:gd name="T46" fmla="*/ 2147483647 w 594"/>
                <a:gd name="T47" fmla="*/ 2147483647 h 626"/>
                <a:gd name="T48" fmla="*/ 2147483647 w 594"/>
                <a:gd name="T49" fmla="*/ 2147483647 h 626"/>
                <a:gd name="T50" fmla="*/ 2147483647 w 594"/>
                <a:gd name="T51" fmla="*/ 2147483647 h 626"/>
                <a:gd name="T52" fmla="*/ 2147483647 w 594"/>
                <a:gd name="T53" fmla="*/ 2147483647 h 626"/>
                <a:gd name="T54" fmla="*/ 2147483647 w 594"/>
                <a:gd name="T55" fmla="*/ 2147483647 h 626"/>
                <a:gd name="T56" fmla="*/ 2147483647 w 594"/>
                <a:gd name="T57" fmla="*/ 2147483647 h 626"/>
                <a:gd name="T58" fmla="*/ 2147483647 w 594"/>
                <a:gd name="T59" fmla="*/ 2147483647 h 626"/>
                <a:gd name="T60" fmla="*/ 2147483647 w 594"/>
                <a:gd name="T61" fmla="*/ 2147483647 h 626"/>
                <a:gd name="T62" fmla="*/ 2147483647 w 594"/>
                <a:gd name="T63" fmla="*/ 2147483647 h 626"/>
                <a:gd name="T64" fmla="*/ 2147483647 w 594"/>
                <a:gd name="T65" fmla="*/ 2147483647 h 626"/>
                <a:gd name="T66" fmla="*/ 2147483647 w 594"/>
                <a:gd name="T67" fmla="*/ 2147483647 h 626"/>
                <a:gd name="T68" fmla="*/ 2147483647 w 594"/>
                <a:gd name="T69" fmla="*/ 2147483647 h 626"/>
                <a:gd name="T70" fmla="*/ 2147483647 w 594"/>
                <a:gd name="T71" fmla="*/ 2147483647 h 626"/>
                <a:gd name="T72" fmla="*/ 2147483647 w 594"/>
                <a:gd name="T73" fmla="*/ 2147483647 h 626"/>
                <a:gd name="T74" fmla="*/ 2147483647 w 594"/>
                <a:gd name="T75" fmla="*/ 2147483647 h 626"/>
                <a:gd name="T76" fmla="*/ 2147483647 w 594"/>
                <a:gd name="T77" fmla="*/ 2147483647 h 626"/>
                <a:gd name="T78" fmla="*/ 2147483647 w 594"/>
                <a:gd name="T79" fmla="*/ 2147483647 h 626"/>
                <a:gd name="T80" fmla="*/ 2147483647 w 594"/>
                <a:gd name="T81" fmla="*/ 2147483647 h 626"/>
                <a:gd name="T82" fmla="*/ 2147483647 w 594"/>
                <a:gd name="T83" fmla="*/ 2147483647 h 626"/>
                <a:gd name="T84" fmla="*/ 2147483647 w 594"/>
                <a:gd name="T85" fmla="*/ 2147483647 h 626"/>
                <a:gd name="T86" fmla="*/ 2147483647 w 594"/>
                <a:gd name="T87" fmla="*/ 2147483647 h 626"/>
                <a:gd name="T88" fmla="*/ 2147483647 w 594"/>
                <a:gd name="T89" fmla="*/ 2147483647 h 626"/>
                <a:gd name="T90" fmla="*/ 2147483647 w 594"/>
                <a:gd name="T91" fmla="*/ 2147483647 h 626"/>
                <a:gd name="T92" fmla="*/ 2147483647 w 594"/>
                <a:gd name="T93" fmla="*/ 2147483647 h 626"/>
                <a:gd name="T94" fmla="*/ 2147483647 w 594"/>
                <a:gd name="T95" fmla="*/ 2147483647 h 626"/>
                <a:gd name="T96" fmla="*/ 2147483647 w 594"/>
                <a:gd name="T97" fmla="*/ 2147483647 h 626"/>
                <a:gd name="T98" fmla="*/ 2147483647 w 594"/>
                <a:gd name="T99" fmla="*/ 2147483647 h 626"/>
                <a:gd name="T100" fmla="*/ 2147483647 w 594"/>
                <a:gd name="T101" fmla="*/ 2147483647 h 626"/>
                <a:gd name="T102" fmla="*/ 2147483647 w 594"/>
                <a:gd name="T103" fmla="*/ 2147483647 h 626"/>
                <a:gd name="T104" fmla="*/ 2147483647 w 594"/>
                <a:gd name="T105" fmla="*/ 2147483647 h 626"/>
                <a:gd name="T106" fmla="*/ 2147483647 w 594"/>
                <a:gd name="T107" fmla="*/ 2147483647 h 626"/>
                <a:gd name="T108" fmla="*/ 2147483647 w 594"/>
                <a:gd name="T109" fmla="*/ 2147483647 h 626"/>
                <a:gd name="T110" fmla="*/ 2147483647 w 594"/>
                <a:gd name="T111" fmla="*/ 2147483647 h 626"/>
                <a:gd name="T112" fmla="*/ 2147483647 w 594"/>
                <a:gd name="T113" fmla="*/ 2147483647 h 626"/>
                <a:gd name="T114" fmla="*/ 2147483647 w 594"/>
                <a:gd name="T115" fmla="*/ 2147483647 h 626"/>
                <a:gd name="T116" fmla="*/ 0 w 594"/>
                <a:gd name="T117" fmla="*/ 0 h 626"/>
                <a:gd name="T118" fmla="*/ 0 w 594"/>
                <a:gd name="T119" fmla="*/ 0 h 6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4"/>
                <a:gd name="T181" fmla="*/ 0 h 626"/>
                <a:gd name="T182" fmla="*/ 594 w 594"/>
                <a:gd name="T183" fmla="*/ 626 h 62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69" name="Freeform 65">
              <a:extLst>
                <a:ext uri="{FF2B5EF4-FFF2-40B4-BE49-F238E27FC236}">
                  <a16:creationId xmlns:a16="http://schemas.microsoft.com/office/drawing/2014/main" id="{8077951F-B81A-513F-997E-D56F71951D4A}"/>
                </a:ext>
              </a:extLst>
            </p:cNvPr>
            <p:cNvSpPr>
              <a:spLocks noChangeAspect="1"/>
            </p:cNvSpPr>
            <p:nvPr userDrawn="1"/>
          </p:nvSpPr>
          <p:spPr bwMode="gray">
            <a:xfrm>
              <a:off x="8853367" y="4522378"/>
              <a:ext cx="270113" cy="92977"/>
            </a:xfrm>
            <a:custGeom>
              <a:avLst/>
              <a:gdLst>
                <a:gd name="T0" fmla="*/ 2147483647 w 506"/>
                <a:gd name="T1" fmla="*/ 2147483647 h 158"/>
                <a:gd name="T2" fmla="*/ 2147483647 w 506"/>
                <a:gd name="T3" fmla="*/ 2147483647 h 158"/>
                <a:gd name="T4" fmla="*/ 2147483647 w 506"/>
                <a:gd name="T5" fmla="*/ 2147483647 h 158"/>
                <a:gd name="T6" fmla="*/ 2147483647 w 506"/>
                <a:gd name="T7" fmla="*/ 2147483647 h 158"/>
                <a:gd name="T8" fmla="*/ 2147483647 w 506"/>
                <a:gd name="T9" fmla="*/ 2147483647 h 158"/>
                <a:gd name="T10" fmla="*/ 2147483647 w 506"/>
                <a:gd name="T11" fmla="*/ 2147483647 h 158"/>
                <a:gd name="T12" fmla="*/ 2147483647 w 506"/>
                <a:gd name="T13" fmla="*/ 2147483647 h 158"/>
                <a:gd name="T14" fmla="*/ 2147483647 w 506"/>
                <a:gd name="T15" fmla="*/ 2147483647 h 158"/>
                <a:gd name="T16" fmla="*/ 2147483647 w 506"/>
                <a:gd name="T17" fmla="*/ 2147483647 h 158"/>
                <a:gd name="T18" fmla="*/ 2147483647 w 506"/>
                <a:gd name="T19" fmla="*/ 2147483647 h 158"/>
                <a:gd name="T20" fmla="*/ 2147483647 w 506"/>
                <a:gd name="T21" fmla="*/ 2147483647 h 158"/>
                <a:gd name="T22" fmla="*/ 2147483647 w 506"/>
                <a:gd name="T23" fmla="*/ 2147483647 h 158"/>
                <a:gd name="T24" fmla="*/ 2147483647 w 506"/>
                <a:gd name="T25" fmla="*/ 2147483647 h 158"/>
                <a:gd name="T26" fmla="*/ 2147483647 w 506"/>
                <a:gd name="T27" fmla="*/ 2147483647 h 158"/>
                <a:gd name="T28" fmla="*/ 2147483647 w 506"/>
                <a:gd name="T29" fmla="*/ 2147483647 h 158"/>
                <a:gd name="T30" fmla="*/ 2147483647 w 506"/>
                <a:gd name="T31" fmla="*/ 2147483647 h 158"/>
                <a:gd name="T32" fmla="*/ 2147483647 w 506"/>
                <a:gd name="T33" fmla="*/ 0 h 158"/>
                <a:gd name="T34" fmla="*/ 2147483647 w 506"/>
                <a:gd name="T35" fmla="*/ 0 h 158"/>
                <a:gd name="T36" fmla="*/ 0 w 506"/>
                <a:gd name="T37" fmla="*/ 0 h 158"/>
                <a:gd name="T38" fmla="*/ 0 w 506"/>
                <a:gd name="T39" fmla="*/ 0 h 158"/>
                <a:gd name="T40" fmla="*/ 0 w 506"/>
                <a:gd name="T41" fmla="*/ 0 h 158"/>
                <a:gd name="T42" fmla="*/ 0 w 506"/>
                <a:gd name="T43" fmla="*/ 0 h 158"/>
                <a:gd name="T44" fmla="*/ 0 w 506"/>
                <a:gd name="T45" fmla="*/ 0 h 158"/>
                <a:gd name="T46" fmla="*/ 0 w 506"/>
                <a:gd name="T47" fmla="*/ 0 h 158"/>
                <a:gd name="T48" fmla="*/ 0 w 506"/>
                <a:gd name="T49" fmla="*/ 0 h 158"/>
                <a:gd name="T50" fmla="*/ 2147483647 w 506"/>
                <a:gd name="T51" fmla="*/ 0 h 158"/>
                <a:gd name="T52" fmla="*/ 2147483647 w 506"/>
                <a:gd name="T53" fmla="*/ 0 h 158"/>
                <a:gd name="T54" fmla="*/ 2147483647 w 506"/>
                <a:gd name="T55" fmla="*/ 0 h 158"/>
                <a:gd name="T56" fmla="*/ 2147483647 w 506"/>
                <a:gd name="T57" fmla="*/ 0 h 158"/>
                <a:gd name="T58" fmla="*/ 2147483647 w 506"/>
                <a:gd name="T59" fmla="*/ 0 h 158"/>
                <a:gd name="T60" fmla="*/ 2147483647 w 506"/>
                <a:gd name="T61" fmla="*/ 0 h 158"/>
                <a:gd name="T62" fmla="*/ 2147483647 w 506"/>
                <a:gd name="T63" fmla="*/ 0 h 158"/>
                <a:gd name="T64" fmla="*/ 2147483647 w 506"/>
                <a:gd name="T65" fmla="*/ 0 h 158"/>
                <a:gd name="T66" fmla="*/ 2147483647 w 506"/>
                <a:gd name="T67" fmla="*/ 0 h 158"/>
                <a:gd name="T68" fmla="*/ 2147483647 w 506"/>
                <a:gd name="T69" fmla="*/ 0 h 158"/>
                <a:gd name="T70" fmla="*/ 2147483647 w 506"/>
                <a:gd name="T71" fmla="*/ 0 h 158"/>
                <a:gd name="T72" fmla="*/ 2147483647 w 506"/>
                <a:gd name="T73" fmla="*/ 0 h 158"/>
                <a:gd name="T74" fmla="*/ 2147483647 w 506"/>
                <a:gd name="T75" fmla="*/ 0 h 158"/>
                <a:gd name="T76" fmla="*/ 2147483647 w 506"/>
                <a:gd name="T77" fmla="*/ 0 h 158"/>
                <a:gd name="T78" fmla="*/ 2147483647 w 506"/>
                <a:gd name="T79" fmla="*/ 0 h 158"/>
                <a:gd name="T80" fmla="*/ 2147483647 w 506"/>
                <a:gd name="T81" fmla="*/ 0 h 158"/>
                <a:gd name="T82" fmla="*/ 2147483647 w 506"/>
                <a:gd name="T83" fmla="*/ 0 h 158"/>
                <a:gd name="T84" fmla="*/ 2147483647 w 506"/>
                <a:gd name="T85" fmla="*/ 0 h 158"/>
                <a:gd name="T86" fmla="*/ 2147483647 w 506"/>
                <a:gd name="T87" fmla="*/ 0 h 158"/>
                <a:gd name="T88" fmla="*/ 2147483647 w 506"/>
                <a:gd name="T89" fmla="*/ 2147483647 h 158"/>
                <a:gd name="T90" fmla="*/ 2147483647 w 506"/>
                <a:gd name="T91" fmla="*/ 2147483647 h 158"/>
                <a:gd name="T92" fmla="*/ 2147483647 w 506"/>
                <a:gd name="T93" fmla="*/ 2147483647 h 158"/>
                <a:gd name="T94" fmla="*/ 2147483647 w 506"/>
                <a:gd name="T95" fmla="*/ 2147483647 h 158"/>
                <a:gd name="T96" fmla="*/ 2147483647 w 506"/>
                <a:gd name="T97" fmla="*/ 2147483647 h 158"/>
                <a:gd name="T98" fmla="*/ 2147483647 w 506"/>
                <a:gd name="T99" fmla="*/ 2147483647 h 158"/>
                <a:gd name="T100" fmla="*/ 2147483647 w 506"/>
                <a:gd name="T101" fmla="*/ 2147483647 h 158"/>
                <a:gd name="T102" fmla="*/ 2147483647 w 506"/>
                <a:gd name="T103" fmla="*/ 2147483647 h 158"/>
                <a:gd name="T104" fmla="*/ 2147483647 w 506"/>
                <a:gd name="T105" fmla="*/ 2147483647 h 158"/>
                <a:gd name="T106" fmla="*/ 2147483647 w 506"/>
                <a:gd name="T107" fmla="*/ 2147483647 h 158"/>
                <a:gd name="T108" fmla="*/ 2147483647 w 506"/>
                <a:gd name="T109" fmla="*/ 2147483647 h 1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6"/>
                <a:gd name="T166" fmla="*/ 0 h 158"/>
                <a:gd name="T167" fmla="*/ 506 w 506"/>
                <a:gd name="T168" fmla="*/ 158 h 15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0" name="Freeform 66">
              <a:extLst>
                <a:ext uri="{FF2B5EF4-FFF2-40B4-BE49-F238E27FC236}">
                  <a16:creationId xmlns:a16="http://schemas.microsoft.com/office/drawing/2014/main" id="{24790320-631B-D1D8-734A-5C0E6554D4CC}"/>
                </a:ext>
              </a:extLst>
            </p:cNvPr>
            <p:cNvSpPr>
              <a:spLocks noChangeAspect="1"/>
            </p:cNvSpPr>
            <p:nvPr userDrawn="1"/>
          </p:nvSpPr>
          <p:spPr bwMode="gray">
            <a:xfrm>
              <a:off x="8960815" y="4205340"/>
              <a:ext cx="289514" cy="265214"/>
            </a:xfrm>
            <a:custGeom>
              <a:avLst/>
              <a:gdLst>
                <a:gd name="T0" fmla="*/ 2147483647 w 547"/>
                <a:gd name="T1" fmla="*/ 0 h 467"/>
                <a:gd name="T2" fmla="*/ 2147483647 w 547"/>
                <a:gd name="T3" fmla="*/ 0 h 467"/>
                <a:gd name="T4" fmla="*/ 2147483647 w 547"/>
                <a:gd name="T5" fmla="*/ 0 h 467"/>
                <a:gd name="T6" fmla="*/ 2147483647 w 547"/>
                <a:gd name="T7" fmla="*/ 0 h 467"/>
                <a:gd name="T8" fmla="*/ 2147483647 w 547"/>
                <a:gd name="T9" fmla="*/ 0 h 467"/>
                <a:gd name="T10" fmla="*/ 2147483647 w 547"/>
                <a:gd name="T11" fmla="*/ 0 h 467"/>
                <a:gd name="T12" fmla="*/ 2147483647 w 547"/>
                <a:gd name="T13" fmla="*/ 2147483647 h 467"/>
                <a:gd name="T14" fmla="*/ 2147483647 w 547"/>
                <a:gd name="T15" fmla="*/ 2147483647 h 467"/>
                <a:gd name="T16" fmla="*/ 2147483647 w 547"/>
                <a:gd name="T17" fmla="*/ 2147483647 h 467"/>
                <a:gd name="T18" fmla="*/ 2147483647 w 547"/>
                <a:gd name="T19" fmla="*/ 2147483647 h 467"/>
                <a:gd name="T20" fmla="*/ 2147483647 w 547"/>
                <a:gd name="T21" fmla="*/ 2147483647 h 467"/>
                <a:gd name="T22" fmla="*/ 2147483647 w 547"/>
                <a:gd name="T23" fmla="*/ 2147483647 h 467"/>
                <a:gd name="T24" fmla="*/ 2147483647 w 547"/>
                <a:gd name="T25" fmla="*/ 2147483647 h 467"/>
                <a:gd name="T26" fmla="*/ 2147483647 w 547"/>
                <a:gd name="T27" fmla="*/ 2147483647 h 467"/>
                <a:gd name="T28" fmla="*/ 2147483647 w 547"/>
                <a:gd name="T29" fmla="*/ 2147483647 h 467"/>
                <a:gd name="T30" fmla="*/ 2147483647 w 547"/>
                <a:gd name="T31" fmla="*/ 2147483647 h 467"/>
                <a:gd name="T32" fmla="*/ 2147483647 w 547"/>
                <a:gd name="T33" fmla="*/ 2147483647 h 467"/>
                <a:gd name="T34" fmla="*/ 2147483647 w 547"/>
                <a:gd name="T35" fmla="*/ 2147483647 h 467"/>
                <a:gd name="T36" fmla="*/ 2147483647 w 547"/>
                <a:gd name="T37" fmla="*/ 2147483647 h 467"/>
                <a:gd name="T38" fmla="*/ 2147483647 w 547"/>
                <a:gd name="T39" fmla="*/ 2147483647 h 467"/>
                <a:gd name="T40" fmla="*/ 2147483647 w 547"/>
                <a:gd name="T41" fmla="*/ 2147483647 h 467"/>
                <a:gd name="T42" fmla="*/ 2147483647 w 547"/>
                <a:gd name="T43" fmla="*/ 2147483647 h 467"/>
                <a:gd name="T44" fmla="*/ 2147483647 w 547"/>
                <a:gd name="T45" fmla="*/ 2147483647 h 467"/>
                <a:gd name="T46" fmla="*/ 2147483647 w 547"/>
                <a:gd name="T47" fmla="*/ 2147483647 h 467"/>
                <a:gd name="T48" fmla="*/ 2147483647 w 547"/>
                <a:gd name="T49" fmla="*/ 2147483647 h 467"/>
                <a:gd name="T50" fmla="*/ 2147483647 w 547"/>
                <a:gd name="T51" fmla="*/ 2147483647 h 467"/>
                <a:gd name="T52" fmla="*/ 2147483647 w 547"/>
                <a:gd name="T53" fmla="*/ 2147483647 h 467"/>
                <a:gd name="T54" fmla="*/ 2147483647 w 547"/>
                <a:gd name="T55" fmla="*/ 2147483647 h 467"/>
                <a:gd name="T56" fmla="*/ 2147483647 w 547"/>
                <a:gd name="T57" fmla="*/ 2147483647 h 467"/>
                <a:gd name="T58" fmla="*/ 2147483647 w 547"/>
                <a:gd name="T59" fmla="*/ 2147483647 h 467"/>
                <a:gd name="T60" fmla="*/ 2147483647 w 547"/>
                <a:gd name="T61" fmla="*/ 2147483647 h 467"/>
                <a:gd name="T62" fmla="*/ 2147483647 w 547"/>
                <a:gd name="T63" fmla="*/ 2147483647 h 467"/>
                <a:gd name="T64" fmla="*/ 2147483647 w 547"/>
                <a:gd name="T65" fmla="*/ 2147483647 h 467"/>
                <a:gd name="T66" fmla="*/ 2147483647 w 547"/>
                <a:gd name="T67" fmla="*/ 2147483647 h 467"/>
                <a:gd name="T68" fmla="*/ 2147483647 w 547"/>
                <a:gd name="T69" fmla="*/ 2147483647 h 467"/>
                <a:gd name="T70" fmla="*/ 2147483647 w 547"/>
                <a:gd name="T71" fmla="*/ 2147483647 h 467"/>
                <a:gd name="T72" fmla="*/ 2147483647 w 547"/>
                <a:gd name="T73" fmla="*/ 2147483647 h 467"/>
                <a:gd name="T74" fmla="*/ 2147483647 w 547"/>
                <a:gd name="T75" fmla="*/ 2147483647 h 467"/>
                <a:gd name="T76" fmla="*/ 2147483647 w 547"/>
                <a:gd name="T77" fmla="*/ 2147483647 h 467"/>
                <a:gd name="T78" fmla="*/ 2147483647 w 547"/>
                <a:gd name="T79" fmla="*/ 2147483647 h 467"/>
                <a:gd name="T80" fmla="*/ 0 w 547"/>
                <a:gd name="T81" fmla="*/ 2147483647 h 467"/>
                <a:gd name="T82" fmla="*/ 0 w 547"/>
                <a:gd name="T83" fmla="*/ 2147483647 h 467"/>
                <a:gd name="T84" fmla="*/ 0 w 547"/>
                <a:gd name="T85" fmla="*/ 2147483647 h 467"/>
                <a:gd name="T86" fmla="*/ 0 w 547"/>
                <a:gd name="T87" fmla="*/ 2147483647 h 467"/>
                <a:gd name="T88" fmla="*/ 0 w 547"/>
                <a:gd name="T89" fmla="*/ 2147483647 h 467"/>
                <a:gd name="T90" fmla="*/ 0 w 547"/>
                <a:gd name="T91" fmla="*/ 2147483647 h 467"/>
                <a:gd name="T92" fmla="*/ 2147483647 w 547"/>
                <a:gd name="T93" fmla="*/ 2147483647 h 467"/>
                <a:gd name="T94" fmla="*/ 2147483647 w 547"/>
                <a:gd name="T95" fmla="*/ 2147483647 h 467"/>
                <a:gd name="T96" fmla="*/ 2147483647 w 547"/>
                <a:gd name="T97" fmla="*/ 2147483647 h 467"/>
                <a:gd name="T98" fmla="*/ 2147483647 w 547"/>
                <a:gd name="T99" fmla="*/ 2147483647 h 467"/>
                <a:gd name="T100" fmla="*/ 2147483647 w 547"/>
                <a:gd name="T101" fmla="*/ 2147483647 h 467"/>
                <a:gd name="T102" fmla="*/ 2147483647 w 547"/>
                <a:gd name="T103" fmla="*/ 2147483647 h 467"/>
                <a:gd name="T104" fmla="*/ 2147483647 w 547"/>
                <a:gd name="T105" fmla="*/ 2147483647 h 467"/>
                <a:gd name="T106" fmla="*/ 2147483647 w 547"/>
                <a:gd name="T107" fmla="*/ 2147483647 h 467"/>
                <a:gd name="T108" fmla="*/ 2147483647 w 547"/>
                <a:gd name="T109" fmla="*/ 2147483647 h 467"/>
                <a:gd name="T110" fmla="*/ 2147483647 w 547"/>
                <a:gd name="T111" fmla="*/ 2147483647 h 467"/>
                <a:gd name="T112" fmla="*/ 2147483647 w 547"/>
                <a:gd name="T113" fmla="*/ 0 h 467"/>
                <a:gd name="T114" fmla="*/ 2147483647 w 547"/>
                <a:gd name="T115" fmla="*/ 0 h 467"/>
                <a:gd name="T116" fmla="*/ 2147483647 w 547"/>
                <a:gd name="T117" fmla="*/ 0 h 4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47"/>
                <a:gd name="T178" fmla="*/ 0 h 467"/>
                <a:gd name="T179" fmla="*/ 547 w 547"/>
                <a:gd name="T180" fmla="*/ 467 h 4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1" name="Freeform 67">
              <a:extLst>
                <a:ext uri="{FF2B5EF4-FFF2-40B4-BE49-F238E27FC236}">
                  <a16:creationId xmlns:a16="http://schemas.microsoft.com/office/drawing/2014/main" id="{3F00F40D-87C0-02F7-E9CB-4D6D7E0C6953}"/>
                </a:ext>
              </a:extLst>
            </p:cNvPr>
            <p:cNvSpPr>
              <a:spLocks noChangeAspect="1"/>
            </p:cNvSpPr>
            <p:nvPr userDrawn="1"/>
          </p:nvSpPr>
          <p:spPr bwMode="gray">
            <a:xfrm>
              <a:off x="10115888" y="4470554"/>
              <a:ext cx="117895" cy="67066"/>
            </a:xfrm>
            <a:custGeom>
              <a:avLst/>
              <a:gdLst>
                <a:gd name="T0" fmla="*/ 0 w 223"/>
                <a:gd name="T1" fmla="*/ 0 h 117"/>
                <a:gd name="T2" fmla="*/ 0 w 223"/>
                <a:gd name="T3" fmla="*/ 0 h 117"/>
                <a:gd name="T4" fmla="*/ 0 w 223"/>
                <a:gd name="T5" fmla="*/ 0 h 117"/>
                <a:gd name="T6" fmla="*/ 2147483647 w 223"/>
                <a:gd name="T7" fmla="*/ 2147483647 h 117"/>
                <a:gd name="T8" fmla="*/ 2147483647 w 223"/>
                <a:gd name="T9" fmla="*/ 0 h 117"/>
                <a:gd name="T10" fmla="*/ 2147483647 w 223"/>
                <a:gd name="T11" fmla="*/ 0 h 117"/>
                <a:gd name="T12" fmla="*/ 2147483647 w 223"/>
                <a:gd name="T13" fmla="*/ 0 h 117"/>
                <a:gd name="T14" fmla="*/ 2147483647 w 223"/>
                <a:gd name="T15" fmla="*/ 0 h 117"/>
                <a:gd name="T16" fmla="*/ 2147483647 w 223"/>
                <a:gd name="T17" fmla="*/ 0 h 117"/>
                <a:gd name="T18" fmla="*/ 2147483647 w 223"/>
                <a:gd name="T19" fmla="*/ 0 h 117"/>
                <a:gd name="T20" fmla="*/ 2147483647 w 223"/>
                <a:gd name="T21" fmla="*/ 0 h 117"/>
                <a:gd name="T22" fmla="*/ 2147483647 w 223"/>
                <a:gd name="T23" fmla="*/ 0 h 117"/>
                <a:gd name="T24" fmla="*/ 2147483647 w 223"/>
                <a:gd name="T25" fmla="*/ 0 h 117"/>
                <a:gd name="T26" fmla="*/ 2147483647 w 223"/>
                <a:gd name="T27" fmla="*/ 0 h 117"/>
                <a:gd name="T28" fmla="*/ 2147483647 w 223"/>
                <a:gd name="T29" fmla="*/ 0 h 117"/>
                <a:gd name="T30" fmla="*/ 2147483647 w 223"/>
                <a:gd name="T31" fmla="*/ 0 h 117"/>
                <a:gd name="T32" fmla="*/ 2147483647 w 223"/>
                <a:gd name="T33" fmla="*/ 0 h 117"/>
                <a:gd name="T34" fmla="*/ 2147483647 w 223"/>
                <a:gd name="T35" fmla="*/ 0 h 117"/>
                <a:gd name="T36" fmla="*/ 2147483647 w 223"/>
                <a:gd name="T37" fmla="*/ 0 h 117"/>
                <a:gd name="T38" fmla="*/ 2147483647 w 223"/>
                <a:gd name="T39" fmla="*/ 0 h 117"/>
                <a:gd name="T40" fmla="*/ 2147483647 w 223"/>
                <a:gd name="T41" fmla="*/ 0 h 117"/>
                <a:gd name="T42" fmla="*/ 2147483647 w 223"/>
                <a:gd name="T43" fmla="*/ 0 h 117"/>
                <a:gd name="T44" fmla="*/ 2147483647 w 223"/>
                <a:gd name="T45" fmla="*/ 0 h 117"/>
                <a:gd name="T46" fmla="*/ 2147483647 w 223"/>
                <a:gd name="T47" fmla="*/ 0 h 117"/>
                <a:gd name="T48" fmla="*/ 2147483647 w 223"/>
                <a:gd name="T49" fmla="*/ 0 h 117"/>
                <a:gd name="T50" fmla="*/ 2147483647 w 223"/>
                <a:gd name="T51" fmla="*/ 0 h 117"/>
                <a:gd name="T52" fmla="*/ 2147483647 w 223"/>
                <a:gd name="T53" fmla="*/ 0 h 117"/>
                <a:gd name="T54" fmla="*/ 2147483647 w 223"/>
                <a:gd name="T55" fmla="*/ 0 h 117"/>
                <a:gd name="T56" fmla="*/ 2147483647 w 223"/>
                <a:gd name="T57" fmla="*/ 0 h 117"/>
                <a:gd name="T58" fmla="*/ 2147483647 w 223"/>
                <a:gd name="T59" fmla="*/ 0 h 117"/>
                <a:gd name="T60" fmla="*/ 2147483647 w 223"/>
                <a:gd name="T61" fmla="*/ 0 h 117"/>
                <a:gd name="T62" fmla="*/ 2147483647 w 223"/>
                <a:gd name="T63" fmla="*/ 0 h 117"/>
                <a:gd name="T64" fmla="*/ 2147483647 w 223"/>
                <a:gd name="T65" fmla="*/ 0 h 117"/>
                <a:gd name="T66" fmla="*/ 2147483647 w 223"/>
                <a:gd name="T67" fmla="*/ 0 h 117"/>
                <a:gd name="T68" fmla="*/ 2147483647 w 223"/>
                <a:gd name="T69" fmla="*/ 0 h 117"/>
                <a:gd name="T70" fmla="*/ 2147483647 w 223"/>
                <a:gd name="T71" fmla="*/ 0 h 117"/>
                <a:gd name="T72" fmla="*/ 2147483647 w 223"/>
                <a:gd name="T73" fmla="*/ 0 h 117"/>
                <a:gd name="T74" fmla="*/ 2147483647 w 223"/>
                <a:gd name="T75" fmla="*/ 0 h 117"/>
                <a:gd name="T76" fmla="*/ 2147483647 w 223"/>
                <a:gd name="T77" fmla="*/ 0 h 117"/>
                <a:gd name="T78" fmla="*/ 2147483647 w 223"/>
                <a:gd name="T79" fmla="*/ 0 h 117"/>
                <a:gd name="T80" fmla="*/ 2147483647 w 223"/>
                <a:gd name="T81" fmla="*/ 0 h 117"/>
                <a:gd name="T82" fmla="*/ 2147483647 w 223"/>
                <a:gd name="T83" fmla="*/ 2147483647 h 117"/>
                <a:gd name="T84" fmla="*/ 2147483647 w 223"/>
                <a:gd name="T85" fmla="*/ 0 h 117"/>
                <a:gd name="T86" fmla="*/ 2147483647 w 223"/>
                <a:gd name="T87" fmla="*/ 2147483647 h 117"/>
                <a:gd name="T88" fmla="*/ 2147483647 w 223"/>
                <a:gd name="T89" fmla="*/ 2147483647 h 117"/>
                <a:gd name="T90" fmla="*/ 2147483647 w 223"/>
                <a:gd name="T91" fmla="*/ 2147483647 h 117"/>
                <a:gd name="T92" fmla="*/ 2147483647 w 223"/>
                <a:gd name="T93" fmla="*/ 2147483647 h 117"/>
                <a:gd name="T94" fmla="*/ 2147483647 w 223"/>
                <a:gd name="T95" fmla="*/ 2147483647 h 117"/>
                <a:gd name="T96" fmla="*/ 2147483647 w 223"/>
                <a:gd name="T97" fmla="*/ 2147483647 h 117"/>
                <a:gd name="T98" fmla="*/ 2147483647 w 223"/>
                <a:gd name="T99" fmla="*/ 2147483647 h 117"/>
                <a:gd name="T100" fmla="*/ 2147483647 w 223"/>
                <a:gd name="T101" fmla="*/ 2147483647 h 117"/>
                <a:gd name="T102" fmla="*/ 2147483647 w 223"/>
                <a:gd name="T103" fmla="*/ 2147483647 h 117"/>
                <a:gd name="T104" fmla="*/ 2147483647 w 223"/>
                <a:gd name="T105" fmla="*/ 2147483647 h 117"/>
                <a:gd name="T106" fmla="*/ 2147483647 w 223"/>
                <a:gd name="T107" fmla="*/ 2147483647 h 117"/>
                <a:gd name="T108" fmla="*/ 0 w 223"/>
                <a:gd name="T109" fmla="*/ 2147483647 h 117"/>
                <a:gd name="T110" fmla="*/ 0 w 223"/>
                <a:gd name="T111" fmla="*/ 2147483647 h 117"/>
                <a:gd name="T112" fmla="*/ 0 w 223"/>
                <a:gd name="T113" fmla="*/ 2147483647 h 117"/>
                <a:gd name="T114" fmla="*/ 0 w 223"/>
                <a:gd name="T115" fmla="*/ 2147483647 h 117"/>
                <a:gd name="T116" fmla="*/ 0 w 223"/>
                <a:gd name="T117" fmla="*/ 0 h 1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3"/>
                <a:gd name="T178" fmla="*/ 0 h 117"/>
                <a:gd name="T179" fmla="*/ 223 w 223"/>
                <a:gd name="T180" fmla="*/ 117 h 11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2" name="Freeform 68">
              <a:extLst>
                <a:ext uri="{FF2B5EF4-FFF2-40B4-BE49-F238E27FC236}">
                  <a16:creationId xmlns:a16="http://schemas.microsoft.com/office/drawing/2014/main" id="{9570BDE5-4C0F-131C-B478-6BF5EAAD6B45}"/>
                </a:ext>
              </a:extLst>
            </p:cNvPr>
            <p:cNvSpPr>
              <a:spLocks noChangeAspect="1"/>
            </p:cNvSpPr>
            <p:nvPr userDrawn="1"/>
          </p:nvSpPr>
          <p:spPr bwMode="gray">
            <a:xfrm>
              <a:off x="9899498" y="4421779"/>
              <a:ext cx="291007" cy="253020"/>
            </a:xfrm>
            <a:custGeom>
              <a:avLst/>
              <a:gdLst>
                <a:gd name="T0" fmla="*/ 0 w 544"/>
                <a:gd name="T1" fmla="*/ 2147483647 h 446"/>
                <a:gd name="T2" fmla="*/ 0 w 544"/>
                <a:gd name="T3" fmla="*/ 2147483647 h 446"/>
                <a:gd name="T4" fmla="*/ 0 w 544"/>
                <a:gd name="T5" fmla="*/ 2147483647 h 446"/>
                <a:gd name="T6" fmla="*/ 0 w 544"/>
                <a:gd name="T7" fmla="*/ 2147483647 h 446"/>
                <a:gd name="T8" fmla="*/ 2147483647 w 544"/>
                <a:gd name="T9" fmla="*/ 2147483647 h 446"/>
                <a:gd name="T10" fmla="*/ 2147483647 w 544"/>
                <a:gd name="T11" fmla="*/ 2147483647 h 446"/>
                <a:gd name="T12" fmla="*/ 2147483647 w 544"/>
                <a:gd name="T13" fmla="*/ 2147483647 h 446"/>
                <a:gd name="T14" fmla="*/ 2147483647 w 544"/>
                <a:gd name="T15" fmla="*/ 2147483647 h 446"/>
                <a:gd name="T16" fmla="*/ 2147483647 w 544"/>
                <a:gd name="T17" fmla="*/ 2147483647 h 446"/>
                <a:gd name="T18" fmla="*/ 2147483647 w 544"/>
                <a:gd name="T19" fmla="*/ 2147483647 h 446"/>
                <a:gd name="T20" fmla="*/ 2147483647 w 544"/>
                <a:gd name="T21" fmla="*/ 2147483647 h 446"/>
                <a:gd name="T22" fmla="*/ 2147483647 w 544"/>
                <a:gd name="T23" fmla="*/ 2147483647 h 446"/>
                <a:gd name="T24" fmla="*/ 2147483647 w 544"/>
                <a:gd name="T25" fmla="*/ 2147483647 h 446"/>
                <a:gd name="T26" fmla="*/ 2147483647 w 544"/>
                <a:gd name="T27" fmla="*/ 2147483647 h 446"/>
                <a:gd name="T28" fmla="*/ 2147483647 w 544"/>
                <a:gd name="T29" fmla="*/ 2147483647 h 446"/>
                <a:gd name="T30" fmla="*/ 2147483647 w 544"/>
                <a:gd name="T31" fmla="*/ 2147483647 h 446"/>
                <a:gd name="T32" fmla="*/ 2147483647 w 544"/>
                <a:gd name="T33" fmla="*/ 2147483647 h 446"/>
                <a:gd name="T34" fmla="*/ 2147483647 w 544"/>
                <a:gd name="T35" fmla="*/ 2147483647 h 446"/>
                <a:gd name="T36" fmla="*/ 2147483647 w 544"/>
                <a:gd name="T37" fmla="*/ 2147483647 h 446"/>
                <a:gd name="T38" fmla="*/ 2147483647 w 544"/>
                <a:gd name="T39" fmla="*/ 2147483647 h 446"/>
                <a:gd name="T40" fmla="*/ 2147483647 w 544"/>
                <a:gd name="T41" fmla="*/ 2147483647 h 446"/>
                <a:gd name="T42" fmla="*/ 2147483647 w 544"/>
                <a:gd name="T43" fmla="*/ 2147483647 h 446"/>
                <a:gd name="T44" fmla="*/ 2147483647 w 544"/>
                <a:gd name="T45" fmla="*/ 2147483647 h 446"/>
                <a:gd name="T46" fmla="*/ 2147483647 w 544"/>
                <a:gd name="T47" fmla="*/ 2147483647 h 446"/>
                <a:gd name="T48" fmla="*/ 2147483647 w 544"/>
                <a:gd name="T49" fmla="*/ 2147483647 h 446"/>
                <a:gd name="T50" fmla="*/ 2147483647 w 544"/>
                <a:gd name="T51" fmla="*/ 2147483647 h 446"/>
                <a:gd name="T52" fmla="*/ 2147483647 w 544"/>
                <a:gd name="T53" fmla="*/ 2147483647 h 446"/>
                <a:gd name="T54" fmla="*/ 2147483647 w 544"/>
                <a:gd name="T55" fmla="*/ 2147483647 h 446"/>
                <a:gd name="T56" fmla="*/ 2147483647 w 544"/>
                <a:gd name="T57" fmla="*/ 2147483647 h 446"/>
                <a:gd name="T58" fmla="*/ 2147483647 w 544"/>
                <a:gd name="T59" fmla="*/ 2147483647 h 446"/>
                <a:gd name="T60" fmla="*/ 2147483647 w 544"/>
                <a:gd name="T61" fmla="*/ 2147483647 h 446"/>
                <a:gd name="T62" fmla="*/ 2147483647 w 544"/>
                <a:gd name="T63" fmla="*/ 2147483647 h 446"/>
                <a:gd name="T64" fmla="*/ 2147483647 w 544"/>
                <a:gd name="T65" fmla="*/ 2147483647 h 446"/>
                <a:gd name="T66" fmla="*/ 2147483647 w 544"/>
                <a:gd name="T67" fmla="*/ 2147483647 h 446"/>
                <a:gd name="T68" fmla="*/ 2147483647 w 544"/>
                <a:gd name="T69" fmla="*/ 2147483647 h 446"/>
                <a:gd name="T70" fmla="*/ 2147483647 w 544"/>
                <a:gd name="T71" fmla="*/ 2147483647 h 446"/>
                <a:gd name="T72" fmla="*/ 2147483647 w 544"/>
                <a:gd name="T73" fmla="*/ 2147483647 h 446"/>
                <a:gd name="T74" fmla="*/ 2147483647 w 544"/>
                <a:gd name="T75" fmla="*/ 2147483647 h 446"/>
                <a:gd name="T76" fmla="*/ 2147483647 w 544"/>
                <a:gd name="T77" fmla="*/ 2147483647 h 446"/>
                <a:gd name="T78" fmla="*/ 2147483647 w 544"/>
                <a:gd name="T79" fmla="*/ 2147483647 h 446"/>
                <a:gd name="T80" fmla="*/ 2147483647 w 544"/>
                <a:gd name="T81" fmla="*/ 2147483647 h 446"/>
                <a:gd name="T82" fmla="*/ 2147483647 w 544"/>
                <a:gd name="T83" fmla="*/ 2147483647 h 446"/>
                <a:gd name="T84" fmla="*/ 2147483647 w 544"/>
                <a:gd name="T85" fmla="*/ 0 h 446"/>
                <a:gd name="T86" fmla="*/ 2147483647 w 544"/>
                <a:gd name="T87" fmla="*/ 0 h 446"/>
                <a:gd name="T88" fmla="*/ 2147483647 w 544"/>
                <a:gd name="T89" fmla="*/ 0 h 446"/>
                <a:gd name="T90" fmla="*/ 0 w 544"/>
                <a:gd name="T91" fmla="*/ 0 h 446"/>
                <a:gd name="T92" fmla="*/ 0 w 544"/>
                <a:gd name="T93" fmla="*/ 0 h 44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44"/>
                <a:gd name="T142" fmla="*/ 0 h 446"/>
                <a:gd name="T143" fmla="*/ 544 w 544"/>
                <a:gd name="T144" fmla="*/ 446 h 44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3" name="Freeform 70">
              <a:extLst>
                <a:ext uri="{FF2B5EF4-FFF2-40B4-BE49-F238E27FC236}">
                  <a16:creationId xmlns:a16="http://schemas.microsoft.com/office/drawing/2014/main" id="{86DB25F9-1C9B-B77E-C6C9-05CDF6CBCD57}"/>
                </a:ext>
              </a:extLst>
            </p:cNvPr>
            <p:cNvSpPr>
              <a:spLocks noChangeAspect="1"/>
            </p:cNvSpPr>
            <p:nvPr userDrawn="1"/>
          </p:nvSpPr>
          <p:spPr bwMode="gray">
            <a:xfrm>
              <a:off x="9204066" y="3985853"/>
              <a:ext cx="65663" cy="92977"/>
            </a:xfrm>
            <a:custGeom>
              <a:avLst/>
              <a:gdLst>
                <a:gd name="T0" fmla="*/ 0 w 129"/>
                <a:gd name="T1" fmla="*/ 0 h 163"/>
                <a:gd name="T2" fmla="*/ 0 w 129"/>
                <a:gd name="T3" fmla="*/ 0 h 163"/>
                <a:gd name="T4" fmla="*/ 0 w 129"/>
                <a:gd name="T5" fmla="*/ 0 h 163"/>
                <a:gd name="T6" fmla="*/ 0 w 129"/>
                <a:gd name="T7" fmla="*/ 0 h 163"/>
                <a:gd name="T8" fmla="*/ 0 w 129"/>
                <a:gd name="T9" fmla="*/ 0 h 163"/>
                <a:gd name="T10" fmla="*/ 0 w 129"/>
                <a:gd name="T11" fmla="*/ 0 h 163"/>
                <a:gd name="T12" fmla="*/ 0 w 129"/>
                <a:gd name="T13" fmla="*/ 0 h 163"/>
                <a:gd name="T14" fmla="*/ 0 w 129"/>
                <a:gd name="T15" fmla="*/ 0 h 163"/>
                <a:gd name="T16" fmla="*/ 0 w 129"/>
                <a:gd name="T17" fmla="*/ 0 h 163"/>
                <a:gd name="T18" fmla="*/ 0 w 129"/>
                <a:gd name="T19" fmla="*/ 0 h 163"/>
                <a:gd name="T20" fmla="*/ 0 w 129"/>
                <a:gd name="T21" fmla="*/ 0 h 163"/>
                <a:gd name="T22" fmla="*/ 0 w 129"/>
                <a:gd name="T23" fmla="*/ 0 h 163"/>
                <a:gd name="T24" fmla="*/ 0 w 129"/>
                <a:gd name="T25" fmla="*/ 0 h 163"/>
                <a:gd name="T26" fmla="*/ 0 w 129"/>
                <a:gd name="T27" fmla="*/ 0 h 163"/>
                <a:gd name="T28" fmla="*/ 0 w 129"/>
                <a:gd name="T29" fmla="*/ 0 h 163"/>
                <a:gd name="T30" fmla="*/ 0 w 129"/>
                <a:gd name="T31" fmla="*/ 0 h 163"/>
                <a:gd name="T32" fmla="*/ 0 w 129"/>
                <a:gd name="T33" fmla="*/ 0 h 163"/>
                <a:gd name="T34" fmla="*/ 0 w 129"/>
                <a:gd name="T35" fmla="*/ 0 h 163"/>
                <a:gd name="T36" fmla="*/ 0 w 129"/>
                <a:gd name="T37" fmla="*/ 0 h 163"/>
                <a:gd name="T38" fmla="*/ 0 w 129"/>
                <a:gd name="T39" fmla="*/ 0 h 163"/>
                <a:gd name="T40" fmla="*/ 0 w 129"/>
                <a:gd name="T41" fmla="*/ 0 h 163"/>
                <a:gd name="T42" fmla="*/ 0 w 129"/>
                <a:gd name="T43" fmla="*/ 0 h 163"/>
                <a:gd name="T44" fmla="*/ 0 w 129"/>
                <a:gd name="T45" fmla="*/ 0 h 163"/>
                <a:gd name="T46" fmla="*/ 0 w 129"/>
                <a:gd name="T47" fmla="*/ 0 h 163"/>
                <a:gd name="T48" fmla="*/ 0 w 129"/>
                <a:gd name="T49" fmla="*/ 0 h 163"/>
                <a:gd name="T50" fmla="*/ 0 w 129"/>
                <a:gd name="T51" fmla="*/ 0 h 163"/>
                <a:gd name="T52" fmla="*/ 0 w 129"/>
                <a:gd name="T53" fmla="*/ 0 h 163"/>
                <a:gd name="T54" fmla="*/ 0 w 129"/>
                <a:gd name="T55" fmla="*/ 0 h 163"/>
                <a:gd name="T56" fmla="*/ 0 w 129"/>
                <a:gd name="T57" fmla="*/ 0 h 163"/>
                <a:gd name="T58" fmla="*/ 0 w 129"/>
                <a:gd name="T59" fmla="*/ 0 h 163"/>
                <a:gd name="T60" fmla="*/ 0 w 129"/>
                <a:gd name="T61" fmla="*/ 0 h 163"/>
                <a:gd name="T62" fmla="*/ 0 w 129"/>
                <a:gd name="T63" fmla="*/ 0 h 163"/>
                <a:gd name="T64" fmla="*/ 0 w 129"/>
                <a:gd name="T65" fmla="*/ 0 h 163"/>
                <a:gd name="T66" fmla="*/ 0 w 129"/>
                <a:gd name="T67" fmla="*/ 0 h 163"/>
                <a:gd name="T68" fmla="*/ 0 w 129"/>
                <a:gd name="T69" fmla="*/ 0 h 163"/>
                <a:gd name="T70" fmla="*/ 0 w 129"/>
                <a:gd name="T71" fmla="*/ 0 h 163"/>
                <a:gd name="T72" fmla="*/ 0 w 129"/>
                <a:gd name="T73" fmla="*/ 0 h 163"/>
                <a:gd name="T74" fmla="*/ 0 w 129"/>
                <a:gd name="T75" fmla="*/ 0 h 163"/>
                <a:gd name="T76" fmla="*/ 0 w 129"/>
                <a:gd name="T77" fmla="*/ 0 h 163"/>
                <a:gd name="T78" fmla="*/ 0 w 129"/>
                <a:gd name="T79" fmla="*/ 0 h 163"/>
                <a:gd name="T80" fmla="*/ 0 w 129"/>
                <a:gd name="T81" fmla="*/ 0 h 163"/>
                <a:gd name="T82" fmla="*/ 0 w 129"/>
                <a:gd name="T83" fmla="*/ 0 h 163"/>
                <a:gd name="T84" fmla="*/ 0 w 129"/>
                <a:gd name="T85" fmla="*/ 0 h 163"/>
                <a:gd name="T86" fmla="*/ 0 w 129"/>
                <a:gd name="T87" fmla="*/ 0 h 1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9"/>
                <a:gd name="T133" fmla="*/ 0 h 163"/>
                <a:gd name="T134" fmla="*/ 129 w 129"/>
                <a:gd name="T135" fmla="*/ 163 h 1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4" name="Freeform 71">
              <a:extLst>
                <a:ext uri="{FF2B5EF4-FFF2-40B4-BE49-F238E27FC236}">
                  <a16:creationId xmlns:a16="http://schemas.microsoft.com/office/drawing/2014/main" id="{D5FBDB2E-9FA0-00D1-4C34-E31C1E72B7F9}"/>
                </a:ext>
              </a:extLst>
            </p:cNvPr>
            <p:cNvSpPr>
              <a:spLocks noChangeAspect="1"/>
            </p:cNvSpPr>
            <p:nvPr userDrawn="1"/>
          </p:nvSpPr>
          <p:spPr bwMode="gray">
            <a:xfrm>
              <a:off x="9290622" y="3920312"/>
              <a:ext cx="37309" cy="41154"/>
            </a:xfrm>
            <a:custGeom>
              <a:avLst/>
              <a:gdLst>
                <a:gd name="T0" fmla="*/ 0 w 67"/>
                <a:gd name="T1" fmla="*/ 0 h 71"/>
                <a:gd name="T2" fmla="*/ 0 w 67"/>
                <a:gd name="T3" fmla="*/ 0 h 71"/>
                <a:gd name="T4" fmla="*/ 0 w 67"/>
                <a:gd name="T5" fmla="*/ 0 h 71"/>
                <a:gd name="T6" fmla="*/ 0 w 67"/>
                <a:gd name="T7" fmla="*/ 0 h 71"/>
                <a:gd name="T8" fmla="*/ 0 w 67"/>
                <a:gd name="T9" fmla="*/ 0 h 71"/>
                <a:gd name="T10" fmla="*/ 0 w 67"/>
                <a:gd name="T11" fmla="*/ 0 h 71"/>
                <a:gd name="T12" fmla="*/ 0 w 67"/>
                <a:gd name="T13" fmla="*/ 0 h 71"/>
                <a:gd name="T14" fmla="*/ 0 w 67"/>
                <a:gd name="T15" fmla="*/ 0 h 71"/>
                <a:gd name="T16" fmla="*/ 0 w 67"/>
                <a:gd name="T17" fmla="*/ 0 h 71"/>
                <a:gd name="T18" fmla="*/ 0 w 67"/>
                <a:gd name="T19" fmla="*/ 0 h 71"/>
                <a:gd name="T20" fmla="*/ 0 w 67"/>
                <a:gd name="T21" fmla="*/ 0 h 71"/>
                <a:gd name="T22" fmla="*/ 0 w 67"/>
                <a:gd name="T23" fmla="*/ 0 h 71"/>
                <a:gd name="T24" fmla="*/ 0 w 67"/>
                <a:gd name="T25" fmla="*/ 0 h 71"/>
                <a:gd name="T26" fmla="*/ 0 w 67"/>
                <a:gd name="T27" fmla="*/ 0 h 71"/>
                <a:gd name="T28" fmla="*/ 0 w 67"/>
                <a:gd name="T29" fmla="*/ 0 h 71"/>
                <a:gd name="T30" fmla="*/ 0 w 67"/>
                <a:gd name="T31" fmla="*/ 0 h 71"/>
                <a:gd name="T32" fmla="*/ 0 w 67"/>
                <a:gd name="T33" fmla="*/ 0 h 71"/>
                <a:gd name="T34" fmla="*/ 0 w 67"/>
                <a:gd name="T35" fmla="*/ 0 h 71"/>
                <a:gd name="T36" fmla="*/ 0 w 67"/>
                <a:gd name="T37" fmla="*/ 0 h 71"/>
                <a:gd name="T38" fmla="*/ 0 w 67"/>
                <a:gd name="T39" fmla="*/ 0 h 71"/>
                <a:gd name="T40" fmla="*/ 0 w 67"/>
                <a:gd name="T41" fmla="*/ 0 h 71"/>
                <a:gd name="T42" fmla="*/ 0 w 67"/>
                <a:gd name="T43" fmla="*/ 0 h 71"/>
                <a:gd name="T44" fmla="*/ 0 w 67"/>
                <a:gd name="T45" fmla="*/ 0 h 71"/>
                <a:gd name="T46" fmla="*/ 0 w 67"/>
                <a:gd name="T47" fmla="*/ 0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7"/>
                <a:gd name="T73" fmla="*/ 0 h 71"/>
                <a:gd name="T74" fmla="*/ 67 w 67"/>
                <a:gd name="T75" fmla="*/ 71 h 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5" name="Freeform 72">
              <a:extLst>
                <a:ext uri="{FF2B5EF4-FFF2-40B4-BE49-F238E27FC236}">
                  <a16:creationId xmlns:a16="http://schemas.microsoft.com/office/drawing/2014/main" id="{14844E43-00A0-EDE5-3877-2E13ABE26339}"/>
                </a:ext>
              </a:extLst>
            </p:cNvPr>
            <p:cNvSpPr>
              <a:spLocks noChangeAspect="1"/>
            </p:cNvSpPr>
            <p:nvPr userDrawn="1"/>
          </p:nvSpPr>
          <p:spPr bwMode="gray">
            <a:xfrm>
              <a:off x="9278683" y="3752648"/>
              <a:ext cx="123865" cy="196623"/>
            </a:xfrm>
            <a:custGeom>
              <a:avLst/>
              <a:gdLst>
                <a:gd name="T0" fmla="*/ 0 w 236"/>
                <a:gd name="T1" fmla="*/ 0 h 345"/>
                <a:gd name="T2" fmla="*/ 0 w 236"/>
                <a:gd name="T3" fmla="*/ 0 h 345"/>
                <a:gd name="T4" fmla="*/ 0 w 236"/>
                <a:gd name="T5" fmla="*/ 0 h 345"/>
                <a:gd name="T6" fmla="*/ 0 w 236"/>
                <a:gd name="T7" fmla="*/ 0 h 345"/>
                <a:gd name="T8" fmla="*/ 0 w 236"/>
                <a:gd name="T9" fmla="*/ 0 h 345"/>
                <a:gd name="T10" fmla="*/ 0 w 236"/>
                <a:gd name="T11" fmla="*/ 0 h 345"/>
                <a:gd name="T12" fmla="*/ 0 w 236"/>
                <a:gd name="T13" fmla="*/ 0 h 345"/>
                <a:gd name="T14" fmla="*/ 0 w 236"/>
                <a:gd name="T15" fmla="*/ 0 h 345"/>
                <a:gd name="T16" fmla="*/ 0 w 236"/>
                <a:gd name="T17" fmla="*/ 0 h 345"/>
                <a:gd name="T18" fmla="*/ 0 w 236"/>
                <a:gd name="T19" fmla="*/ 0 h 345"/>
                <a:gd name="T20" fmla="*/ 0 w 236"/>
                <a:gd name="T21" fmla="*/ 0 h 345"/>
                <a:gd name="T22" fmla="*/ 0 w 236"/>
                <a:gd name="T23" fmla="*/ 0 h 345"/>
                <a:gd name="T24" fmla="*/ 0 w 236"/>
                <a:gd name="T25" fmla="*/ 0 h 345"/>
                <a:gd name="T26" fmla="*/ 0 w 236"/>
                <a:gd name="T27" fmla="*/ 0 h 345"/>
                <a:gd name="T28" fmla="*/ 0 w 236"/>
                <a:gd name="T29" fmla="*/ 0 h 345"/>
                <a:gd name="T30" fmla="*/ 0 w 236"/>
                <a:gd name="T31" fmla="*/ 0 h 345"/>
                <a:gd name="T32" fmla="*/ 0 w 236"/>
                <a:gd name="T33" fmla="*/ 0 h 345"/>
                <a:gd name="T34" fmla="*/ 0 w 236"/>
                <a:gd name="T35" fmla="*/ 0 h 345"/>
                <a:gd name="T36" fmla="*/ 0 w 236"/>
                <a:gd name="T37" fmla="*/ 0 h 345"/>
                <a:gd name="T38" fmla="*/ 0 w 236"/>
                <a:gd name="T39" fmla="*/ 0 h 345"/>
                <a:gd name="T40" fmla="*/ 0 w 236"/>
                <a:gd name="T41" fmla="*/ 2147483647 h 345"/>
                <a:gd name="T42" fmla="*/ 0 w 236"/>
                <a:gd name="T43" fmla="*/ 2147483647 h 345"/>
                <a:gd name="T44" fmla="*/ 0 w 236"/>
                <a:gd name="T45" fmla="*/ 2147483647 h 345"/>
                <a:gd name="T46" fmla="*/ 0 w 236"/>
                <a:gd name="T47" fmla="*/ 2147483647 h 345"/>
                <a:gd name="T48" fmla="*/ 0 w 236"/>
                <a:gd name="T49" fmla="*/ 0 h 345"/>
                <a:gd name="T50" fmla="*/ 0 w 236"/>
                <a:gd name="T51" fmla="*/ 0 h 345"/>
                <a:gd name="T52" fmla="*/ 0 w 236"/>
                <a:gd name="T53" fmla="*/ 0 h 345"/>
                <a:gd name="T54" fmla="*/ 0 w 236"/>
                <a:gd name="T55" fmla="*/ 0 h 345"/>
                <a:gd name="T56" fmla="*/ 0 w 236"/>
                <a:gd name="T57" fmla="*/ 0 h 345"/>
                <a:gd name="T58" fmla="*/ 0 w 236"/>
                <a:gd name="T59" fmla="*/ 0 h 345"/>
                <a:gd name="T60" fmla="*/ 0 w 236"/>
                <a:gd name="T61" fmla="*/ 0 h 345"/>
                <a:gd name="T62" fmla="*/ 0 w 236"/>
                <a:gd name="T63" fmla="*/ 0 h 345"/>
                <a:gd name="T64" fmla="*/ 0 w 236"/>
                <a:gd name="T65" fmla="*/ 0 h 345"/>
                <a:gd name="T66" fmla="*/ 0 w 236"/>
                <a:gd name="T67" fmla="*/ 0 h 345"/>
                <a:gd name="T68" fmla="*/ 0 w 236"/>
                <a:gd name="T69" fmla="*/ 0 h 345"/>
                <a:gd name="T70" fmla="*/ 0 w 236"/>
                <a:gd name="T71" fmla="*/ 0 h 345"/>
                <a:gd name="T72" fmla="*/ 0 w 236"/>
                <a:gd name="T73" fmla="*/ 0 h 345"/>
                <a:gd name="T74" fmla="*/ 0 w 236"/>
                <a:gd name="T75" fmla="*/ 0 h 345"/>
                <a:gd name="T76" fmla="*/ 0 w 236"/>
                <a:gd name="T77" fmla="*/ 0 h 345"/>
                <a:gd name="T78" fmla="*/ 0 w 236"/>
                <a:gd name="T79" fmla="*/ 0 h 345"/>
                <a:gd name="T80" fmla="*/ 0 w 236"/>
                <a:gd name="T81" fmla="*/ 0 h 345"/>
                <a:gd name="T82" fmla="*/ 0 w 236"/>
                <a:gd name="T83" fmla="*/ 0 h 345"/>
                <a:gd name="T84" fmla="*/ 0 w 236"/>
                <a:gd name="T85" fmla="*/ 0 h 345"/>
                <a:gd name="T86" fmla="*/ 0 w 236"/>
                <a:gd name="T87" fmla="*/ 0 h 345"/>
                <a:gd name="T88" fmla="*/ 0 w 236"/>
                <a:gd name="T89" fmla="*/ 0 h 34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36"/>
                <a:gd name="T136" fmla="*/ 0 h 345"/>
                <a:gd name="T137" fmla="*/ 236 w 236"/>
                <a:gd name="T138" fmla="*/ 345 h 34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6" name="Freeform 73">
              <a:extLst>
                <a:ext uri="{FF2B5EF4-FFF2-40B4-BE49-F238E27FC236}">
                  <a16:creationId xmlns:a16="http://schemas.microsoft.com/office/drawing/2014/main" id="{3706DAEB-8991-D290-53E8-24A00E25CC1C}"/>
                </a:ext>
              </a:extLst>
            </p:cNvPr>
            <p:cNvSpPr>
              <a:spLocks noChangeAspect="1"/>
            </p:cNvSpPr>
            <p:nvPr userDrawn="1"/>
          </p:nvSpPr>
          <p:spPr bwMode="gray">
            <a:xfrm>
              <a:off x="9377178" y="3949272"/>
              <a:ext cx="22386" cy="25912"/>
            </a:xfrm>
            <a:custGeom>
              <a:avLst/>
              <a:gdLst>
                <a:gd name="T0" fmla="*/ 0 w 45"/>
                <a:gd name="T1" fmla="*/ 0 h 45"/>
                <a:gd name="T2" fmla="*/ 0 w 45"/>
                <a:gd name="T3" fmla="*/ 0 h 45"/>
                <a:gd name="T4" fmla="*/ 0 w 45"/>
                <a:gd name="T5" fmla="*/ 0 h 45"/>
                <a:gd name="T6" fmla="*/ 0 w 45"/>
                <a:gd name="T7" fmla="*/ 0 h 45"/>
                <a:gd name="T8" fmla="*/ 0 w 45"/>
                <a:gd name="T9" fmla="*/ 0 h 45"/>
                <a:gd name="T10" fmla="*/ 0 w 45"/>
                <a:gd name="T11" fmla="*/ 0 h 45"/>
                <a:gd name="T12" fmla="*/ 0 w 45"/>
                <a:gd name="T13" fmla="*/ 0 h 45"/>
                <a:gd name="T14" fmla="*/ 0 w 45"/>
                <a:gd name="T15" fmla="*/ 0 h 45"/>
                <a:gd name="T16" fmla="*/ 0 w 45"/>
                <a:gd name="T17" fmla="*/ 0 h 45"/>
                <a:gd name="T18" fmla="*/ 0 w 45"/>
                <a:gd name="T19" fmla="*/ 0 h 45"/>
                <a:gd name="T20" fmla="*/ 0 w 45"/>
                <a:gd name="T21" fmla="*/ 0 h 45"/>
                <a:gd name="T22" fmla="*/ 0 w 45"/>
                <a:gd name="T23" fmla="*/ 0 h 45"/>
                <a:gd name="T24" fmla="*/ 0 w 45"/>
                <a:gd name="T25" fmla="*/ 0 h 45"/>
                <a:gd name="T26" fmla="*/ 0 w 45"/>
                <a:gd name="T27" fmla="*/ 0 h 45"/>
                <a:gd name="T28" fmla="*/ 0 w 45"/>
                <a:gd name="T29" fmla="*/ 0 h 45"/>
                <a:gd name="T30" fmla="*/ 0 w 45"/>
                <a:gd name="T31" fmla="*/ 0 h 45"/>
                <a:gd name="T32" fmla="*/ 0 w 45"/>
                <a:gd name="T33" fmla="*/ 0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
                <a:gd name="T52" fmla="*/ 0 h 45"/>
                <a:gd name="T53" fmla="*/ 45 w 45"/>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7" name="Freeform 74">
              <a:extLst>
                <a:ext uri="{FF2B5EF4-FFF2-40B4-BE49-F238E27FC236}">
                  <a16:creationId xmlns:a16="http://schemas.microsoft.com/office/drawing/2014/main" id="{5B6EE512-E798-7A1A-092D-3DECD8B91D58}"/>
                </a:ext>
              </a:extLst>
            </p:cNvPr>
            <p:cNvSpPr>
              <a:spLocks noChangeAspect="1"/>
            </p:cNvSpPr>
            <p:nvPr userDrawn="1"/>
          </p:nvSpPr>
          <p:spPr bwMode="gray">
            <a:xfrm>
              <a:off x="9408518" y="3946224"/>
              <a:ext cx="40293" cy="47251"/>
            </a:xfrm>
            <a:custGeom>
              <a:avLst/>
              <a:gdLst>
                <a:gd name="T0" fmla="*/ 0 w 77"/>
                <a:gd name="T1" fmla="*/ 0 h 85"/>
                <a:gd name="T2" fmla="*/ 0 w 77"/>
                <a:gd name="T3" fmla="*/ 0 h 85"/>
                <a:gd name="T4" fmla="*/ 0 w 77"/>
                <a:gd name="T5" fmla="*/ 0 h 85"/>
                <a:gd name="T6" fmla="*/ 0 w 77"/>
                <a:gd name="T7" fmla="*/ 0 h 85"/>
                <a:gd name="T8" fmla="*/ 0 w 77"/>
                <a:gd name="T9" fmla="*/ 0 h 85"/>
                <a:gd name="T10" fmla="*/ 0 w 77"/>
                <a:gd name="T11" fmla="*/ 0 h 85"/>
                <a:gd name="T12" fmla="*/ 0 w 77"/>
                <a:gd name="T13" fmla="*/ 0 h 85"/>
                <a:gd name="T14" fmla="*/ 0 w 77"/>
                <a:gd name="T15" fmla="*/ 0 h 85"/>
                <a:gd name="T16" fmla="*/ 0 w 77"/>
                <a:gd name="T17" fmla="*/ 0 h 85"/>
                <a:gd name="T18" fmla="*/ 0 w 77"/>
                <a:gd name="T19" fmla="*/ 0 h 85"/>
                <a:gd name="T20" fmla="*/ 0 w 77"/>
                <a:gd name="T21" fmla="*/ 0 h 85"/>
                <a:gd name="T22" fmla="*/ 0 w 77"/>
                <a:gd name="T23" fmla="*/ 0 h 85"/>
                <a:gd name="T24" fmla="*/ 0 w 77"/>
                <a:gd name="T25" fmla="*/ 0 h 85"/>
                <a:gd name="T26" fmla="*/ 0 w 77"/>
                <a:gd name="T27" fmla="*/ 0 h 85"/>
                <a:gd name="T28" fmla="*/ 0 w 77"/>
                <a:gd name="T29" fmla="*/ 0 h 85"/>
                <a:gd name="T30" fmla="*/ 0 w 77"/>
                <a:gd name="T31" fmla="*/ 0 h 85"/>
                <a:gd name="T32" fmla="*/ 0 w 77"/>
                <a:gd name="T33" fmla="*/ 0 h 85"/>
                <a:gd name="T34" fmla="*/ 0 w 77"/>
                <a:gd name="T35" fmla="*/ 0 h 85"/>
                <a:gd name="T36" fmla="*/ 0 w 77"/>
                <a:gd name="T37" fmla="*/ 0 h 85"/>
                <a:gd name="T38" fmla="*/ 0 w 77"/>
                <a:gd name="T39" fmla="*/ 0 h 85"/>
                <a:gd name="T40" fmla="*/ 0 w 77"/>
                <a:gd name="T41" fmla="*/ 0 h 85"/>
                <a:gd name="T42" fmla="*/ 0 w 77"/>
                <a:gd name="T43" fmla="*/ 0 h 85"/>
                <a:gd name="T44" fmla="*/ 0 w 77"/>
                <a:gd name="T45" fmla="*/ 0 h 85"/>
                <a:gd name="T46" fmla="*/ 0 w 77"/>
                <a:gd name="T47" fmla="*/ 0 h 85"/>
                <a:gd name="T48" fmla="*/ 0 w 77"/>
                <a:gd name="T49" fmla="*/ 0 h 85"/>
                <a:gd name="T50" fmla="*/ 0 w 77"/>
                <a:gd name="T51" fmla="*/ 0 h 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85"/>
                <a:gd name="T80" fmla="*/ 77 w 77"/>
                <a:gd name="T81" fmla="*/ 85 h 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8" name="Freeform 75">
              <a:extLst>
                <a:ext uri="{FF2B5EF4-FFF2-40B4-BE49-F238E27FC236}">
                  <a16:creationId xmlns:a16="http://schemas.microsoft.com/office/drawing/2014/main" id="{3F9F2986-74D6-D3A6-FAA4-0FAC53F22BDF}"/>
                </a:ext>
              </a:extLst>
            </p:cNvPr>
            <p:cNvSpPr>
              <a:spLocks noChangeAspect="1"/>
            </p:cNvSpPr>
            <p:nvPr userDrawn="1"/>
          </p:nvSpPr>
          <p:spPr bwMode="gray">
            <a:xfrm>
              <a:off x="9339870" y="3969087"/>
              <a:ext cx="32832" cy="48775"/>
            </a:xfrm>
            <a:custGeom>
              <a:avLst/>
              <a:gdLst>
                <a:gd name="T0" fmla="*/ 0 w 63"/>
                <a:gd name="T1" fmla="*/ 0 h 83"/>
                <a:gd name="T2" fmla="*/ 0 w 63"/>
                <a:gd name="T3" fmla="*/ 0 h 83"/>
                <a:gd name="T4" fmla="*/ 0 w 63"/>
                <a:gd name="T5" fmla="*/ 0 h 83"/>
                <a:gd name="T6" fmla="*/ 0 w 63"/>
                <a:gd name="T7" fmla="*/ 0 h 83"/>
                <a:gd name="T8" fmla="*/ 0 w 63"/>
                <a:gd name="T9" fmla="*/ 0 h 83"/>
                <a:gd name="T10" fmla="*/ 0 w 63"/>
                <a:gd name="T11" fmla="*/ 0 h 83"/>
                <a:gd name="T12" fmla="*/ 0 w 63"/>
                <a:gd name="T13" fmla="*/ 0 h 83"/>
                <a:gd name="T14" fmla="*/ 0 w 63"/>
                <a:gd name="T15" fmla="*/ 0 h 83"/>
                <a:gd name="T16" fmla="*/ 0 w 63"/>
                <a:gd name="T17" fmla="*/ 0 h 83"/>
                <a:gd name="T18" fmla="*/ 0 w 63"/>
                <a:gd name="T19" fmla="*/ 0 h 83"/>
                <a:gd name="T20" fmla="*/ 0 w 63"/>
                <a:gd name="T21" fmla="*/ 0 h 83"/>
                <a:gd name="T22" fmla="*/ 0 w 63"/>
                <a:gd name="T23" fmla="*/ 0 h 83"/>
                <a:gd name="T24" fmla="*/ 0 w 63"/>
                <a:gd name="T25" fmla="*/ 0 h 83"/>
                <a:gd name="T26" fmla="*/ 0 w 63"/>
                <a:gd name="T27" fmla="*/ 0 h 83"/>
                <a:gd name="T28" fmla="*/ 0 w 63"/>
                <a:gd name="T29" fmla="*/ 0 h 83"/>
                <a:gd name="T30" fmla="*/ 0 w 63"/>
                <a:gd name="T31" fmla="*/ 0 h 83"/>
                <a:gd name="T32" fmla="*/ 0 w 63"/>
                <a:gd name="T33" fmla="*/ 0 h 83"/>
                <a:gd name="T34" fmla="*/ 0 w 63"/>
                <a:gd name="T35" fmla="*/ 0 h 83"/>
                <a:gd name="T36" fmla="*/ 0 w 63"/>
                <a:gd name="T37" fmla="*/ 0 h 83"/>
                <a:gd name="T38" fmla="*/ 0 w 63"/>
                <a:gd name="T39" fmla="*/ 0 h 83"/>
                <a:gd name="T40" fmla="*/ 0 w 63"/>
                <a:gd name="T41" fmla="*/ 0 h 83"/>
                <a:gd name="T42" fmla="*/ 0 w 63"/>
                <a:gd name="T43" fmla="*/ 0 h 83"/>
                <a:gd name="T44" fmla="*/ 0 w 63"/>
                <a:gd name="T45" fmla="*/ 0 h 83"/>
                <a:gd name="T46" fmla="*/ 0 w 63"/>
                <a:gd name="T47" fmla="*/ 0 h 83"/>
                <a:gd name="T48" fmla="*/ 0 w 63"/>
                <a:gd name="T49" fmla="*/ 0 h 83"/>
                <a:gd name="T50" fmla="*/ 0 w 63"/>
                <a:gd name="T51" fmla="*/ 0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
                <a:gd name="T79" fmla="*/ 0 h 83"/>
                <a:gd name="T80" fmla="*/ 63 w 63"/>
                <a:gd name="T81" fmla="*/ 83 h 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79" name="Freeform 76">
              <a:extLst>
                <a:ext uri="{FF2B5EF4-FFF2-40B4-BE49-F238E27FC236}">
                  <a16:creationId xmlns:a16="http://schemas.microsoft.com/office/drawing/2014/main" id="{EDD5DAC5-BD22-A947-F60A-5B5CCABA5560}"/>
                </a:ext>
              </a:extLst>
            </p:cNvPr>
            <p:cNvSpPr>
              <a:spLocks noChangeAspect="1"/>
            </p:cNvSpPr>
            <p:nvPr userDrawn="1"/>
          </p:nvSpPr>
          <p:spPr bwMode="gray">
            <a:xfrm>
              <a:off x="9351809" y="3999572"/>
              <a:ext cx="31339" cy="60968"/>
            </a:xfrm>
            <a:custGeom>
              <a:avLst/>
              <a:gdLst>
                <a:gd name="T0" fmla="*/ 0 w 59"/>
                <a:gd name="T1" fmla="*/ 0 h 107"/>
                <a:gd name="T2" fmla="*/ 0 w 59"/>
                <a:gd name="T3" fmla="*/ 0 h 107"/>
                <a:gd name="T4" fmla="*/ 0 w 59"/>
                <a:gd name="T5" fmla="*/ 0 h 107"/>
                <a:gd name="T6" fmla="*/ 0 w 59"/>
                <a:gd name="T7" fmla="*/ 0 h 107"/>
                <a:gd name="T8" fmla="*/ 0 w 59"/>
                <a:gd name="T9" fmla="*/ 0 h 107"/>
                <a:gd name="T10" fmla="*/ 0 w 59"/>
                <a:gd name="T11" fmla="*/ 0 h 107"/>
                <a:gd name="T12" fmla="*/ 0 w 59"/>
                <a:gd name="T13" fmla="*/ 0 h 107"/>
                <a:gd name="T14" fmla="*/ 0 w 59"/>
                <a:gd name="T15" fmla="*/ 0 h 107"/>
                <a:gd name="T16" fmla="*/ 0 w 59"/>
                <a:gd name="T17" fmla="*/ 0 h 107"/>
                <a:gd name="T18" fmla="*/ 0 w 59"/>
                <a:gd name="T19" fmla="*/ 0 h 107"/>
                <a:gd name="T20" fmla="*/ 0 w 59"/>
                <a:gd name="T21" fmla="*/ 0 h 107"/>
                <a:gd name="T22" fmla="*/ 0 w 59"/>
                <a:gd name="T23" fmla="*/ 0 h 107"/>
                <a:gd name="T24" fmla="*/ 0 w 59"/>
                <a:gd name="T25" fmla="*/ 0 h 107"/>
                <a:gd name="T26" fmla="*/ 0 w 59"/>
                <a:gd name="T27" fmla="*/ 0 h 107"/>
                <a:gd name="T28" fmla="*/ 0 w 59"/>
                <a:gd name="T29" fmla="*/ 0 h 107"/>
                <a:gd name="T30" fmla="*/ 0 w 59"/>
                <a:gd name="T31" fmla="*/ 0 h 107"/>
                <a:gd name="T32" fmla="*/ 0 w 59"/>
                <a:gd name="T33" fmla="*/ 0 h 107"/>
                <a:gd name="T34" fmla="*/ 0 w 59"/>
                <a:gd name="T35" fmla="*/ 0 h 107"/>
                <a:gd name="T36" fmla="*/ 0 w 59"/>
                <a:gd name="T37" fmla="*/ 0 h 107"/>
                <a:gd name="T38" fmla="*/ 0 w 59"/>
                <a:gd name="T39" fmla="*/ 0 h 107"/>
                <a:gd name="T40" fmla="*/ 0 w 59"/>
                <a:gd name="T41" fmla="*/ 0 h 107"/>
                <a:gd name="T42" fmla="*/ 0 w 59"/>
                <a:gd name="T43" fmla="*/ 0 h 107"/>
                <a:gd name="T44" fmla="*/ 0 w 59"/>
                <a:gd name="T45" fmla="*/ 0 h 107"/>
                <a:gd name="T46" fmla="*/ 0 w 59"/>
                <a:gd name="T47" fmla="*/ 0 h 107"/>
                <a:gd name="T48" fmla="*/ 0 w 59"/>
                <a:gd name="T49" fmla="*/ 0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107"/>
                <a:gd name="T77" fmla="*/ 59 w 5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0" name="Freeform 77">
              <a:extLst>
                <a:ext uri="{FF2B5EF4-FFF2-40B4-BE49-F238E27FC236}">
                  <a16:creationId xmlns:a16="http://schemas.microsoft.com/office/drawing/2014/main" id="{490DD397-C2B4-608E-2063-57D8F367F4EC}"/>
                </a:ext>
              </a:extLst>
            </p:cNvPr>
            <p:cNvSpPr>
              <a:spLocks noChangeAspect="1"/>
            </p:cNvSpPr>
            <p:nvPr userDrawn="1"/>
          </p:nvSpPr>
          <p:spPr bwMode="gray">
            <a:xfrm>
              <a:off x="9408518" y="3982805"/>
              <a:ext cx="25369" cy="45726"/>
            </a:xfrm>
            <a:custGeom>
              <a:avLst/>
              <a:gdLst>
                <a:gd name="T0" fmla="*/ 0 w 51"/>
                <a:gd name="T1" fmla="*/ 0 h 81"/>
                <a:gd name="T2" fmla="*/ 0 w 51"/>
                <a:gd name="T3" fmla="*/ 0 h 81"/>
                <a:gd name="T4" fmla="*/ 0 w 51"/>
                <a:gd name="T5" fmla="*/ 0 h 81"/>
                <a:gd name="T6" fmla="*/ 0 w 51"/>
                <a:gd name="T7" fmla="*/ 0 h 81"/>
                <a:gd name="T8" fmla="*/ 0 w 51"/>
                <a:gd name="T9" fmla="*/ 0 h 81"/>
                <a:gd name="T10" fmla="*/ 0 w 51"/>
                <a:gd name="T11" fmla="*/ 0 h 81"/>
                <a:gd name="T12" fmla="*/ 0 w 51"/>
                <a:gd name="T13" fmla="*/ 0 h 81"/>
                <a:gd name="T14" fmla="*/ 0 w 51"/>
                <a:gd name="T15" fmla="*/ 0 h 81"/>
                <a:gd name="T16" fmla="*/ 0 w 51"/>
                <a:gd name="T17" fmla="*/ 0 h 81"/>
                <a:gd name="T18" fmla="*/ 0 w 51"/>
                <a:gd name="T19" fmla="*/ 0 h 81"/>
                <a:gd name="T20" fmla="*/ 0 w 51"/>
                <a:gd name="T21" fmla="*/ 0 h 81"/>
                <a:gd name="T22" fmla="*/ 0 w 51"/>
                <a:gd name="T23" fmla="*/ 0 h 81"/>
                <a:gd name="T24" fmla="*/ 0 w 51"/>
                <a:gd name="T25" fmla="*/ 0 h 81"/>
                <a:gd name="T26" fmla="*/ 0 w 51"/>
                <a:gd name="T27" fmla="*/ 0 h 81"/>
                <a:gd name="T28" fmla="*/ 0 w 51"/>
                <a:gd name="T29" fmla="*/ 0 h 81"/>
                <a:gd name="T30" fmla="*/ 0 w 51"/>
                <a:gd name="T31" fmla="*/ 0 h 81"/>
                <a:gd name="T32" fmla="*/ 0 w 51"/>
                <a:gd name="T33" fmla="*/ 0 h 81"/>
                <a:gd name="T34" fmla="*/ 0 w 51"/>
                <a:gd name="T35" fmla="*/ 0 h 81"/>
                <a:gd name="T36" fmla="*/ 0 w 51"/>
                <a:gd name="T37" fmla="*/ 0 h 81"/>
                <a:gd name="T38" fmla="*/ 0 w 51"/>
                <a:gd name="T39" fmla="*/ 0 h 81"/>
                <a:gd name="T40" fmla="*/ 0 w 51"/>
                <a:gd name="T41" fmla="*/ 0 h 81"/>
                <a:gd name="T42" fmla="*/ 0 w 51"/>
                <a:gd name="T43" fmla="*/ 0 h 81"/>
                <a:gd name="T44" fmla="*/ 0 w 51"/>
                <a:gd name="T45" fmla="*/ 0 h 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1"/>
                <a:gd name="T70" fmla="*/ 0 h 81"/>
                <a:gd name="T71" fmla="*/ 51 w 51"/>
                <a:gd name="T72" fmla="*/ 81 h 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1" name="Freeform 78">
              <a:extLst>
                <a:ext uri="{FF2B5EF4-FFF2-40B4-BE49-F238E27FC236}">
                  <a16:creationId xmlns:a16="http://schemas.microsoft.com/office/drawing/2014/main" id="{CE5285E0-105B-2330-A0FD-84CE262C6179}"/>
                </a:ext>
              </a:extLst>
            </p:cNvPr>
            <p:cNvSpPr>
              <a:spLocks noChangeAspect="1"/>
            </p:cNvSpPr>
            <p:nvPr userDrawn="1"/>
          </p:nvSpPr>
          <p:spPr bwMode="gray">
            <a:xfrm>
              <a:off x="9381656" y="3988901"/>
              <a:ext cx="17908" cy="57921"/>
            </a:xfrm>
            <a:custGeom>
              <a:avLst/>
              <a:gdLst>
                <a:gd name="T0" fmla="*/ 0 w 38"/>
                <a:gd name="T1" fmla="*/ 0 h 99"/>
                <a:gd name="T2" fmla="*/ 0 w 38"/>
                <a:gd name="T3" fmla="*/ 0 h 99"/>
                <a:gd name="T4" fmla="*/ 0 w 38"/>
                <a:gd name="T5" fmla="*/ 0 h 99"/>
                <a:gd name="T6" fmla="*/ 0 w 38"/>
                <a:gd name="T7" fmla="*/ 0 h 99"/>
                <a:gd name="T8" fmla="*/ 0 w 38"/>
                <a:gd name="T9" fmla="*/ 0 h 99"/>
                <a:gd name="T10" fmla="*/ 0 w 38"/>
                <a:gd name="T11" fmla="*/ 0 h 99"/>
                <a:gd name="T12" fmla="*/ 0 w 38"/>
                <a:gd name="T13" fmla="*/ 0 h 99"/>
                <a:gd name="T14" fmla="*/ 0 w 38"/>
                <a:gd name="T15" fmla="*/ 0 h 99"/>
                <a:gd name="T16" fmla="*/ 0 w 38"/>
                <a:gd name="T17" fmla="*/ 0 h 99"/>
                <a:gd name="T18" fmla="*/ 0 w 38"/>
                <a:gd name="T19" fmla="*/ 0 h 99"/>
                <a:gd name="T20" fmla="*/ 0 w 38"/>
                <a:gd name="T21" fmla="*/ 0 h 99"/>
                <a:gd name="T22" fmla="*/ 0 w 38"/>
                <a:gd name="T23" fmla="*/ 0 h 99"/>
                <a:gd name="T24" fmla="*/ 0 w 38"/>
                <a:gd name="T25" fmla="*/ 0 h 99"/>
                <a:gd name="T26" fmla="*/ 0 w 38"/>
                <a:gd name="T27" fmla="*/ 0 h 99"/>
                <a:gd name="T28" fmla="*/ 0 w 38"/>
                <a:gd name="T29" fmla="*/ 0 h 99"/>
                <a:gd name="T30" fmla="*/ 0 w 38"/>
                <a:gd name="T31" fmla="*/ 0 h 99"/>
                <a:gd name="T32" fmla="*/ 0 w 38"/>
                <a:gd name="T33" fmla="*/ 0 h 99"/>
                <a:gd name="T34" fmla="*/ 0 w 38"/>
                <a:gd name="T35" fmla="*/ 0 h 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99"/>
                <a:gd name="T56" fmla="*/ 38 w 38"/>
                <a:gd name="T57" fmla="*/ 99 h 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2" name="Freeform 79">
              <a:extLst>
                <a:ext uri="{FF2B5EF4-FFF2-40B4-BE49-F238E27FC236}">
                  <a16:creationId xmlns:a16="http://schemas.microsoft.com/office/drawing/2014/main" id="{29F0DCA2-3538-0C5C-B779-6CC2CD82F0BD}"/>
                </a:ext>
              </a:extLst>
            </p:cNvPr>
            <p:cNvSpPr>
              <a:spLocks noChangeAspect="1"/>
            </p:cNvSpPr>
            <p:nvPr userDrawn="1"/>
          </p:nvSpPr>
          <p:spPr bwMode="gray">
            <a:xfrm>
              <a:off x="9393594" y="4022434"/>
              <a:ext cx="23877" cy="19815"/>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w 39"/>
                <a:gd name="T27" fmla="*/ 0 h 31"/>
                <a:gd name="T28" fmla="*/ 0 w 39"/>
                <a:gd name="T29" fmla="*/ 0 h 31"/>
                <a:gd name="T30" fmla="*/ 0 w 39"/>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31"/>
                <a:gd name="T50" fmla="*/ 39 w 39"/>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3" name="Freeform 80">
              <a:extLst>
                <a:ext uri="{FF2B5EF4-FFF2-40B4-BE49-F238E27FC236}">
                  <a16:creationId xmlns:a16="http://schemas.microsoft.com/office/drawing/2014/main" id="{7D200082-7B35-F042-B9C0-1D9EE1906F74}"/>
                </a:ext>
              </a:extLst>
            </p:cNvPr>
            <p:cNvSpPr>
              <a:spLocks noChangeAspect="1"/>
            </p:cNvSpPr>
            <p:nvPr userDrawn="1"/>
          </p:nvSpPr>
          <p:spPr bwMode="gray">
            <a:xfrm>
              <a:off x="9339870" y="4036153"/>
              <a:ext cx="134311" cy="132606"/>
            </a:xfrm>
            <a:custGeom>
              <a:avLst/>
              <a:gdLst>
                <a:gd name="T0" fmla="*/ 0 w 254"/>
                <a:gd name="T1" fmla="*/ 0 h 227"/>
                <a:gd name="T2" fmla="*/ 0 w 254"/>
                <a:gd name="T3" fmla="*/ 0 h 227"/>
                <a:gd name="T4" fmla="*/ 0 w 254"/>
                <a:gd name="T5" fmla="*/ 0 h 227"/>
                <a:gd name="T6" fmla="*/ 0 w 254"/>
                <a:gd name="T7" fmla="*/ 0 h 227"/>
                <a:gd name="T8" fmla="*/ 0 w 254"/>
                <a:gd name="T9" fmla="*/ 0 h 227"/>
                <a:gd name="T10" fmla="*/ 0 w 254"/>
                <a:gd name="T11" fmla="*/ 0 h 227"/>
                <a:gd name="T12" fmla="*/ 0 w 254"/>
                <a:gd name="T13" fmla="*/ 0 h 227"/>
                <a:gd name="T14" fmla="*/ 0 w 254"/>
                <a:gd name="T15" fmla="*/ 0 h 227"/>
                <a:gd name="T16" fmla="*/ 0 w 254"/>
                <a:gd name="T17" fmla="*/ 0 h 227"/>
                <a:gd name="T18" fmla="*/ 0 w 254"/>
                <a:gd name="T19" fmla="*/ 0 h 227"/>
                <a:gd name="T20" fmla="*/ 0 w 254"/>
                <a:gd name="T21" fmla="*/ 0 h 227"/>
                <a:gd name="T22" fmla="*/ 0 w 254"/>
                <a:gd name="T23" fmla="*/ 0 h 227"/>
                <a:gd name="T24" fmla="*/ 0 w 254"/>
                <a:gd name="T25" fmla="*/ 0 h 227"/>
                <a:gd name="T26" fmla="*/ 0 w 254"/>
                <a:gd name="T27" fmla="*/ 0 h 227"/>
                <a:gd name="T28" fmla="*/ 0 w 254"/>
                <a:gd name="T29" fmla="*/ 0 h 227"/>
                <a:gd name="T30" fmla="*/ 0 w 254"/>
                <a:gd name="T31" fmla="*/ 0 h 227"/>
                <a:gd name="T32" fmla="*/ 0 w 254"/>
                <a:gd name="T33" fmla="*/ 0 h 227"/>
                <a:gd name="T34" fmla="*/ 0 w 254"/>
                <a:gd name="T35" fmla="*/ 0 h 227"/>
                <a:gd name="T36" fmla="*/ 0 w 254"/>
                <a:gd name="T37" fmla="*/ 0 h 227"/>
                <a:gd name="T38" fmla="*/ 0 w 254"/>
                <a:gd name="T39" fmla="*/ 0 h 227"/>
                <a:gd name="T40" fmla="*/ 0 w 254"/>
                <a:gd name="T41" fmla="*/ 0 h 227"/>
                <a:gd name="T42" fmla="*/ 0 w 254"/>
                <a:gd name="T43" fmla="*/ 0 h 227"/>
                <a:gd name="T44" fmla="*/ 0 w 254"/>
                <a:gd name="T45" fmla="*/ 0 h 227"/>
                <a:gd name="T46" fmla="*/ 0 w 254"/>
                <a:gd name="T47" fmla="*/ 0 h 227"/>
                <a:gd name="T48" fmla="*/ 0 w 254"/>
                <a:gd name="T49" fmla="*/ 0 h 227"/>
                <a:gd name="T50" fmla="*/ 0 w 254"/>
                <a:gd name="T51" fmla="*/ 0 h 227"/>
                <a:gd name="T52" fmla="*/ 0 w 254"/>
                <a:gd name="T53" fmla="*/ 0 h 227"/>
                <a:gd name="T54" fmla="*/ 0 w 254"/>
                <a:gd name="T55" fmla="*/ 0 h 227"/>
                <a:gd name="T56" fmla="*/ 0 w 254"/>
                <a:gd name="T57" fmla="*/ 0 h 227"/>
                <a:gd name="T58" fmla="*/ 0 w 254"/>
                <a:gd name="T59" fmla="*/ 0 h 227"/>
                <a:gd name="T60" fmla="*/ 0 w 254"/>
                <a:gd name="T61" fmla="*/ 0 h 227"/>
                <a:gd name="T62" fmla="*/ 0 w 254"/>
                <a:gd name="T63" fmla="*/ 0 h 227"/>
                <a:gd name="T64" fmla="*/ 0 w 254"/>
                <a:gd name="T65" fmla="*/ 0 h 227"/>
                <a:gd name="T66" fmla="*/ 0 w 254"/>
                <a:gd name="T67" fmla="*/ 0 h 227"/>
                <a:gd name="T68" fmla="*/ 0 w 254"/>
                <a:gd name="T69" fmla="*/ 0 h 227"/>
                <a:gd name="T70" fmla="*/ 0 w 254"/>
                <a:gd name="T71" fmla="*/ 0 h 227"/>
                <a:gd name="T72" fmla="*/ 0 w 254"/>
                <a:gd name="T73" fmla="*/ 0 h 227"/>
                <a:gd name="T74" fmla="*/ 0 w 254"/>
                <a:gd name="T75" fmla="*/ 0 h 227"/>
                <a:gd name="T76" fmla="*/ 0 w 254"/>
                <a:gd name="T77" fmla="*/ 0 h 227"/>
                <a:gd name="T78" fmla="*/ 0 w 254"/>
                <a:gd name="T79" fmla="*/ 0 h 227"/>
                <a:gd name="T80" fmla="*/ 0 w 254"/>
                <a:gd name="T81" fmla="*/ 0 h 227"/>
                <a:gd name="T82" fmla="*/ 0 w 254"/>
                <a:gd name="T83" fmla="*/ 0 h 227"/>
                <a:gd name="T84" fmla="*/ 0 w 254"/>
                <a:gd name="T85" fmla="*/ 0 h 227"/>
                <a:gd name="T86" fmla="*/ 0 w 254"/>
                <a:gd name="T87" fmla="*/ 0 h 227"/>
                <a:gd name="T88" fmla="*/ 0 w 254"/>
                <a:gd name="T89" fmla="*/ 0 h 227"/>
                <a:gd name="T90" fmla="*/ 0 w 254"/>
                <a:gd name="T91" fmla="*/ 0 h 227"/>
                <a:gd name="T92" fmla="*/ 0 w 254"/>
                <a:gd name="T93" fmla="*/ 0 h 22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54"/>
                <a:gd name="T142" fmla="*/ 0 h 227"/>
                <a:gd name="T143" fmla="*/ 254 w 254"/>
                <a:gd name="T144" fmla="*/ 227 h 22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4" name="Freeform 81">
              <a:extLst>
                <a:ext uri="{FF2B5EF4-FFF2-40B4-BE49-F238E27FC236}">
                  <a16:creationId xmlns:a16="http://schemas.microsoft.com/office/drawing/2014/main" id="{E449A18B-4536-4C6B-CBA1-0CBAE496D6EE}"/>
                </a:ext>
              </a:extLst>
            </p:cNvPr>
            <p:cNvSpPr>
              <a:spLocks noChangeAspect="1"/>
            </p:cNvSpPr>
            <p:nvPr userDrawn="1"/>
          </p:nvSpPr>
          <p:spPr bwMode="gray">
            <a:xfrm>
              <a:off x="9107065" y="4182478"/>
              <a:ext cx="40293" cy="33533"/>
            </a:xfrm>
            <a:custGeom>
              <a:avLst/>
              <a:gdLst>
                <a:gd name="T0" fmla="*/ 2147483647 w 77"/>
                <a:gd name="T1" fmla="*/ 0 h 58"/>
                <a:gd name="T2" fmla="*/ 2147483647 w 77"/>
                <a:gd name="T3" fmla="*/ 0 h 58"/>
                <a:gd name="T4" fmla="*/ 2147483647 w 77"/>
                <a:gd name="T5" fmla="*/ 0 h 58"/>
                <a:gd name="T6" fmla="*/ 2147483647 w 77"/>
                <a:gd name="T7" fmla="*/ 0 h 58"/>
                <a:gd name="T8" fmla="*/ 2147483647 w 77"/>
                <a:gd name="T9" fmla="*/ 0 h 58"/>
                <a:gd name="T10" fmla="*/ 2147483647 w 77"/>
                <a:gd name="T11" fmla="*/ 0 h 58"/>
                <a:gd name="T12" fmla="*/ 2147483647 w 77"/>
                <a:gd name="T13" fmla="*/ 0 h 58"/>
                <a:gd name="T14" fmla="*/ 2147483647 w 77"/>
                <a:gd name="T15" fmla="*/ 0 h 58"/>
                <a:gd name="T16" fmla="*/ 0 w 77"/>
                <a:gd name="T17" fmla="*/ 0 h 58"/>
                <a:gd name="T18" fmla="*/ 0 w 77"/>
                <a:gd name="T19" fmla="*/ 0 h 58"/>
                <a:gd name="T20" fmla="*/ 0 w 77"/>
                <a:gd name="T21" fmla="*/ 0 h 58"/>
                <a:gd name="T22" fmla="*/ 0 w 77"/>
                <a:gd name="T23" fmla="*/ 0 h 58"/>
                <a:gd name="T24" fmla="*/ 0 w 77"/>
                <a:gd name="T25" fmla="*/ 0 h 58"/>
                <a:gd name="T26" fmla="*/ 0 w 77"/>
                <a:gd name="T27" fmla="*/ 0 h 58"/>
                <a:gd name="T28" fmla="*/ 0 w 77"/>
                <a:gd name="T29" fmla="*/ 0 h 58"/>
                <a:gd name="T30" fmla="*/ 0 w 77"/>
                <a:gd name="T31" fmla="*/ 0 h 58"/>
                <a:gd name="T32" fmla="*/ 0 w 77"/>
                <a:gd name="T33" fmla="*/ 0 h 58"/>
                <a:gd name="T34" fmla="*/ 0 w 77"/>
                <a:gd name="T35" fmla="*/ 0 h 58"/>
                <a:gd name="T36" fmla="*/ 0 w 77"/>
                <a:gd name="T37" fmla="*/ 0 h 58"/>
                <a:gd name="T38" fmla="*/ 0 w 77"/>
                <a:gd name="T39" fmla="*/ 0 h 58"/>
                <a:gd name="T40" fmla="*/ 0 w 77"/>
                <a:gd name="T41" fmla="*/ 0 h 58"/>
                <a:gd name="T42" fmla="*/ 0 w 77"/>
                <a:gd name="T43" fmla="*/ 0 h 58"/>
                <a:gd name="T44" fmla="*/ 0 w 77"/>
                <a:gd name="T45" fmla="*/ 0 h 58"/>
                <a:gd name="T46" fmla="*/ 0 w 77"/>
                <a:gd name="T47" fmla="*/ 0 h 58"/>
                <a:gd name="T48" fmla="*/ 0 w 77"/>
                <a:gd name="T49" fmla="*/ 0 h 58"/>
                <a:gd name="T50" fmla="*/ 0 w 77"/>
                <a:gd name="T51" fmla="*/ 0 h 58"/>
                <a:gd name="T52" fmla="*/ 0 w 77"/>
                <a:gd name="T53" fmla="*/ 0 h 58"/>
                <a:gd name="T54" fmla="*/ 0 w 77"/>
                <a:gd name="T55" fmla="*/ 0 h 58"/>
                <a:gd name="T56" fmla="*/ 0 w 77"/>
                <a:gd name="T57" fmla="*/ 0 h 58"/>
                <a:gd name="T58" fmla="*/ 0 w 77"/>
                <a:gd name="T59" fmla="*/ 0 h 58"/>
                <a:gd name="T60" fmla="*/ 2147483647 w 77"/>
                <a:gd name="T61" fmla="*/ 0 h 5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7"/>
                <a:gd name="T94" fmla="*/ 0 h 58"/>
                <a:gd name="T95" fmla="*/ 77 w 77"/>
                <a:gd name="T96" fmla="*/ 58 h 5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5" name="Freeform 82">
              <a:extLst>
                <a:ext uri="{FF2B5EF4-FFF2-40B4-BE49-F238E27FC236}">
                  <a16:creationId xmlns:a16="http://schemas.microsoft.com/office/drawing/2014/main" id="{538877F1-C8C9-A937-9F3A-56C30A1E4079}"/>
                </a:ext>
              </a:extLst>
            </p:cNvPr>
            <p:cNvSpPr>
              <a:spLocks noChangeAspect="1"/>
            </p:cNvSpPr>
            <p:nvPr userDrawn="1"/>
          </p:nvSpPr>
          <p:spPr bwMode="gray">
            <a:xfrm>
              <a:off x="9168250" y="4443119"/>
              <a:ext cx="8954" cy="24388"/>
            </a:xfrm>
            <a:custGeom>
              <a:avLst/>
              <a:gdLst>
                <a:gd name="T0" fmla="*/ 0 w 15"/>
                <a:gd name="T1" fmla="*/ 0 h 42"/>
                <a:gd name="T2" fmla="*/ 0 w 15"/>
                <a:gd name="T3" fmla="*/ 0 h 42"/>
                <a:gd name="T4" fmla="*/ 0 w 15"/>
                <a:gd name="T5" fmla="*/ 0 h 42"/>
                <a:gd name="T6" fmla="*/ 0 w 15"/>
                <a:gd name="T7" fmla="*/ 0 h 42"/>
                <a:gd name="T8" fmla="*/ 0 w 15"/>
                <a:gd name="T9" fmla="*/ 0 h 42"/>
                <a:gd name="T10" fmla="*/ 0 w 15"/>
                <a:gd name="T11" fmla="*/ 0 h 42"/>
                <a:gd name="T12" fmla="*/ 0 w 15"/>
                <a:gd name="T13" fmla="*/ 0 h 42"/>
                <a:gd name="T14" fmla="*/ 0 w 15"/>
                <a:gd name="T15" fmla="*/ 0 h 42"/>
                <a:gd name="T16" fmla="*/ 0 w 15"/>
                <a:gd name="T17" fmla="*/ 0 h 42"/>
                <a:gd name="T18" fmla="*/ 0 w 15"/>
                <a:gd name="T19" fmla="*/ 0 h 42"/>
                <a:gd name="T20" fmla="*/ 0 w 15"/>
                <a:gd name="T21" fmla="*/ 0 h 42"/>
                <a:gd name="T22" fmla="*/ 0 w 15"/>
                <a:gd name="T23" fmla="*/ 0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42"/>
                <a:gd name="T38" fmla="*/ 15 w 15"/>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6" name="Freeform 83">
              <a:extLst>
                <a:ext uri="{FF2B5EF4-FFF2-40B4-BE49-F238E27FC236}">
                  <a16:creationId xmlns:a16="http://schemas.microsoft.com/office/drawing/2014/main" id="{04E58595-5590-A951-D5DE-1A412EEC2C0E}"/>
                </a:ext>
              </a:extLst>
            </p:cNvPr>
            <p:cNvSpPr>
              <a:spLocks noChangeAspect="1"/>
            </p:cNvSpPr>
            <p:nvPr userDrawn="1"/>
          </p:nvSpPr>
          <p:spPr bwMode="gray">
            <a:xfrm>
              <a:off x="9421948" y="4600113"/>
              <a:ext cx="71632" cy="35057"/>
            </a:xfrm>
            <a:custGeom>
              <a:avLst/>
              <a:gdLst>
                <a:gd name="T0" fmla="*/ 0 w 133"/>
                <a:gd name="T1" fmla="*/ 0 h 61"/>
                <a:gd name="T2" fmla="*/ 0 w 133"/>
                <a:gd name="T3" fmla="*/ 0 h 61"/>
                <a:gd name="T4" fmla="*/ 0 w 133"/>
                <a:gd name="T5" fmla="*/ 0 h 61"/>
                <a:gd name="T6" fmla="*/ 0 w 133"/>
                <a:gd name="T7" fmla="*/ 0 h 61"/>
                <a:gd name="T8" fmla="*/ 0 w 133"/>
                <a:gd name="T9" fmla="*/ 0 h 61"/>
                <a:gd name="T10" fmla="*/ 2147483647 w 133"/>
                <a:gd name="T11" fmla="*/ 0 h 61"/>
                <a:gd name="T12" fmla="*/ 2147483647 w 133"/>
                <a:gd name="T13" fmla="*/ 0 h 61"/>
                <a:gd name="T14" fmla="*/ 2147483647 w 133"/>
                <a:gd name="T15" fmla="*/ 0 h 61"/>
                <a:gd name="T16" fmla="*/ 2147483647 w 133"/>
                <a:gd name="T17" fmla="*/ 0 h 61"/>
                <a:gd name="T18" fmla="*/ 2147483647 w 133"/>
                <a:gd name="T19" fmla="*/ 0 h 61"/>
                <a:gd name="T20" fmla="*/ 2147483647 w 133"/>
                <a:gd name="T21" fmla="*/ 0 h 61"/>
                <a:gd name="T22" fmla="*/ 2147483647 w 133"/>
                <a:gd name="T23" fmla="*/ 0 h 61"/>
                <a:gd name="T24" fmla="*/ 2147483647 w 133"/>
                <a:gd name="T25" fmla="*/ 0 h 61"/>
                <a:gd name="T26" fmla="*/ 2147483647 w 133"/>
                <a:gd name="T27" fmla="*/ 0 h 61"/>
                <a:gd name="T28" fmla="*/ 2147483647 w 133"/>
                <a:gd name="T29" fmla="*/ 0 h 61"/>
                <a:gd name="T30" fmla="*/ 2147483647 w 133"/>
                <a:gd name="T31" fmla="*/ 0 h 61"/>
                <a:gd name="T32" fmla="*/ 2147483647 w 133"/>
                <a:gd name="T33" fmla="*/ 0 h 61"/>
                <a:gd name="T34" fmla="*/ 2147483647 w 133"/>
                <a:gd name="T35" fmla="*/ 0 h 61"/>
                <a:gd name="T36" fmla="*/ 2147483647 w 133"/>
                <a:gd name="T37" fmla="*/ 0 h 61"/>
                <a:gd name="T38" fmla="*/ 0 w 133"/>
                <a:gd name="T39" fmla="*/ 0 h 61"/>
                <a:gd name="T40" fmla="*/ 0 w 133"/>
                <a:gd name="T41" fmla="*/ 0 h 61"/>
                <a:gd name="T42" fmla="*/ 0 w 133"/>
                <a:gd name="T43" fmla="*/ 0 h 61"/>
                <a:gd name="T44" fmla="*/ 0 w 133"/>
                <a:gd name="T45" fmla="*/ 0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3"/>
                <a:gd name="T70" fmla="*/ 0 h 61"/>
                <a:gd name="T71" fmla="*/ 133 w 133"/>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7" name="Freeform 84">
              <a:extLst>
                <a:ext uri="{FF2B5EF4-FFF2-40B4-BE49-F238E27FC236}">
                  <a16:creationId xmlns:a16="http://schemas.microsoft.com/office/drawing/2014/main" id="{4FCF87F4-29F8-6944-C45F-CAE2768A4081}"/>
                </a:ext>
              </a:extLst>
            </p:cNvPr>
            <p:cNvSpPr>
              <a:spLocks noChangeAspect="1"/>
            </p:cNvSpPr>
            <p:nvPr userDrawn="1"/>
          </p:nvSpPr>
          <p:spPr bwMode="gray">
            <a:xfrm>
              <a:off x="9387625" y="4622976"/>
              <a:ext cx="44770" cy="38106"/>
            </a:xfrm>
            <a:custGeom>
              <a:avLst/>
              <a:gdLst>
                <a:gd name="T0" fmla="*/ 2147483647 w 85"/>
                <a:gd name="T1" fmla="*/ 0 h 71"/>
                <a:gd name="T2" fmla="*/ 2147483647 w 85"/>
                <a:gd name="T3" fmla="*/ 0 h 71"/>
                <a:gd name="T4" fmla="*/ 2147483647 w 85"/>
                <a:gd name="T5" fmla="*/ 0 h 71"/>
                <a:gd name="T6" fmla="*/ 2147483647 w 85"/>
                <a:gd name="T7" fmla="*/ 0 h 71"/>
                <a:gd name="T8" fmla="*/ 2147483647 w 85"/>
                <a:gd name="T9" fmla="*/ 0 h 71"/>
                <a:gd name="T10" fmla="*/ 2147483647 w 85"/>
                <a:gd name="T11" fmla="*/ 0 h 71"/>
                <a:gd name="T12" fmla="*/ 2147483647 w 85"/>
                <a:gd name="T13" fmla="*/ 0 h 71"/>
                <a:gd name="T14" fmla="*/ 0 w 85"/>
                <a:gd name="T15" fmla="*/ 0 h 71"/>
                <a:gd name="T16" fmla="*/ 0 w 85"/>
                <a:gd name="T17" fmla="*/ 0 h 71"/>
                <a:gd name="T18" fmla="*/ 0 w 85"/>
                <a:gd name="T19" fmla="*/ 0 h 71"/>
                <a:gd name="T20" fmla="*/ 0 w 85"/>
                <a:gd name="T21" fmla="*/ 0 h 71"/>
                <a:gd name="T22" fmla="*/ 0 w 85"/>
                <a:gd name="T23" fmla="*/ 0 h 71"/>
                <a:gd name="T24" fmla="*/ 0 w 85"/>
                <a:gd name="T25" fmla="*/ 0 h 71"/>
                <a:gd name="T26" fmla="*/ 0 w 85"/>
                <a:gd name="T27" fmla="*/ 0 h 71"/>
                <a:gd name="T28" fmla="*/ 0 w 85"/>
                <a:gd name="T29" fmla="*/ 0 h 71"/>
                <a:gd name="T30" fmla="*/ 0 w 85"/>
                <a:gd name="T31" fmla="*/ 0 h 71"/>
                <a:gd name="T32" fmla="*/ 0 w 85"/>
                <a:gd name="T33" fmla="*/ 0 h 71"/>
                <a:gd name="T34" fmla="*/ 0 w 85"/>
                <a:gd name="T35" fmla="*/ 0 h 71"/>
                <a:gd name="T36" fmla="*/ 0 w 85"/>
                <a:gd name="T37" fmla="*/ 0 h 71"/>
                <a:gd name="T38" fmla="*/ 0 w 85"/>
                <a:gd name="T39" fmla="*/ 0 h 71"/>
                <a:gd name="T40" fmla="*/ 0 w 85"/>
                <a:gd name="T41" fmla="*/ 0 h 71"/>
                <a:gd name="T42" fmla="*/ 2147483647 w 85"/>
                <a:gd name="T43" fmla="*/ 0 h 71"/>
                <a:gd name="T44" fmla="*/ 2147483647 w 85"/>
                <a:gd name="T45" fmla="*/ 0 h 71"/>
                <a:gd name="T46" fmla="*/ 2147483647 w 85"/>
                <a:gd name="T47" fmla="*/ 0 h 71"/>
                <a:gd name="T48" fmla="*/ 2147483647 w 85"/>
                <a:gd name="T49" fmla="*/ 0 h 71"/>
                <a:gd name="T50" fmla="*/ 2147483647 w 85"/>
                <a:gd name="T51" fmla="*/ 0 h 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5"/>
                <a:gd name="T79" fmla="*/ 0 h 71"/>
                <a:gd name="T80" fmla="*/ 85 w 85"/>
                <a:gd name="T81" fmla="*/ 71 h 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8" name="Freeform 85">
              <a:extLst>
                <a:ext uri="{FF2B5EF4-FFF2-40B4-BE49-F238E27FC236}">
                  <a16:creationId xmlns:a16="http://schemas.microsoft.com/office/drawing/2014/main" id="{60B1E99A-0017-ECC5-5405-5E665DA3ED57}"/>
                </a:ext>
              </a:extLst>
            </p:cNvPr>
            <p:cNvSpPr>
              <a:spLocks noChangeAspect="1"/>
            </p:cNvSpPr>
            <p:nvPr userDrawn="1"/>
          </p:nvSpPr>
          <p:spPr bwMode="gray">
            <a:xfrm>
              <a:off x="9514474" y="4427877"/>
              <a:ext cx="86556" cy="32009"/>
            </a:xfrm>
            <a:custGeom>
              <a:avLst/>
              <a:gdLst>
                <a:gd name="T0" fmla="*/ 0 w 162"/>
                <a:gd name="T1" fmla="*/ 0 h 59"/>
                <a:gd name="T2" fmla="*/ 0 w 162"/>
                <a:gd name="T3" fmla="*/ 0 h 59"/>
                <a:gd name="T4" fmla="*/ 0 w 162"/>
                <a:gd name="T5" fmla="*/ 0 h 59"/>
                <a:gd name="T6" fmla="*/ 0 w 162"/>
                <a:gd name="T7" fmla="*/ 0 h 59"/>
                <a:gd name="T8" fmla="*/ 0 w 162"/>
                <a:gd name="T9" fmla="*/ 0 h 59"/>
                <a:gd name="T10" fmla="*/ 0 w 162"/>
                <a:gd name="T11" fmla="*/ 0 h 59"/>
                <a:gd name="T12" fmla="*/ 0 w 162"/>
                <a:gd name="T13" fmla="*/ 0 h 59"/>
                <a:gd name="T14" fmla="*/ 0 w 162"/>
                <a:gd name="T15" fmla="*/ 0 h 59"/>
                <a:gd name="T16" fmla="*/ 2147483647 w 162"/>
                <a:gd name="T17" fmla="*/ 0 h 59"/>
                <a:gd name="T18" fmla="*/ 2147483647 w 162"/>
                <a:gd name="T19" fmla="*/ 0 h 59"/>
                <a:gd name="T20" fmla="*/ 2147483647 w 162"/>
                <a:gd name="T21" fmla="*/ 0 h 59"/>
                <a:gd name="T22" fmla="*/ 2147483647 w 162"/>
                <a:gd name="T23" fmla="*/ 0 h 59"/>
                <a:gd name="T24" fmla="*/ 2147483647 w 162"/>
                <a:gd name="T25" fmla="*/ 0 h 59"/>
                <a:gd name="T26" fmla="*/ 2147483647 w 162"/>
                <a:gd name="T27" fmla="*/ 0 h 59"/>
                <a:gd name="T28" fmla="*/ 2147483647 w 162"/>
                <a:gd name="T29" fmla="*/ 0 h 59"/>
                <a:gd name="T30" fmla="*/ 2147483647 w 162"/>
                <a:gd name="T31" fmla="*/ 0 h 59"/>
                <a:gd name="T32" fmla="*/ 2147483647 w 162"/>
                <a:gd name="T33" fmla="*/ 0 h 59"/>
                <a:gd name="T34" fmla="*/ 2147483647 w 162"/>
                <a:gd name="T35" fmla="*/ 0 h 59"/>
                <a:gd name="T36" fmla="*/ 2147483647 w 162"/>
                <a:gd name="T37" fmla="*/ 0 h 59"/>
                <a:gd name="T38" fmla="*/ 2147483647 w 162"/>
                <a:gd name="T39" fmla="*/ 0 h 59"/>
                <a:gd name="T40" fmla="*/ 2147483647 w 162"/>
                <a:gd name="T41" fmla="*/ 0 h 59"/>
                <a:gd name="T42" fmla="*/ 2147483647 w 162"/>
                <a:gd name="T43" fmla="*/ 0 h 59"/>
                <a:gd name="T44" fmla="*/ 2147483647 w 162"/>
                <a:gd name="T45" fmla="*/ 0 h 59"/>
                <a:gd name="T46" fmla="*/ 2147483647 w 162"/>
                <a:gd name="T47" fmla="*/ 0 h 59"/>
                <a:gd name="T48" fmla="*/ 2147483647 w 162"/>
                <a:gd name="T49" fmla="*/ 0 h 59"/>
                <a:gd name="T50" fmla="*/ 2147483647 w 162"/>
                <a:gd name="T51" fmla="*/ 0 h 59"/>
                <a:gd name="T52" fmla="*/ 2147483647 w 162"/>
                <a:gd name="T53" fmla="*/ 0 h 59"/>
                <a:gd name="T54" fmla="*/ 2147483647 w 162"/>
                <a:gd name="T55" fmla="*/ 0 h 59"/>
                <a:gd name="T56" fmla="*/ 2147483647 w 162"/>
                <a:gd name="T57" fmla="*/ 0 h 59"/>
                <a:gd name="T58" fmla="*/ 2147483647 w 162"/>
                <a:gd name="T59" fmla="*/ 0 h 59"/>
                <a:gd name="T60" fmla="*/ 2147483647 w 162"/>
                <a:gd name="T61" fmla="*/ 0 h 59"/>
                <a:gd name="T62" fmla="*/ 2147483647 w 162"/>
                <a:gd name="T63" fmla="*/ 0 h 59"/>
                <a:gd name="T64" fmla="*/ 0 w 162"/>
                <a:gd name="T65" fmla="*/ 0 h 59"/>
                <a:gd name="T66" fmla="*/ 0 w 162"/>
                <a:gd name="T67" fmla="*/ 0 h 59"/>
                <a:gd name="T68" fmla="*/ 0 w 162"/>
                <a:gd name="T69" fmla="*/ 0 h 59"/>
                <a:gd name="T70" fmla="*/ 0 w 162"/>
                <a:gd name="T71" fmla="*/ 0 h 59"/>
                <a:gd name="T72" fmla="*/ 0 w 162"/>
                <a:gd name="T73" fmla="*/ 0 h 59"/>
                <a:gd name="T74" fmla="*/ 0 w 162"/>
                <a:gd name="T75" fmla="*/ 0 h 59"/>
                <a:gd name="T76" fmla="*/ 0 w 162"/>
                <a:gd name="T77" fmla="*/ 0 h 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62"/>
                <a:gd name="T118" fmla="*/ 0 h 59"/>
                <a:gd name="T119" fmla="*/ 162 w 162"/>
                <a:gd name="T120" fmla="*/ 59 h 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89" name="Freeform 86">
              <a:extLst>
                <a:ext uri="{FF2B5EF4-FFF2-40B4-BE49-F238E27FC236}">
                  <a16:creationId xmlns:a16="http://schemas.microsoft.com/office/drawing/2014/main" id="{4C5D0C47-A919-0E98-158E-BCBE04CBEFB2}"/>
                </a:ext>
              </a:extLst>
            </p:cNvPr>
            <p:cNvSpPr>
              <a:spLocks noChangeAspect="1"/>
            </p:cNvSpPr>
            <p:nvPr userDrawn="1"/>
          </p:nvSpPr>
          <p:spPr bwMode="gray">
            <a:xfrm>
              <a:off x="9250329" y="4287648"/>
              <a:ext cx="186542" cy="230157"/>
            </a:xfrm>
            <a:custGeom>
              <a:avLst/>
              <a:gdLst>
                <a:gd name="T0" fmla="*/ 2147483647 w 345"/>
                <a:gd name="T1" fmla="*/ 0 h 404"/>
                <a:gd name="T2" fmla="*/ 2147483647 w 345"/>
                <a:gd name="T3" fmla="*/ 0 h 404"/>
                <a:gd name="T4" fmla="*/ 2147483647 w 345"/>
                <a:gd name="T5" fmla="*/ 0 h 404"/>
                <a:gd name="T6" fmla="*/ 2147483647 w 345"/>
                <a:gd name="T7" fmla="*/ 0 h 404"/>
                <a:gd name="T8" fmla="*/ 2147483647 w 345"/>
                <a:gd name="T9" fmla="*/ 0 h 404"/>
                <a:gd name="T10" fmla="*/ 2147483647 w 345"/>
                <a:gd name="T11" fmla="*/ 0 h 404"/>
                <a:gd name="T12" fmla="*/ 2147483647 w 345"/>
                <a:gd name="T13" fmla="*/ 0 h 404"/>
                <a:gd name="T14" fmla="*/ 2147483647 w 345"/>
                <a:gd name="T15" fmla="*/ 0 h 404"/>
                <a:gd name="T16" fmla="*/ 2147483647 w 345"/>
                <a:gd name="T17" fmla="*/ 0 h 404"/>
                <a:gd name="T18" fmla="*/ 2147483647 w 345"/>
                <a:gd name="T19" fmla="*/ 0 h 404"/>
                <a:gd name="T20" fmla="*/ 2147483647 w 345"/>
                <a:gd name="T21" fmla="*/ 2147483647 h 404"/>
                <a:gd name="T22" fmla="*/ 2147483647 w 345"/>
                <a:gd name="T23" fmla="*/ 0 h 404"/>
                <a:gd name="T24" fmla="*/ 2147483647 w 345"/>
                <a:gd name="T25" fmla="*/ 0 h 404"/>
                <a:gd name="T26" fmla="*/ 2147483647 w 345"/>
                <a:gd name="T27" fmla="*/ 0 h 404"/>
                <a:gd name="T28" fmla="*/ 2147483647 w 345"/>
                <a:gd name="T29" fmla="*/ 0 h 404"/>
                <a:gd name="T30" fmla="*/ 2147483647 w 345"/>
                <a:gd name="T31" fmla="*/ 0 h 404"/>
                <a:gd name="T32" fmla="*/ 2147483647 w 345"/>
                <a:gd name="T33" fmla="*/ 2147483647 h 404"/>
                <a:gd name="T34" fmla="*/ 2147483647 w 345"/>
                <a:gd name="T35" fmla="*/ 2147483647 h 404"/>
                <a:gd name="T36" fmla="*/ 2147483647 w 345"/>
                <a:gd name="T37" fmla="*/ 2147483647 h 404"/>
                <a:gd name="T38" fmla="*/ 2147483647 w 345"/>
                <a:gd name="T39" fmla="*/ 2147483647 h 404"/>
                <a:gd name="T40" fmla="*/ 2147483647 w 345"/>
                <a:gd name="T41" fmla="*/ 2147483647 h 404"/>
                <a:gd name="T42" fmla="*/ 2147483647 w 345"/>
                <a:gd name="T43" fmla="*/ 2147483647 h 404"/>
                <a:gd name="T44" fmla="*/ 2147483647 w 345"/>
                <a:gd name="T45" fmla="*/ 2147483647 h 404"/>
                <a:gd name="T46" fmla="*/ 2147483647 w 345"/>
                <a:gd name="T47" fmla="*/ 2147483647 h 404"/>
                <a:gd name="T48" fmla="*/ 2147483647 w 345"/>
                <a:gd name="T49" fmla="*/ 2147483647 h 404"/>
                <a:gd name="T50" fmla="*/ 2147483647 w 345"/>
                <a:gd name="T51" fmla="*/ 2147483647 h 404"/>
                <a:gd name="T52" fmla="*/ 2147483647 w 345"/>
                <a:gd name="T53" fmla="*/ 2147483647 h 404"/>
                <a:gd name="T54" fmla="*/ 2147483647 w 345"/>
                <a:gd name="T55" fmla="*/ 2147483647 h 404"/>
                <a:gd name="T56" fmla="*/ 2147483647 w 345"/>
                <a:gd name="T57" fmla="*/ 2147483647 h 404"/>
                <a:gd name="T58" fmla="*/ 2147483647 w 345"/>
                <a:gd name="T59" fmla="*/ 2147483647 h 404"/>
                <a:gd name="T60" fmla="*/ 2147483647 w 345"/>
                <a:gd name="T61" fmla="*/ 2147483647 h 404"/>
                <a:gd name="T62" fmla="*/ 2147483647 w 345"/>
                <a:gd name="T63" fmla="*/ 2147483647 h 404"/>
                <a:gd name="T64" fmla="*/ 2147483647 w 345"/>
                <a:gd name="T65" fmla="*/ 2147483647 h 404"/>
                <a:gd name="T66" fmla="*/ 2147483647 w 345"/>
                <a:gd name="T67" fmla="*/ 2147483647 h 404"/>
                <a:gd name="T68" fmla="*/ 2147483647 w 345"/>
                <a:gd name="T69" fmla="*/ 2147483647 h 404"/>
                <a:gd name="T70" fmla="*/ 2147483647 w 345"/>
                <a:gd name="T71" fmla="*/ 2147483647 h 404"/>
                <a:gd name="T72" fmla="*/ 2147483647 w 345"/>
                <a:gd name="T73" fmla="*/ 2147483647 h 404"/>
                <a:gd name="T74" fmla="*/ 2147483647 w 345"/>
                <a:gd name="T75" fmla="*/ 2147483647 h 404"/>
                <a:gd name="T76" fmla="*/ 2147483647 w 345"/>
                <a:gd name="T77" fmla="*/ 2147483647 h 404"/>
                <a:gd name="T78" fmla="*/ 2147483647 w 345"/>
                <a:gd name="T79" fmla="*/ 2147483647 h 404"/>
                <a:gd name="T80" fmla="*/ 2147483647 w 345"/>
                <a:gd name="T81" fmla="*/ 2147483647 h 404"/>
                <a:gd name="T82" fmla="*/ 2147483647 w 345"/>
                <a:gd name="T83" fmla="*/ 2147483647 h 404"/>
                <a:gd name="T84" fmla="*/ 2147483647 w 345"/>
                <a:gd name="T85" fmla="*/ 2147483647 h 404"/>
                <a:gd name="T86" fmla="*/ 0 w 345"/>
                <a:gd name="T87" fmla="*/ 2147483647 h 404"/>
                <a:gd name="T88" fmla="*/ 0 w 345"/>
                <a:gd name="T89" fmla="*/ 2147483647 h 404"/>
                <a:gd name="T90" fmla="*/ 0 w 345"/>
                <a:gd name="T91" fmla="*/ 2147483647 h 404"/>
                <a:gd name="T92" fmla="*/ 0 w 345"/>
                <a:gd name="T93" fmla="*/ 2147483647 h 404"/>
                <a:gd name="T94" fmla="*/ 0 w 345"/>
                <a:gd name="T95" fmla="*/ 2147483647 h 404"/>
                <a:gd name="T96" fmla="*/ 0 w 345"/>
                <a:gd name="T97" fmla="*/ 2147483647 h 404"/>
                <a:gd name="T98" fmla="*/ 2147483647 w 345"/>
                <a:gd name="T99" fmla="*/ 2147483647 h 404"/>
                <a:gd name="T100" fmla="*/ 0 w 345"/>
                <a:gd name="T101" fmla="*/ 2147483647 h 404"/>
                <a:gd name="T102" fmla="*/ 2147483647 w 345"/>
                <a:gd name="T103" fmla="*/ 2147483647 h 404"/>
                <a:gd name="T104" fmla="*/ 2147483647 w 345"/>
                <a:gd name="T105" fmla="*/ 0 h 404"/>
                <a:gd name="T106" fmla="*/ 2147483647 w 345"/>
                <a:gd name="T107" fmla="*/ 0 h 404"/>
                <a:gd name="T108" fmla="*/ 2147483647 w 345"/>
                <a:gd name="T109" fmla="*/ 0 h 4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5"/>
                <a:gd name="T166" fmla="*/ 0 h 404"/>
                <a:gd name="T167" fmla="*/ 345 w 345"/>
                <a:gd name="T168" fmla="*/ 404 h 4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0" name="Freeform 87">
              <a:extLst>
                <a:ext uri="{FF2B5EF4-FFF2-40B4-BE49-F238E27FC236}">
                  <a16:creationId xmlns:a16="http://schemas.microsoft.com/office/drawing/2014/main" id="{5B845DDC-589C-7520-05AD-1284727D57C0}"/>
                </a:ext>
              </a:extLst>
            </p:cNvPr>
            <p:cNvSpPr>
              <a:spLocks noChangeAspect="1"/>
            </p:cNvSpPr>
            <p:nvPr userDrawn="1"/>
          </p:nvSpPr>
          <p:spPr bwMode="gray">
            <a:xfrm>
              <a:off x="9499550" y="4270882"/>
              <a:ext cx="43278" cy="96025"/>
            </a:xfrm>
            <a:custGeom>
              <a:avLst/>
              <a:gdLst>
                <a:gd name="T0" fmla="*/ 0 w 80"/>
                <a:gd name="T1" fmla="*/ 0 h 170"/>
                <a:gd name="T2" fmla="*/ 0 w 80"/>
                <a:gd name="T3" fmla="*/ 0 h 170"/>
                <a:gd name="T4" fmla="*/ 0 w 80"/>
                <a:gd name="T5" fmla="*/ 0 h 170"/>
                <a:gd name="T6" fmla="*/ 0 w 80"/>
                <a:gd name="T7" fmla="*/ 0 h 170"/>
                <a:gd name="T8" fmla="*/ 0 w 80"/>
                <a:gd name="T9" fmla="*/ 0 h 170"/>
                <a:gd name="T10" fmla="*/ 0 w 80"/>
                <a:gd name="T11" fmla="*/ 0 h 170"/>
                <a:gd name="T12" fmla="*/ 0 w 80"/>
                <a:gd name="T13" fmla="*/ 0 h 170"/>
                <a:gd name="T14" fmla="*/ 0 w 80"/>
                <a:gd name="T15" fmla="*/ 0 h 170"/>
                <a:gd name="T16" fmla="*/ 0 w 80"/>
                <a:gd name="T17" fmla="*/ 0 h 170"/>
                <a:gd name="T18" fmla="*/ 0 w 80"/>
                <a:gd name="T19" fmla="*/ 0 h 170"/>
                <a:gd name="T20" fmla="*/ 0 w 80"/>
                <a:gd name="T21" fmla="*/ 0 h 170"/>
                <a:gd name="T22" fmla="*/ 0 w 80"/>
                <a:gd name="T23" fmla="*/ 0 h 170"/>
                <a:gd name="T24" fmla="*/ 0 w 80"/>
                <a:gd name="T25" fmla="*/ 0 h 170"/>
                <a:gd name="T26" fmla="*/ 0 w 80"/>
                <a:gd name="T27" fmla="*/ 0 h 170"/>
                <a:gd name="T28" fmla="*/ 0 w 80"/>
                <a:gd name="T29" fmla="*/ 0 h 170"/>
                <a:gd name="T30" fmla="*/ 0 w 80"/>
                <a:gd name="T31" fmla="*/ 0 h 170"/>
                <a:gd name="T32" fmla="*/ 0 w 80"/>
                <a:gd name="T33" fmla="*/ 0 h 170"/>
                <a:gd name="T34" fmla="*/ 2147483647 w 80"/>
                <a:gd name="T35" fmla="*/ 0 h 170"/>
                <a:gd name="T36" fmla="*/ 2147483647 w 80"/>
                <a:gd name="T37" fmla="*/ 0 h 170"/>
                <a:gd name="T38" fmla="*/ 2147483647 w 80"/>
                <a:gd name="T39" fmla="*/ 0 h 170"/>
                <a:gd name="T40" fmla="*/ 2147483647 w 80"/>
                <a:gd name="T41" fmla="*/ 0 h 170"/>
                <a:gd name="T42" fmla="*/ 2147483647 w 80"/>
                <a:gd name="T43" fmla="*/ 0 h 170"/>
                <a:gd name="T44" fmla="*/ 2147483647 w 80"/>
                <a:gd name="T45" fmla="*/ 0 h 170"/>
                <a:gd name="T46" fmla="*/ 2147483647 w 80"/>
                <a:gd name="T47" fmla="*/ 2147483647 h 170"/>
                <a:gd name="T48" fmla="*/ 2147483647 w 80"/>
                <a:gd name="T49" fmla="*/ 2147483647 h 170"/>
                <a:gd name="T50" fmla="*/ 2147483647 w 80"/>
                <a:gd name="T51" fmla="*/ 2147483647 h 170"/>
                <a:gd name="T52" fmla="*/ 2147483647 w 80"/>
                <a:gd name="T53" fmla="*/ 2147483647 h 170"/>
                <a:gd name="T54" fmla="*/ 2147483647 w 80"/>
                <a:gd name="T55" fmla="*/ 2147483647 h 170"/>
                <a:gd name="T56" fmla="*/ 2147483647 w 80"/>
                <a:gd name="T57" fmla="*/ 2147483647 h 170"/>
                <a:gd name="T58" fmla="*/ 2147483647 w 80"/>
                <a:gd name="T59" fmla="*/ 2147483647 h 170"/>
                <a:gd name="T60" fmla="*/ 2147483647 w 80"/>
                <a:gd name="T61" fmla="*/ 2147483647 h 170"/>
                <a:gd name="T62" fmla="*/ 2147483647 w 80"/>
                <a:gd name="T63" fmla="*/ 2147483647 h 170"/>
                <a:gd name="T64" fmla="*/ 0 w 80"/>
                <a:gd name="T65" fmla="*/ 2147483647 h 170"/>
                <a:gd name="T66" fmla="*/ 0 w 80"/>
                <a:gd name="T67" fmla="*/ 2147483647 h 170"/>
                <a:gd name="T68" fmla="*/ 0 w 80"/>
                <a:gd name="T69" fmla="*/ 2147483647 h 170"/>
                <a:gd name="T70" fmla="*/ 0 w 80"/>
                <a:gd name="T71" fmla="*/ 2147483647 h 170"/>
                <a:gd name="T72" fmla="*/ 0 w 80"/>
                <a:gd name="T73" fmla="*/ 2147483647 h 170"/>
                <a:gd name="T74" fmla="*/ 0 w 80"/>
                <a:gd name="T75" fmla="*/ 2147483647 h 170"/>
                <a:gd name="T76" fmla="*/ 2147483647 w 80"/>
                <a:gd name="T77" fmla="*/ 2147483647 h 170"/>
                <a:gd name="T78" fmla="*/ 2147483647 w 80"/>
                <a:gd name="T79" fmla="*/ 2147483647 h 170"/>
                <a:gd name="T80" fmla="*/ 0 w 80"/>
                <a:gd name="T81" fmla="*/ 2147483647 h 170"/>
                <a:gd name="T82" fmla="*/ 0 w 80"/>
                <a:gd name="T83" fmla="*/ 2147483647 h 170"/>
                <a:gd name="T84" fmla="*/ 0 w 80"/>
                <a:gd name="T85" fmla="*/ 2147483647 h 170"/>
                <a:gd name="T86" fmla="*/ 0 w 80"/>
                <a:gd name="T87" fmla="*/ 2147483647 h 170"/>
                <a:gd name="T88" fmla="*/ 0 w 80"/>
                <a:gd name="T89" fmla="*/ 2147483647 h 170"/>
                <a:gd name="T90" fmla="*/ 0 w 80"/>
                <a:gd name="T91" fmla="*/ 0 h 170"/>
                <a:gd name="T92" fmla="*/ 0 w 80"/>
                <a:gd name="T93" fmla="*/ 0 h 170"/>
                <a:gd name="T94" fmla="*/ 0 w 80"/>
                <a:gd name="T95" fmla="*/ 0 h 170"/>
                <a:gd name="T96" fmla="*/ 0 w 80"/>
                <a:gd name="T97" fmla="*/ 0 h 170"/>
                <a:gd name="T98" fmla="*/ 0 w 80"/>
                <a:gd name="T99" fmla="*/ 0 h 170"/>
                <a:gd name="T100" fmla="*/ 0 w 80"/>
                <a:gd name="T101" fmla="*/ 0 h 170"/>
                <a:gd name="T102" fmla="*/ 0 w 80"/>
                <a:gd name="T103" fmla="*/ 0 h 170"/>
                <a:gd name="T104" fmla="*/ 0 w 80"/>
                <a:gd name="T105" fmla="*/ 0 h 1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0"/>
                <a:gd name="T160" fmla="*/ 0 h 170"/>
                <a:gd name="T161" fmla="*/ 80 w 80"/>
                <a:gd name="T162" fmla="*/ 170 h 1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1" name="Freeform 88">
              <a:extLst>
                <a:ext uri="{FF2B5EF4-FFF2-40B4-BE49-F238E27FC236}">
                  <a16:creationId xmlns:a16="http://schemas.microsoft.com/office/drawing/2014/main" id="{A748EA46-8F02-0858-D6AB-DCFB425B0792}"/>
                </a:ext>
              </a:extLst>
            </p:cNvPr>
            <p:cNvSpPr>
              <a:spLocks noChangeAspect="1"/>
            </p:cNvSpPr>
            <p:nvPr userDrawn="1"/>
          </p:nvSpPr>
          <p:spPr bwMode="gray">
            <a:xfrm>
              <a:off x="9604014" y="4351665"/>
              <a:ext cx="304438" cy="272836"/>
            </a:xfrm>
            <a:custGeom>
              <a:avLst/>
              <a:gdLst>
                <a:gd name="T0" fmla="*/ 2147483647 w 568"/>
                <a:gd name="T1" fmla="*/ 2147483647 h 480"/>
                <a:gd name="T2" fmla="*/ 2147483647 w 568"/>
                <a:gd name="T3" fmla="*/ 2147483647 h 480"/>
                <a:gd name="T4" fmla="*/ 2147483647 w 568"/>
                <a:gd name="T5" fmla="*/ 2147483647 h 480"/>
                <a:gd name="T6" fmla="*/ 2147483647 w 568"/>
                <a:gd name="T7" fmla="*/ 2147483647 h 480"/>
                <a:gd name="T8" fmla="*/ 2147483647 w 568"/>
                <a:gd name="T9" fmla="*/ 2147483647 h 480"/>
                <a:gd name="T10" fmla="*/ 2147483647 w 568"/>
                <a:gd name="T11" fmla="*/ 2147483647 h 480"/>
                <a:gd name="T12" fmla="*/ 2147483647 w 568"/>
                <a:gd name="T13" fmla="*/ 2147483647 h 480"/>
                <a:gd name="T14" fmla="*/ 2147483647 w 568"/>
                <a:gd name="T15" fmla="*/ 2147483647 h 480"/>
                <a:gd name="T16" fmla="*/ 2147483647 w 568"/>
                <a:gd name="T17" fmla="*/ 2147483647 h 480"/>
                <a:gd name="T18" fmla="*/ 2147483647 w 568"/>
                <a:gd name="T19" fmla="*/ 2147483647 h 480"/>
                <a:gd name="T20" fmla="*/ 2147483647 w 568"/>
                <a:gd name="T21" fmla="*/ 2147483647 h 480"/>
                <a:gd name="T22" fmla="*/ 2147483647 w 568"/>
                <a:gd name="T23" fmla="*/ 2147483647 h 480"/>
                <a:gd name="T24" fmla="*/ 2147483647 w 568"/>
                <a:gd name="T25" fmla="*/ 2147483647 h 480"/>
                <a:gd name="T26" fmla="*/ 2147483647 w 568"/>
                <a:gd name="T27" fmla="*/ 2147483647 h 480"/>
                <a:gd name="T28" fmla="*/ 2147483647 w 568"/>
                <a:gd name="T29" fmla="*/ 2147483647 h 480"/>
                <a:gd name="T30" fmla="*/ 2147483647 w 568"/>
                <a:gd name="T31" fmla="*/ 2147483647 h 480"/>
                <a:gd name="T32" fmla="*/ 2147483647 w 568"/>
                <a:gd name="T33" fmla="*/ 2147483647 h 480"/>
                <a:gd name="T34" fmla="*/ 2147483647 w 568"/>
                <a:gd name="T35" fmla="*/ 2147483647 h 480"/>
                <a:gd name="T36" fmla="*/ 2147483647 w 568"/>
                <a:gd name="T37" fmla="*/ 2147483647 h 480"/>
                <a:gd name="T38" fmla="*/ 2147483647 w 568"/>
                <a:gd name="T39" fmla="*/ 2147483647 h 480"/>
                <a:gd name="T40" fmla="*/ 2147483647 w 568"/>
                <a:gd name="T41" fmla="*/ 2147483647 h 480"/>
                <a:gd name="T42" fmla="*/ 2147483647 w 568"/>
                <a:gd name="T43" fmla="*/ 2147483647 h 480"/>
                <a:gd name="T44" fmla="*/ 2147483647 w 568"/>
                <a:gd name="T45" fmla="*/ 2147483647 h 480"/>
                <a:gd name="T46" fmla="*/ 2147483647 w 568"/>
                <a:gd name="T47" fmla="*/ 2147483647 h 480"/>
                <a:gd name="T48" fmla="*/ 2147483647 w 568"/>
                <a:gd name="T49" fmla="*/ 2147483647 h 480"/>
                <a:gd name="T50" fmla="*/ 2147483647 w 568"/>
                <a:gd name="T51" fmla="*/ 2147483647 h 480"/>
                <a:gd name="T52" fmla="*/ 2147483647 w 568"/>
                <a:gd name="T53" fmla="*/ 2147483647 h 480"/>
                <a:gd name="T54" fmla="*/ 2147483647 w 568"/>
                <a:gd name="T55" fmla="*/ 2147483647 h 480"/>
                <a:gd name="T56" fmla="*/ 2147483647 w 568"/>
                <a:gd name="T57" fmla="*/ 2147483647 h 480"/>
                <a:gd name="T58" fmla="*/ 0 w 568"/>
                <a:gd name="T59" fmla="*/ 0 h 480"/>
                <a:gd name="T60" fmla="*/ 0 w 568"/>
                <a:gd name="T61" fmla="*/ 0 h 480"/>
                <a:gd name="T62" fmla="*/ 0 w 568"/>
                <a:gd name="T63" fmla="*/ 0 h 480"/>
                <a:gd name="T64" fmla="*/ 2147483647 w 568"/>
                <a:gd name="T65" fmla="*/ 0 h 480"/>
                <a:gd name="T66" fmla="*/ 2147483647 w 568"/>
                <a:gd name="T67" fmla="*/ 0 h 480"/>
                <a:gd name="T68" fmla="*/ 2147483647 w 568"/>
                <a:gd name="T69" fmla="*/ 0 h 480"/>
                <a:gd name="T70" fmla="*/ 2147483647 w 568"/>
                <a:gd name="T71" fmla="*/ 2147483647 h 480"/>
                <a:gd name="T72" fmla="*/ 2147483647 w 568"/>
                <a:gd name="T73" fmla="*/ 2147483647 h 480"/>
                <a:gd name="T74" fmla="*/ 2147483647 w 568"/>
                <a:gd name="T75" fmla="*/ 2147483647 h 480"/>
                <a:gd name="T76" fmla="*/ 2147483647 w 568"/>
                <a:gd name="T77" fmla="*/ 2147483647 h 480"/>
                <a:gd name="T78" fmla="*/ 2147483647 w 568"/>
                <a:gd name="T79" fmla="*/ 2147483647 h 480"/>
                <a:gd name="T80" fmla="*/ 2147483647 w 568"/>
                <a:gd name="T81" fmla="*/ 2147483647 h 480"/>
                <a:gd name="T82" fmla="*/ 2147483647 w 568"/>
                <a:gd name="T83" fmla="*/ 0 h 480"/>
                <a:gd name="T84" fmla="*/ 2147483647 w 568"/>
                <a:gd name="T85" fmla="*/ 2147483647 h 480"/>
                <a:gd name="T86" fmla="*/ 2147483647 w 568"/>
                <a:gd name="T87" fmla="*/ 2147483647 h 480"/>
                <a:gd name="T88" fmla="*/ 2147483647 w 568"/>
                <a:gd name="T89" fmla="*/ 2147483647 h 480"/>
                <a:gd name="T90" fmla="*/ 2147483647 w 568"/>
                <a:gd name="T91" fmla="*/ 2147483647 h 480"/>
                <a:gd name="T92" fmla="*/ 2147483647 w 568"/>
                <a:gd name="T93" fmla="*/ 2147483647 h 480"/>
                <a:gd name="T94" fmla="*/ 2147483647 w 568"/>
                <a:gd name="T95" fmla="*/ 2147483647 h 480"/>
                <a:gd name="T96" fmla="*/ 2147483647 w 568"/>
                <a:gd name="T97" fmla="*/ 2147483647 h 480"/>
                <a:gd name="T98" fmla="*/ 2147483647 w 568"/>
                <a:gd name="T99" fmla="*/ 2147483647 h 48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68"/>
                <a:gd name="T151" fmla="*/ 0 h 480"/>
                <a:gd name="T152" fmla="*/ 568 w 568"/>
                <a:gd name="T153" fmla="*/ 480 h 48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2" name="Freeform 89">
              <a:extLst>
                <a:ext uri="{FF2B5EF4-FFF2-40B4-BE49-F238E27FC236}">
                  <a16:creationId xmlns:a16="http://schemas.microsoft.com/office/drawing/2014/main" id="{F7E07832-7186-853B-4B3B-705A88ADFF7C}"/>
                </a:ext>
              </a:extLst>
            </p:cNvPr>
            <p:cNvSpPr>
              <a:spLocks noChangeAspect="1"/>
            </p:cNvSpPr>
            <p:nvPr userDrawn="1"/>
          </p:nvSpPr>
          <p:spPr bwMode="gray">
            <a:xfrm>
              <a:off x="10189012" y="4421779"/>
              <a:ext cx="68648" cy="67066"/>
            </a:xfrm>
            <a:custGeom>
              <a:avLst/>
              <a:gdLst>
                <a:gd name="T0" fmla="*/ 0 w 129"/>
                <a:gd name="T1" fmla="*/ 0 h 119"/>
                <a:gd name="T2" fmla="*/ 0 w 129"/>
                <a:gd name="T3" fmla="*/ 0 h 119"/>
                <a:gd name="T4" fmla="*/ 0 w 129"/>
                <a:gd name="T5" fmla="*/ 0 h 119"/>
                <a:gd name="T6" fmla="*/ 0 w 129"/>
                <a:gd name="T7" fmla="*/ 0 h 119"/>
                <a:gd name="T8" fmla="*/ 0 w 129"/>
                <a:gd name="T9" fmla="*/ 0 h 119"/>
                <a:gd name="T10" fmla="*/ 2147483647 w 129"/>
                <a:gd name="T11" fmla="*/ 0 h 119"/>
                <a:gd name="T12" fmla="*/ 2147483647 w 129"/>
                <a:gd name="T13" fmla="*/ 0 h 119"/>
                <a:gd name="T14" fmla="*/ 2147483647 w 129"/>
                <a:gd name="T15" fmla="*/ 0 h 119"/>
                <a:gd name="T16" fmla="*/ 2147483647 w 129"/>
                <a:gd name="T17" fmla="*/ 0 h 119"/>
                <a:gd name="T18" fmla="*/ 2147483647 w 129"/>
                <a:gd name="T19" fmla="*/ 0 h 119"/>
                <a:gd name="T20" fmla="*/ 2147483647 w 129"/>
                <a:gd name="T21" fmla="*/ 0 h 119"/>
                <a:gd name="T22" fmla="*/ 2147483647 w 129"/>
                <a:gd name="T23" fmla="*/ 0 h 119"/>
                <a:gd name="T24" fmla="*/ 2147483647 w 129"/>
                <a:gd name="T25" fmla="*/ 0 h 119"/>
                <a:gd name="T26" fmla="*/ 2147483647 w 129"/>
                <a:gd name="T27" fmla="*/ 2147483647 h 119"/>
                <a:gd name="T28" fmla="*/ 2147483647 w 129"/>
                <a:gd name="T29" fmla="*/ 2147483647 h 119"/>
                <a:gd name="T30" fmla="*/ 2147483647 w 129"/>
                <a:gd name="T31" fmla="*/ 2147483647 h 119"/>
                <a:gd name="T32" fmla="*/ 2147483647 w 129"/>
                <a:gd name="T33" fmla="*/ 2147483647 h 119"/>
                <a:gd name="T34" fmla="*/ 2147483647 w 129"/>
                <a:gd name="T35" fmla="*/ 2147483647 h 119"/>
                <a:gd name="T36" fmla="*/ 2147483647 w 129"/>
                <a:gd name="T37" fmla="*/ 2147483647 h 119"/>
                <a:gd name="T38" fmla="*/ 2147483647 w 129"/>
                <a:gd name="T39" fmla="*/ 2147483647 h 119"/>
                <a:gd name="T40" fmla="*/ 2147483647 w 129"/>
                <a:gd name="T41" fmla="*/ 2147483647 h 119"/>
                <a:gd name="T42" fmla="*/ 2147483647 w 129"/>
                <a:gd name="T43" fmla="*/ 0 h 119"/>
                <a:gd name="T44" fmla="*/ 2147483647 w 129"/>
                <a:gd name="T45" fmla="*/ 0 h 119"/>
                <a:gd name="T46" fmla="*/ 2147483647 w 129"/>
                <a:gd name="T47" fmla="*/ 0 h 119"/>
                <a:gd name="T48" fmla="*/ 2147483647 w 129"/>
                <a:gd name="T49" fmla="*/ 0 h 119"/>
                <a:gd name="T50" fmla="*/ 2147483647 w 129"/>
                <a:gd name="T51" fmla="*/ 0 h 119"/>
                <a:gd name="T52" fmla="*/ 0 w 129"/>
                <a:gd name="T53" fmla="*/ 0 h 119"/>
                <a:gd name="T54" fmla="*/ 0 w 129"/>
                <a:gd name="T55" fmla="*/ 0 h 119"/>
                <a:gd name="T56" fmla="*/ 0 w 129"/>
                <a:gd name="T57" fmla="*/ 0 h 119"/>
                <a:gd name="T58" fmla="*/ 0 w 129"/>
                <a:gd name="T59" fmla="*/ 0 h 119"/>
                <a:gd name="T60" fmla="*/ 0 w 129"/>
                <a:gd name="T61" fmla="*/ 0 h 119"/>
                <a:gd name="T62" fmla="*/ 0 w 129"/>
                <a:gd name="T63" fmla="*/ 0 h 119"/>
                <a:gd name="T64" fmla="*/ 0 w 129"/>
                <a:gd name="T65" fmla="*/ 0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9"/>
                <a:gd name="T100" fmla="*/ 0 h 119"/>
                <a:gd name="T101" fmla="*/ 129 w 129"/>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3" name="Freeform 90">
              <a:extLst>
                <a:ext uri="{FF2B5EF4-FFF2-40B4-BE49-F238E27FC236}">
                  <a16:creationId xmlns:a16="http://schemas.microsoft.com/office/drawing/2014/main" id="{AFE35573-3940-7F14-F615-77CEE6851283}"/>
                </a:ext>
              </a:extLst>
            </p:cNvPr>
            <p:cNvSpPr>
              <a:spLocks noChangeAspect="1"/>
            </p:cNvSpPr>
            <p:nvPr userDrawn="1"/>
          </p:nvSpPr>
          <p:spPr bwMode="gray">
            <a:xfrm>
              <a:off x="8760841" y="3603275"/>
              <a:ext cx="210420" cy="472508"/>
            </a:xfrm>
            <a:custGeom>
              <a:avLst/>
              <a:gdLst>
                <a:gd name="T0" fmla="*/ 2147483647 w 395"/>
                <a:gd name="T1" fmla="*/ 2147483647 h 832"/>
                <a:gd name="T2" fmla="*/ 2147483647 w 395"/>
                <a:gd name="T3" fmla="*/ 2147483647 h 832"/>
                <a:gd name="T4" fmla="*/ 2147483647 w 395"/>
                <a:gd name="T5" fmla="*/ 2147483647 h 832"/>
                <a:gd name="T6" fmla="*/ 2147483647 w 395"/>
                <a:gd name="T7" fmla="*/ 2147483647 h 832"/>
                <a:gd name="T8" fmla="*/ 2147483647 w 395"/>
                <a:gd name="T9" fmla="*/ 2147483647 h 832"/>
                <a:gd name="T10" fmla="*/ 2147483647 w 395"/>
                <a:gd name="T11" fmla="*/ 2147483647 h 832"/>
                <a:gd name="T12" fmla="*/ 2147483647 w 395"/>
                <a:gd name="T13" fmla="*/ 2147483647 h 832"/>
                <a:gd name="T14" fmla="*/ 2147483647 w 395"/>
                <a:gd name="T15" fmla="*/ 2147483647 h 832"/>
                <a:gd name="T16" fmla="*/ 2147483647 w 395"/>
                <a:gd name="T17" fmla="*/ 2147483647 h 832"/>
                <a:gd name="T18" fmla="*/ 2147483647 w 395"/>
                <a:gd name="T19" fmla="*/ 2147483647 h 832"/>
                <a:gd name="T20" fmla="*/ 2147483647 w 395"/>
                <a:gd name="T21" fmla="*/ 2147483647 h 832"/>
                <a:gd name="T22" fmla="*/ 2147483647 w 395"/>
                <a:gd name="T23" fmla="*/ 2147483647 h 832"/>
                <a:gd name="T24" fmla="*/ 2147483647 w 395"/>
                <a:gd name="T25" fmla="*/ 2147483647 h 832"/>
                <a:gd name="T26" fmla="*/ 2147483647 w 395"/>
                <a:gd name="T27" fmla="*/ 2147483647 h 832"/>
                <a:gd name="T28" fmla="*/ 2147483647 w 395"/>
                <a:gd name="T29" fmla="*/ 2147483647 h 832"/>
                <a:gd name="T30" fmla="*/ 2147483647 w 395"/>
                <a:gd name="T31" fmla="*/ 2147483647 h 832"/>
                <a:gd name="T32" fmla="*/ 2147483647 w 395"/>
                <a:gd name="T33" fmla="*/ 2147483647 h 832"/>
                <a:gd name="T34" fmla="*/ 2147483647 w 395"/>
                <a:gd name="T35" fmla="*/ 2147483647 h 832"/>
                <a:gd name="T36" fmla="*/ 2147483647 w 395"/>
                <a:gd name="T37" fmla="*/ 2147483647 h 832"/>
                <a:gd name="T38" fmla="*/ 2147483647 w 395"/>
                <a:gd name="T39" fmla="*/ 2147483647 h 832"/>
                <a:gd name="T40" fmla="*/ 2147483647 w 395"/>
                <a:gd name="T41" fmla="*/ 2147483647 h 832"/>
                <a:gd name="T42" fmla="*/ 2147483647 w 395"/>
                <a:gd name="T43" fmla="*/ 0 h 832"/>
                <a:gd name="T44" fmla="*/ 2147483647 w 395"/>
                <a:gd name="T45" fmla="*/ 0 h 832"/>
                <a:gd name="T46" fmla="*/ 2147483647 w 395"/>
                <a:gd name="T47" fmla="*/ 0 h 832"/>
                <a:gd name="T48" fmla="*/ 2147483647 w 395"/>
                <a:gd name="T49" fmla="*/ 0 h 832"/>
                <a:gd name="T50" fmla="*/ 2147483647 w 395"/>
                <a:gd name="T51" fmla="*/ 0 h 832"/>
                <a:gd name="T52" fmla="*/ 2147483647 w 395"/>
                <a:gd name="T53" fmla="*/ 0 h 832"/>
                <a:gd name="T54" fmla="*/ 0 w 395"/>
                <a:gd name="T55" fmla="*/ 0 h 832"/>
                <a:gd name="T56" fmla="*/ 0 w 395"/>
                <a:gd name="T57" fmla="*/ 0 h 832"/>
                <a:gd name="T58" fmla="*/ 0 w 395"/>
                <a:gd name="T59" fmla="*/ 0 h 832"/>
                <a:gd name="T60" fmla="*/ 0 w 395"/>
                <a:gd name="T61" fmla="*/ 2147483647 h 832"/>
                <a:gd name="T62" fmla="*/ 2147483647 w 395"/>
                <a:gd name="T63" fmla="*/ 2147483647 h 832"/>
                <a:gd name="T64" fmla="*/ 2147483647 w 395"/>
                <a:gd name="T65" fmla="*/ 2147483647 h 832"/>
                <a:gd name="T66" fmla="*/ 2147483647 w 395"/>
                <a:gd name="T67" fmla="*/ 2147483647 h 832"/>
                <a:gd name="T68" fmla="*/ 2147483647 w 395"/>
                <a:gd name="T69" fmla="*/ 2147483647 h 832"/>
                <a:gd name="T70" fmla="*/ 2147483647 w 395"/>
                <a:gd name="T71" fmla="*/ 2147483647 h 832"/>
                <a:gd name="T72" fmla="*/ 2147483647 w 395"/>
                <a:gd name="T73" fmla="*/ 2147483647 h 832"/>
                <a:gd name="T74" fmla="*/ 2147483647 w 395"/>
                <a:gd name="T75" fmla="*/ 2147483647 h 832"/>
                <a:gd name="T76" fmla="*/ 2147483647 w 395"/>
                <a:gd name="T77" fmla="*/ 2147483647 h 832"/>
                <a:gd name="T78" fmla="*/ 2147483647 w 395"/>
                <a:gd name="T79" fmla="*/ 2147483647 h 832"/>
                <a:gd name="T80" fmla="*/ 2147483647 w 395"/>
                <a:gd name="T81" fmla="*/ 2147483647 h 832"/>
                <a:gd name="T82" fmla="*/ 2147483647 w 395"/>
                <a:gd name="T83" fmla="*/ 2147483647 h 832"/>
                <a:gd name="T84" fmla="*/ 2147483647 w 395"/>
                <a:gd name="T85" fmla="*/ 2147483647 h 832"/>
                <a:gd name="T86" fmla="*/ 2147483647 w 395"/>
                <a:gd name="T87" fmla="*/ 2147483647 h 832"/>
                <a:gd name="T88" fmla="*/ 2147483647 w 395"/>
                <a:gd name="T89" fmla="*/ 2147483647 h 832"/>
                <a:gd name="T90" fmla="*/ 2147483647 w 395"/>
                <a:gd name="T91" fmla="*/ 2147483647 h 832"/>
                <a:gd name="T92" fmla="*/ 2147483647 w 395"/>
                <a:gd name="T93" fmla="*/ 2147483647 h 832"/>
                <a:gd name="T94" fmla="*/ 2147483647 w 395"/>
                <a:gd name="T95" fmla="*/ 2147483647 h 832"/>
                <a:gd name="T96" fmla="*/ 2147483647 w 395"/>
                <a:gd name="T97" fmla="*/ 2147483647 h 832"/>
                <a:gd name="T98" fmla="*/ 2147483647 w 395"/>
                <a:gd name="T99" fmla="*/ 2147483647 h 832"/>
                <a:gd name="T100" fmla="*/ 2147483647 w 395"/>
                <a:gd name="T101" fmla="*/ 2147483647 h 832"/>
                <a:gd name="T102" fmla="*/ 2147483647 w 395"/>
                <a:gd name="T103" fmla="*/ 2147483647 h 832"/>
                <a:gd name="T104" fmla="*/ 2147483647 w 395"/>
                <a:gd name="T105" fmla="*/ 2147483647 h 83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95"/>
                <a:gd name="T160" fmla="*/ 0 h 832"/>
                <a:gd name="T161" fmla="*/ 395 w 395"/>
                <a:gd name="T162" fmla="*/ 832 h 83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4" name="Freeform 91">
              <a:extLst>
                <a:ext uri="{FF2B5EF4-FFF2-40B4-BE49-F238E27FC236}">
                  <a16:creationId xmlns:a16="http://schemas.microsoft.com/office/drawing/2014/main" id="{0550DD30-4488-A565-0618-33B6A86424E6}"/>
                </a:ext>
              </a:extLst>
            </p:cNvPr>
            <p:cNvSpPr>
              <a:spLocks noChangeAspect="1"/>
            </p:cNvSpPr>
            <p:nvPr userDrawn="1"/>
          </p:nvSpPr>
          <p:spPr bwMode="gray">
            <a:xfrm>
              <a:off x="8980215" y="4126081"/>
              <a:ext cx="280560" cy="187480"/>
            </a:xfrm>
            <a:custGeom>
              <a:avLst/>
              <a:gdLst>
                <a:gd name="T0" fmla="*/ 2147483647 w 530"/>
                <a:gd name="T1" fmla="*/ 2147483647 h 330"/>
                <a:gd name="T2" fmla="*/ 2147483647 w 530"/>
                <a:gd name="T3" fmla="*/ 2147483647 h 330"/>
                <a:gd name="T4" fmla="*/ 2147483647 w 530"/>
                <a:gd name="T5" fmla="*/ 2147483647 h 330"/>
                <a:gd name="T6" fmla="*/ 2147483647 w 530"/>
                <a:gd name="T7" fmla="*/ 2147483647 h 330"/>
                <a:gd name="T8" fmla="*/ 2147483647 w 530"/>
                <a:gd name="T9" fmla="*/ 2147483647 h 330"/>
                <a:gd name="T10" fmla="*/ 2147483647 w 530"/>
                <a:gd name="T11" fmla="*/ 2147483647 h 330"/>
                <a:gd name="T12" fmla="*/ 2147483647 w 530"/>
                <a:gd name="T13" fmla="*/ 2147483647 h 330"/>
                <a:gd name="T14" fmla="*/ 2147483647 w 530"/>
                <a:gd name="T15" fmla="*/ 2147483647 h 330"/>
                <a:gd name="T16" fmla="*/ 2147483647 w 530"/>
                <a:gd name="T17" fmla="*/ 2147483647 h 330"/>
                <a:gd name="T18" fmla="*/ 2147483647 w 530"/>
                <a:gd name="T19" fmla="*/ 2147483647 h 330"/>
                <a:gd name="T20" fmla="*/ 2147483647 w 530"/>
                <a:gd name="T21" fmla="*/ 0 h 330"/>
                <a:gd name="T22" fmla="*/ 2147483647 w 530"/>
                <a:gd name="T23" fmla="*/ 0 h 330"/>
                <a:gd name="T24" fmla="*/ 2147483647 w 530"/>
                <a:gd name="T25" fmla="*/ 0 h 330"/>
                <a:gd name="T26" fmla="*/ 2147483647 w 530"/>
                <a:gd name="T27" fmla="*/ 0 h 330"/>
                <a:gd name="T28" fmla="*/ 2147483647 w 530"/>
                <a:gd name="T29" fmla="*/ 0 h 330"/>
                <a:gd name="T30" fmla="*/ 2147483647 w 530"/>
                <a:gd name="T31" fmla="*/ 0 h 330"/>
                <a:gd name="T32" fmla="*/ 2147483647 w 530"/>
                <a:gd name="T33" fmla="*/ 0 h 330"/>
                <a:gd name="T34" fmla="*/ 2147483647 w 530"/>
                <a:gd name="T35" fmla="*/ 0 h 330"/>
                <a:gd name="T36" fmla="*/ 2147483647 w 530"/>
                <a:gd name="T37" fmla="*/ 0 h 330"/>
                <a:gd name="T38" fmla="*/ 2147483647 w 530"/>
                <a:gd name="T39" fmla="*/ 0 h 330"/>
                <a:gd name="T40" fmla="*/ 2147483647 w 530"/>
                <a:gd name="T41" fmla="*/ 0 h 330"/>
                <a:gd name="T42" fmla="*/ 2147483647 w 530"/>
                <a:gd name="T43" fmla="*/ 0 h 330"/>
                <a:gd name="T44" fmla="*/ 2147483647 w 530"/>
                <a:gd name="T45" fmla="*/ 2147483647 h 330"/>
                <a:gd name="T46" fmla="*/ 2147483647 w 530"/>
                <a:gd name="T47" fmla="*/ 2147483647 h 330"/>
                <a:gd name="T48" fmla="*/ 2147483647 w 530"/>
                <a:gd name="T49" fmla="*/ 2147483647 h 330"/>
                <a:gd name="T50" fmla="*/ 2147483647 w 530"/>
                <a:gd name="T51" fmla="*/ 2147483647 h 330"/>
                <a:gd name="T52" fmla="*/ 2147483647 w 530"/>
                <a:gd name="T53" fmla="*/ 2147483647 h 330"/>
                <a:gd name="T54" fmla="*/ 2147483647 w 530"/>
                <a:gd name="T55" fmla="*/ 2147483647 h 330"/>
                <a:gd name="T56" fmla="*/ 2147483647 w 530"/>
                <a:gd name="T57" fmla="*/ 2147483647 h 330"/>
                <a:gd name="T58" fmla="*/ 2147483647 w 530"/>
                <a:gd name="T59" fmla="*/ 2147483647 h 330"/>
                <a:gd name="T60" fmla="*/ 2147483647 w 530"/>
                <a:gd name="T61" fmla="*/ 2147483647 h 330"/>
                <a:gd name="T62" fmla="*/ 2147483647 w 530"/>
                <a:gd name="T63" fmla="*/ 2147483647 h 330"/>
                <a:gd name="T64" fmla="*/ 2147483647 w 530"/>
                <a:gd name="T65" fmla="*/ 2147483647 h 330"/>
                <a:gd name="T66" fmla="*/ 2147483647 w 530"/>
                <a:gd name="T67" fmla="*/ 2147483647 h 330"/>
                <a:gd name="T68" fmla="*/ 2147483647 w 530"/>
                <a:gd name="T69" fmla="*/ 2147483647 h 330"/>
                <a:gd name="T70" fmla="*/ 2147483647 w 530"/>
                <a:gd name="T71" fmla="*/ 2147483647 h 330"/>
                <a:gd name="T72" fmla="*/ 2147483647 w 530"/>
                <a:gd name="T73" fmla="*/ 2147483647 h 330"/>
                <a:gd name="T74" fmla="*/ 2147483647 w 530"/>
                <a:gd name="T75" fmla="*/ 2147483647 h 330"/>
                <a:gd name="T76" fmla="*/ 2147483647 w 530"/>
                <a:gd name="T77" fmla="*/ 2147483647 h 330"/>
                <a:gd name="T78" fmla="*/ 2147483647 w 530"/>
                <a:gd name="T79" fmla="*/ 2147483647 h 330"/>
                <a:gd name="T80" fmla="*/ 2147483647 w 530"/>
                <a:gd name="T81" fmla="*/ 2147483647 h 330"/>
                <a:gd name="T82" fmla="*/ 2147483647 w 530"/>
                <a:gd name="T83" fmla="*/ 2147483647 h 330"/>
                <a:gd name="T84" fmla="*/ 0 w 530"/>
                <a:gd name="T85" fmla="*/ 2147483647 h 330"/>
                <a:gd name="T86" fmla="*/ 0 w 530"/>
                <a:gd name="T87" fmla="*/ 2147483647 h 330"/>
                <a:gd name="T88" fmla="*/ 0 w 530"/>
                <a:gd name="T89" fmla="*/ 2147483647 h 330"/>
                <a:gd name="T90" fmla="*/ 0 w 530"/>
                <a:gd name="T91" fmla="*/ 2147483647 h 330"/>
                <a:gd name="T92" fmla="*/ 2147483647 w 530"/>
                <a:gd name="T93" fmla="*/ 2147483647 h 330"/>
                <a:gd name="T94" fmla="*/ 2147483647 w 530"/>
                <a:gd name="T95" fmla="*/ 2147483647 h 330"/>
                <a:gd name="T96" fmla="*/ 2147483647 w 530"/>
                <a:gd name="T97" fmla="*/ 2147483647 h 330"/>
                <a:gd name="T98" fmla="*/ 2147483647 w 530"/>
                <a:gd name="T99" fmla="*/ 2147483647 h 330"/>
                <a:gd name="T100" fmla="*/ 2147483647 w 530"/>
                <a:gd name="T101" fmla="*/ 2147483647 h 330"/>
                <a:gd name="T102" fmla="*/ 2147483647 w 530"/>
                <a:gd name="T103" fmla="*/ 2147483647 h 330"/>
                <a:gd name="T104" fmla="*/ 2147483647 w 530"/>
                <a:gd name="T105" fmla="*/ 2147483647 h 330"/>
                <a:gd name="T106" fmla="*/ 2147483647 w 530"/>
                <a:gd name="T107" fmla="*/ 2147483647 h 330"/>
                <a:gd name="T108" fmla="*/ 2147483647 w 530"/>
                <a:gd name="T109" fmla="*/ 2147483647 h 330"/>
                <a:gd name="T110" fmla="*/ 2147483647 w 530"/>
                <a:gd name="T111" fmla="*/ 2147483647 h 330"/>
                <a:gd name="T112" fmla="*/ 2147483647 w 530"/>
                <a:gd name="T113" fmla="*/ 2147483647 h 33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0"/>
                <a:gd name="T172" fmla="*/ 0 h 330"/>
                <a:gd name="T173" fmla="*/ 530 w 530"/>
                <a:gd name="T174" fmla="*/ 330 h 33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5" name="Freeform 92">
              <a:extLst>
                <a:ext uri="{FF2B5EF4-FFF2-40B4-BE49-F238E27FC236}">
                  <a16:creationId xmlns:a16="http://schemas.microsoft.com/office/drawing/2014/main" id="{D77E2D89-C6B1-BA20-D156-503F3FA91F81}"/>
                </a:ext>
              </a:extLst>
            </p:cNvPr>
            <p:cNvSpPr>
              <a:spLocks noChangeAspect="1"/>
            </p:cNvSpPr>
            <p:nvPr userDrawn="1"/>
          </p:nvSpPr>
          <p:spPr bwMode="gray">
            <a:xfrm>
              <a:off x="8704132" y="4132179"/>
              <a:ext cx="119387" cy="167664"/>
            </a:xfrm>
            <a:custGeom>
              <a:avLst/>
              <a:gdLst>
                <a:gd name="T0" fmla="*/ 0 w 226"/>
                <a:gd name="T1" fmla="*/ 0 h 291"/>
                <a:gd name="T2" fmla="*/ 0 w 226"/>
                <a:gd name="T3" fmla="*/ 0 h 291"/>
                <a:gd name="T4" fmla="*/ 0 w 226"/>
                <a:gd name="T5" fmla="*/ 0 h 291"/>
                <a:gd name="T6" fmla="*/ 0 w 226"/>
                <a:gd name="T7" fmla="*/ 0 h 291"/>
                <a:gd name="T8" fmla="*/ 0 w 226"/>
                <a:gd name="T9" fmla="*/ 0 h 291"/>
                <a:gd name="T10" fmla="*/ 0 w 226"/>
                <a:gd name="T11" fmla="*/ 2147483647 h 291"/>
                <a:gd name="T12" fmla="*/ 0 w 226"/>
                <a:gd name="T13" fmla="*/ 2147483647 h 291"/>
                <a:gd name="T14" fmla="*/ 0 w 226"/>
                <a:gd name="T15" fmla="*/ 2147483647 h 291"/>
                <a:gd name="T16" fmla="*/ 0 w 226"/>
                <a:gd name="T17" fmla="*/ 2147483647 h 291"/>
                <a:gd name="T18" fmla="*/ 0 w 226"/>
                <a:gd name="T19" fmla="*/ 2147483647 h 291"/>
                <a:gd name="T20" fmla="*/ 0 w 226"/>
                <a:gd name="T21" fmla="*/ 2147483647 h 291"/>
                <a:gd name="T22" fmla="*/ 0 w 226"/>
                <a:gd name="T23" fmla="*/ 2147483647 h 291"/>
                <a:gd name="T24" fmla="*/ 2147483647 w 226"/>
                <a:gd name="T25" fmla="*/ 2147483647 h 291"/>
                <a:gd name="T26" fmla="*/ 2147483647 w 226"/>
                <a:gd name="T27" fmla="*/ 2147483647 h 291"/>
                <a:gd name="T28" fmla="*/ 2147483647 w 226"/>
                <a:gd name="T29" fmla="*/ 2147483647 h 291"/>
                <a:gd name="T30" fmla="*/ 2147483647 w 226"/>
                <a:gd name="T31" fmla="*/ 2147483647 h 291"/>
                <a:gd name="T32" fmla="*/ 2147483647 w 226"/>
                <a:gd name="T33" fmla="*/ 2147483647 h 291"/>
                <a:gd name="T34" fmla="*/ 2147483647 w 226"/>
                <a:gd name="T35" fmla="*/ 2147483647 h 291"/>
                <a:gd name="T36" fmla="*/ 2147483647 w 226"/>
                <a:gd name="T37" fmla="*/ 2147483647 h 291"/>
                <a:gd name="T38" fmla="*/ 2147483647 w 226"/>
                <a:gd name="T39" fmla="*/ 2147483647 h 291"/>
                <a:gd name="T40" fmla="*/ 2147483647 w 226"/>
                <a:gd name="T41" fmla="*/ 2147483647 h 291"/>
                <a:gd name="T42" fmla="*/ 2147483647 w 226"/>
                <a:gd name="T43" fmla="*/ 2147483647 h 291"/>
                <a:gd name="T44" fmla="*/ 2147483647 w 226"/>
                <a:gd name="T45" fmla="*/ 2147483647 h 291"/>
                <a:gd name="T46" fmla="*/ 2147483647 w 226"/>
                <a:gd name="T47" fmla="*/ 2147483647 h 291"/>
                <a:gd name="T48" fmla="*/ 2147483647 w 226"/>
                <a:gd name="T49" fmla="*/ 2147483647 h 291"/>
                <a:gd name="T50" fmla="*/ 2147483647 w 226"/>
                <a:gd name="T51" fmla="*/ 2147483647 h 291"/>
                <a:gd name="T52" fmla="*/ 2147483647 w 226"/>
                <a:gd name="T53" fmla="*/ 2147483647 h 291"/>
                <a:gd name="T54" fmla="*/ 2147483647 w 226"/>
                <a:gd name="T55" fmla="*/ 2147483647 h 291"/>
                <a:gd name="T56" fmla="*/ 2147483647 w 226"/>
                <a:gd name="T57" fmla="*/ 2147483647 h 291"/>
                <a:gd name="T58" fmla="*/ 2147483647 w 226"/>
                <a:gd name="T59" fmla="*/ 2147483647 h 291"/>
                <a:gd name="T60" fmla="*/ 2147483647 w 226"/>
                <a:gd name="T61" fmla="*/ 2147483647 h 291"/>
                <a:gd name="T62" fmla="*/ 2147483647 w 226"/>
                <a:gd name="T63" fmla="*/ 2147483647 h 291"/>
                <a:gd name="T64" fmla="*/ 2147483647 w 226"/>
                <a:gd name="T65" fmla="*/ 2147483647 h 291"/>
                <a:gd name="T66" fmla="*/ 2147483647 w 226"/>
                <a:gd name="T67" fmla="*/ 2147483647 h 291"/>
                <a:gd name="T68" fmla="*/ 2147483647 w 226"/>
                <a:gd name="T69" fmla="*/ 2147483647 h 291"/>
                <a:gd name="T70" fmla="*/ 2147483647 w 226"/>
                <a:gd name="T71" fmla="*/ 2147483647 h 291"/>
                <a:gd name="T72" fmla="*/ 2147483647 w 226"/>
                <a:gd name="T73" fmla="*/ 2147483647 h 291"/>
                <a:gd name="T74" fmla="*/ 2147483647 w 226"/>
                <a:gd name="T75" fmla="*/ 2147483647 h 291"/>
                <a:gd name="T76" fmla="*/ 2147483647 w 226"/>
                <a:gd name="T77" fmla="*/ 2147483647 h 291"/>
                <a:gd name="T78" fmla="*/ 2147483647 w 226"/>
                <a:gd name="T79" fmla="*/ 2147483647 h 291"/>
                <a:gd name="T80" fmla="*/ 2147483647 w 226"/>
                <a:gd name="T81" fmla="*/ 2147483647 h 291"/>
                <a:gd name="T82" fmla="*/ 2147483647 w 226"/>
                <a:gd name="T83" fmla="*/ 2147483647 h 291"/>
                <a:gd name="T84" fmla="*/ 2147483647 w 226"/>
                <a:gd name="T85" fmla="*/ 0 h 291"/>
                <a:gd name="T86" fmla="*/ 2147483647 w 226"/>
                <a:gd name="T87" fmla="*/ 0 h 291"/>
                <a:gd name="T88" fmla="*/ 2147483647 w 226"/>
                <a:gd name="T89" fmla="*/ 0 h 291"/>
                <a:gd name="T90" fmla="*/ 2147483647 w 226"/>
                <a:gd name="T91" fmla="*/ 0 h 291"/>
                <a:gd name="T92" fmla="*/ 2147483647 w 226"/>
                <a:gd name="T93" fmla="*/ 0 h 291"/>
                <a:gd name="T94" fmla="*/ 2147483647 w 226"/>
                <a:gd name="T95" fmla="*/ 0 h 291"/>
                <a:gd name="T96" fmla="*/ 2147483647 w 226"/>
                <a:gd name="T97" fmla="*/ 0 h 291"/>
                <a:gd name="T98" fmla="*/ 2147483647 w 226"/>
                <a:gd name="T99" fmla="*/ 0 h 291"/>
                <a:gd name="T100" fmla="*/ 2147483647 w 226"/>
                <a:gd name="T101" fmla="*/ 0 h 291"/>
                <a:gd name="T102" fmla="*/ 2147483647 w 226"/>
                <a:gd name="T103" fmla="*/ 0 h 291"/>
                <a:gd name="T104" fmla="*/ 0 w 226"/>
                <a:gd name="T105" fmla="*/ 0 h 291"/>
                <a:gd name="T106" fmla="*/ 0 w 226"/>
                <a:gd name="T107" fmla="*/ 0 h 291"/>
                <a:gd name="T108" fmla="*/ 0 w 226"/>
                <a:gd name="T109" fmla="*/ 0 h 291"/>
                <a:gd name="T110" fmla="*/ 0 w 226"/>
                <a:gd name="T111" fmla="*/ 0 h 291"/>
                <a:gd name="T112" fmla="*/ 0 w 226"/>
                <a:gd name="T113" fmla="*/ 0 h 291"/>
                <a:gd name="T114" fmla="*/ 0 w 226"/>
                <a:gd name="T115" fmla="*/ 0 h 29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6"/>
                <a:gd name="T175" fmla="*/ 0 h 291"/>
                <a:gd name="T176" fmla="*/ 226 w 226"/>
                <a:gd name="T177" fmla="*/ 291 h 29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6" name="Freeform 93">
              <a:extLst>
                <a:ext uri="{FF2B5EF4-FFF2-40B4-BE49-F238E27FC236}">
                  <a16:creationId xmlns:a16="http://schemas.microsoft.com/office/drawing/2014/main" id="{70FC7F23-AB2B-CE1F-2357-930F00A24DA8}"/>
                </a:ext>
              </a:extLst>
            </p:cNvPr>
            <p:cNvSpPr>
              <a:spLocks noChangeAspect="1"/>
            </p:cNvSpPr>
            <p:nvPr userDrawn="1"/>
          </p:nvSpPr>
          <p:spPr bwMode="gray">
            <a:xfrm>
              <a:off x="8629515" y="3684058"/>
              <a:ext cx="229821" cy="480129"/>
            </a:xfrm>
            <a:custGeom>
              <a:avLst/>
              <a:gdLst>
                <a:gd name="T0" fmla="*/ 2147483647 w 431"/>
                <a:gd name="T1" fmla="*/ 0 h 844"/>
                <a:gd name="T2" fmla="*/ 2147483647 w 431"/>
                <a:gd name="T3" fmla="*/ 0 h 844"/>
                <a:gd name="T4" fmla="*/ 0 w 431"/>
                <a:gd name="T5" fmla="*/ 0 h 844"/>
                <a:gd name="T6" fmla="*/ 0 w 431"/>
                <a:gd name="T7" fmla="*/ 2147483647 h 844"/>
                <a:gd name="T8" fmla="*/ 0 w 431"/>
                <a:gd name="T9" fmla="*/ 2147483647 h 844"/>
                <a:gd name="T10" fmla="*/ 2147483647 w 431"/>
                <a:gd name="T11" fmla="*/ 2147483647 h 844"/>
                <a:gd name="T12" fmla="*/ 2147483647 w 431"/>
                <a:gd name="T13" fmla="*/ 2147483647 h 844"/>
                <a:gd name="T14" fmla="*/ 0 w 431"/>
                <a:gd name="T15" fmla="*/ 2147483647 h 844"/>
                <a:gd name="T16" fmla="*/ 2147483647 w 431"/>
                <a:gd name="T17" fmla="*/ 2147483647 h 844"/>
                <a:gd name="T18" fmla="*/ 2147483647 w 431"/>
                <a:gd name="T19" fmla="*/ 2147483647 h 844"/>
                <a:gd name="T20" fmla="*/ 2147483647 w 431"/>
                <a:gd name="T21" fmla="*/ 2147483647 h 844"/>
                <a:gd name="T22" fmla="*/ 2147483647 w 431"/>
                <a:gd name="T23" fmla="*/ 2147483647 h 844"/>
                <a:gd name="T24" fmla="*/ 2147483647 w 431"/>
                <a:gd name="T25" fmla="*/ 2147483647 h 844"/>
                <a:gd name="T26" fmla="*/ 0 w 431"/>
                <a:gd name="T27" fmla="*/ 2147483647 h 844"/>
                <a:gd name="T28" fmla="*/ 2147483647 w 431"/>
                <a:gd name="T29" fmla="*/ 2147483647 h 844"/>
                <a:gd name="T30" fmla="*/ 2147483647 w 431"/>
                <a:gd name="T31" fmla="*/ 2147483647 h 844"/>
                <a:gd name="T32" fmla="*/ 2147483647 w 431"/>
                <a:gd name="T33" fmla="*/ 2147483647 h 844"/>
                <a:gd name="T34" fmla="*/ 2147483647 w 431"/>
                <a:gd name="T35" fmla="*/ 2147483647 h 844"/>
                <a:gd name="T36" fmla="*/ 2147483647 w 431"/>
                <a:gd name="T37" fmla="*/ 2147483647 h 844"/>
                <a:gd name="T38" fmla="*/ 2147483647 w 431"/>
                <a:gd name="T39" fmla="*/ 2147483647 h 844"/>
                <a:gd name="T40" fmla="*/ 2147483647 w 431"/>
                <a:gd name="T41" fmla="*/ 2147483647 h 844"/>
                <a:gd name="T42" fmla="*/ 2147483647 w 431"/>
                <a:gd name="T43" fmla="*/ 2147483647 h 844"/>
                <a:gd name="T44" fmla="*/ 2147483647 w 431"/>
                <a:gd name="T45" fmla="*/ 2147483647 h 844"/>
                <a:gd name="T46" fmla="*/ 2147483647 w 431"/>
                <a:gd name="T47" fmla="*/ 2147483647 h 844"/>
                <a:gd name="T48" fmla="*/ 2147483647 w 431"/>
                <a:gd name="T49" fmla="*/ 2147483647 h 844"/>
                <a:gd name="T50" fmla="*/ 2147483647 w 431"/>
                <a:gd name="T51" fmla="*/ 2147483647 h 844"/>
                <a:gd name="T52" fmla="*/ 2147483647 w 431"/>
                <a:gd name="T53" fmla="*/ 2147483647 h 844"/>
                <a:gd name="T54" fmla="*/ 2147483647 w 431"/>
                <a:gd name="T55" fmla="*/ 2147483647 h 844"/>
                <a:gd name="T56" fmla="*/ 2147483647 w 431"/>
                <a:gd name="T57" fmla="*/ 2147483647 h 844"/>
                <a:gd name="T58" fmla="*/ 2147483647 w 431"/>
                <a:gd name="T59" fmla="*/ 2147483647 h 844"/>
                <a:gd name="T60" fmla="*/ 2147483647 w 431"/>
                <a:gd name="T61" fmla="*/ 2147483647 h 844"/>
                <a:gd name="T62" fmla="*/ 2147483647 w 431"/>
                <a:gd name="T63" fmla="*/ 2147483647 h 844"/>
                <a:gd name="T64" fmla="*/ 2147483647 w 431"/>
                <a:gd name="T65" fmla="*/ 2147483647 h 844"/>
                <a:gd name="T66" fmla="*/ 2147483647 w 431"/>
                <a:gd name="T67" fmla="*/ 2147483647 h 844"/>
                <a:gd name="T68" fmla="*/ 2147483647 w 431"/>
                <a:gd name="T69" fmla="*/ 2147483647 h 844"/>
                <a:gd name="T70" fmla="*/ 2147483647 w 431"/>
                <a:gd name="T71" fmla="*/ 2147483647 h 844"/>
                <a:gd name="T72" fmla="*/ 2147483647 w 431"/>
                <a:gd name="T73" fmla="*/ 2147483647 h 844"/>
                <a:gd name="T74" fmla="*/ 2147483647 w 431"/>
                <a:gd name="T75" fmla="*/ 2147483647 h 844"/>
                <a:gd name="T76" fmla="*/ 2147483647 w 431"/>
                <a:gd name="T77" fmla="*/ 2147483647 h 844"/>
                <a:gd name="T78" fmla="*/ 2147483647 w 431"/>
                <a:gd name="T79" fmla="*/ 2147483647 h 844"/>
                <a:gd name="T80" fmla="*/ 2147483647 w 431"/>
                <a:gd name="T81" fmla="*/ 2147483647 h 844"/>
                <a:gd name="T82" fmla="*/ 2147483647 w 431"/>
                <a:gd name="T83" fmla="*/ 2147483647 h 844"/>
                <a:gd name="T84" fmla="*/ 2147483647 w 431"/>
                <a:gd name="T85" fmla="*/ 2147483647 h 844"/>
                <a:gd name="T86" fmla="*/ 2147483647 w 431"/>
                <a:gd name="T87" fmla="*/ 2147483647 h 844"/>
                <a:gd name="T88" fmla="*/ 2147483647 w 431"/>
                <a:gd name="T89" fmla="*/ 2147483647 h 844"/>
                <a:gd name="T90" fmla="*/ 2147483647 w 431"/>
                <a:gd name="T91" fmla="*/ 2147483647 h 844"/>
                <a:gd name="T92" fmla="*/ 2147483647 w 431"/>
                <a:gd name="T93" fmla="*/ 2147483647 h 844"/>
                <a:gd name="T94" fmla="*/ 2147483647 w 431"/>
                <a:gd name="T95" fmla="*/ 2147483647 h 844"/>
                <a:gd name="T96" fmla="*/ 2147483647 w 431"/>
                <a:gd name="T97" fmla="*/ 2147483647 h 844"/>
                <a:gd name="T98" fmla="*/ 2147483647 w 431"/>
                <a:gd name="T99" fmla="*/ 2147483647 h 844"/>
                <a:gd name="T100" fmla="*/ 2147483647 w 431"/>
                <a:gd name="T101" fmla="*/ 0 h 844"/>
                <a:gd name="T102" fmla="*/ 2147483647 w 431"/>
                <a:gd name="T103" fmla="*/ 0 h 844"/>
                <a:gd name="T104" fmla="*/ 2147483647 w 431"/>
                <a:gd name="T105" fmla="*/ 0 h 8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31"/>
                <a:gd name="T160" fmla="*/ 0 h 844"/>
                <a:gd name="T161" fmla="*/ 431 w 431"/>
                <a:gd name="T162" fmla="*/ 844 h 84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7" name="Freeform 94">
              <a:extLst>
                <a:ext uri="{FF2B5EF4-FFF2-40B4-BE49-F238E27FC236}">
                  <a16:creationId xmlns:a16="http://schemas.microsoft.com/office/drawing/2014/main" id="{7E798E38-48C7-2BDC-8BFA-2A9352C3F695}"/>
                </a:ext>
              </a:extLst>
            </p:cNvPr>
            <p:cNvSpPr>
              <a:spLocks noChangeAspect="1"/>
            </p:cNvSpPr>
            <p:nvPr userDrawn="1"/>
          </p:nvSpPr>
          <p:spPr bwMode="gray">
            <a:xfrm>
              <a:off x="8472819" y="3424941"/>
              <a:ext cx="258176" cy="597493"/>
            </a:xfrm>
            <a:custGeom>
              <a:avLst/>
              <a:gdLst>
                <a:gd name="T0" fmla="*/ 2147483647 w 489"/>
                <a:gd name="T1" fmla="*/ 2147483647 h 1050"/>
                <a:gd name="T2" fmla="*/ 2147483647 w 489"/>
                <a:gd name="T3" fmla="*/ 2147483647 h 1050"/>
                <a:gd name="T4" fmla="*/ 2147483647 w 489"/>
                <a:gd name="T5" fmla="*/ 2147483647 h 1050"/>
                <a:gd name="T6" fmla="*/ 2147483647 w 489"/>
                <a:gd name="T7" fmla="*/ 2147483647 h 1050"/>
                <a:gd name="T8" fmla="*/ 2147483647 w 489"/>
                <a:gd name="T9" fmla="*/ 2147483647 h 1050"/>
                <a:gd name="T10" fmla="*/ 0 w 489"/>
                <a:gd name="T11" fmla="*/ 2147483647 h 1050"/>
                <a:gd name="T12" fmla="*/ 0 w 489"/>
                <a:gd name="T13" fmla="*/ 2147483647 h 1050"/>
                <a:gd name="T14" fmla="*/ 0 w 489"/>
                <a:gd name="T15" fmla="*/ 2147483647 h 1050"/>
                <a:gd name="T16" fmla="*/ 0 w 489"/>
                <a:gd name="T17" fmla="*/ 2147483647 h 1050"/>
                <a:gd name="T18" fmla="*/ 0 w 489"/>
                <a:gd name="T19" fmla="*/ 2147483647 h 1050"/>
                <a:gd name="T20" fmla="*/ 0 w 489"/>
                <a:gd name="T21" fmla="*/ 2147483647 h 1050"/>
                <a:gd name="T22" fmla="*/ 2147483647 w 489"/>
                <a:gd name="T23" fmla="*/ 2147483647 h 1050"/>
                <a:gd name="T24" fmla="*/ 2147483647 w 489"/>
                <a:gd name="T25" fmla="*/ 2147483647 h 1050"/>
                <a:gd name="T26" fmla="*/ 2147483647 w 489"/>
                <a:gd name="T27" fmla="*/ 2147483647 h 1050"/>
                <a:gd name="T28" fmla="*/ 2147483647 w 489"/>
                <a:gd name="T29" fmla="*/ 2147483647 h 1050"/>
                <a:gd name="T30" fmla="*/ 2147483647 w 489"/>
                <a:gd name="T31" fmla="*/ 2147483647 h 1050"/>
                <a:gd name="T32" fmla="*/ 2147483647 w 489"/>
                <a:gd name="T33" fmla="*/ 0 h 1050"/>
                <a:gd name="T34" fmla="*/ 2147483647 w 489"/>
                <a:gd name="T35" fmla="*/ 0 h 1050"/>
                <a:gd name="T36" fmla="*/ 2147483647 w 489"/>
                <a:gd name="T37" fmla="*/ 0 h 1050"/>
                <a:gd name="T38" fmla="*/ 2147483647 w 489"/>
                <a:gd name="T39" fmla="*/ 0 h 1050"/>
                <a:gd name="T40" fmla="*/ 2147483647 w 489"/>
                <a:gd name="T41" fmla="*/ 2147483647 h 1050"/>
                <a:gd name="T42" fmla="*/ 2147483647 w 489"/>
                <a:gd name="T43" fmla="*/ 2147483647 h 1050"/>
                <a:gd name="T44" fmla="*/ 2147483647 w 489"/>
                <a:gd name="T45" fmla="*/ 2147483647 h 1050"/>
                <a:gd name="T46" fmla="*/ 2147483647 w 489"/>
                <a:gd name="T47" fmla="*/ 2147483647 h 1050"/>
                <a:gd name="T48" fmla="*/ 2147483647 w 489"/>
                <a:gd name="T49" fmla="*/ 2147483647 h 1050"/>
                <a:gd name="T50" fmla="*/ 2147483647 w 489"/>
                <a:gd name="T51" fmla="*/ 2147483647 h 1050"/>
                <a:gd name="T52" fmla="*/ 2147483647 w 489"/>
                <a:gd name="T53" fmla="*/ 2147483647 h 1050"/>
                <a:gd name="T54" fmla="*/ 2147483647 w 489"/>
                <a:gd name="T55" fmla="*/ 2147483647 h 1050"/>
                <a:gd name="T56" fmla="*/ 2147483647 w 489"/>
                <a:gd name="T57" fmla="*/ 2147483647 h 1050"/>
                <a:gd name="T58" fmla="*/ 2147483647 w 489"/>
                <a:gd name="T59" fmla="*/ 2147483647 h 1050"/>
                <a:gd name="T60" fmla="*/ 2147483647 w 489"/>
                <a:gd name="T61" fmla="*/ 2147483647 h 1050"/>
                <a:gd name="T62" fmla="*/ 2147483647 w 489"/>
                <a:gd name="T63" fmla="*/ 2147483647 h 1050"/>
                <a:gd name="T64" fmla="*/ 2147483647 w 489"/>
                <a:gd name="T65" fmla="*/ 2147483647 h 1050"/>
                <a:gd name="T66" fmla="*/ 2147483647 w 489"/>
                <a:gd name="T67" fmla="*/ 2147483647 h 1050"/>
                <a:gd name="T68" fmla="*/ 2147483647 w 489"/>
                <a:gd name="T69" fmla="*/ 2147483647 h 1050"/>
                <a:gd name="T70" fmla="*/ 2147483647 w 489"/>
                <a:gd name="T71" fmla="*/ 2147483647 h 1050"/>
                <a:gd name="T72" fmla="*/ 2147483647 w 489"/>
                <a:gd name="T73" fmla="*/ 2147483647 h 1050"/>
                <a:gd name="T74" fmla="*/ 2147483647 w 489"/>
                <a:gd name="T75" fmla="*/ 2147483647 h 1050"/>
                <a:gd name="T76" fmla="*/ 2147483647 w 489"/>
                <a:gd name="T77" fmla="*/ 2147483647 h 1050"/>
                <a:gd name="T78" fmla="*/ 2147483647 w 489"/>
                <a:gd name="T79" fmla="*/ 2147483647 h 1050"/>
                <a:gd name="T80" fmla="*/ 2147483647 w 489"/>
                <a:gd name="T81" fmla="*/ 2147483647 h 1050"/>
                <a:gd name="T82" fmla="*/ 2147483647 w 489"/>
                <a:gd name="T83" fmla="*/ 2147483647 h 1050"/>
                <a:gd name="T84" fmla="*/ 2147483647 w 489"/>
                <a:gd name="T85" fmla="*/ 2147483647 h 1050"/>
                <a:gd name="T86" fmla="*/ 2147483647 w 489"/>
                <a:gd name="T87" fmla="*/ 2147483647 h 1050"/>
                <a:gd name="T88" fmla="*/ 2147483647 w 489"/>
                <a:gd name="T89" fmla="*/ 2147483647 h 1050"/>
                <a:gd name="T90" fmla="*/ 2147483647 w 489"/>
                <a:gd name="T91" fmla="*/ 2147483647 h 1050"/>
                <a:gd name="T92" fmla="*/ 2147483647 w 489"/>
                <a:gd name="T93" fmla="*/ 2147483647 h 1050"/>
                <a:gd name="T94" fmla="*/ 2147483647 w 489"/>
                <a:gd name="T95" fmla="*/ 2147483647 h 1050"/>
                <a:gd name="T96" fmla="*/ 2147483647 w 489"/>
                <a:gd name="T97" fmla="*/ 2147483647 h 1050"/>
                <a:gd name="T98" fmla="*/ 2147483647 w 489"/>
                <a:gd name="T99" fmla="*/ 2147483647 h 1050"/>
                <a:gd name="T100" fmla="*/ 2147483647 w 489"/>
                <a:gd name="T101" fmla="*/ 2147483647 h 1050"/>
                <a:gd name="T102" fmla="*/ 2147483647 w 489"/>
                <a:gd name="T103" fmla="*/ 2147483647 h 1050"/>
                <a:gd name="T104" fmla="*/ 2147483647 w 489"/>
                <a:gd name="T105" fmla="*/ 2147483647 h 1050"/>
                <a:gd name="T106" fmla="*/ 2147483647 w 489"/>
                <a:gd name="T107" fmla="*/ 2147483647 h 1050"/>
                <a:gd name="T108" fmla="*/ 2147483647 w 489"/>
                <a:gd name="T109" fmla="*/ 2147483647 h 1050"/>
                <a:gd name="T110" fmla="*/ 2147483647 w 489"/>
                <a:gd name="T111" fmla="*/ 2147483647 h 1050"/>
                <a:gd name="T112" fmla="*/ 2147483647 w 489"/>
                <a:gd name="T113" fmla="*/ 2147483647 h 10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9"/>
                <a:gd name="T172" fmla="*/ 0 h 1050"/>
                <a:gd name="T173" fmla="*/ 489 w 489"/>
                <a:gd name="T174" fmla="*/ 1050 h 10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8" name="Freeform 95">
              <a:extLst>
                <a:ext uri="{FF2B5EF4-FFF2-40B4-BE49-F238E27FC236}">
                  <a16:creationId xmlns:a16="http://schemas.microsoft.com/office/drawing/2014/main" id="{098C65EF-4FFE-DED7-8592-C24C73E15E5C}"/>
                </a:ext>
              </a:extLst>
            </p:cNvPr>
            <p:cNvSpPr>
              <a:spLocks noChangeAspect="1"/>
            </p:cNvSpPr>
            <p:nvPr userDrawn="1"/>
          </p:nvSpPr>
          <p:spPr bwMode="gray">
            <a:xfrm>
              <a:off x="8766811" y="3879158"/>
              <a:ext cx="153711" cy="135656"/>
            </a:xfrm>
            <a:custGeom>
              <a:avLst/>
              <a:gdLst>
                <a:gd name="T0" fmla="*/ 2147483647 w 290"/>
                <a:gd name="T1" fmla="*/ 2147483647 h 237"/>
                <a:gd name="T2" fmla="*/ 2147483647 w 290"/>
                <a:gd name="T3" fmla="*/ 2147483647 h 237"/>
                <a:gd name="T4" fmla="*/ 2147483647 w 290"/>
                <a:gd name="T5" fmla="*/ 2147483647 h 237"/>
                <a:gd name="T6" fmla="*/ 2147483647 w 290"/>
                <a:gd name="T7" fmla="*/ 2147483647 h 237"/>
                <a:gd name="T8" fmla="*/ 2147483647 w 290"/>
                <a:gd name="T9" fmla="*/ 2147483647 h 237"/>
                <a:gd name="T10" fmla="*/ 2147483647 w 290"/>
                <a:gd name="T11" fmla="*/ 2147483647 h 237"/>
                <a:gd name="T12" fmla="*/ 2147483647 w 290"/>
                <a:gd name="T13" fmla="*/ 2147483647 h 237"/>
                <a:gd name="T14" fmla="*/ 0 w 290"/>
                <a:gd name="T15" fmla="*/ 2147483647 h 237"/>
                <a:gd name="T16" fmla="*/ 0 w 290"/>
                <a:gd name="T17" fmla="*/ 2147483647 h 237"/>
                <a:gd name="T18" fmla="*/ 0 w 290"/>
                <a:gd name="T19" fmla="*/ 2147483647 h 237"/>
                <a:gd name="T20" fmla="*/ 0 w 290"/>
                <a:gd name="T21" fmla="*/ 2147483647 h 237"/>
                <a:gd name="T22" fmla="*/ 0 w 290"/>
                <a:gd name="T23" fmla="*/ 2147483647 h 237"/>
                <a:gd name="T24" fmla="*/ 0 w 290"/>
                <a:gd name="T25" fmla="*/ 2147483647 h 237"/>
                <a:gd name="T26" fmla="*/ 0 w 290"/>
                <a:gd name="T27" fmla="*/ 0 h 237"/>
                <a:gd name="T28" fmla="*/ 0 w 290"/>
                <a:gd name="T29" fmla="*/ 0 h 237"/>
                <a:gd name="T30" fmla="*/ 0 w 290"/>
                <a:gd name="T31" fmla="*/ 0 h 237"/>
                <a:gd name="T32" fmla="*/ 2147483647 w 290"/>
                <a:gd name="T33" fmla="*/ 0 h 237"/>
                <a:gd name="T34" fmla="*/ 2147483647 w 290"/>
                <a:gd name="T35" fmla="*/ 0 h 237"/>
                <a:gd name="T36" fmla="*/ 2147483647 w 290"/>
                <a:gd name="T37" fmla="*/ 0 h 237"/>
                <a:gd name="T38" fmla="*/ 2147483647 w 290"/>
                <a:gd name="T39" fmla="*/ 0 h 237"/>
                <a:gd name="T40" fmla="*/ 2147483647 w 290"/>
                <a:gd name="T41" fmla="*/ 0 h 237"/>
                <a:gd name="T42" fmla="*/ 2147483647 w 290"/>
                <a:gd name="T43" fmla="*/ 0 h 237"/>
                <a:gd name="T44" fmla="*/ 2147483647 w 290"/>
                <a:gd name="T45" fmla="*/ 0 h 237"/>
                <a:gd name="T46" fmla="*/ 2147483647 w 290"/>
                <a:gd name="T47" fmla="*/ 0 h 237"/>
                <a:gd name="T48" fmla="*/ 2147483647 w 290"/>
                <a:gd name="T49" fmla="*/ 0 h 237"/>
                <a:gd name="T50" fmla="*/ 2147483647 w 290"/>
                <a:gd name="T51" fmla="*/ 0 h 237"/>
                <a:gd name="T52" fmla="*/ 2147483647 w 290"/>
                <a:gd name="T53" fmla="*/ 0 h 237"/>
                <a:gd name="T54" fmla="*/ 2147483647 w 290"/>
                <a:gd name="T55" fmla="*/ 0 h 237"/>
                <a:gd name="T56" fmla="*/ 2147483647 w 290"/>
                <a:gd name="T57" fmla="*/ 2147483647 h 237"/>
                <a:gd name="T58" fmla="*/ 2147483647 w 290"/>
                <a:gd name="T59" fmla="*/ 2147483647 h 237"/>
                <a:gd name="T60" fmla="*/ 2147483647 w 290"/>
                <a:gd name="T61" fmla="*/ 2147483647 h 237"/>
                <a:gd name="T62" fmla="*/ 2147483647 w 290"/>
                <a:gd name="T63" fmla="*/ 2147483647 h 237"/>
                <a:gd name="T64" fmla="*/ 2147483647 w 290"/>
                <a:gd name="T65" fmla="*/ 2147483647 h 237"/>
                <a:gd name="T66" fmla="*/ 2147483647 w 290"/>
                <a:gd name="T67" fmla="*/ 2147483647 h 237"/>
                <a:gd name="T68" fmla="*/ 2147483647 w 290"/>
                <a:gd name="T69" fmla="*/ 2147483647 h 237"/>
                <a:gd name="T70" fmla="*/ 2147483647 w 290"/>
                <a:gd name="T71" fmla="*/ 2147483647 h 237"/>
                <a:gd name="T72" fmla="*/ 2147483647 w 290"/>
                <a:gd name="T73" fmla="*/ 2147483647 h 237"/>
                <a:gd name="T74" fmla="*/ 2147483647 w 290"/>
                <a:gd name="T75" fmla="*/ 2147483647 h 237"/>
                <a:gd name="T76" fmla="*/ 2147483647 w 290"/>
                <a:gd name="T77" fmla="*/ 2147483647 h 237"/>
                <a:gd name="T78" fmla="*/ 2147483647 w 290"/>
                <a:gd name="T79" fmla="*/ 2147483647 h 23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0"/>
                <a:gd name="T121" fmla="*/ 0 h 237"/>
                <a:gd name="T122" fmla="*/ 290 w 290"/>
                <a:gd name="T123" fmla="*/ 237 h 23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99" name="Freeform 96">
              <a:extLst>
                <a:ext uri="{FF2B5EF4-FFF2-40B4-BE49-F238E27FC236}">
                  <a16:creationId xmlns:a16="http://schemas.microsoft.com/office/drawing/2014/main" id="{5DAF3700-ED29-A793-78A5-FB95EB46F659}"/>
                </a:ext>
              </a:extLst>
            </p:cNvPr>
            <p:cNvSpPr>
              <a:spLocks noChangeAspect="1"/>
            </p:cNvSpPr>
            <p:nvPr userDrawn="1"/>
          </p:nvSpPr>
          <p:spPr bwMode="gray">
            <a:xfrm>
              <a:off x="8704132" y="3624614"/>
              <a:ext cx="210420" cy="280456"/>
            </a:xfrm>
            <a:custGeom>
              <a:avLst/>
              <a:gdLst>
                <a:gd name="T0" fmla="*/ 2147483647 w 398"/>
                <a:gd name="T1" fmla="*/ 0 h 490"/>
                <a:gd name="T2" fmla="*/ 2147483647 w 398"/>
                <a:gd name="T3" fmla="*/ 0 h 490"/>
                <a:gd name="T4" fmla="*/ 2147483647 w 398"/>
                <a:gd name="T5" fmla="*/ 2147483647 h 490"/>
                <a:gd name="T6" fmla="*/ 2147483647 w 398"/>
                <a:gd name="T7" fmla="*/ 2147483647 h 490"/>
                <a:gd name="T8" fmla="*/ 2147483647 w 398"/>
                <a:gd name="T9" fmla="*/ 2147483647 h 490"/>
                <a:gd name="T10" fmla="*/ 2147483647 w 398"/>
                <a:gd name="T11" fmla="*/ 2147483647 h 490"/>
                <a:gd name="T12" fmla="*/ 2147483647 w 398"/>
                <a:gd name="T13" fmla="*/ 2147483647 h 490"/>
                <a:gd name="T14" fmla="*/ 2147483647 w 398"/>
                <a:gd name="T15" fmla="*/ 2147483647 h 490"/>
                <a:gd name="T16" fmla="*/ 2147483647 w 398"/>
                <a:gd name="T17" fmla="*/ 2147483647 h 490"/>
                <a:gd name="T18" fmla="*/ 2147483647 w 398"/>
                <a:gd name="T19" fmla="*/ 2147483647 h 490"/>
                <a:gd name="T20" fmla="*/ 2147483647 w 398"/>
                <a:gd name="T21" fmla="*/ 2147483647 h 490"/>
                <a:gd name="T22" fmla="*/ 2147483647 w 398"/>
                <a:gd name="T23" fmla="*/ 2147483647 h 490"/>
                <a:gd name="T24" fmla="*/ 2147483647 w 398"/>
                <a:gd name="T25" fmla="*/ 2147483647 h 490"/>
                <a:gd name="T26" fmla="*/ 2147483647 w 398"/>
                <a:gd name="T27" fmla="*/ 2147483647 h 490"/>
                <a:gd name="T28" fmla="*/ 2147483647 w 398"/>
                <a:gd name="T29" fmla="*/ 2147483647 h 490"/>
                <a:gd name="T30" fmla="*/ 2147483647 w 398"/>
                <a:gd name="T31" fmla="*/ 2147483647 h 490"/>
                <a:gd name="T32" fmla="*/ 2147483647 w 398"/>
                <a:gd name="T33" fmla="*/ 2147483647 h 490"/>
                <a:gd name="T34" fmla="*/ 2147483647 w 398"/>
                <a:gd name="T35" fmla="*/ 2147483647 h 490"/>
                <a:gd name="T36" fmla="*/ 2147483647 w 398"/>
                <a:gd name="T37" fmla="*/ 2147483647 h 490"/>
                <a:gd name="T38" fmla="*/ 2147483647 w 398"/>
                <a:gd name="T39" fmla="*/ 2147483647 h 490"/>
                <a:gd name="T40" fmla="*/ 2147483647 w 398"/>
                <a:gd name="T41" fmla="*/ 2147483647 h 490"/>
                <a:gd name="T42" fmla="*/ 2147483647 w 398"/>
                <a:gd name="T43" fmla="*/ 2147483647 h 490"/>
                <a:gd name="T44" fmla="*/ 2147483647 w 398"/>
                <a:gd name="T45" fmla="*/ 2147483647 h 490"/>
                <a:gd name="T46" fmla="*/ 2147483647 w 398"/>
                <a:gd name="T47" fmla="*/ 2147483647 h 490"/>
                <a:gd name="T48" fmla="*/ 2147483647 w 398"/>
                <a:gd name="T49" fmla="*/ 2147483647 h 490"/>
                <a:gd name="T50" fmla="*/ 2147483647 w 398"/>
                <a:gd name="T51" fmla="*/ 2147483647 h 490"/>
                <a:gd name="T52" fmla="*/ 2147483647 w 398"/>
                <a:gd name="T53" fmla="*/ 2147483647 h 490"/>
                <a:gd name="T54" fmla="*/ 2147483647 w 398"/>
                <a:gd name="T55" fmla="*/ 2147483647 h 490"/>
                <a:gd name="T56" fmla="*/ 2147483647 w 398"/>
                <a:gd name="T57" fmla="*/ 2147483647 h 490"/>
                <a:gd name="T58" fmla="*/ 2147483647 w 398"/>
                <a:gd name="T59" fmla="*/ 2147483647 h 490"/>
                <a:gd name="T60" fmla="*/ 2147483647 w 398"/>
                <a:gd name="T61" fmla="*/ 2147483647 h 490"/>
                <a:gd name="T62" fmla="*/ 2147483647 w 398"/>
                <a:gd name="T63" fmla="*/ 2147483647 h 490"/>
                <a:gd name="T64" fmla="*/ 2147483647 w 398"/>
                <a:gd name="T65" fmla="*/ 2147483647 h 490"/>
                <a:gd name="T66" fmla="*/ 0 w 398"/>
                <a:gd name="T67" fmla="*/ 2147483647 h 490"/>
                <a:gd name="T68" fmla="*/ 2147483647 w 398"/>
                <a:gd name="T69" fmla="*/ 2147483647 h 490"/>
                <a:gd name="T70" fmla="*/ 2147483647 w 398"/>
                <a:gd name="T71" fmla="*/ 2147483647 h 490"/>
                <a:gd name="T72" fmla="*/ 2147483647 w 398"/>
                <a:gd name="T73" fmla="*/ 2147483647 h 490"/>
                <a:gd name="T74" fmla="*/ 0 w 398"/>
                <a:gd name="T75" fmla="*/ 2147483647 h 490"/>
                <a:gd name="T76" fmla="*/ 0 w 398"/>
                <a:gd name="T77" fmla="*/ 2147483647 h 490"/>
                <a:gd name="T78" fmla="*/ 0 w 398"/>
                <a:gd name="T79" fmla="*/ 2147483647 h 490"/>
                <a:gd name="T80" fmla="*/ 0 w 398"/>
                <a:gd name="T81" fmla="*/ 2147483647 h 490"/>
                <a:gd name="T82" fmla="*/ 0 w 398"/>
                <a:gd name="T83" fmla="*/ 2147483647 h 490"/>
                <a:gd name="T84" fmla="*/ 2147483647 w 398"/>
                <a:gd name="T85" fmla="*/ 0 h 490"/>
                <a:gd name="T86" fmla="*/ 2147483647 w 398"/>
                <a:gd name="T87" fmla="*/ 0 h 490"/>
                <a:gd name="T88" fmla="*/ 2147483647 w 398"/>
                <a:gd name="T89" fmla="*/ 0 h 490"/>
                <a:gd name="T90" fmla="*/ 2147483647 w 398"/>
                <a:gd name="T91" fmla="*/ 0 h 490"/>
                <a:gd name="T92" fmla="*/ 2147483647 w 398"/>
                <a:gd name="T93" fmla="*/ 0 h 4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8"/>
                <a:gd name="T142" fmla="*/ 0 h 490"/>
                <a:gd name="T143" fmla="*/ 398 w 398"/>
                <a:gd name="T144" fmla="*/ 490 h 4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0" name="Freeform 98">
              <a:extLst>
                <a:ext uri="{FF2B5EF4-FFF2-40B4-BE49-F238E27FC236}">
                  <a16:creationId xmlns:a16="http://schemas.microsoft.com/office/drawing/2014/main" id="{8D7BE77B-60BB-03D8-9CC8-11302B573225}"/>
                </a:ext>
              </a:extLst>
            </p:cNvPr>
            <p:cNvSpPr>
              <a:spLocks noChangeAspect="1"/>
            </p:cNvSpPr>
            <p:nvPr userDrawn="1"/>
          </p:nvSpPr>
          <p:spPr bwMode="gray">
            <a:xfrm>
              <a:off x="8422079" y="3616993"/>
              <a:ext cx="7462" cy="15242"/>
            </a:xfrm>
            <a:custGeom>
              <a:avLst/>
              <a:gdLst>
                <a:gd name="T0" fmla="*/ 0 w 14"/>
                <a:gd name="T1" fmla="*/ 0 h 27"/>
                <a:gd name="T2" fmla="*/ 0 w 14"/>
                <a:gd name="T3" fmla="*/ 0 h 27"/>
                <a:gd name="T4" fmla="*/ 0 w 14"/>
                <a:gd name="T5" fmla="*/ 0 h 27"/>
                <a:gd name="T6" fmla="*/ 0 w 14"/>
                <a:gd name="T7" fmla="*/ 0 h 27"/>
                <a:gd name="T8" fmla="*/ 0 w 14"/>
                <a:gd name="T9" fmla="*/ 0 h 27"/>
                <a:gd name="T10" fmla="*/ 0 w 14"/>
                <a:gd name="T11" fmla="*/ 0 h 27"/>
                <a:gd name="T12" fmla="*/ 0 w 14"/>
                <a:gd name="T13" fmla="*/ 0 h 27"/>
                <a:gd name="T14" fmla="*/ 0 w 14"/>
                <a:gd name="T15" fmla="*/ 0 h 27"/>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7"/>
                <a:gd name="T26" fmla="*/ 14 w 14"/>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7">
                  <a:moveTo>
                    <a:pt x="0" y="4"/>
                  </a:moveTo>
                  <a:lnTo>
                    <a:pt x="1" y="26"/>
                  </a:lnTo>
                  <a:lnTo>
                    <a:pt x="9" y="27"/>
                  </a:lnTo>
                  <a:lnTo>
                    <a:pt x="14" y="21"/>
                  </a:lnTo>
                  <a:lnTo>
                    <a:pt x="14" y="12"/>
                  </a:lnTo>
                  <a:lnTo>
                    <a:pt x="9" y="3"/>
                  </a:lnTo>
                  <a:lnTo>
                    <a:pt x="5" y="0"/>
                  </a:lnTo>
                  <a:lnTo>
                    <a:pt x="0"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1" name="Freeform 99">
              <a:extLst>
                <a:ext uri="{FF2B5EF4-FFF2-40B4-BE49-F238E27FC236}">
                  <a16:creationId xmlns:a16="http://schemas.microsoft.com/office/drawing/2014/main" id="{FCF4779E-B152-B5D7-0236-E8C6CF3E2D59}"/>
                </a:ext>
              </a:extLst>
            </p:cNvPr>
            <p:cNvSpPr>
              <a:spLocks noChangeAspect="1"/>
            </p:cNvSpPr>
            <p:nvPr userDrawn="1"/>
          </p:nvSpPr>
          <p:spPr bwMode="gray">
            <a:xfrm>
              <a:off x="7762464" y="3146010"/>
              <a:ext cx="858097" cy="943490"/>
            </a:xfrm>
            <a:custGeom>
              <a:avLst/>
              <a:gdLst>
                <a:gd name="T0" fmla="*/ 2147483647 w 1608"/>
                <a:gd name="T1" fmla="*/ 2147483647 h 1661"/>
                <a:gd name="T2" fmla="*/ 2147483647 w 1608"/>
                <a:gd name="T3" fmla="*/ 2147483647 h 1661"/>
                <a:gd name="T4" fmla="*/ 2147483647 w 1608"/>
                <a:gd name="T5" fmla="*/ 2147483647 h 1661"/>
                <a:gd name="T6" fmla="*/ 2147483647 w 1608"/>
                <a:gd name="T7" fmla="*/ 2147483647 h 1661"/>
                <a:gd name="T8" fmla="*/ 2147483647 w 1608"/>
                <a:gd name="T9" fmla="*/ 2147483647 h 1661"/>
                <a:gd name="T10" fmla="*/ 2147483647 w 1608"/>
                <a:gd name="T11" fmla="*/ 2147483647 h 1661"/>
                <a:gd name="T12" fmla="*/ 2147483647 w 1608"/>
                <a:gd name="T13" fmla="*/ 2147483647 h 1661"/>
                <a:gd name="T14" fmla="*/ 2147483647 w 1608"/>
                <a:gd name="T15" fmla="*/ 2147483647 h 1661"/>
                <a:gd name="T16" fmla="*/ 2147483647 w 1608"/>
                <a:gd name="T17" fmla="*/ 2147483647 h 1661"/>
                <a:gd name="T18" fmla="*/ 2147483647 w 1608"/>
                <a:gd name="T19" fmla="*/ 2147483647 h 1661"/>
                <a:gd name="T20" fmla="*/ 2147483647 w 1608"/>
                <a:gd name="T21" fmla="*/ 2147483647 h 1661"/>
                <a:gd name="T22" fmla="*/ 2147483647 w 1608"/>
                <a:gd name="T23" fmla="*/ 2147483647 h 1661"/>
                <a:gd name="T24" fmla="*/ 2147483647 w 1608"/>
                <a:gd name="T25" fmla="*/ 2147483647 h 1661"/>
                <a:gd name="T26" fmla="*/ 2147483647 w 1608"/>
                <a:gd name="T27" fmla="*/ 2147483647 h 1661"/>
                <a:gd name="T28" fmla="*/ 2147483647 w 1608"/>
                <a:gd name="T29" fmla="*/ 2147483647 h 1661"/>
                <a:gd name="T30" fmla="*/ 2147483647 w 1608"/>
                <a:gd name="T31" fmla="*/ 2147483647 h 1661"/>
                <a:gd name="T32" fmla="*/ 2147483647 w 1608"/>
                <a:gd name="T33" fmla="*/ 2147483647 h 1661"/>
                <a:gd name="T34" fmla="*/ 2147483647 w 1608"/>
                <a:gd name="T35" fmla="*/ 2147483647 h 1661"/>
                <a:gd name="T36" fmla="*/ 2147483647 w 1608"/>
                <a:gd name="T37" fmla="*/ 2147483647 h 1661"/>
                <a:gd name="T38" fmla="*/ 2147483647 w 1608"/>
                <a:gd name="T39" fmla="*/ 2147483647 h 1661"/>
                <a:gd name="T40" fmla="*/ 2147483647 w 1608"/>
                <a:gd name="T41" fmla="*/ 2147483647 h 1661"/>
                <a:gd name="T42" fmla="*/ 2147483647 w 1608"/>
                <a:gd name="T43" fmla="*/ 2147483647 h 1661"/>
                <a:gd name="T44" fmla="*/ 2147483647 w 1608"/>
                <a:gd name="T45" fmla="*/ 2147483647 h 1661"/>
                <a:gd name="T46" fmla="*/ 2147483647 w 1608"/>
                <a:gd name="T47" fmla="*/ 2147483647 h 1661"/>
                <a:gd name="T48" fmla="*/ 2147483647 w 1608"/>
                <a:gd name="T49" fmla="*/ 2147483647 h 1661"/>
                <a:gd name="T50" fmla="*/ 2147483647 w 1608"/>
                <a:gd name="T51" fmla="*/ 2147483647 h 1661"/>
                <a:gd name="T52" fmla="*/ 2147483647 w 1608"/>
                <a:gd name="T53" fmla="*/ 2147483647 h 1661"/>
                <a:gd name="T54" fmla="*/ 2147483647 w 1608"/>
                <a:gd name="T55" fmla="*/ 2147483647 h 1661"/>
                <a:gd name="T56" fmla="*/ 2147483647 w 1608"/>
                <a:gd name="T57" fmla="*/ 2147483647 h 1661"/>
                <a:gd name="T58" fmla="*/ 2147483647 w 1608"/>
                <a:gd name="T59" fmla="*/ 2147483647 h 1661"/>
                <a:gd name="T60" fmla="*/ 2147483647 w 1608"/>
                <a:gd name="T61" fmla="*/ 2147483647 h 1661"/>
                <a:gd name="T62" fmla="*/ 2147483647 w 1608"/>
                <a:gd name="T63" fmla="*/ 2147483647 h 1661"/>
                <a:gd name="T64" fmla="*/ 2147483647 w 1608"/>
                <a:gd name="T65" fmla="*/ 0 h 1661"/>
                <a:gd name="T66" fmla="*/ 2147483647 w 1608"/>
                <a:gd name="T67" fmla="*/ 0 h 1661"/>
                <a:gd name="T68" fmla="*/ 2147483647 w 1608"/>
                <a:gd name="T69" fmla="*/ 0 h 1661"/>
                <a:gd name="T70" fmla="*/ 2147483647 w 1608"/>
                <a:gd name="T71" fmla="*/ 0 h 1661"/>
                <a:gd name="T72" fmla="*/ 2147483647 w 1608"/>
                <a:gd name="T73" fmla="*/ 0 h 1661"/>
                <a:gd name="T74" fmla="*/ 2147483647 w 1608"/>
                <a:gd name="T75" fmla="*/ 0 h 1661"/>
                <a:gd name="T76" fmla="*/ 2147483647 w 1608"/>
                <a:gd name="T77" fmla="*/ 0 h 1661"/>
                <a:gd name="T78" fmla="*/ 2147483647 w 1608"/>
                <a:gd name="T79" fmla="*/ 0 h 1661"/>
                <a:gd name="T80" fmla="*/ 2147483647 w 1608"/>
                <a:gd name="T81" fmla="*/ 0 h 1661"/>
                <a:gd name="T82" fmla="*/ 2147483647 w 1608"/>
                <a:gd name="T83" fmla="*/ 0 h 1661"/>
                <a:gd name="T84" fmla="*/ 2147483647 w 1608"/>
                <a:gd name="T85" fmla="*/ 0 h 1661"/>
                <a:gd name="T86" fmla="*/ 2147483647 w 1608"/>
                <a:gd name="T87" fmla="*/ 0 h 1661"/>
                <a:gd name="T88" fmla="*/ 2147483647 w 1608"/>
                <a:gd name="T89" fmla="*/ 0 h 1661"/>
                <a:gd name="T90" fmla="*/ 2147483647 w 1608"/>
                <a:gd name="T91" fmla="*/ 0 h 1661"/>
                <a:gd name="T92" fmla="*/ 2147483647 w 1608"/>
                <a:gd name="T93" fmla="*/ 0 h 1661"/>
                <a:gd name="T94" fmla="*/ 2147483647 w 1608"/>
                <a:gd name="T95" fmla="*/ 2147483647 h 1661"/>
                <a:gd name="T96" fmla="*/ 2147483647 w 1608"/>
                <a:gd name="T97" fmla="*/ 2147483647 h 1661"/>
                <a:gd name="T98" fmla="*/ 0 w 1608"/>
                <a:gd name="T99" fmla="*/ 2147483647 h 1661"/>
                <a:gd name="T100" fmla="*/ 0 w 1608"/>
                <a:gd name="T101" fmla="*/ 2147483647 h 1661"/>
                <a:gd name="T102" fmla="*/ 0 w 1608"/>
                <a:gd name="T103" fmla="*/ 2147483647 h 1661"/>
                <a:gd name="T104" fmla="*/ 0 w 1608"/>
                <a:gd name="T105" fmla="*/ 2147483647 h 1661"/>
                <a:gd name="T106" fmla="*/ 0 w 1608"/>
                <a:gd name="T107" fmla="*/ 2147483647 h 1661"/>
                <a:gd name="T108" fmla="*/ 0 w 1608"/>
                <a:gd name="T109" fmla="*/ 2147483647 h 1661"/>
                <a:gd name="T110" fmla="*/ 0 w 1608"/>
                <a:gd name="T111" fmla="*/ 2147483647 h 1661"/>
                <a:gd name="T112" fmla="*/ 0 w 1608"/>
                <a:gd name="T113" fmla="*/ 2147483647 h 1661"/>
                <a:gd name="T114" fmla="*/ 0 w 1608"/>
                <a:gd name="T115" fmla="*/ 2147483647 h 1661"/>
                <a:gd name="T116" fmla="*/ 0 w 1608"/>
                <a:gd name="T117" fmla="*/ 2147483647 h 1661"/>
                <a:gd name="T118" fmla="*/ 0 w 1608"/>
                <a:gd name="T119" fmla="*/ 2147483647 h 1661"/>
                <a:gd name="T120" fmla="*/ 0 w 1608"/>
                <a:gd name="T121" fmla="*/ 2147483647 h 1661"/>
                <a:gd name="T122" fmla="*/ 0 w 1608"/>
                <a:gd name="T123" fmla="*/ 2147483647 h 1661"/>
                <a:gd name="T124" fmla="*/ 0 w 1608"/>
                <a:gd name="T125" fmla="*/ 2147483647 h 16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08"/>
                <a:gd name="T190" fmla="*/ 0 h 1661"/>
                <a:gd name="T191" fmla="*/ 1608 w 1608"/>
                <a:gd name="T192" fmla="*/ 1661 h 166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2" name="Freeform 100">
              <a:extLst>
                <a:ext uri="{FF2B5EF4-FFF2-40B4-BE49-F238E27FC236}">
                  <a16:creationId xmlns:a16="http://schemas.microsoft.com/office/drawing/2014/main" id="{BEB427B7-157D-12BE-7580-37F6274D2D2A}"/>
                </a:ext>
              </a:extLst>
            </p:cNvPr>
            <p:cNvSpPr>
              <a:spLocks noChangeAspect="1"/>
            </p:cNvSpPr>
            <p:nvPr userDrawn="1"/>
          </p:nvSpPr>
          <p:spPr bwMode="gray">
            <a:xfrm>
              <a:off x="7550552" y="3106380"/>
              <a:ext cx="492473" cy="477079"/>
            </a:xfrm>
            <a:custGeom>
              <a:avLst/>
              <a:gdLst>
                <a:gd name="T0" fmla="*/ 0 w 921"/>
                <a:gd name="T1" fmla="*/ 2147483647 h 842"/>
                <a:gd name="T2" fmla="*/ 0 w 921"/>
                <a:gd name="T3" fmla="*/ 2147483647 h 842"/>
                <a:gd name="T4" fmla="*/ 0 w 921"/>
                <a:gd name="T5" fmla="*/ 2147483647 h 842"/>
                <a:gd name="T6" fmla="*/ 0 w 921"/>
                <a:gd name="T7" fmla="*/ 2147483647 h 842"/>
                <a:gd name="T8" fmla="*/ 0 w 921"/>
                <a:gd name="T9" fmla="*/ 2147483647 h 842"/>
                <a:gd name="T10" fmla="*/ 0 w 921"/>
                <a:gd name="T11" fmla="*/ 2147483647 h 842"/>
                <a:gd name="T12" fmla="*/ 2147483647 w 921"/>
                <a:gd name="T13" fmla="*/ 2147483647 h 842"/>
                <a:gd name="T14" fmla="*/ 2147483647 w 921"/>
                <a:gd name="T15" fmla="*/ 2147483647 h 842"/>
                <a:gd name="T16" fmla="*/ 2147483647 w 921"/>
                <a:gd name="T17" fmla="*/ 2147483647 h 842"/>
                <a:gd name="T18" fmla="*/ 2147483647 w 921"/>
                <a:gd name="T19" fmla="*/ 2147483647 h 842"/>
                <a:gd name="T20" fmla="*/ 2147483647 w 921"/>
                <a:gd name="T21" fmla="*/ 0 h 842"/>
                <a:gd name="T22" fmla="*/ 2147483647 w 921"/>
                <a:gd name="T23" fmla="*/ 0 h 842"/>
                <a:gd name="T24" fmla="*/ 2147483647 w 921"/>
                <a:gd name="T25" fmla="*/ 0 h 842"/>
                <a:gd name="T26" fmla="*/ 2147483647 w 921"/>
                <a:gd name="T27" fmla="*/ 0 h 842"/>
                <a:gd name="T28" fmla="*/ 2147483647 w 921"/>
                <a:gd name="T29" fmla="*/ 0 h 842"/>
                <a:gd name="T30" fmla="*/ 2147483647 w 921"/>
                <a:gd name="T31" fmla="*/ 0 h 842"/>
                <a:gd name="T32" fmla="*/ 2147483647 w 921"/>
                <a:gd name="T33" fmla="*/ 0 h 842"/>
                <a:gd name="T34" fmla="*/ 2147483647 w 921"/>
                <a:gd name="T35" fmla="*/ 0 h 842"/>
                <a:gd name="T36" fmla="*/ 2147483647 w 921"/>
                <a:gd name="T37" fmla="*/ 0 h 842"/>
                <a:gd name="T38" fmla="*/ 2147483647 w 921"/>
                <a:gd name="T39" fmla="*/ 0 h 842"/>
                <a:gd name="T40" fmla="*/ 2147483647 w 921"/>
                <a:gd name="T41" fmla="*/ 0 h 842"/>
                <a:gd name="T42" fmla="*/ 2147483647 w 921"/>
                <a:gd name="T43" fmla="*/ 0 h 842"/>
                <a:gd name="T44" fmla="*/ 2147483647 w 921"/>
                <a:gd name="T45" fmla="*/ 0 h 842"/>
                <a:gd name="T46" fmla="*/ 2147483647 w 921"/>
                <a:gd name="T47" fmla="*/ 0 h 842"/>
                <a:gd name="T48" fmla="*/ 2147483647 w 921"/>
                <a:gd name="T49" fmla="*/ 0 h 842"/>
                <a:gd name="T50" fmla="*/ 2147483647 w 921"/>
                <a:gd name="T51" fmla="*/ 0 h 842"/>
                <a:gd name="T52" fmla="*/ 2147483647 w 921"/>
                <a:gd name="T53" fmla="*/ 0 h 842"/>
                <a:gd name="T54" fmla="*/ 2147483647 w 921"/>
                <a:gd name="T55" fmla="*/ 0 h 842"/>
                <a:gd name="T56" fmla="*/ 2147483647 w 921"/>
                <a:gd name="T57" fmla="*/ 0 h 842"/>
                <a:gd name="T58" fmla="*/ 2147483647 w 921"/>
                <a:gd name="T59" fmla="*/ 0 h 842"/>
                <a:gd name="T60" fmla="*/ 2147483647 w 921"/>
                <a:gd name="T61" fmla="*/ 0 h 842"/>
                <a:gd name="T62" fmla="*/ 2147483647 w 921"/>
                <a:gd name="T63" fmla="*/ 0 h 842"/>
                <a:gd name="T64" fmla="*/ 2147483647 w 921"/>
                <a:gd name="T65" fmla="*/ 0 h 842"/>
                <a:gd name="T66" fmla="*/ 2147483647 w 921"/>
                <a:gd name="T67" fmla="*/ 0 h 842"/>
                <a:gd name="T68" fmla="*/ 2147483647 w 921"/>
                <a:gd name="T69" fmla="*/ 2147483647 h 842"/>
                <a:gd name="T70" fmla="*/ 2147483647 w 921"/>
                <a:gd name="T71" fmla="*/ 2147483647 h 842"/>
                <a:gd name="T72" fmla="*/ 2147483647 w 921"/>
                <a:gd name="T73" fmla="*/ 2147483647 h 842"/>
                <a:gd name="T74" fmla="*/ 2147483647 w 921"/>
                <a:gd name="T75" fmla="*/ 2147483647 h 842"/>
                <a:gd name="T76" fmla="*/ 2147483647 w 921"/>
                <a:gd name="T77" fmla="*/ 2147483647 h 842"/>
                <a:gd name="T78" fmla="*/ 2147483647 w 921"/>
                <a:gd name="T79" fmla="*/ 2147483647 h 842"/>
                <a:gd name="T80" fmla="*/ 2147483647 w 921"/>
                <a:gd name="T81" fmla="*/ 2147483647 h 842"/>
                <a:gd name="T82" fmla="*/ 2147483647 w 921"/>
                <a:gd name="T83" fmla="*/ 2147483647 h 842"/>
                <a:gd name="T84" fmla="*/ 2147483647 w 921"/>
                <a:gd name="T85" fmla="*/ 2147483647 h 842"/>
                <a:gd name="T86" fmla="*/ 2147483647 w 921"/>
                <a:gd name="T87" fmla="*/ 2147483647 h 842"/>
                <a:gd name="T88" fmla="*/ 2147483647 w 921"/>
                <a:gd name="T89" fmla="*/ 2147483647 h 842"/>
                <a:gd name="T90" fmla="*/ 2147483647 w 921"/>
                <a:gd name="T91" fmla="*/ 2147483647 h 842"/>
                <a:gd name="T92" fmla="*/ 2147483647 w 921"/>
                <a:gd name="T93" fmla="*/ 2147483647 h 842"/>
                <a:gd name="T94" fmla="*/ 2147483647 w 921"/>
                <a:gd name="T95" fmla="*/ 2147483647 h 842"/>
                <a:gd name="T96" fmla="*/ 2147483647 w 921"/>
                <a:gd name="T97" fmla="*/ 2147483647 h 842"/>
                <a:gd name="T98" fmla="*/ 2147483647 w 921"/>
                <a:gd name="T99" fmla="*/ 2147483647 h 842"/>
                <a:gd name="T100" fmla="*/ 2147483647 w 921"/>
                <a:gd name="T101" fmla="*/ 2147483647 h 842"/>
                <a:gd name="T102" fmla="*/ 2147483647 w 921"/>
                <a:gd name="T103" fmla="*/ 2147483647 h 842"/>
                <a:gd name="T104" fmla="*/ 2147483647 w 921"/>
                <a:gd name="T105" fmla="*/ 2147483647 h 842"/>
                <a:gd name="T106" fmla="*/ 0 w 921"/>
                <a:gd name="T107" fmla="*/ 2147483647 h 842"/>
                <a:gd name="T108" fmla="*/ 0 w 921"/>
                <a:gd name="T109" fmla="*/ 2147483647 h 842"/>
                <a:gd name="T110" fmla="*/ 0 w 921"/>
                <a:gd name="T111" fmla="*/ 2147483647 h 84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21"/>
                <a:gd name="T169" fmla="*/ 0 h 842"/>
                <a:gd name="T170" fmla="*/ 921 w 921"/>
                <a:gd name="T171" fmla="*/ 842 h 84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3" name="Freeform 101">
              <a:extLst>
                <a:ext uri="{FF2B5EF4-FFF2-40B4-BE49-F238E27FC236}">
                  <a16:creationId xmlns:a16="http://schemas.microsoft.com/office/drawing/2014/main" id="{126F009E-624C-495A-CEAD-AA96E434DA59}"/>
                </a:ext>
              </a:extLst>
            </p:cNvPr>
            <p:cNvSpPr>
              <a:spLocks noChangeAspect="1"/>
            </p:cNvSpPr>
            <p:nvPr userDrawn="1"/>
          </p:nvSpPr>
          <p:spPr bwMode="gray">
            <a:xfrm>
              <a:off x="8368355" y="3426466"/>
              <a:ext cx="97003" cy="56396"/>
            </a:xfrm>
            <a:custGeom>
              <a:avLst/>
              <a:gdLst>
                <a:gd name="T0" fmla="*/ 0 w 187"/>
                <a:gd name="T1" fmla="*/ 0 h 98"/>
                <a:gd name="T2" fmla="*/ 0 w 187"/>
                <a:gd name="T3" fmla="*/ 0 h 98"/>
                <a:gd name="T4" fmla="*/ 0 w 187"/>
                <a:gd name="T5" fmla="*/ 0 h 98"/>
                <a:gd name="T6" fmla="*/ 0 w 187"/>
                <a:gd name="T7" fmla="*/ 0 h 98"/>
                <a:gd name="T8" fmla="*/ 0 w 187"/>
                <a:gd name="T9" fmla="*/ 0 h 98"/>
                <a:gd name="T10" fmla="*/ 0 w 187"/>
                <a:gd name="T11" fmla="*/ 0 h 98"/>
                <a:gd name="T12" fmla="*/ 0 w 187"/>
                <a:gd name="T13" fmla="*/ 0 h 98"/>
                <a:gd name="T14" fmla="*/ 0 w 187"/>
                <a:gd name="T15" fmla="*/ 0 h 98"/>
                <a:gd name="T16" fmla="*/ 0 w 187"/>
                <a:gd name="T17" fmla="*/ 0 h 98"/>
                <a:gd name="T18" fmla="*/ 0 w 187"/>
                <a:gd name="T19" fmla="*/ 0 h 98"/>
                <a:gd name="T20" fmla="*/ 0 w 187"/>
                <a:gd name="T21" fmla="*/ 0 h 98"/>
                <a:gd name="T22" fmla="*/ 0 w 187"/>
                <a:gd name="T23" fmla="*/ 0 h 98"/>
                <a:gd name="T24" fmla="*/ 0 w 187"/>
                <a:gd name="T25" fmla="*/ 0 h 98"/>
                <a:gd name="T26" fmla="*/ 0 w 187"/>
                <a:gd name="T27" fmla="*/ 0 h 98"/>
                <a:gd name="T28" fmla="*/ 0 w 187"/>
                <a:gd name="T29" fmla="*/ 0 h 98"/>
                <a:gd name="T30" fmla="*/ 0 w 187"/>
                <a:gd name="T31" fmla="*/ 0 h 98"/>
                <a:gd name="T32" fmla="*/ 0 w 187"/>
                <a:gd name="T33" fmla="*/ 0 h 98"/>
                <a:gd name="T34" fmla="*/ 0 w 187"/>
                <a:gd name="T35" fmla="*/ 0 h 98"/>
                <a:gd name="T36" fmla="*/ 0 w 187"/>
                <a:gd name="T37" fmla="*/ 0 h 98"/>
                <a:gd name="T38" fmla="*/ 0 w 187"/>
                <a:gd name="T39" fmla="*/ 0 h 98"/>
                <a:gd name="T40" fmla="*/ 0 w 187"/>
                <a:gd name="T41" fmla="*/ 0 h 98"/>
                <a:gd name="T42" fmla="*/ 0 w 187"/>
                <a:gd name="T43" fmla="*/ 0 h 98"/>
                <a:gd name="T44" fmla="*/ 0 w 187"/>
                <a:gd name="T45" fmla="*/ 0 h 98"/>
                <a:gd name="T46" fmla="*/ 0 w 187"/>
                <a:gd name="T47" fmla="*/ 0 h 98"/>
                <a:gd name="T48" fmla="*/ 0 w 187"/>
                <a:gd name="T49" fmla="*/ 0 h 98"/>
                <a:gd name="T50" fmla="*/ 0 w 187"/>
                <a:gd name="T51" fmla="*/ 0 h 98"/>
                <a:gd name="T52" fmla="*/ 0 w 187"/>
                <a:gd name="T53" fmla="*/ 0 h 98"/>
                <a:gd name="T54" fmla="*/ 0 w 187"/>
                <a:gd name="T55" fmla="*/ 0 h 98"/>
                <a:gd name="T56" fmla="*/ 0 w 187"/>
                <a:gd name="T57" fmla="*/ 0 h 98"/>
                <a:gd name="T58" fmla="*/ 0 w 187"/>
                <a:gd name="T59" fmla="*/ 0 h 98"/>
                <a:gd name="T60" fmla="*/ 0 w 187"/>
                <a:gd name="T61" fmla="*/ 0 h 98"/>
                <a:gd name="T62" fmla="*/ 0 w 187"/>
                <a:gd name="T63" fmla="*/ 0 h 98"/>
                <a:gd name="T64" fmla="*/ 0 w 187"/>
                <a:gd name="T65" fmla="*/ 0 h 98"/>
                <a:gd name="T66" fmla="*/ 0 w 187"/>
                <a:gd name="T67" fmla="*/ 0 h 98"/>
                <a:gd name="T68" fmla="*/ 0 w 187"/>
                <a:gd name="T69" fmla="*/ 0 h 98"/>
                <a:gd name="T70" fmla="*/ 0 w 187"/>
                <a:gd name="T71" fmla="*/ 0 h 98"/>
                <a:gd name="T72" fmla="*/ 0 w 187"/>
                <a:gd name="T73" fmla="*/ 0 h 98"/>
                <a:gd name="T74" fmla="*/ 0 w 187"/>
                <a:gd name="T75" fmla="*/ 0 h 98"/>
                <a:gd name="T76" fmla="*/ 0 w 187"/>
                <a:gd name="T77" fmla="*/ 0 h 98"/>
                <a:gd name="T78" fmla="*/ 0 w 187"/>
                <a:gd name="T79" fmla="*/ 0 h 98"/>
                <a:gd name="T80" fmla="*/ 0 w 187"/>
                <a:gd name="T81" fmla="*/ 0 h 98"/>
                <a:gd name="T82" fmla="*/ 0 w 187"/>
                <a:gd name="T83" fmla="*/ 0 h 98"/>
                <a:gd name="T84" fmla="*/ 0 w 187"/>
                <a:gd name="T85" fmla="*/ 0 h 98"/>
                <a:gd name="T86" fmla="*/ 0 w 187"/>
                <a:gd name="T87" fmla="*/ 0 h 98"/>
                <a:gd name="T88" fmla="*/ 0 w 187"/>
                <a:gd name="T89" fmla="*/ 0 h 98"/>
                <a:gd name="T90" fmla="*/ 0 w 187"/>
                <a:gd name="T91" fmla="*/ 0 h 98"/>
                <a:gd name="T92" fmla="*/ 0 w 187"/>
                <a:gd name="T93" fmla="*/ 0 h 98"/>
                <a:gd name="T94" fmla="*/ 0 w 187"/>
                <a:gd name="T95" fmla="*/ 0 h 98"/>
                <a:gd name="T96" fmla="*/ 0 w 187"/>
                <a:gd name="T97" fmla="*/ 0 h 9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7"/>
                <a:gd name="T148" fmla="*/ 0 h 98"/>
                <a:gd name="T149" fmla="*/ 187 w 187"/>
                <a:gd name="T150" fmla="*/ 98 h 9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4" name="Freeform 102">
              <a:extLst>
                <a:ext uri="{FF2B5EF4-FFF2-40B4-BE49-F238E27FC236}">
                  <a16:creationId xmlns:a16="http://schemas.microsoft.com/office/drawing/2014/main" id="{D3B31A2F-55E8-C9C5-09C5-552676C097AA}"/>
                </a:ext>
              </a:extLst>
            </p:cNvPr>
            <p:cNvSpPr>
              <a:spLocks noChangeAspect="1"/>
            </p:cNvSpPr>
            <p:nvPr userDrawn="1"/>
          </p:nvSpPr>
          <p:spPr bwMode="gray">
            <a:xfrm>
              <a:off x="8114657" y="3354827"/>
              <a:ext cx="234298" cy="140228"/>
            </a:xfrm>
            <a:custGeom>
              <a:avLst/>
              <a:gdLst>
                <a:gd name="T0" fmla="*/ 2147483647 w 441"/>
                <a:gd name="T1" fmla="*/ 0 h 244"/>
                <a:gd name="T2" fmla="*/ 2147483647 w 441"/>
                <a:gd name="T3" fmla="*/ 0 h 244"/>
                <a:gd name="T4" fmla="*/ 2147483647 w 441"/>
                <a:gd name="T5" fmla="*/ 0 h 244"/>
                <a:gd name="T6" fmla="*/ 2147483647 w 441"/>
                <a:gd name="T7" fmla="*/ 0 h 244"/>
                <a:gd name="T8" fmla="*/ 2147483647 w 441"/>
                <a:gd name="T9" fmla="*/ 0 h 244"/>
                <a:gd name="T10" fmla="*/ 2147483647 w 441"/>
                <a:gd name="T11" fmla="*/ 0 h 244"/>
                <a:gd name="T12" fmla="*/ 0 w 441"/>
                <a:gd name="T13" fmla="*/ 0 h 244"/>
                <a:gd name="T14" fmla="*/ 0 w 441"/>
                <a:gd name="T15" fmla="*/ 0 h 244"/>
                <a:gd name="T16" fmla="*/ 0 w 441"/>
                <a:gd name="T17" fmla="*/ 0 h 244"/>
                <a:gd name="T18" fmla="*/ 0 w 441"/>
                <a:gd name="T19" fmla="*/ 0 h 244"/>
                <a:gd name="T20" fmla="*/ 0 w 441"/>
                <a:gd name="T21" fmla="*/ 0 h 244"/>
                <a:gd name="T22" fmla="*/ 0 w 441"/>
                <a:gd name="T23" fmla="*/ 0 h 244"/>
                <a:gd name="T24" fmla="*/ 0 w 441"/>
                <a:gd name="T25" fmla="*/ 0 h 244"/>
                <a:gd name="T26" fmla="*/ 0 w 441"/>
                <a:gd name="T27" fmla="*/ 0 h 244"/>
                <a:gd name="T28" fmla="*/ 0 w 441"/>
                <a:gd name="T29" fmla="*/ 0 h 244"/>
                <a:gd name="T30" fmla="*/ 0 w 441"/>
                <a:gd name="T31" fmla="*/ 0 h 244"/>
                <a:gd name="T32" fmla="*/ 0 w 441"/>
                <a:gd name="T33" fmla="*/ 0 h 244"/>
                <a:gd name="T34" fmla="*/ 0 w 441"/>
                <a:gd name="T35" fmla="*/ 0 h 244"/>
                <a:gd name="T36" fmla="*/ 0 w 441"/>
                <a:gd name="T37" fmla="*/ 0 h 244"/>
                <a:gd name="T38" fmla="*/ 0 w 441"/>
                <a:gd name="T39" fmla="*/ 0 h 244"/>
                <a:gd name="T40" fmla="*/ 0 w 441"/>
                <a:gd name="T41" fmla="*/ 0 h 244"/>
                <a:gd name="T42" fmla="*/ 0 w 441"/>
                <a:gd name="T43" fmla="*/ 0 h 244"/>
                <a:gd name="T44" fmla="*/ 0 w 441"/>
                <a:gd name="T45" fmla="*/ 0 h 244"/>
                <a:gd name="T46" fmla="*/ 0 w 441"/>
                <a:gd name="T47" fmla="*/ 0 h 244"/>
                <a:gd name="T48" fmla="*/ 0 w 441"/>
                <a:gd name="T49" fmla="*/ 0 h 244"/>
                <a:gd name="T50" fmla="*/ 0 w 441"/>
                <a:gd name="T51" fmla="*/ 0 h 244"/>
                <a:gd name="T52" fmla="*/ 0 w 441"/>
                <a:gd name="T53" fmla="*/ 0 h 244"/>
                <a:gd name="T54" fmla="*/ 0 w 441"/>
                <a:gd name="T55" fmla="*/ 0 h 244"/>
                <a:gd name="T56" fmla="*/ 0 w 441"/>
                <a:gd name="T57" fmla="*/ 0 h 244"/>
                <a:gd name="T58" fmla="*/ 0 w 441"/>
                <a:gd name="T59" fmla="*/ 0 h 244"/>
                <a:gd name="T60" fmla="*/ 0 w 441"/>
                <a:gd name="T61" fmla="*/ 0 h 244"/>
                <a:gd name="T62" fmla="*/ 0 w 441"/>
                <a:gd name="T63" fmla="*/ 0 h 244"/>
                <a:gd name="T64" fmla="*/ 0 w 441"/>
                <a:gd name="T65" fmla="*/ 0 h 244"/>
                <a:gd name="T66" fmla="*/ 0 w 441"/>
                <a:gd name="T67" fmla="*/ 0 h 244"/>
                <a:gd name="T68" fmla="*/ 0 w 441"/>
                <a:gd name="T69" fmla="*/ 0 h 244"/>
                <a:gd name="T70" fmla="*/ 0 w 441"/>
                <a:gd name="T71" fmla="*/ 0 h 244"/>
                <a:gd name="T72" fmla="*/ 0 w 441"/>
                <a:gd name="T73" fmla="*/ 0 h 244"/>
                <a:gd name="T74" fmla="*/ 0 w 441"/>
                <a:gd name="T75" fmla="*/ 0 h 244"/>
                <a:gd name="T76" fmla="*/ 0 w 441"/>
                <a:gd name="T77" fmla="*/ 0 h 244"/>
                <a:gd name="T78" fmla="*/ 0 w 441"/>
                <a:gd name="T79" fmla="*/ 0 h 244"/>
                <a:gd name="T80" fmla="*/ 0 w 441"/>
                <a:gd name="T81" fmla="*/ 0 h 244"/>
                <a:gd name="T82" fmla="*/ 0 w 441"/>
                <a:gd name="T83" fmla="*/ 0 h 244"/>
                <a:gd name="T84" fmla="*/ 0 w 441"/>
                <a:gd name="T85" fmla="*/ 0 h 244"/>
                <a:gd name="T86" fmla="*/ 2147483647 w 441"/>
                <a:gd name="T87" fmla="*/ 0 h 244"/>
                <a:gd name="T88" fmla="*/ 2147483647 w 441"/>
                <a:gd name="T89" fmla="*/ 0 h 244"/>
                <a:gd name="T90" fmla="*/ 2147483647 w 441"/>
                <a:gd name="T91" fmla="*/ 0 h 244"/>
                <a:gd name="T92" fmla="*/ 2147483647 w 441"/>
                <a:gd name="T93" fmla="*/ 0 h 244"/>
                <a:gd name="T94" fmla="*/ 2147483647 w 441"/>
                <a:gd name="T95" fmla="*/ 0 h 244"/>
                <a:gd name="T96" fmla="*/ 2147483647 w 441"/>
                <a:gd name="T97" fmla="*/ 0 h 244"/>
                <a:gd name="T98" fmla="*/ 2147483647 w 441"/>
                <a:gd name="T99" fmla="*/ 0 h 244"/>
                <a:gd name="T100" fmla="*/ 2147483647 w 441"/>
                <a:gd name="T101" fmla="*/ 0 h 2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1"/>
                <a:gd name="T154" fmla="*/ 0 h 244"/>
                <a:gd name="T155" fmla="*/ 441 w 441"/>
                <a:gd name="T156" fmla="*/ 244 h 2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5" name="Freeform 103">
              <a:extLst>
                <a:ext uri="{FF2B5EF4-FFF2-40B4-BE49-F238E27FC236}">
                  <a16:creationId xmlns:a16="http://schemas.microsoft.com/office/drawing/2014/main" id="{1499197F-8420-BBE1-1DE4-200A525C352A}"/>
                </a:ext>
              </a:extLst>
            </p:cNvPr>
            <p:cNvSpPr>
              <a:spLocks noChangeAspect="1"/>
            </p:cNvSpPr>
            <p:nvPr userDrawn="1"/>
          </p:nvSpPr>
          <p:spPr bwMode="gray">
            <a:xfrm>
              <a:off x="8341493" y="3488958"/>
              <a:ext cx="138788" cy="189003"/>
            </a:xfrm>
            <a:custGeom>
              <a:avLst/>
              <a:gdLst>
                <a:gd name="T0" fmla="*/ 0 w 262"/>
                <a:gd name="T1" fmla="*/ 2147483647 h 337"/>
                <a:gd name="T2" fmla="*/ 0 w 262"/>
                <a:gd name="T3" fmla="*/ 0 h 337"/>
                <a:gd name="T4" fmla="*/ 0 w 262"/>
                <a:gd name="T5" fmla="*/ 0 h 337"/>
                <a:gd name="T6" fmla="*/ 0 w 262"/>
                <a:gd name="T7" fmla="*/ 0 h 337"/>
                <a:gd name="T8" fmla="*/ 0 w 262"/>
                <a:gd name="T9" fmla="*/ 0 h 337"/>
                <a:gd name="T10" fmla="*/ 0 w 262"/>
                <a:gd name="T11" fmla="*/ 0 h 337"/>
                <a:gd name="T12" fmla="*/ 0 w 262"/>
                <a:gd name="T13" fmla="*/ 0 h 337"/>
                <a:gd name="T14" fmla="*/ 0 w 262"/>
                <a:gd name="T15" fmla="*/ 0 h 337"/>
                <a:gd name="T16" fmla="*/ 0 w 262"/>
                <a:gd name="T17" fmla="*/ 0 h 337"/>
                <a:gd name="T18" fmla="*/ 0 w 262"/>
                <a:gd name="T19" fmla="*/ 0 h 337"/>
                <a:gd name="T20" fmla="*/ 0 w 262"/>
                <a:gd name="T21" fmla="*/ 0 h 337"/>
                <a:gd name="T22" fmla="*/ 0 w 262"/>
                <a:gd name="T23" fmla="*/ 0 h 337"/>
                <a:gd name="T24" fmla="*/ 0 w 262"/>
                <a:gd name="T25" fmla="*/ 0 h 337"/>
                <a:gd name="T26" fmla="*/ 0 w 262"/>
                <a:gd name="T27" fmla="*/ 0 h 337"/>
                <a:gd name="T28" fmla="*/ 0 w 262"/>
                <a:gd name="T29" fmla="*/ 0 h 337"/>
                <a:gd name="T30" fmla="*/ 0 w 262"/>
                <a:gd name="T31" fmla="*/ 0 h 337"/>
                <a:gd name="T32" fmla="*/ 0 w 262"/>
                <a:gd name="T33" fmla="*/ 0 h 337"/>
                <a:gd name="T34" fmla="*/ 0 w 262"/>
                <a:gd name="T35" fmla="*/ 0 h 337"/>
                <a:gd name="T36" fmla="*/ 0 w 262"/>
                <a:gd name="T37" fmla="*/ 0 h 337"/>
                <a:gd name="T38" fmla="*/ 0 w 262"/>
                <a:gd name="T39" fmla="*/ 0 h 337"/>
                <a:gd name="T40" fmla="*/ 0 w 262"/>
                <a:gd name="T41" fmla="*/ 0 h 337"/>
                <a:gd name="T42" fmla="*/ 0 w 262"/>
                <a:gd name="T43" fmla="*/ 0 h 337"/>
                <a:gd name="T44" fmla="*/ 0 w 262"/>
                <a:gd name="T45" fmla="*/ 0 h 337"/>
                <a:gd name="T46" fmla="*/ 0 w 262"/>
                <a:gd name="T47" fmla="*/ 0 h 337"/>
                <a:gd name="T48" fmla="*/ 0 w 262"/>
                <a:gd name="T49" fmla="*/ 0 h 337"/>
                <a:gd name="T50" fmla="*/ 0 w 262"/>
                <a:gd name="T51" fmla="*/ 0 h 337"/>
                <a:gd name="T52" fmla="*/ 0 w 262"/>
                <a:gd name="T53" fmla="*/ 0 h 337"/>
                <a:gd name="T54" fmla="*/ 0 w 262"/>
                <a:gd name="T55" fmla="*/ 0 h 337"/>
                <a:gd name="T56" fmla="*/ 0 w 262"/>
                <a:gd name="T57" fmla="*/ 0 h 337"/>
                <a:gd name="T58" fmla="*/ 0 w 262"/>
                <a:gd name="T59" fmla="*/ 0 h 337"/>
                <a:gd name="T60" fmla="*/ 0 w 262"/>
                <a:gd name="T61" fmla="*/ 0 h 337"/>
                <a:gd name="T62" fmla="*/ 0 w 262"/>
                <a:gd name="T63" fmla="*/ 0 h 337"/>
                <a:gd name="T64" fmla="*/ 0 w 262"/>
                <a:gd name="T65" fmla="*/ 0 h 337"/>
                <a:gd name="T66" fmla="*/ 0 w 262"/>
                <a:gd name="T67" fmla="*/ 0 h 337"/>
                <a:gd name="T68" fmla="*/ 0 w 262"/>
                <a:gd name="T69" fmla="*/ 0 h 337"/>
                <a:gd name="T70" fmla="*/ 0 w 262"/>
                <a:gd name="T71" fmla="*/ 0 h 337"/>
                <a:gd name="T72" fmla="*/ 0 w 262"/>
                <a:gd name="T73" fmla="*/ 0 h 337"/>
                <a:gd name="T74" fmla="*/ 0 w 262"/>
                <a:gd name="T75" fmla="*/ 0 h 337"/>
                <a:gd name="T76" fmla="*/ 0 w 262"/>
                <a:gd name="T77" fmla="*/ 0 h 337"/>
                <a:gd name="T78" fmla="*/ 0 w 262"/>
                <a:gd name="T79" fmla="*/ 0 h 337"/>
                <a:gd name="T80" fmla="*/ 0 w 262"/>
                <a:gd name="T81" fmla="*/ 0 h 337"/>
                <a:gd name="T82" fmla="*/ 0 w 262"/>
                <a:gd name="T83" fmla="*/ 0 h 337"/>
                <a:gd name="T84" fmla="*/ 0 w 262"/>
                <a:gd name="T85" fmla="*/ 0 h 337"/>
                <a:gd name="T86" fmla="*/ 0 w 262"/>
                <a:gd name="T87" fmla="*/ 0 h 337"/>
                <a:gd name="T88" fmla="*/ 0 w 262"/>
                <a:gd name="T89" fmla="*/ 0 h 337"/>
                <a:gd name="T90" fmla="*/ 0 w 262"/>
                <a:gd name="T91" fmla="*/ 0 h 337"/>
                <a:gd name="T92" fmla="*/ 0 w 262"/>
                <a:gd name="T93" fmla="*/ 0 h 337"/>
                <a:gd name="T94" fmla="*/ 0 w 262"/>
                <a:gd name="T95" fmla="*/ 0 h 337"/>
                <a:gd name="T96" fmla="*/ 0 w 262"/>
                <a:gd name="T97" fmla="*/ 0 h 337"/>
                <a:gd name="T98" fmla="*/ 0 w 262"/>
                <a:gd name="T99" fmla="*/ 0 h 337"/>
                <a:gd name="T100" fmla="*/ 0 w 262"/>
                <a:gd name="T101" fmla="*/ 0 h 337"/>
                <a:gd name="T102" fmla="*/ 0 w 262"/>
                <a:gd name="T103" fmla="*/ 0 h 337"/>
                <a:gd name="T104" fmla="*/ 0 w 262"/>
                <a:gd name="T105" fmla="*/ 0 h 337"/>
                <a:gd name="T106" fmla="*/ 0 w 262"/>
                <a:gd name="T107" fmla="*/ 0 h 337"/>
                <a:gd name="T108" fmla="*/ 0 w 262"/>
                <a:gd name="T109" fmla="*/ 0 h 337"/>
                <a:gd name="T110" fmla="*/ 0 w 262"/>
                <a:gd name="T111" fmla="*/ 0 h 337"/>
                <a:gd name="T112" fmla="*/ 0 w 262"/>
                <a:gd name="T113" fmla="*/ 0 h 337"/>
                <a:gd name="T114" fmla="*/ 0 w 262"/>
                <a:gd name="T115" fmla="*/ 0 h 337"/>
                <a:gd name="T116" fmla="*/ 0 w 262"/>
                <a:gd name="T117" fmla="*/ 0 h 337"/>
                <a:gd name="T118" fmla="*/ 0 w 262"/>
                <a:gd name="T119" fmla="*/ 2147483647 h 3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2"/>
                <a:gd name="T181" fmla="*/ 0 h 337"/>
                <a:gd name="T182" fmla="*/ 262 w 262"/>
                <a:gd name="T183" fmla="*/ 337 h 3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6" name="Freeform 104">
              <a:extLst>
                <a:ext uri="{FF2B5EF4-FFF2-40B4-BE49-F238E27FC236}">
                  <a16:creationId xmlns:a16="http://schemas.microsoft.com/office/drawing/2014/main" id="{12EDB569-2F66-0C0D-985D-ACB7797143E2}"/>
                </a:ext>
              </a:extLst>
            </p:cNvPr>
            <p:cNvSpPr>
              <a:spLocks noChangeAspect="1"/>
            </p:cNvSpPr>
            <p:nvPr userDrawn="1"/>
          </p:nvSpPr>
          <p:spPr bwMode="gray">
            <a:xfrm>
              <a:off x="8104211" y="4034628"/>
              <a:ext cx="61186" cy="121938"/>
            </a:xfrm>
            <a:custGeom>
              <a:avLst/>
              <a:gdLst>
                <a:gd name="T0" fmla="*/ 0 w 116"/>
                <a:gd name="T1" fmla="*/ 0 h 211"/>
                <a:gd name="T2" fmla="*/ 0 w 116"/>
                <a:gd name="T3" fmla="*/ 0 h 211"/>
                <a:gd name="T4" fmla="*/ 0 w 116"/>
                <a:gd name="T5" fmla="*/ 0 h 211"/>
                <a:gd name="T6" fmla="*/ 0 w 116"/>
                <a:gd name="T7" fmla="*/ 0 h 211"/>
                <a:gd name="T8" fmla="*/ 0 w 116"/>
                <a:gd name="T9" fmla="*/ 0 h 211"/>
                <a:gd name="T10" fmla="*/ 0 w 116"/>
                <a:gd name="T11" fmla="*/ 0 h 211"/>
                <a:gd name="T12" fmla="*/ 0 w 116"/>
                <a:gd name="T13" fmla="*/ 0 h 211"/>
                <a:gd name="T14" fmla="*/ 0 w 116"/>
                <a:gd name="T15" fmla="*/ 0 h 211"/>
                <a:gd name="T16" fmla="*/ 0 w 116"/>
                <a:gd name="T17" fmla="*/ 0 h 211"/>
                <a:gd name="T18" fmla="*/ 0 w 116"/>
                <a:gd name="T19" fmla="*/ 0 h 211"/>
                <a:gd name="T20" fmla="*/ 0 w 116"/>
                <a:gd name="T21" fmla="*/ 0 h 211"/>
                <a:gd name="T22" fmla="*/ 0 w 116"/>
                <a:gd name="T23" fmla="*/ 0 h 211"/>
                <a:gd name="T24" fmla="*/ 0 w 116"/>
                <a:gd name="T25" fmla="*/ 0 h 211"/>
                <a:gd name="T26" fmla="*/ 0 w 116"/>
                <a:gd name="T27" fmla="*/ 0 h 211"/>
                <a:gd name="T28" fmla="*/ 0 w 116"/>
                <a:gd name="T29" fmla="*/ 0 h 211"/>
                <a:gd name="T30" fmla="*/ 0 w 116"/>
                <a:gd name="T31" fmla="*/ 0 h 211"/>
                <a:gd name="T32" fmla="*/ 0 w 116"/>
                <a:gd name="T33" fmla="*/ 0 h 211"/>
                <a:gd name="T34" fmla="*/ 0 w 116"/>
                <a:gd name="T35" fmla="*/ 0 h 211"/>
                <a:gd name="T36" fmla="*/ 0 w 116"/>
                <a:gd name="T37" fmla="*/ 0 h 211"/>
                <a:gd name="T38" fmla="*/ 0 w 116"/>
                <a:gd name="T39" fmla="*/ 0 h 211"/>
                <a:gd name="T40" fmla="*/ 0 w 116"/>
                <a:gd name="T41" fmla="*/ 0 h 211"/>
                <a:gd name="T42" fmla="*/ 0 w 116"/>
                <a:gd name="T43" fmla="*/ 0 h 211"/>
                <a:gd name="T44" fmla="*/ 0 w 116"/>
                <a:gd name="T45" fmla="*/ 0 h 211"/>
                <a:gd name="T46" fmla="*/ 0 w 116"/>
                <a:gd name="T47" fmla="*/ 0 h 211"/>
                <a:gd name="T48" fmla="*/ 0 w 116"/>
                <a:gd name="T49" fmla="*/ 0 h 211"/>
                <a:gd name="T50" fmla="*/ 0 w 116"/>
                <a:gd name="T51" fmla="*/ 0 h 211"/>
                <a:gd name="T52" fmla="*/ 0 w 116"/>
                <a:gd name="T53" fmla="*/ 0 h 211"/>
                <a:gd name="T54" fmla="*/ 0 w 116"/>
                <a:gd name="T55" fmla="*/ 0 h 211"/>
                <a:gd name="T56" fmla="*/ 0 w 116"/>
                <a:gd name="T57" fmla="*/ 0 h 211"/>
                <a:gd name="T58" fmla="*/ 0 w 116"/>
                <a:gd name="T59" fmla="*/ 0 h 211"/>
                <a:gd name="T60" fmla="*/ 0 w 116"/>
                <a:gd name="T61" fmla="*/ 0 h 211"/>
                <a:gd name="T62" fmla="*/ 0 w 116"/>
                <a:gd name="T63" fmla="*/ 0 h 211"/>
                <a:gd name="T64" fmla="*/ 0 w 116"/>
                <a:gd name="T65" fmla="*/ 0 h 211"/>
                <a:gd name="T66" fmla="*/ 0 w 116"/>
                <a:gd name="T67" fmla="*/ 0 h 211"/>
                <a:gd name="T68" fmla="*/ 0 w 116"/>
                <a:gd name="T69" fmla="*/ 0 h 211"/>
                <a:gd name="T70" fmla="*/ 0 w 116"/>
                <a:gd name="T71" fmla="*/ 0 h 211"/>
                <a:gd name="T72" fmla="*/ 0 w 116"/>
                <a:gd name="T73" fmla="*/ 0 h 2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6"/>
                <a:gd name="T112" fmla="*/ 0 h 211"/>
                <a:gd name="T113" fmla="*/ 116 w 116"/>
                <a:gd name="T114" fmla="*/ 211 h 2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7" name="Freeform 105">
              <a:extLst>
                <a:ext uri="{FF2B5EF4-FFF2-40B4-BE49-F238E27FC236}">
                  <a16:creationId xmlns:a16="http://schemas.microsoft.com/office/drawing/2014/main" id="{C53E242B-7D34-FBE6-26B8-9220A272C1D9}"/>
                </a:ext>
              </a:extLst>
            </p:cNvPr>
            <p:cNvSpPr>
              <a:spLocks noChangeAspect="1"/>
            </p:cNvSpPr>
            <p:nvPr userDrawn="1"/>
          </p:nvSpPr>
          <p:spPr bwMode="gray">
            <a:xfrm>
              <a:off x="9286146" y="3531637"/>
              <a:ext cx="50740" cy="114317"/>
            </a:xfrm>
            <a:custGeom>
              <a:avLst/>
              <a:gdLst>
                <a:gd name="T0" fmla="*/ 2147483647 w 97"/>
                <a:gd name="T1" fmla="*/ 0 h 199"/>
                <a:gd name="T2" fmla="*/ 2147483647 w 97"/>
                <a:gd name="T3" fmla="*/ 0 h 199"/>
                <a:gd name="T4" fmla="*/ 2147483647 w 97"/>
                <a:gd name="T5" fmla="*/ 0 h 199"/>
                <a:gd name="T6" fmla="*/ 2147483647 w 97"/>
                <a:gd name="T7" fmla="*/ 0 h 199"/>
                <a:gd name="T8" fmla="*/ 2147483647 w 97"/>
                <a:gd name="T9" fmla="*/ 0 h 199"/>
                <a:gd name="T10" fmla="*/ 2147483647 w 97"/>
                <a:gd name="T11" fmla="*/ 0 h 199"/>
                <a:gd name="T12" fmla="*/ 2147483647 w 97"/>
                <a:gd name="T13" fmla="*/ 0 h 199"/>
                <a:gd name="T14" fmla="*/ 2147483647 w 97"/>
                <a:gd name="T15" fmla="*/ 0 h 199"/>
                <a:gd name="T16" fmla="*/ 2147483647 w 97"/>
                <a:gd name="T17" fmla="*/ 0 h 199"/>
                <a:gd name="T18" fmla="*/ 2147483647 w 97"/>
                <a:gd name="T19" fmla="*/ 0 h 199"/>
                <a:gd name="T20" fmla="*/ 2147483647 w 97"/>
                <a:gd name="T21" fmla="*/ 0 h 199"/>
                <a:gd name="T22" fmla="*/ 2147483647 w 97"/>
                <a:gd name="T23" fmla="*/ 0 h 199"/>
                <a:gd name="T24" fmla="*/ 2147483647 w 97"/>
                <a:gd name="T25" fmla="*/ 2147483647 h 199"/>
                <a:gd name="T26" fmla="*/ 2147483647 w 97"/>
                <a:gd name="T27" fmla="*/ 2147483647 h 199"/>
                <a:gd name="T28" fmla="*/ 2147483647 w 97"/>
                <a:gd name="T29" fmla="*/ 2147483647 h 199"/>
                <a:gd name="T30" fmla="*/ 0 w 97"/>
                <a:gd name="T31" fmla="*/ 2147483647 h 199"/>
                <a:gd name="T32" fmla="*/ 0 w 97"/>
                <a:gd name="T33" fmla="*/ 2147483647 h 199"/>
                <a:gd name="T34" fmla="*/ 0 w 97"/>
                <a:gd name="T35" fmla="*/ 2147483647 h 199"/>
                <a:gd name="T36" fmla="*/ 0 w 97"/>
                <a:gd name="T37" fmla="*/ 2147483647 h 199"/>
                <a:gd name="T38" fmla="*/ 0 w 97"/>
                <a:gd name="T39" fmla="*/ 2147483647 h 199"/>
                <a:gd name="T40" fmla="*/ 0 w 97"/>
                <a:gd name="T41" fmla="*/ 2147483647 h 199"/>
                <a:gd name="T42" fmla="*/ 0 w 97"/>
                <a:gd name="T43" fmla="*/ 2147483647 h 199"/>
                <a:gd name="T44" fmla="*/ 0 w 97"/>
                <a:gd name="T45" fmla="*/ 2147483647 h 199"/>
                <a:gd name="T46" fmla="*/ 0 w 97"/>
                <a:gd name="T47" fmla="*/ 2147483647 h 199"/>
                <a:gd name="T48" fmla="*/ 0 w 97"/>
                <a:gd name="T49" fmla="*/ 2147483647 h 199"/>
                <a:gd name="T50" fmla="*/ 0 w 97"/>
                <a:gd name="T51" fmla="*/ 2147483647 h 199"/>
                <a:gd name="T52" fmla="*/ 0 w 97"/>
                <a:gd name="T53" fmla="*/ 2147483647 h 199"/>
                <a:gd name="T54" fmla="*/ 0 w 97"/>
                <a:gd name="T55" fmla="*/ 2147483647 h 199"/>
                <a:gd name="T56" fmla="*/ 0 w 97"/>
                <a:gd name="T57" fmla="*/ 0 h 199"/>
                <a:gd name="T58" fmla="*/ 2147483647 w 97"/>
                <a:gd name="T59" fmla="*/ 0 h 199"/>
                <a:gd name="T60" fmla="*/ 2147483647 w 97"/>
                <a:gd name="T61" fmla="*/ 0 h 199"/>
                <a:gd name="T62" fmla="*/ 2147483647 w 97"/>
                <a:gd name="T63" fmla="*/ 0 h 1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7"/>
                <a:gd name="T97" fmla="*/ 0 h 199"/>
                <a:gd name="T98" fmla="*/ 97 w 97"/>
                <a:gd name="T99" fmla="*/ 199 h 1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8" name="Freeform 107">
              <a:extLst>
                <a:ext uri="{FF2B5EF4-FFF2-40B4-BE49-F238E27FC236}">
                  <a16:creationId xmlns:a16="http://schemas.microsoft.com/office/drawing/2014/main" id="{A7AC7A8C-89A4-C1D1-3F01-84D6C615C979}"/>
                </a:ext>
              </a:extLst>
            </p:cNvPr>
            <p:cNvSpPr>
              <a:spLocks noChangeAspect="1"/>
            </p:cNvSpPr>
            <p:nvPr userDrawn="1"/>
          </p:nvSpPr>
          <p:spPr bwMode="gray">
            <a:xfrm>
              <a:off x="9865174" y="2755809"/>
              <a:ext cx="176096" cy="173761"/>
            </a:xfrm>
            <a:custGeom>
              <a:avLst/>
              <a:gdLst>
                <a:gd name="T0" fmla="*/ 0 w 330"/>
                <a:gd name="T1" fmla="*/ 0 h 307"/>
                <a:gd name="T2" fmla="*/ 0 w 330"/>
                <a:gd name="T3" fmla="*/ 0 h 307"/>
                <a:gd name="T4" fmla="*/ 0 w 330"/>
                <a:gd name="T5" fmla="*/ 0 h 307"/>
                <a:gd name="T6" fmla="*/ 0 w 330"/>
                <a:gd name="T7" fmla="*/ 0 h 307"/>
                <a:gd name="T8" fmla="*/ 2147483647 w 330"/>
                <a:gd name="T9" fmla="*/ 0 h 307"/>
                <a:gd name="T10" fmla="*/ 0 w 330"/>
                <a:gd name="T11" fmla="*/ 0 h 307"/>
                <a:gd name="T12" fmla="*/ 0 w 330"/>
                <a:gd name="T13" fmla="*/ 0 h 307"/>
                <a:gd name="T14" fmla="*/ 0 w 330"/>
                <a:gd name="T15" fmla="*/ 0 h 307"/>
                <a:gd name="T16" fmla="*/ 0 w 330"/>
                <a:gd name="T17" fmla="*/ 0 h 307"/>
                <a:gd name="T18" fmla="*/ 0 w 330"/>
                <a:gd name="T19" fmla="*/ 0 h 307"/>
                <a:gd name="T20" fmla="*/ 0 w 330"/>
                <a:gd name="T21" fmla="*/ 0 h 307"/>
                <a:gd name="T22" fmla="*/ 0 w 330"/>
                <a:gd name="T23" fmla="*/ 0 h 307"/>
                <a:gd name="T24" fmla="*/ 0 w 330"/>
                <a:gd name="T25" fmla="*/ 0 h 307"/>
                <a:gd name="T26" fmla="*/ 0 w 330"/>
                <a:gd name="T27" fmla="*/ 0 h 307"/>
                <a:gd name="T28" fmla="*/ 0 w 330"/>
                <a:gd name="T29" fmla="*/ 0 h 307"/>
                <a:gd name="T30" fmla="*/ 0 w 330"/>
                <a:gd name="T31" fmla="*/ 0 h 307"/>
                <a:gd name="T32" fmla="*/ 0 w 330"/>
                <a:gd name="T33" fmla="*/ 0 h 307"/>
                <a:gd name="T34" fmla="*/ 0 w 330"/>
                <a:gd name="T35" fmla="*/ 0 h 307"/>
                <a:gd name="T36" fmla="*/ 0 w 330"/>
                <a:gd name="T37" fmla="*/ 0 h 307"/>
                <a:gd name="T38" fmla="*/ 0 w 330"/>
                <a:gd name="T39" fmla="*/ 0 h 307"/>
                <a:gd name="T40" fmla="*/ 0 w 330"/>
                <a:gd name="T41" fmla="*/ 0 h 307"/>
                <a:gd name="T42" fmla="*/ 0 w 330"/>
                <a:gd name="T43" fmla="*/ 0 h 307"/>
                <a:gd name="T44" fmla="*/ 0 w 330"/>
                <a:gd name="T45" fmla="*/ 0 h 307"/>
                <a:gd name="T46" fmla="*/ 0 w 330"/>
                <a:gd name="T47" fmla="*/ 0 h 307"/>
                <a:gd name="T48" fmla="*/ 0 w 330"/>
                <a:gd name="T49" fmla="*/ 0 h 307"/>
                <a:gd name="T50" fmla="*/ 0 w 330"/>
                <a:gd name="T51" fmla="*/ 0 h 307"/>
                <a:gd name="T52" fmla="*/ 0 w 330"/>
                <a:gd name="T53" fmla="*/ 0 h 307"/>
                <a:gd name="T54" fmla="*/ 0 w 330"/>
                <a:gd name="T55" fmla="*/ 0 h 307"/>
                <a:gd name="T56" fmla="*/ 0 w 330"/>
                <a:gd name="T57" fmla="*/ 0 h 307"/>
                <a:gd name="T58" fmla="*/ 0 w 330"/>
                <a:gd name="T59" fmla="*/ 0 h 307"/>
                <a:gd name="T60" fmla="*/ 0 w 330"/>
                <a:gd name="T61" fmla="*/ 0 h 307"/>
                <a:gd name="T62" fmla="*/ 0 w 330"/>
                <a:gd name="T63" fmla="*/ 0 h 307"/>
                <a:gd name="T64" fmla="*/ 0 w 330"/>
                <a:gd name="T65" fmla="*/ 0 h 307"/>
                <a:gd name="T66" fmla="*/ 0 w 330"/>
                <a:gd name="T67" fmla="*/ 0 h 307"/>
                <a:gd name="T68" fmla="*/ 0 w 330"/>
                <a:gd name="T69" fmla="*/ 0 h 307"/>
                <a:gd name="T70" fmla="*/ 0 w 330"/>
                <a:gd name="T71" fmla="*/ 0 h 307"/>
                <a:gd name="T72" fmla="*/ 0 w 330"/>
                <a:gd name="T73" fmla="*/ 0 h 307"/>
                <a:gd name="T74" fmla="*/ 0 w 330"/>
                <a:gd name="T75" fmla="*/ 0 h 307"/>
                <a:gd name="T76" fmla="*/ 0 w 330"/>
                <a:gd name="T77" fmla="*/ 0 h 30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30"/>
                <a:gd name="T118" fmla="*/ 0 h 307"/>
                <a:gd name="T119" fmla="*/ 330 w 330"/>
                <a:gd name="T120" fmla="*/ 307 h 30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09" name="Freeform 108">
              <a:extLst>
                <a:ext uri="{FF2B5EF4-FFF2-40B4-BE49-F238E27FC236}">
                  <a16:creationId xmlns:a16="http://schemas.microsoft.com/office/drawing/2014/main" id="{0AF5CAF0-B631-168D-42FC-E2E0340630FF}"/>
                </a:ext>
              </a:extLst>
            </p:cNvPr>
            <p:cNvSpPr>
              <a:spLocks noChangeAspect="1"/>
            </p:cNvSpPr>
            <p:nvPr userDrawn="1"/>
          </p:nvSpPr>
          <p:spPr bwMode="gray">
            <a:xfrm>
              <a:off x="9602522" y="2926522"/>
              <a:ext cx="328315" cy="312464"/>
            </a:xfrm>
            <a:custGeom>
              <a:avLst/>
              <a:gdLst>
                <a:gd name="T0" fmla="*/ 2147483647 w 613"/>
                <a:gd name="T1" fmla="*/ 0 h 552"/>
                <a:gd name="T2" fmla="*/ 2147483647 w 613"/>
                <a:gd name="T3" fmla="*/ 0 h 552"/>
                <a:gd name="T4" fmla="*/ 2147483647 w 613"/>
                <a:gd name="T5" fmla="*/ 0 h 552"/>
                <a:gd name="T6" fmla="*/ 2147483647 w 613"/>
                <a:gd name="T7" fmla="*/ 0 h 552"/>
                <a:gd name="T8" fmla="*/ 2147483647 w 613"/>
                <a:gd name="T9" fmla="*/ 0 h 552"/>
                <a:gd name="T10" fmla="*/ 2147483647 w 613"/>
                <a:gd name="T11" fmla="*/ 0 h 552"/>
                <a:gd name="T12" fmla="*/ 2147483647 w 613"/>
                <a:gd name="T13" fmla="*/ 0 h 552"/>
                <a:gd name="T14" fmla="*/ 2147483647 w 613"/>
                <a:gd name="T15" fmla="*/ 2147483647 h 552"/>
                <a:gd name="T16" fmla="*/ 2147483647 w 613"/>
                <a:gd name="T17" fmla="*/ 2147483647 h 552"/>
                <a:gd name="T18" fmla="*/ 2147483647 w 613"/>
                <a:gd name="T19" fmla="*/ 2147483647 h 552"/>
                <a:gd name="T20" fmla="*/ 2147483647 w 613"/>
                <a:gd name="T21" fmla="*/ 2147483647 h 552"/>
                <a:gd name="T22" fmla="*/ 2147483647 w 613"/>
                <a:gd name="T23" fmla="*/ 2147483647 h 552"/>
                <a:gd name="T24" fmla="*/ 2147483647 w 613"/>
                <a:gd name="T25" fmla="*/ 2147483647 h 552"/>
                <a:gd name="T26" fmla="*/ 2147483647 w 613"/>
                <a:gd name="T27" fmla="*/ 2147483647 h 552"/>
                <a:gd name="T28" fmla="*/ 2147483647 w 613"/>
                <a:gd name="T29" fmla="*/ 2147483647 h 552"/>
                <a:gd name="T30" fmla="*/ 2147483647 w 613"/>
                <a:gd name="T31" fmla="*/ 2147483647 h 552"/>
                <a:gd name="T32" fmla="*/ 2147483647 w 613"/>
                <a:gd name="T33" fmla="*/ 2147483647 h 552"/>
                <a:gd name="T34" fmla="*/ 2147483647 w 613"/>
                <a:gd name="T35" fmla="*/ 2147483647 h 552"/>
                <a:gd name="T36" fmla="*/ 2147483647 w 613"/>
                <a:gd name="T37" fmla="*/ 2147483647 h 552"/>
                <a:gd name="T38" fmla="*/ 2147483647 w 613"/>
                <a:gd name="T39" fmla="*/ 2147483647 h 552"/>
                <a:gd name="T40" fmla="*/ 2147483647 w 613"/>
                <a:gd name="T41" fmla="*/ 2147483647 h 552"/>
                <a:gd name="T42" fmla="*/ 2147483647 w 613"/>
                <a:gd name="T43" fmla="*/ 2147483647 h 552"/>
                <a:gd name="T44" fmla="*/ 2147483647 w 613"/>
                <a:gd name="T45" fmla="*/ 2147483647 h 552"/>
                <a:gd name="T46" fmla="*/ 0 w 613"/>
                <a:gd name="T47" fmla="*/ 2147483647 h 552"/>
                <a:gd name="T48" fmla="*/ 0 w 613"/>
                <a:gd name="T49" fmla="*/ 2147483647 h 552"/>
                <a:gd name="T50" fmla="*/ 0 w 613"/>
                <a:gd name="T51" fmla="*/ 2147483647 h 552"/>
                <a:gd name="T52" fmla="*/ 0 w 613"/>
                <a:gd name="T53" fmla="*/ 2147483647 h 552"/>
                <a:gd name="T54" fmla="*/ 0 w 613"/>
                <a:gd name="T55" fmla="*/ 2147483647 h 552"/>
                <a:gd name="T56" fmla="*/ 0 w 613"/>
                <a:gd name="T57" fmla="*/ 2147483647 h 552"/>
                <a:gd name="T58" fmla="*/ 0 w 613"/>
                <a:gd name="T59" fmla="*/ 2147483647 h 552"/>
                <a:gd name="T60" fmla="*/ 0 w 613"/>
                <a:gd name="T61" fmla="*/ 2147483647 h 552"/>
                <a:gd name="T62" fmla="*/ 0 w 613"/>
                <a:gd name="T63" fmla="*/ 2147483647 h 552"/>
                <a:gd name="T64" fmla="*/ 0 w 613"/>
                <a:gd name="T65" fmla="*/ 2147483647 h 552"/>
                <a:gd name="T66" fmla="*/ 0 w 613"/>
                <a:gd name="T67" fmla="*/ 2147483647 h 552"/>
                <a:gd name="T68" fmla="*/ 0 w 613"/>
                <a:gd name="T69" fmla="*/ 2147483647 h 552"/>
                <a:gd name="T70" fmla="*/ 0 w 613"/>
                <a:gd name="T71" fmla="*/ 2147483647 h 552"/>
                <a:gd name="T72" fmla="*/ 0 w 613"/>
                <a:gd name="T73" fmla="*/ 2147483647 h 552"/>
                <a:gd name="T74" fmla="*/ 0 w 613"/>
                <a:gd name="T75" fmla="*/ 2147483647 h 552"/>
                <a:gd name="T76" fmla="*/ 0 w 613"/>
                <a:gd name="T77" fmla="*/ 2147483647 h 552"/>
                <a:gd name="T78" fmla="*/ 0 w 613"/>
                <a:gd name="T79" fmla="*/ 2147483647 h 552"/>
                <a:gd name="T80" fmla="*/ 0 w 613"/>
                <a:gd name="T81" fmla="*/ 2147483647 h 552"/>
                <a:gd name="T82" fmla="*/ 0 w 613"/>
                <a:gd name="T83" fmla="*/ 2147483647 h 552"/>
                <a:gd name="T84" fmla="*/ 0 w 613"/>
                <a:gd name="T85" fmla="*/ 2147483647 h 552"/>
                <a:gd name="T86" fmla="*/ 0 w 613"/>
                <a:gd name="T87" fmla="*/ 2147483647 h 552"/>
                <a:gd name="T88" fmla="*/ 0 w 613"/>
                <a:gd name="T89" fmla="*/ 2147483647 h 552"/>
                <a:gd name="T90" fmla="*/ 2147483647 w 613"/>
                <a:gd name="T91" fmla="*/ 0 h 552"/>
                <a:gd name="T92" fmla="*/ 2147483647 w 613"/>
                <a:gd name="T93" fmla="*/ 0 h 552"/>
                <a:gd name="T94" fmla="*/ 2147483647 w 613"/>
                <a:gd name="T95" fmla="*/ 0 h 552"/>
                <a:gd name="T96" fmla="*/ 2147483647 w 613"/>
                <a:gd name="T97" fmla="*/ 2147483647 h 552"/>
                <a:gd name="T98" fmla="*/ 2147483647 w 613"/>
                <a:gd name="T99" fmla="*/ 2147483647 h 552"/>
                <a:gd name="T100" fmla="*/ 2147483647 w 613"/>
                <a:gd name="T101" fmla="*/ 0 h 552"/>
                <a:gd name="T102" fmla="*/ 2147483647 w 613"/>
                <a:gd name="T103" fmla="*/ 0 h 552"/>
                <a:gd name="T104" fmla="*/ 2147483647 w 613"/>
                <a:gd name="T105" fmla="*/ 0 h 552"/>
                <a:gd name="T106" fmla="*/ 2147483647 w 613"/>
                <a:gd name="T107" fmla="*/ 0 h 552"/>
                <a:gd name="T108" fmla="*/ 2147483647 w 613"/>
                <a:gd name="T109" fmla="*/ 0 h 552"/>
                <a:gd name="T110" fmla="*/ 2147483647 w 613"/>
                <a:gd name="T111" fmla="*/ 0 h 552"/>
                <a:gd name="T112" fmla="*/ 2147483647 w 613"/>
                <a:gd name="T113" fmla="*/ 0 h 552"/>
                <a:gd name="T114" fmla="*/ 2147483647 w 613"/>
                <a:gd name="T115" fmla="*/ 0 h 552"/>
                <a:gd name="T116" fmla="*/ 2147483647 w 613"/>
                <a:gd name="T117" fmla="*/ 0 h 552"/>
                <a:gd name="T118" fmla="*/ 2147483647 w 613"/>
                <a:gd name="T119" fmla="*/ 0 h 552"/>
                <a:gd name="T120" fmla="*/ 2147483647 w 613"/>
                <a:gd name="T121" fmla="*/ 0 h 552"/>
                <a:gd name="T122" fmla="*/ 2147483647 w 613"/>
                <a:gd name="T123" fmla="*/ 0 h 552"/>
                <a:gd name="T124" fmla="*/ 2147483647 w 613"/>
                <a:gd name="T125" fmla="*/ 0 h 55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13"/>
                <a:gd name="T190" fmla="*/ 0 h 552"/>
                <a:gd name="T191" fmla="*/ 613 w 613"/>
                <a:gd name="T192" fmla="*/ 552 h 55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0" name="Freeform 109">
              <a:extLst>
                <a:ext uri="{FF2B5EF4-FFF2-40B4-BE49-F238E27FC236}">
                  <a16:creationId xmlns:a16="http://schemas.microsoft.com/office/drawing/2014/main" id="{8E4C91DA-A63E-6EBD-8DAA-51E03500CA50}"/>
                </a:ext>
              </a:extLst>
            </p:cNvPr>
            <p:cNvSpPr>
              <a:spLocks noChangeAspect="1"/>
            </p:cNvSpPr>
            <p:nvPr userDrawn="1"/>
          </p:nvSpPr>
          <p:spPr bwMode="gray">
            <a:xfrm>
              <a:off x="9641323" y="3208502"/>
              <a:ext cx="74617" cy="59445"/>
            </a:xfrm>
            <a:custGeom>
              <a:avLst/>
              <a:gdLst>
                <a:gd name="T0" fmla="*/ 0 w 140"/>
                <a:gd name="T1" fmla="*/ 0 h 107"/>
                <a:gd name="T2" fmla="*/ 0 w 140"/>
                <a:gd name="T3" fmla="*/ 0 h 107"/>
                <a:gd name="T4" fmla="*/ 0 w 140"/>
                <a:gd name="T5" fmla="*/ 0 h 107"/>
                <a:gd name="T6" fmla="*/ 0 w 140"/>
                <a:gd name="T7" fmla="*/ 0 h 107"/>
                <a:gd name="T8" fmla="*/ 0 w 140"/>
                <a:gd name="T9" fmla="*/ 0 h 107"/>
                <a:gd name="T10" fmla="*/ 0 w 140"/>
                <a:gd name="T11" fmla="*/ 0 h 107"/>
                <a:gd name="T12" fmla="*/ 0 w 140"/>
                <a:gd name="T13" fmla="*/ 0 h 107"/>
                <a:gd name="T14" fmla="*/ 0 w 140"/>
                <a:gd name="T15" fmla="*/ 0 h 107"/>
                <a:gd name="T16" fmla="*/ 0 w 140"/>
                <a:gd name="T17" fmla="*/ 0 h 107"/>
                <a:gd name="T18" fmla="*/ 0 w 140"/>
                <a:gd name="T19" fmla="*/ 0 h 107"/>
                <a:gd name="T20" fmla="*/ 0 w 140"/>
                <a:gd name="T21" fmla="*/ 0 h 107"/>
                <a:gd name="T22" fmla="*/ 0 w 140"/>
                <a:gd name="T23" fmla="*/ 0 h 107"/>
                <a:gd name="T24" fmla="*/ 0 w 140"/>
                <a:gd name="T25" fmla="*/ 0 h 107"/>
                <a:gd name="T26" fmla="*/ 0 w 140"/>
                <a:gd name="T27" fmla="*/ 0 h 107"/>
                <a:gd name="T28" fmla="*/ 0 w 140"/>
                <a:gd name="T29" fmla="*/ 0 h 107"/>
                <a:gd name="T30" fmla="*/ 0 w 140"/>
                <a:gd name="T31" fmla="*/ 0 h 107"/>
                <a:gd name="T32" fmla="*/ 0 w 140"/>
                <a:gd name="T33" fmla="*/ 0 h 107"/>
                <a:gd name="T34" fmla="*/ 0 w 140"/>
                <a:gd name="T35" fmla="*/ 0 h 107"/>
                <a:gd name="T36" fmla="*/ 0 w 140"/>
                <a:gd name="T37" fmla="*/ 0 h 107"/>
                <a:gd name="T38" fmla="*/ 0 w 140"/>
                <a:gd name="T39" fmla="*/ 0 h 107"/>
                <a:gd name="T40" fmla="*/ 0 w 140"/>
                <a:gd name="T41" fmla="*/ 0 h 107"/>
                <a:gd name="T42" fmla="*/ 0 w 140"/>
                <a:gd name="T43" fmla="*/ 0 h 107"/>
                <a:gd name="T44" fmla="*/ 0 w 140"/>
                <a:gd name="T45" fmla="*/ 0 h 107"/>
                <a:gd name="T46" fmla="*/ 0 w 140"/>
                <a:gd name="T47" fmla="*/ 0 h 107"/>
                <a:gd name="T48" fmla="*/ 0 w 140"/>
                <a:gd name="T49" fmla="*/ 0 h 107"/>
                <a:gd name="T50" fmla="*/ 0 w 140"/>
                <a:gd name="T51" fmla="*/ 0 h 107"/>
                <a:gd name="T52" fmla="*/ 0 w 140"/>
                <a:gd name="T53" fmla="*/ 0 h 107"/>
                <a:gd name="T54" fmla="*/ 0 w 140"/>
                <a:gd name="T55" fmla="*/ 0 h 107"/>
                <a:gd name="T56" fmla="*/ 0 w 140"/>
                <a:gd name="T57" fmla="*/ 0 h 107"/>
                <a:gd name="T58" fmla="*/ 0 w 140"/>
                <a:gd name="T59" fmla="*/ 0 h 107"/>
                <a:gd name="T60" fmla="*/ 0 w 140"/>
                <a:gd name="T61" fmla="*/ 0 h 107"/>
                <a:gd name="T62" fmla="*/ 0 w 140"/>
                <a:gd name="T63" fmla="*/ 0 h 107"/>
                <a:gd name="T64" fmla="*/ 0 w 140"/>
                <a:gd name="T65" fmla="*/ 0 h 107"/>
                <a:gd name="T66" fmla="*/ 0 w 140"/>
                <a:gd name="T67" fmla="*/ 0 h 107"/>
                <a:gd name="T68" fmla="*/ 0 w 140"/>
                <a:gd name="T69" fmla="*/ 0 h 1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0"/>
                <a:gd name="T106" fmla="*/ 0 h 107"/>
                <a:gd name="T107" fmla="*/ 140 w 140"/>
                <a:gd name="T108" fmla="*/ 107 h 1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1" name="Freeform 110">
              <a:extLst>
                <a:ext uri="{FF2B5EF4-FFF2-40B4-BE49-F238E27FC236}">
                  <a16:creationId xmlns:a16="http://schemas.microsoft.com/office/drawing/2014/main" id="{A72B038E-6FE2-06C2-F72A-06AC95BD5CA3}"/>
                </a:ext>
              </a:extLst>
            </p:cNvPr>
            <p:cNvSpPr>
              <a:spLocks noChangeAspect="1"/>
            </p:cNvSpPr>
            <p:nvPr userDrawn="1"/>
          </p:nvSpPr>
          <p:spPr bwMode="gray">
            <a:xfrm>
              <a:off x="9565213" y="3222220"/>
              <a:ext cx="70141" cy="108219"/>
            </a:xfrm>
            <a:custGeom>
              <a:avLst/>
              <a:gdLst>
                <a:gd name="T0" fmla="*/ 0 w 131"/>
                <a:gd name="T1" fmla="*/ 0 h 187"/>
                <a:gd name="T2" fmla="*/ 0 w 131"/>
                <a:gd name="T3" fmla="*/ 0 h 187"/>
                <a:gd name="T4" fmla="*/ 0 w 131"/>
                <a:gd name="T5" fmla="*/ 0 h 187"/>
                <a:gd name="T6" fmla="*/ 0 w 131"/>
                <a:gd name="T7" fmla="*/ 0 h 187"/>
                <a:gd name="T8" fmla="*/ 0 w 131"/>
                <a:gd name="T9" fmla="*/ 0 h 187"/>
                <a:gd name="T10" fmla="*/ 0 w 131"/>
                <a:gd name="T11" fmla="*/ 0 h 187"/>
                <a:gd name="T12" fmla="*/ 0 w 131"/>
                <a:gd name="T13" fmla="*/ 0 h 187"/>
                <a:gd name="T14" fmla="*/ 0 w 131"/>
                <a:gd name="T15" fmla="*/ 0 h 187"/>
                <a:gd name="T16" fmla="*/ 0 w 131"/>
                <a:gd name="T17" fmla="*/ 0 h 187"/>
                <a:gd name="T18" fmla="*/ 0 w 131"/>
                <a:gd name="T19" fmla="*/ 0 h 187"/>
                <a:gd name="T20" fmla="*/ 0 w 131"/>
                <a:gd name="T21" fmla="*/ 0 h 187"/>
                <a:gd name="T22" fmla="*/ 0 w 131"/>
                <a:gd name="T23" fmla="*/ 0 h 187"/>
                <a:gd name="T24" fmla="*/ 0 w 131"/>
                <a:gd name="T25" fmla="*/ 0 h 187"/>
                <a:gd name="T26" fmla="*/ 0 w 131"/>
                <a:gd name="T27" fmla="*/ 0 h 187"/>
                <a:gd name="T28" fmla="*/ 0 w 131"/>
                <a:gd name="T29" fmla="*/ 0 h 187"/>
                <a:gd name="T30" fmla="*/ 0 w 131"/>
                <a:gd name="T31" fmla="*/ 0 h 187"/>
                <a:gd name="T32" fmla="*/ 0 w 131"/>
                <a:gd name="T33" fmla="*/ 0 h 187"/>
                <a:gd name="T34" fmla="*/ 0 w 131"/>
                <a:gd name="T35" fmla="*/ 0 h 187"/>
                <a:gd name="T36" fmla="*/ 0 w 131"/>
                <a:gd name="T37" fmla="*/ 0 h 187"/>
                <a:gd name="T38" fmla="*/ 0 w 131"/>
                <a:gd name="T39" fmla="*/ 0 h 187"/>
                <a:gd name="T40" fmla="*/ 0 w 131"/>
                <a:gd name="T41" fmla="*/ 0 h 187"/>
                <a:gd name="T42" fmla="*/ 0 w 131"/>
                <a:gd name="T43" fmla="*/ 0 h 187"/>
                <a:gd name="T44" fmla="*/ 0 w 131"/>
                <a:gd name="T45" fmla="*/ 0 h 187"/>
                <a:gd name="T46" fmla="*/ 0 w 131"/>
                <a:gd name="T47" fmla="*/ 0 h 187"/>
                <a:gd name="T48" fmla="*/ 0 w 131"/>
                <a:gd name="T49" fmla="*/ 0 h 187"/>
                <a:gd name="T50" fmla="*/ 0 w 131"/>
                <a:gd name="T51" fmla="*/ 0 h 187"/>
                <a:gd name="T52" fmla="*/ 0 w 131"/>
                <a:gd name="T53" fmla="*/ 0 h 187"/>
                <a:gd name="T54" fmla="*/ 0 w 131"/>
                <a:gd name="T55" fmla="*/ 0 h 187"/>
                <a:gd name="T56" fmla="*/ 0 w 131"/>
                <a:gd name="T57" fmla="*/ 0 h 187"/>
                <a:gd name="T58" fmla="*/ 0 w 131"/>
                <a:gd name="T59" fmla="*/ 0 h 187"/>
                <a:gd name="T60" fmla="*/ 0 w 131"/>
                <a:gd name="T61" fmla="*/ 0 h 187"/>
                <a:gd name="T62" fmla="*/ 0 w 131"/>
                <a:gd name="T63" fmla="*/ 0 h 187"/>
                <a:gd name="T64" fmla="*/ 0 w 131"/>
                <a:gd name="T65" fmla="*/ 0 h 187"/>
                <a:gd name="T66" fmla="*/ 0 w 131"/>
                <a:gd name="T67" fmla="*/ 0 h 1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1"/>
                <a:gd name="T103" fmla="*/ 0 h 187"/>
                <a:gd name="T104" fmla="*/ 131 w 131"/>
                <a:gd name="T105" fmla="*/ 187 h 1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2" name="Freeform 111">
              <a:extLst>
                <a:ext uri="{FF2B5EF4-FFF2-40B4-BE49-F238E27FC236}">
                  <a16:creationId xmlns:a16="http://schemas.microsoft.com/office/drawing/2014/main" id="{45C5C117-9BEB-C970-15CE-230E795904C6}"/>
                </a:ext>
              </a:extLst>
            </p:cNvPr>
            <p:cNvSpPr>
              <a:spLocks noChangeAspect="1"/>
            </p:cNvSpPr>
            <p:nvPr userDrawn="1"/>
          </p:nvSpPr>
          <p:spPr bwMode="gray">
            <a:xfrm>
              <a:off x="9462242" y="3045411"/>
              <a:ext cx="101479" cy="161567"/>
            </a:xfrm>
            <a:custGeom>
              <a:avLst/>
              <a:gdLst>
                <a:gd name="T0" fmla="*/ 2147483647 w 190"/>
                <a:gd name="T1" fmla="*/ 0 h 285"/>
                <a:gd name="T2" fmla="*/ 2147483647 w 190"/>
                <a:gd name="T3" fmla="*/ 0 h 285"/>
                <a:gd name="T4" fmla="*/ 2147483647 w 190"/>
                <a:gd name="T5" fmla="*/ 0 h 285"/>
                <a:gd name="T6" fmla="*/ 2147483647 w 190"/>
                <a:gd name="T7" fmla="*/ 2147483647 h 285"/>
                <a:gd name="T8" fmla="*/ 2147483647 w 190"/>
                <a:gd name="T9" fmla="*/ 2147483647 h 285"/>
                <a:gd name="T10" fmla="*/ 2147483647 w 190"/>
                <a:gd name="T11" fmla="*/ 2147483647 h 285"/>
                <a:gd name="T12" fmla="*/ 2147483647 w 190"/>
                <a:gd name="T13" fmla="*/ 2147483647 h 285"/>
                <a:gd name="T14" fmla="*/ 2147483647 w 190"/>
                <a:gd name="T15" fmla="*/ 2147483647 h 285"/>
                <a:gd name="T16" fmla="*/ 2147483647 w 190"/>
                <a:gd name="T17" fmla="*/ 2147483647 h 285"/>
                <a:gd name="T18" fmla="*/ 2147483647 w 190"/>
                <a:gd name="T19" fmla="*/ 2147483647 h 285"/>
                <a:gd name="T20" fmla="*/ 2147483647 w 190"/>
                <a:gd name="T21" fmla="*/ 2147483647 h 285"/>
                <a:gd name="T22" fmla="*/ 2147483647 w 190"/>
                <a:gd name="T23" fmla="*/ 2147483647 h 285"/>
                <a:gd name="T24" fmla="*/ 2147483647 w 190"/>
                <a:gd name="T25" fmla="*/ 2147483647 h 285"/>
                <a:gd name="T26" fmla="*/ 2147483647 w 190"/>
                <a:gd name="T27" fmla="*/ 2147483647 h 285"/>
                <a:gd name="T28" fmla="*/ 2147483647 w 190"/>
                <a:gd name="T29" fmla="*/ 2147483647 h 285"/>
                <a:gd name="T30" fmla="*/ 2147483647 w 190"/>
                <a:gd name="T31" fmla="*/ 2147483647 h 285"/>
                <a:gd name="T32" fmla="*/ 2147483647 w 190"/>
                <a:gd name="T33" fmla="*/ 2147483647 h 285"/>
                <a:gd name="T34" fmla="*/ 2147483647 w 190"/>
                <a:gd name="T35" fmla="*/ 2147483647 h 285"/>
                <a:gd name="T36" fmla="*/ 2147483647 w 190"/>
                <a:gd name="T37" fmla="*/ 2147483647 h 285"/>
                <a:gd name="T38" fmla="*/ 0 w 190"/>
                <a:gd name="T39" fmla="*/ 2147483647 h 285"/>
                <a:gd name="T40" fmla="*/ 0 w 190"/>
                <a:gd name="T41" fmla="*/ 2147483647 h 285"/>
                <a:gd name="T42" fmla="*/ 0 w 190"/>
                <a:gd name="T43" fmla="*/ 2147483647 h 285"/>
                <a:gd name="T44" fmla="*/ 0 w 190"/>
                <a:gd name="T45" fmla="*/ 2147483647 h 285"/>
                <a:gd name="T46" fmla="*/ 0 w 190"/>
                <a:gd name="T47" fmla="*/ 2147483647 h 285"/>
                <a:gd name="T48" fmla="*/ 0 w 190"/>
                <a:gd name="T49" fmla="*/ 2147483647 h 285"/>
                <a:gd name="T50" fmla="*/ 0 w 190"/>
                <a:gd name="T51" fmla="*/ 2147483647 h 285"/>
                <a:gd name="T52" fmla="*/ 0 w 190"/>
                <a:gd name="T53" fmla="*/ 2147483647 h 285"/>
                <a:gd name="T54" fmla="*/ 0 w 190"/>
                <a:gd name="T55" fmla="*/ 2147483647 h 285"/>
                <a:gd name="T56" fmla="*/ 0 w 190"/>
                <a:gd name="T57" fmla="*/ 2147483647 h 285"/>
                <a:gd name="T58" fmla="*/ 0 w 190"/>
                <a:gd name="T59" fmla="*/ 2147483647 h 285"/>
                <a:gd name="T60" fmla="*/ 0 w 190"/>
                <a:gd name="T61" fmla="*/ 2147483647 h 285"/>
                <a:gd name="T62" fmla="*/ 0 w 190"/>
                <a:gd name="T63" fmla="*/ 2147483647 h 285"/>
                <a:gd name="T64" fmla="*/ 0 w 190"/>
                <a:gd name="T65" fmla="*/ 2147483647 h 285"/>
                <a:gd name="T66" fmla="*/ 0 w 190"/>
                <a:gd name="T67" fmla="*/ 2147483647 h 285"/>
                <a:gd name="T68" fmla="*/ 0 w 190"/>
                <a:gd name="T69" fmla="*/ 2147483647 h 285"/>
                <a:gd name="T70" fmla="*/ 0 w 190"/>
                <a:gd name="T71" fmla="*/ 2147483647 h 285"/>
                <a:gd name="T72" fmla="*/ 0 w 190"/>
                <a:gd name="T73" fmla="*/ 2147483647 h 285"/>
                <a:gd name="T74" fmla="*/ 0 w 190"/>
                <a:gd name="T75" fmla="*/ 2147483647 h 285"/>
                <a:gd name="T76" fmla="*/ 0 w 190"/>
                <a:gd name="T77" fmla="*/ 2147483647 h 285"/>
                <a:gd name="T78" fmla="*/ 0 w 190"/>
                <a:gd name="T79" fmla="*/ 2147483647 h 285"/>
                <a:gd name="T80" fmla="*/ 0 w 190"/>
                <a:gd name="T81" fmla="*/ 2147483647 h 285"/>
                <a:gd name="T82" fmla="*/ 0 w 190"/>
                <a:gd name="T83" fmla="*/ 2147483647 h 285"/>
                <a:gd name="T84" fmla="*/ 0 w 190"/>
                <a:gd name="T85" fmla="*/ 2147483647 h 285"/>
                <a:gd name="T86" fmla="*/ 0 w 190"/>
                <a:gd name="T87" fmla="*/ 0 h 285"/>
                <a:gd name="T88" fmla="*/ 0 w 190"/>
                <a:gd name="T89" fmla="*/ 0 h 285"/>
                <a:gd name="T90" fmla="*/ 0 w 190"/>
                <a:gd name="T91" fmla="*/ 0 h 285"/>
                <a:gd name="T92" fmla="*/ 0 w 190"/>
                <a:gd name="T93" fmla="*/ 0 h 285"/>
                <a:gd name="T94" fmla="*/ 2147483647 w 190"/>
                <a:gd name="T95" fmla="*/ 0 h 285"/>
                <a:gd name="T96" fmla="*/ 2147483647 w 190"/>
                <a:gd name="T97" fmla="*/ 0 h 28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0"/>
                <a:gd name="T148" fmla="*/ 0 h 285"/>
                <a:gd name="T149" fmla="*/ 190 w 190"/>
                <a:gd name="T150" fmla="*/ 285 h 28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3" name="Freeform 112">
              <a:extLst>
                <a:ext uri="{FF2B5EF4-FFF2-40B4-BE49-F238E27FC236}">
                  <a16:creationId xmlns:a16="http://schemas.microsoft.com/office/drawing/2014/main" id="{AEB68A84-385B-0B2D-7B2D-08FBAE6DB46C}"/>
                </a:ext>
              </a:extLst>
            </p:cNvPr>
            <p:cNvSpPr>
              <a:spLocks noChangeAspect="1"/>
            </p:cNvSpPr>
            <p:nvPr userDrawn="1"/>
          </p:nvSpPr>
          <p:spPr bwMode="gray">
            <a:xfrm>
              <a:off x="8341493" y="2438773"/>
              <a:ext cx="925252" cy="481653"/>
            </a:xfrm>
            <a:custGeom>
              <a:avLst/>
              <a:gdLst>
                <a:gd name="T0" fmla="*/ 0 w 1734"/>
                <a:gd name="T1" fmla="*/ 2147483647 h 848"/>
                <a:gd name="T2" fmla="*/ 2147483647 w 1734"/>
                <a:gd name="T3" fmla="*/ 2147483647 h 848"/>
                <a:gd name="T4" fmla="*/ 2147483647 w 1734"/>
                <a:gd name="T5" fmla="*/ 2147483647 h 848"/>
                <a:gd name="T6" fmla="*/ 2147483647 w 1734"/>
                <a:gd name="T7" fmla="*/ 2147483647 h 848"/>
                <a:gd name="T8" fmla="*/ 2147483647 w 1734"/>
                <a:gd name="T9" fmla="*/ 2147483647 h 848"/>
                <a:gd name="T10" fmla="*/ 2147483647 w 1734"/>
                <a:gd name="T11" fmla="*/ 2147483647 h 848"/>
                <a:gd name="T12" fmla="*/ 2147483647 w 1734"/>
                <a:gd name="T13" fmla="*/ 2147483647 h 848"/>
                <a:gd name="T14" fmla="*/ 2147483647 w 1734"/>
                <a:gd name="T15" fmla="*/ 2147483647 h 848"/>
                <a:gd name="T16" fmla="*/ 2147483647 w 1734"/>
                <a:gd name="T17" fmla="*/ 0 h 848"/>
                <a:gd name="T18" fmla="*/ 2147483647 w 1734"/>
                <a:gd name="T19" fmla="*/ 0 h 848"/>
                <a:gd name="T20" fmla="*/ 2147483647 w 1734"/>
                <a:gd name="T21" fmla="*/ 0 h 848"/>
                <a:gd name="T22" fmla="*/ 2147483647 w 1734"/>
                <a:gd name="T23" fmla="*/ 2147483647 h 848"/>
                <a:gd name="T24" fmla="*/ 2147483647 w 1734"/>
                <a:gd name="T25" fmla="*/ 2147483647 h 848"/>
                <a:gd name="T26" fmla="*/ 2147483647 w 1734"/>
                <a:gd name="T27" fmla="*/ 2147483647 h 848"/>
                <a:gd name="T28" fmla="*/ 2147483647 w 1734"/>
                <a:gd name="T29" fmla="*/ 2147483647 h 848"/>
                <a:gd name="T30" fmla="*/ 2147483647 w 1734"/>
                <a:gd name="T31" fmla="*/ 2147483647 h 848"/>
                <a:gd name="T32" fmla="*/ 2147483647 w 1734"/>
                <a:gd name="T33" fmla="*/ 2147483647 h 848"/>
                <a:gd name="T34" fmla="*/ 2147483647 w 1734"/>
                <a:gd name="T35" fmla="*/ 2147483647 h 848"/>
                <a:gd name="T36" fmla="*/ 2147483647 w 1734"/>
                <a:gd name="T37" fmla="*/ 2147483647 h 848"/>
                <a:gd name="T38" fmla="*/ 2147483647 w 1734"/>
                <a:gd name="T39" fmla="*/ 2147483647 h 848"/>
                <a:gd name="T40" fmla="*/ 2147483647 w 1734"/>
                <a:gd name="T41" fmla="*/ 2147483647 h 848"/>
                <a:gd name="T42" fmla="*/ 2147483647 w 1734"/>
                <a:gd name="T43" fmla="*/ 2147483647 h 848"/>
                <a:gd name="T44" fmla="*/ 2147483647 w 1734"/>
                <a:gd name="T45" fmla="*/ 2147483647 h 848"/>
                <a:gd name="T46" fmla="*/ 2147483647 w 1734"/>
                <a:gd name="T47" fmla="*/ 2147483647 h 848"/>
                <a:gd name="T48" fmla="*/ 2147483647 w 1734"/>
                <a:gd name="T49" fmla="*/ 2147483647 h 848"/>
                <a:gd name="T50" fmla="*/ 2147483647 w 1734"/>
                <a:gd name="T51" fmla="*/ 2147483647 h 848"/>
                <a:gd name="T52" fmla="*/ 2147483647 w 1734"/>
                <a:gd name="T53" fmla="*/ 2147483647 h 848"/>
                <a:gd name="T54" fmla="*/ 2147483647 w 1734"/>
                <a:gd name="T55" fmla="*/ 2147483647 h 848"/>
                <a:gd name="T56" fmla="*/ 2147483647 w 1734"/>
                <a:gd name="T57" fmla="*/ 2147483647 h 848"/>
                <a:gd name="T58" fmla="*/ 2147483647 w 1734"/>
                <a:gd name="T59" fmla="*/ 2147483647 h 848"/>
                <a:gd name="T60" fmla="*/ 2147483647 w 1734"/>
                <a:gd name="T61" fmla="*/ 2147483647 h 848"/>
                <a:gd name="T62" fmla="*/ 2147483647 w 1734"/>
                <a:gd name="T63" fmla="*/ 2147483647 h 848"/>
                <a:gd name="T64" fmla="*/ 2147483647 w 1734"/>
                <a:gd name="T65" fmla="*/ 2147483647 h 848"/>
                <a:gd name="T66" fmla="*/ 2147483647 w 1734"/>
                <a:gd name="T67" fmla="*/ 2147483647 h 848"/>
                <a:gd name="T68" fmla="*/ 2147483647 w 1734"/>
                <a:gd name="T69" fmla="*/ 2147483647 h 848"/>
                <a:gd name="T70" fmla="*/ 2147483647 w 1734"/>
                <a:gd name="T71" fmla="*/ 2147483647 h 848"/>
                <a:gd name="T72" fmla="*/ 2147483647 w 1734"/>
                <a:gd name="T73" fmla="*/ 2147483647 h 848"/>
                <a:gd name="T74" fmla="*/ 2147483647 w 1734"/>
                <a:gd name="T75" fmla="*/ 2147483647 h 848"/>
                <a:gd name="T76" fmla="*/ 2147483647 w 1734"/>
                <a:gd name="T77" fmla="*/ 2147483647 h 848"/>
                <a:gd name="T78" fmla="*/ 2147483647 w 1734"/>
                <a:gd name="T79" fmla="*/ 2147483647 h 848"/>
                <a:gd name="T80" fmla="*/ 2147483647 w 1734"/>
                <a:gd name="T81" fmla="*/ 2147483647 h 848"/>
                <a:gd name="T82" fmla="*/ 2147483647 w 1734"/>
                <a:gd name="T83" fmla="*/ 2147483647 h 848"/>
                <a:gd name="T84" fmla="*/ 2147483647 w 1734"/>
                <a:gd name="T85" fmla="*/ 2147483647 h 848"/>
                <a:gd name="T86" fmla="*/ 2147483647 w 1734"/>
                <a:gd name="T87" fmla="*/ 2147483647 h 848"/>
                <a:gd name="T88" fmla="*/ 2147483647 w 1734"/>
                <a:gd name="T89" fmla="*/ 2147483647 h 848"/>
                <a:gd name="T90" fmla="*/ 2147483647 w 1734"/>
                <a:gd name="T91" fmla="*/ 2147483647 h 848"/>
                <a:gd name="T92" fmla="*/ 2147483647 w 1734"/>
                <a:gd name="T93" fmla="*/ 2147483647 h 848"/>
                <a:gd name="T94" fmla="*/ 2147483647 w 1734"/>
                <a:gd name="T95" fmla="*/ 2147483647 h 848"/>
                <a:gd name="T96" fmla="*/ 2147483647 w 1734"/>
                <a:gd name="T97" fmla="*/ 2147483647 h 848"/>
                <a:gd name="T98" fmla="*/ 2147483647 w 1734"/>
                <a:gd name="T99" fmla="*/ 2147483647 h 848"/>
                <a:gd name="T100" fmla="*/ 2147483647 w 1734"/>
                <a:gd name="T101" fmla="*/ 2147483647 h 848"/>
                <a:gd name="T102" fmla="*/ 0 w 1734"/>
                <a:gd name="T103" fmla="*/ 2147483647 h 8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34"/>
                <a:gd name="T157" fmla="*/ 0 h 848"/>
                <a:gd name="T158" fmla="*/ 1734 w 1734"/>
                <a:gd name="T159" fmla="*/ 848 h 8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4" name="Freeform 113">
              <a:extLst>
                <a:ext uri="{FF2B5EF4-FFF2-40B4-BE49-F238E27FC236}">
                  <a16:creationId xmlns:a16="http://schemas.microsoft.com/office/drawing/2014/main" id="{CCC6E7F2-BBDD-5C23-F782-B1540E946FCF}"/>
                </a:ext>
              </a:extLst>
            </p:cNvPr>
            <p:cNvSpPr>
              <a:spLocks noChangeAspect="1"/>
            </p:cNvSpPr>
            <p:nvPr userDrawn="1"/>
          </p:nvSpPr>
          <p:spPr bwMode="gray">
            <a:xfrm>
              <a:off x="8950368" y="3702348"/>
              <a:ext cx="70141" cy="65542"/>
            </a:xfrm>
            <a:custGeom>
              <a:avLst/>
              <a:gdLst>
                <a:gd name="T0" fmla="*/ 2147483647 w 127"/>
                <a:gd name="T1" fmla="*/ 0 h 113"/>
                <a:gd name="T2" fmla="*/ 2147483647 w 127"/>
                <a:gd name="T3" fmla="*/ 0 h 113"/>
                <a:gd name="T4" fmla="*/ 2147483647 w 127"/>
                <a:gd name="T5" fmla="*/ 0 h 113"/>
                <a:gd name="T6" fmla="*/ 2147483647 w 127"/>
                <a:gd name="T7" fmla="*/ 0 h 113"/>
                <a:gd name="T8" fmla="*/ 2147483647 w 127"/>
                <a:gd name="T9" fmla="*/ 0 h 113"/>
                <a:gd name="T10" fmla="*/ 2147483647 w 127"/>
                <a:gd name="T11" fmla="*/ 0 h 113"/>
                <a:gd name="T12" fmla="*/ 2147483647 w 127"/>
                <a:gd name="T13" fmla="*/ 0 h 113"/>
                <a:gd name="T14" fmla="*/ 2147483647 w 127"/>
                <a:gd name="T15" fmla="*/ 0 h 113"/>
                <a:gd name="T16" fmla="*/ 2147483647 w 127"/>
                <a:gd name="T17" fmla="*/ 0 h 113"/>
                <a:gd name="T18" fmla="*/ 2147483647 w 127"/>
                <a:gd name="T19" fmla="*/ 2147483647 h 113"/>
                <a:gd name="T20" fmla="*/ 2147483647 w 127"/>
                <a:gd name="T21" fmla="*/ 2147483647 h 113"/>
                <a:gd name="T22" fmla="*/ 2147483647 w 127"/>
                <a:gd name="T23" fmla="*/ 2147483647 h 113"/>
                <a:gd name="T24" fmla="*/ 2147483647 w 127"/>
                <a:gd name="T25" fmla="*/ 2147483647 h 113"/>
                <a:gd name="T26" fmla="*/ 2147483647 w 127"/>
                <a:gd name="T27" fmla="*/ 2147483647 h 113"/>
                <a:gd name="T28" fmla="*/ 2147483647 w 127"/>
                <a:gd name="T29" fmla="*/ 2147483647 h 113"/>
                <a:gd name="T30" fmla="*/ 2147483647 w 127"/>
                <a:gd name="T31" fmla="*/ 2147483647 h 113"/>
                <a:gd name="T32" fmla="*/ 0 w 127"/>
                <a:gd name="T33" fmla="*/ 2147483647 h 113"/>
                <a:gd name="T34" fmla="*/ 0 w 127"/>
                <a:gd name="T35" fmla="*/ 2147483647 h 113"/>
                <a:gd name="T36" fmla="*/ 0 w 127"/>
                <a:gd name="T37" fmla="*/ 0 h 113"/>
                <a:gd name="T38" fmla="*/ 0 w 127"/>
                <a:gd name="T39" fmla="*/ 0 h 113"/>
                <a:gd name="T40" fmla="*/ 0 w 127"/>
                <a:gd name="T41" fmla="*/ 0 h 113"/>
                <a:gd name="T42" fmla="*/ 0 w 127"/>
                <a:gd name="T43" fmla="*/ 0 h 113"/>
                <a:gd name="T44" fmla="*/ 0 w 127"/>
                <a:gd name="T45" fmla="*/ 0 h 113"/>
                <a:gd name="T46" fmla="*/ 0 w 127"/>
                <a:gd name="T47" fmla="*/ 0 h 113"/>
                <a:gd name="T48" fmla="*/ 2147483647 w 127"/>
                <a:gd name="T49" fmla="*/ 0 h 113"/>
                <a:gd name="T50" fmla="*/ 2147483647 w 127"/>
                <a:gd name="T51" fmla="*/ 0 h 113"/>
                <a:gd name="T52" fmla="*/ 2147483647 w 127"/>
                <a:gd name="T53" fmla="*/ 0 h 113"/>
                <a:gd name="T54" fmla="*/ 2147483647 w 127"/>
                <a:gd name="T55" fmla="*/ 0 h 113"/>
                <a:gd name="T56" fmla="*/ 2147483647 w 127"/>
                <a:gd name="T57" fmla="*/ 0 h 113"/>
                <a:gd name="T58" fmla="*/ 2147483647 w 127"/>
                <a:gd name="T59" fmla="*/ 0 h 1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7"/>
                <a:gd name="T91" fmla="*/ 0 h 113"/>
                <a:gd name="T92" fmla="*/ 127 w 127"/>
                <a:gd name="T93" fmla="*/ 113 h 11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5" name="Freeform 114">
              <a:extLst>
                <a:ext uri="{FF2B5EF4-FFF2-40B4-BE49-F238E27FC236}">
                  <a16:creationId xmlns:a16="http://schemas.microsoft.com/office/drawing/2014/main" id="{1583ED70-6059-86A2-BE3C-25250AE0F52D}"/>
                </a:ext>
              </a:extLst>
            </p:cNvPr>
            <p:cNvSpPr>
              <a:spLocks noChangeAspect="1"/>
            </p:cNvSpPr>
            <p:nvPr userDrawn="1"/>
          </p:nvSpPr>
          <p:spPr bwMode="gray">
            <a:xfrm>
              <a:off x="7925130" y="2371707"/>
              <a:ext cx="1792302" cy="1327593"/>
            </a:xfrm>
            <a:custGeom>
              <a:avLst/>
              <a:gdLst>
                <a:gd name="T0" fmla="*/ 2147483647 w 3356"/>
                <a:gd name="T1" fmla="*/ 2147483647 h 2335"/>
                <a:gd name="T2" fmla="*/ 2147483647 w 3356"/>
                <a:gd name="T3" fmla="*/ 2147483647 h 2335"/>
                <a:gd name="T4" fmla="*/ 2147483647 w 3356"/>
                <a:gd name="T5" fmla="*/ 2147483647 h 2335"/>
                <a:gd name="T6" fmla="*/ 2147483647 w 3356"/>
                <a:gd name="T7" fmla="*/ 2147483647 h 2335"/>
                <a:gd name="T8" fmla="*/ 2147483647 w 3356"/>
                <a:gd name="T9" fmla="*/ 2147483647 h 2335"/>
                <a:gd name="T10" fmla="*/ 2147483647 w 3356"/>
                <a:gd name="T11" fmla="*/ 2147483647 h 2335"/>
                <a:gd name="T12" fmla="*/ 2147483647 w 3356"/>
                <a:gd name="T13" fmla="*/ 2147483647 h 2335"/>
                <a:gd name="T14" fmla="*/ 2147483647 w 3356"/>
                <a:gd name="T15" fmla="*/ 2147483647 h 2335"/>
                <a:gd name="T16" fmla="*/ 2147483647 w 3356"/>
                <a:gd name="T17" fmla="*/ 2147483647 h 2335"/>
                <a:gd name="T18" fmla="*/ 2147483647 w 3356"/>
                <a:gd name="T19" fmla="*/ 2147483647 h 2335"/>
                <a:gd name="T20" fmla="*/ 2147483647 w 3356"/>
                <a:gd name="T21" fmla="*/ 2147483647 h 2335"/>
                <a:gd name="T22" fmla="*/ 2147483647 w 3356"/>
                <a:gd name="T23" fmla="*/ 2147483647 h 2335"/>
                <a:gd name="T24" fmla="*/ 2147483647 w 3356"/>
                <a:gd name="T25" fmla="*/ 2147483647 h 2335"/>
                <a:gd name="T26" fmla="*/ 2147483647 w 3356"/>
                <a:gd name="T27" fmla="*/ 2147483647 h 2335"/>
                <a:gd name="T28" fmla="*/ 2147483647 w 3356"/>
                <a:gd name="T29" fmla="*/ 2147483647 h 2335"/>
                <a:gd name="T30" fmla="*/ 2147483647 w 3356"/>
                <a:gd name="T31" fmla="*/ 2147483647 h 2335"/>
                <a:gd name="T32" fmla="*/ 2147483647 w 3356"/>
                <a:gd name="T33" fmla="*/ 2147483647 h 2335"/>
                <a:gd name="T34" fmla="*/ 2147483647 w 3356"/>
                <a:gd name="T35" fmla="*/ 2147483647 h 2335"/>
                <a:gd name="T36" fmla="*/ 2147483647 w 3356"/>
                <a:gd name="T37" fmla="*/ 2147483647 h 2335"/>
                <a:gd name="T38" fmla="*/ 2147483647 w 3356"/>
                <a:gd name="T39" fmla="*/ 2147483647 h 2335"/>
                <a:gd name="T40" fmla="*/ 2147483647 w 3356"/>
                <a:gd name="T41" fmla="*/ 2147483647 h 2335"/>
                <a:gd name="T42" fmla="*/ 2147483647 w 3356"/>
                <a:gd name="T43" fmla="*/ 2147483647 h 2335"/>
                <a:gd name="T44" fmla="*/ 2147483647 w 3356"/>
                <a:gd name="T45" fmla="*/ 2147483647 h 2335"/>
                <a:gd name="T46" fmla="*/ 2147483647 w 3356"/>
                <a:gd name="T47" fmla="*/ 2147483647 h 2335"/>
                <a:gd name="T48" fmla="*/ 2147483647 w 3356"/>
                <a:gd name="T49" fmla="*/ 2147483647 h 2335"/>
                <a:gd name="T50" fmla="*/ 2147483647 w 3356"/>
                <a:gd name="T51" fmla="*/ 2147483647 h 2335"/>
                <a:gd name="T52" fmla="*/ 2147483647 w 3356"/>
                <a:gd name="T53" fmla="*/ 2147483647 h 2335"/>
                <a:gd name="T54" fmla="*/ 2147483647 w 3356"/>
                <a:gd name="T55" fmla="*/ 2147483647 h 2335"/>
                <a:gd name="T56" fmla="*/ 2147483647 w 3356"/>
                <a:gd name="T57" fmla="*/ 2147483647 h 2335"/>
                <a:gd name="T58" fmla="*/ 2147483647 w 3356"/>
                <a:gd name="T59" fmla="*/ 2147483647 h 2335"/>
                <a:gd name="T60" fmla="*/ 2147483647 w 3356"/>
                <a:gd name="T61" fmla="*/ 2147483647 h 2335"/>
                <a:gd name="T62" fmla="*/ 2147483647 w 3356"/>
                <a:gd name="T63" fmla="*/ 2147483647 h 2335"/>
                <a:gd name="T64" fmla="*/ 2147483647 w 3356"/>
                <a:gd name="T65" fmla="*/ 2147483647 h 2335"/>
                <a:gd name="T66" fmla="*/ 2147483647 w 3356"/>
                <a:gd name="T67" fmla="*/ 2147483647 h 2335"/>
                <a:gd name="T68" fmla="*/ 2147483647 w 3356"/>
                <a:gd name="T69" fmla="*/ 2147483647 h 2335"/>
                <a:gd name="T70" fmla="*/ 2147483647 w 3356"/>
                <a:gd name="T71" fmla="*/ 2147483647 h 2335"/>
                <a:gd name="T72" fmla="*/ 2147483647 w 3356"/>
                <a:gd name="T73" fmla="*/ 2147483647 h 2335"/>
                <a:gd name="T74" fmla="*/ 2147483647 w 3356"/>
                <a:gd name="T75" fmla="*/ 2147483647 h 2335"/>
                <a:gd name="T76" fmla="*/ 2147483647 w 3356"/>
                <a:gd name="T77" fmla="*/ 2147483647 h 2335"/>
                <a:gd name="T78" fmla="*/ 2147483647 w 3356"/>
                <a:gd name="T79" fmla="*/ 2147483647 h 2335"/>
                <a:gd name="T80" fmla="*/ 2147483647 w 3356"/>
                <a:gd name="T81" fmla="*/ 2147483647 h 2335"/>
                <a:gd name="T82" fmla="*/ 2147483647 w 3356"/>
                <a:gd name="T83" fmla="*/ 0 h 2335"/>
                <a:gd name="T84" fmla="*/ 2147483647 w 3356"/>
                <a:gd name="T85" fmla="*/ 2147483647 h 2335"/>
                <a:gd name="T86" fmla="*/ 2147483647 w 3356"/>
                <a:gd name="T87" fmla="*/ 2147483647 h 2335"/>
                <a:gd name="T88" fmla="*/ 2147483647 w 3356"/>
                <a:gd name="T89" fmla="*/ 2147483647 h 2335"/>
                <a:gd name="T90" fmla="*/ 2147483647 w 3356"/>
                <a:gd name="T91" fmla="*/ 2147483647 h 2335"/>
                <a:gd name="T92" fmla="*/ 2147483647 w 3356"/>
                <a:gd name="T93" fmla="*/ 2147483647 h 2335"/>
                <a:gd name="T94" fmla="*/ 2147483647 w 3356"/>
                <a:gd name="T95" fmla="*/ 2147483647 h 2335"/>
                <a:gd name="T96" fmla="*/ 2147483647 w 3356"/>
                <a:gd name="T97" fmla="*/ 2147483647 h 2335"/>
                <a:gd name="T98" fmla="*/ 2147483647 w 3356"/>
                <a:gd name="T99" fmla="*/ 2147483647 h 2335"/>
                <a:gd name="T100" fmla="*/ 2147483647 w 3356"/>
                <a:gd name="T101" fmla="*/ 2147483647 h 2335"/>
                <a:gd name="T102" fmla="*/ 2147483647 w 3356"/>
                <a:gd name="T103" fmla="*/ 2147483647 h 2335"/>
                <a:gd name="T104" fmla="*/ 2147483647 w 3356"/>
                <a:gd name="T105" fmla="*/ 2147483647 h 2335"/>
                <a:gd name="T106" fmla="*/ 2147483647 w 3356"/>
                <a:gd name="T107" fmla="*/ 2147483647 h 2335"/>
                <a:gd name="T108" fmla="*/ 2147483647 w 3356"/>
                <a:gd name="T109" fmla="*/ 2147483647 h 2335"/>
                <a:gd name="T110" fmla="*/ 2147483647 w 3356"/>
                <a:gd name="T111" fmla="*/ 2147483647 h 2335"/>
                <a:gd name="T112" fmla="*/ 2147483647 w 3356"/>
                <a:gd name="T113" fmla="*/ 2147483647 h 2335"/>
                <a:gd name="T114" fmla="*/ 2147483647 w 3356"/>
                <a:gd name="T115" fmla="*/ 2147483647 h 2335"/>
                <a:gd name="T116" fmla="*/ 2147483647 w 3356"/>
                <a:gd name="T117" fmla="*/ 2147483647 h 2335"/>
                <a:gd name="T118" fmla="*/ 2147483647 w 3356"/>
                <a:gd name="T119" fmla="*/ 2147483647 h 2335"/>
                <a:gd name="T120" fmla="*/ 2147483647 w 3356"/>
                <a:gd name="T121" fmla="*/ 2147483647 h 2335"/>
                <a:gd name="T122" fmla="*/ 2147483647 w 3356"/>
                <a:gd name="T123" fmla="*/ 2147483647 h 2335"/>
                <a:gd name="T124" fmla="*/ 2147483647 w 3356"/>
                <a:gd name="T125" fmla="*/ 2147483647 h 23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356"/>
                <a:gd name="T190" fmla="*/ 0 h 2335"/>
                <a:gd name="T191" fmla="*/ 3356 w 3356"/>
                <a:gd name="T192" fmla="*/ 2335 h 233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6" name="Freeform 115">
              <a:extLst>
                <a:ext uri="{FF2B5EF4-FFF2-40B4-BE49-F238E27FC236}">
                  <a16:creationId xmlns:a16="http://schemas.microsoft.com/office/drawing/2014/main" id="{34EC3E9E-27BA-551D-D707-81BF250C695F}"/>
                </a:ext>
              </a:extLst>
            </p:cNvPr>
            <p:cNvSpPr>
              <a:spLocks noChangeAspect="1"/>
            </p:cNvSpPr>
            <p:nvPr userDrawn="1"/>
          </p:nvSpPr>
          <p:spPr bwMode="gray">
            <a:xfrm>
              <a:off x="9411502" y="2862505"/>
              <a:ext cx="183558" cy="217963"/>
            </a:xfrm>
            <a:custGeom>
              <a:avLst/>
              <a:gdLst>
                <a:gd name="T0" fmla="*/ 2147483647 w 349"/>
                <a:gd name="T1" fmla="*/ 2147483647 h 377"/>
                <a:gd name="T2" fmla="*/ 2147483647 w 349"/>
                <a:gd name="T3" fmla="*/ 2147483647 h 377"/>
                <a:gd name="T4" fmla="*/ 2147483647 w 349"/>
                <a:gd name="T5" fmla="*/ 2147483647 h 377"/>
                <a:gd name="T6" fmla="*/ 2147483647 w 349"/>
                <a:gd name="T7" fmla="*/ 2147483647 h 377"/>
                <a:gd name="T8" fmla="*/ 2147483647 w 349"/>
                <a:gd name="T9" fmla="*/ 2147483647 h 377"/>
                <a:gd name="T10" fmla="*/ 2147483647 w 349"/>
                <a:gd name="T11" fmla="*/ 2147483647 h 377"/>
                <a:gd name="T12" fmla="*/ 2147483647 w 349"/>
                <a:gd name="T13" fmla="*/ 2147483647 h 377"/>
                <a:gd name="T14" fmla="*/ 2147483647 w 349"/>
                <a:gd name="T15" fmla="*/ 2147483647 h 377"/>
                <a:gd name="T16" fmla="*/ 2147483647 w 349"/>
                <a:gd name="T17" fmla="*/ 2147483647 h 377"/>
                <a:gd name="T18" fmla="*/ 2147483647 w 349"/>
                <a:gd name="T19" fmla="*/ 2147483647 h 377"/>
                <a:gd name="T20" fmla="*/ 2147483647 w 349"/>
                <a:gd name="T21" fmla="*/ 2147483647 h 377"/>
                <a:gd name="T22" fmla="*/ 2147483647 w 349"/>
                <a:gd name="T23" fmla="*/ 2147483647 h 377"/>
                <a:gd name="T24" fmla="*/ 2147483647 w 349"/>
                <a:gd name="T25" fmla="*/ 2147483647 h 377"/>
                <a:gd name="T26" fmla="*/ 2147483647 w 349"/>
                <a:gd name="T27" fmla="*/ 0 h 377"/>
                <a:gd name="T28" fmla="*/ 2147483647 w 349"/>
                <a:gd name="T29" fmla="*/ 0 h 377"/>
                <a:gd name="T30" fmla="*/ 2147483647 w 349"/>
                <a:gd name="T31" fmla="*/ 0 h 377"/>
                <a:gd name="T32" fmla="*/ 2147483647 w 349"/>
                <a:gd name="T33" fmla="*/ 0 h 377"/>
                <a:gd name="T34" fmla="*/ 2147483647 w 349"/>
                <a:gd name="T35" fmla="*/ 0 h 377"/>
                <a:gd name="T36" fmla="*/ 2147483647 w 349"/>
                <a:gd name="T37" fmla="*/ 0 h 377"/>
                <a:gd name="T38" fmla="*/ 2147483647 w 349"/>
                <a:gd name="T39" fmla="*/ 0 h 377"/>
                <a:gd name="T40" fmla="*/ 2147483647 w 349"/>
                <a:gd name="T41" fmla="*/ 2147483647 h 377"/>
                <a:gd name="T42" fmla="*/ 2147483647 w 349"/>
                <a:gd name="T43" fmla="*/ 2147483647 h 377"/>
                <a:gd name="T44" fmla="*/ 2147483647 w 349"/>
                <a:gd name="T45" fmla="*/ 2147483647 h 377"/>
                <a:gd name="T46" fmla="*/ 2147483647 w 349"/>
                <a:gd name="T47" fmla="*/ 2147483647 h 377"/>
                <a:gd name="T48" fmla="*/ 0 w 349"/>
                <a:gd name="T49" fmla="*/ 2147483647 h 377"/>
                <a:gd name="T50" fmla="*/ 0 w 349"/>
                <a:gd name="T51" fmla="*/ 2147483647 h 377"/>
                <a:gd name="T52" fmla="*/ 0 w 349"/>
                <a:gd name="T53" fmla="*/ 2147483647 h 377"/>
                <a:gd name="T54" fmla="*/ 0 w 349"/>
                <a:gd name="T55" fmla="*/ 2147483647 h 377"/>
                <a:gd name="T56" fmla="*/ 2147483647 w 349"/>
                <a:gd name="T57" fmla="*/ 2147483647 h 377"/>
                <a:gd name="T58" fmla="*/ 2147483647 w 349"/>
                <a:gd name="T59" fmla="*/ 2147483647 h 377"/>
                <a:gd name="T60" fmla="*/ 2147483647 w 349"/>
                <a:gd name="T61" fmla="*/ 2147483647 h 377"/>
                <a:gd name="T62" fmla="*/ 2147483647 w 349"/>
                <a:gd name="T63" fmla="*/ 2147483647 h 377"/>
                <a:gd name="T64" fmla="*/ 0 w 349"/>
                <a:gd name="T65" fmla="*/ 2147483647 h 377"/>
                <a:gd name="T66" fmla="*/ 0 w 349"/>
                <a:gd name="T67" fmla="*/ 2147483647 h 377"/>
                <a:gd name="T68" fmla="*/ 0 w 349"/>
                <a:gd name="T69" fmla="*/ 2147483647 h 377"/>
                <a:gd name="T70" fmla="*/ 0 w 349"/>
                <a:gd name="T71" fmla="*/ 2147483647 h 377"/>
                <a:gd name="T72" fmla="*/ 0 w 349"/>
                <a:gd name="T73" fmla="*/ 2147483647 h 377"/>
                <a:gd name="T74" fmla="*/ 0 w 349"/>
                <a:gd name="T75" fmla="*/ 2147483647 h 377"/>
                <a:gd name="T76" fmla="*/ 2147483647 w 349"/>
                <a:gd name="T77" fmla="*/ 2147483647 h 377"/>
                <a:gd name="T78" fmla="*/ 2147483647 w 349"/>
                <a:gd name="T79" fmla="*/ 2147483647 h 377"/>
                <a:gd name="T80" fmla="*/ 2147483647 w 349"/>
                <a:gd name="T81" fmla="*/ 2147483647 h 377"/>
                <a:gd name="T82" fmla="*/ 2147483647 w 349"/>
                <a:gd name="T83" fmla="*/ 2147483647 h 377"/>
                <a:gd name="T84" fmla="*/ 2147483647 w 349"/>
                <a:gd name="T85" fmla="*/ 2147483647 h 377"/>
                <a:gd name="T86" fmla="*/ 2147483647 w 349"/>
                <a:gd name="T87" fmla="*/ 2147483647 h 377"/>
                <a:gd name="T88" fmla="*/ 2147483647 w 349"/>
                <a:gd name="T89" fmla="*/ 2147483647 h 377"/>
                <a:gd name="T90" fmla="*/ 2147483647 w 349"/>
                <a:gd name="T91" fmla="*/ 2147483647 h 377"/>
                <a:gd name="T92" fmla="*/ 2147483647 w 349"/>
                <a:gd name="T93" fmla="*/ 2147483647 h 377"/>
                <a:gd name="T94" fmla="*/ 2147483647 w 349"/>
                <a:gd name="T95" fmla="*/ 2147483647 h 3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49"/>
                <a:gd name="T145" fmla="*/ 0 h 377"/>
                <a:gd name="T146" fmla="*/ 349 w 349"/>
                <a:gd name="T147" fmla="*/ 377 h 3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7" name="Freeform 118">
              <a:extLst>
                <a:ext uri="{FF2B5EF4-FFF2-40B4-BE49-F238E27FC236}">
                  <a16:creationId xmlns:a16="http://schemas.microsoft.com/office/drawing/2014/main" id="{96D59047-556C-88A9-5D7C-E2627C4D8834}"/>
                </a:ext>
              </a:extLst>
            </p:cNvPr>
            <p:cNvSpPr>
              <a:spLocks noChangeAspect="1"/>
            </p:cNvSpPr>
            <p:nvPr userDrawn="1"/>
          </p:nvSpPr>
          <p:spPr bwMode="gray">
            <a:xfrm>
              <a:off x="7180171" y="1297016"/>
              <a:ext cx="61389" cy="71108"/>
            </a:xfrm>
            <a:custGeom>
              <a:avLst/>
              <a:gdLst>
                <a:gd name="T0" fmla="*/ 0 w 116"/>
                <a:gd name="T1" fmla="*/ 0 h 126"/>
                <a:gd name="T2" fmla="*/ 0 w 116"/>
                <a:gd name="T3" fmla="*/ 0 h 126"/>
                <a:gd name="T4" fmla="*/ 0 w 116"/>
                <a:gd name="T5" fmla="*/ 0 h 126"/>
                <a:gd name="T6" fmla="*/ 0 w 116"/>
                <a:gd name="T7" fmla="*/ 0 h 126"/>
                <a:gd name="T8" fmla="*/ 0 w 116"/>
                <a:gd name="T9" fmla="*/ 0 h 126"/>
                <a:gd name="T10" fmla="*/ 0 w 116"/>
                <a:gd name="T11" fmla="*/ 0 h 126"/>
                <a:gd name="T12" fmla="*/ 0 w 116"/>
                <a:gd name="T13" fmla="*/ 0 h 126"/>
                <a:gd name="T14" fmla="*/ 0 w 116"/>
                <a:gd name="T15" fmla="*/ 0 h 126"/>
                <a:gd name="T16" fmla="*/ 0 w 116"/>
                <a:gd name="T17" fmla="*/ 0 h 126"/>
                <a:gd name="T18" fmla="*/ 0 w 116"/>
                <a:gd name="T19" fmla="*/ 0 h 126"/>
                <a:gd name="T20" fmla="*/ 0 w 116"/>
                <a:gd name="T21" fmla="*/ 0 h 126"/>
                <a:gd name="T22" fmla="*/ 0 w 116"/>
                <a:gd name="T23" fmla="*/ 0 h 126"/>
                <a:gd name="T24" fmla="*/ 0 w 116"/>
                <a:gd name="T25" fmla="*/ 0 h 126"/>
                <a:gd name="T26" fmla="*/ 0 w 116"/>
                <a:gd name="T27" fmla="*/ 0 h 126"/>
                <a:gd name="T28" fmla="*/ 0 w 116"/>
                <a:gd name="T29" fmla="*/ 0 h 126"/>
                <a:gd name="T30" fmla="*/ 0 w 116"/>
                <a:gd name="T31" fmla="*/ 0 h 126"/>
                <a:gd name="T32" fmla="*/ 0 w 116"/>
                <a:gd name="T33" fmla="*/ 0 h 126"/>
                <a:gd name="T34" fmla="*/ 0 w 116"/>
                <a:gd name="T35" fmla="*/ 0 h 126"/>
                <a:gd name="T36" fmla="*/ 0 w 116"/>
                <a:gd name="T37" fmla="*/ 0 h 126"/>
                <a:gd name="T38" fmla="*/ 0 w 116"/>
                <a:gd name="T39" fmla="*/ 0 h 126"/>
                <a:gd name="T40" fmla="*/ 0 w 116"/>
                <a:gd name="T41" fmla="*/ 0 h 126"/>
                <a:gd name="T42" fmla="*/ 0 w 116"/>
                <a:gd name="T43" fmla="*/ 0 h 126"/>
                <a:gd name="T44" fmla="*/ 0 w 116"/>
                <a:gd name="T45" fmla="*/ 0 h 126"/>
                <a:gd name="T46" fmla="*/ 0 w 116"/>
                <a:gd name="T47" fmla="*/ 0 h 126"/>
                <a:gd name="T48" fmla="*/ 0 w 116"/>
                <a:gd name="T49" fmla="*/ 0 h 126"/>
                <a:gd name="T50" fmla="*/ 0 w 116"/>
                <a:gd name="T51" fmla="*/ 0 h 126"/>
                <a:gd name="T52" fmla="*/ 0 w 116"/>
                <a:gd name="T53" fmla="*/ 0 h 126"/>
                <a:gd name="T54" fmla="*/ 0 w 116"/>
                <a:gd name="T55" fmla="*/ 0 h 126"/>
                <a:gd name="T56" fmla="*/ 0 w 116"/>
                <a:gd name="T57" fmla="*/ 0 h 126"/>
                <a:gd name="T58" fmla="*/ 0 w 116"/>
                <a:gd name="T59" fmla="*/ 0 h 126"/>
                <a:gd name="T60" fmla="*/ 0 w 116"/>
                <a:gd name="T61" fmla="*/ 0 h 126"/>
                <a:gd name="T62" fmla="*/ 0 w 116"/>
                <a:gd name="T63" fmla="*/ 0 h 126"/>
                <a:gd name="T64" fmla="*/ 0 w 116"/>
                <a:gd name="T65" fmla="*/ 0 h 126"/>
                <a:gd name="T66" fmla="*/ 0 w 116"/>
                <a:gd name="T67" fmla="*/ 0 h 1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6"/>
                <a:gd name="T103" fmla="*/ 0 h 126"/>
                <a:gd name="T104" fmla="*/ 116 w 116"/>
                <a:gd name="T105" fmla="*/ 126 h 12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8" name="Freeform 119">
              <a:extLst>
                <a:ext uri="{FF2B5EF4-FFF2-40B4-BE49-F238E27FC236}">
                  <a16:creationId xmlns:a16="http://schemas.microsoft.com/office/drawing/2014/main" id="{C9AC9C94-8359-2093-010F-5D1A689FD2C6}"/>
                </a:ext>
              </a:extLst>
            </p:cNvPr>
            <p:cNvSpPr>
              <a:spLocks noChangeAspect="1"/>
            </p:cNvSpPr>
            <p:nvPr userDrawn="1"/>
          </p:nvSpPr>
          <p:spPr bwMode="gray">
            <a:xfrm>
              <a:off x="8677515" y="99551"/>
              <a:ext cx="178827" cy="238924"/>
            </a:xfrm>
            <a:custGeom>
              <a:avLst/>
              <a:gdLst>
                <a:gd name="T0" fmla="*/ 0 w 337"/>
                <a:gd name="T1" fmla="*/ 0 h 418"/>
                <a:gd name="T2" fmla="*/ 0 w 337"/>
                <a:gd name="T3" fmla="*/ 0 h 418"/>
                <a:gd name="T4" fmla="*/ 0 w 337"/>
                <a:gd name="T5" fmla="*/ 0 h 418"/>
                <a:gd name="T6" fmla="*/ 0 w 337"/>
                <a:gd name="T7" fmla="*/ 0 h 418"/>
                <a:gd name="T8" fmla="*/ 0 w 337"/>
                <a:gd name="T9" fmla="*/ 0 h 418"/>
                <a:gd name="T10" fmla="*/ 0 w 337"/>
                <a:gd name="T11" fmla="*/ 0 h 418"/>
                <a:gd name="T12" fmla="*/ 0 w 337"/>
                <a:gd name="T13" fmla="*/ 0 h 418"/>
                <a:gd name="T14" fmla="*/ 0 w 337"/>
                <a:gd name="T15" fmla="*/ 0 h 418"/>
                <a:gd name="T16" fmla="*/ 0 w 337"/>
                <a:gd name="T17" fmla="*/ 0 h 418"/>
                <a:gd name="T18" fmla="*/ 0 w 337"/>
                <a:gd name="T19" fmla="*/ 0 h 418"/>
                <a:gd name="T20" fmla="*/ 0 w 337"/>
                <a:gd name="T21" fmla="*/ 0 h 418"/>
                <a:gd name="T22" fmla="*/ 0 w 337"/>
                <a:gd name="T23" fmla="*/ 0 h 418"/>
                <a:gd name="T24" fmla="*/ 0 w 337"/>
                <a:gd name="T25" fmla="*/ 0 h 418"/>
                <a:gd name="T26" fmla="*/ 0 w 337"/>
                <a:gd name="T27" fmla="*/ 0 h 418"/>
                <a:gd name="T28" fmla="*/ 0 w 337"/>
                <a:gd name="T29" fmla="*/ 0 h 418"/>
                <a:gd name="T30" fmla="*/ 0 w 337"/>
                <a:gd name="T31" fmla="*/ 0 h 418"/>
                <a:gd name="T32" fmla="*/ 0 w 337"/>
                <a:gd name="T33" fmla="*/ 0 h 418"/>
                <a:gd name="T34" fmla="*/ 0 w 337"/>
                <a:gd name="T35" fmla="*/ 0 h 418"/>
                <a:gd name="T36" fmla="*/ 0 w 337"/>
                <a:gd name="T37" fmla="*/ 0 h 418"/>
                <a:gd name="T38" fmla="*/ 0 w 337"/>
                <a:gd name="T39" fmla="*/ 0 h 418"/>
                <a:gd name="T40" fmla="*/ 0 w 337"/>
                <a:gd name="T41" fmla="*/ 0 h 418"/>
                <a:gd name="T42" fmla="*/ 0 w 337"/>
                <a:gd name="T43" fmla="*/ 0 h 418"/>
                <a:gd name="T44" fmla="*/ 0 w 337"/>
                <a:gd name="T45" fmla="*/ 0 h 418"/>
                <a:gd name="T46" fmla="*/ 0 w 337"/>
                <a:gd name="T47" fmla="*/ 0 h 418"/>
                <a:gd name="T48" fmla="*/ 0 w 337"/>
                <a:gd name="T49" fmla="*/ 0 h 418"/>
                <a:gd name="T50" fmla="*/ 0 w 337"/>
                <a:gd name="T51" fmla="*/ 0 h 418"/>
                <a:gd name="T52" fmla="*/ 0 w 337"/>
                <a:gd name="T53" fmla="*/ 0 h 418"/>
                <a:gd name="T54" fmla="*/ 0 w 337"/>
                <a:gd name="T55" fmla="*/ 0 h 418"/>
                <a:gd name="T56" fmla="*/ 0 w 337"/>
                <a:gd name="T57" fmla="*/ 0 h 418"/>
                <a:gd name="T58" fmla="*/ 0 w 337"/>
                <a:gd name="T59" fmla="*/ 0 h 418"/>
                <a:gd name="T60" fmla="*/ 0 w 337"/>
                <a:gd name="T61" fmla="*/ 0 h 418"/>
                <a:gd name="T62" fmla="*/ 0 w 337"/>
                <a:gd name="T63" fmla="*/ 0 h 418"/>
                <a:gd name="T64" fmla="*/ 0 w 337"/>
                <a:gd name="T65" fmla="*/ 0 h 418"/>
                <a:gd name="T66" fmla="*/ 0 w 337"/>
                <a:gd name="T67" fmla="*/ 0 h 418"/>
                <a:gd name="T68" fmla="*/ 0 w 337"/>
                <a:gd name="T69" fmla="*/ 0 h 418"/>
                <a:gd name="T70" fmla="*/ 0 w 337"/>
                <a:gd name="T71" fmla="*/ 0 h 418"/>
                <a:gd name="T72" fmla="*/ 0 w 337"/>
                <a:gd name="T73" fmla="*/ 0 h 418"/>
                <a:gd name="T74" fmla="*/ 0 w 337"/>
                <a:gd name="T75" fmla="*/ 0 h 418"/>
                <a:gd name="T76" fmla="*/ 0 w 337"/>
                <a:gd name="T77" fmla="*/ 0 h 418"/>
                <a:gd name="T78" fmla="*/ 0 w 337"/>
                <a:gd name="T79" fmla="*/ 0 h 418"/>
                <a:gd name="T80" fmla="*/ 0 w 337"/>
                <a:gd name="T81" fmla="*/ 0 h 418"/>
                <a:gd name="T82" fmla="*/ 0 w 337"/>
                <a:gd name="T83" fmla="*/ 0 h 418"/>
                <a:gd name="T84" fmla="*/ 0 w 337"/>
                <a:gd name="T85" fmla="*/ 0 h 418"/>
                <a:gd name="T86" fmla="*/ 0 w 337"/>
                <a:gd name="T87" fmla="*/ 0 h 418"/>
                <a:gd name="T88" fmla="*/ 0 w 337"/>
                <a:gd name="T89" fmla="*/ 0 h 418"/>
                <a:gd name="T90" fmla="*/ 0 w 337"/>
                <a:gd name="T91" fmla="*/ 0 h 418"/>
                <a:gd name="T92" fmla="*/ 0 w 337"/>
                <a:gd name="T93" fmla="*/ 0 h 418"/>
                <a:gd name="T94" fmla="*/ 0 w 337"/>
                <a:gd name="T95" fmla="*/ 0 h 4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7"/>
                <a:gd name="T145" fmla="*/ 0 h 418"/>
                <a:gd name="T146" fmla="*/ 337 w 337"/>
                <a:gd name="T147" fmla="*/ 418 h 41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19" name="Freeform 120">
              <a:extLst>
                <a:ext uri="{FF2B5EF4-FFF2-40B4-BE49-F238E27FC236}">
                  <a16:creationId xmlns:a16="http://schemas.microsoft.com/office/drawing/2014/main" id="{5B5E9F2C-14B1-4325-8025-0F03BC2970A4}"/>
                </a:ext>
              </a:extLst>
            </p:cNvPr>
            <p:cNvSpPr>
              <a:spLocks noChangeAspect="1"/>
            </p:cNvSpPr>
            <p:nvPr userDrawn="1"/>
          </p:nvSpPr>
          <p:spPr bwMode="gray">
            <a:xfrm>
              <a:off x="9771830" y="577400"/>
              <a:ext cx="194841" cy="190570"/>
            </a:xfrm>
            <a:custGeom>
              <a:avLst/>
              <a:gdLst>
                <a:gd name="T0" fmla="*/ 0 w 365"/>
                <a:gd name="T1" fmla="*/ 0 h 334"/>
                <a:gd name="T2" fmla="*/ 0 w 365"/>
                <a:gd name="T3" fmla="*/ 0 h 334"/>
                <a:gd name="T4" fmla="*/ 0 w 365"/>
                <a:gd name="T5" fmla="*/ 0 h 334"/>
                <a:gd name="T6" fmla="*/ 0 w 365"/>
                <a:gd name="T7" fmla="*/ 0 h 334"/>
                <a:gd name="T8" fmla="*/ 0 w 365"/>
                <a:gd name="T9" fmla="*/ 0 h 334"/>
                <a:gd name="T10" fmla="*/ 0 w 365"/>
                <a:gd name="T11" fmla="*/ 0 h 334"/>
                <a:gd name="T12" fmla="*/ 0 w 365"/>
                <a:gd name="T13" fmla="*/ 0 h 334"/>
                <a:gd name="T14" fmla="*/ 0 w 365"/>
                <a:gd name="T15" fmla="*/ 0 h 334"/>
                <a:gd name="T16" fmla="*/ 0 w 365"/>
                <a:gd name="T17" fmla="*/ 0 h 334"/>
                <a:gd name="T18" fmla="*/ 0 w 365"/>
                <a:gd name="T19" fmla="*/ 0 h 334"/>
                <a:gd name="T20" fmla="*/ 0 w 365"/>
                <a:gd name="T21" fmla="*/ 0 h 334"/>
                <a:gd name="T22" fmla="*/ 0 w 365"/>
                <a:gd name="T23" fmla="*/ 0 h 334"/>
                <a:gd name="T24" fmla="*/ 0 w 365"/>
                <a:gd name="T25" fmla="*/ 0 h 334"/>
                <a:gd name="T26" fmla="*/ 0 w 365"/>
                <a:gd name="T27" fmla="*/ 0 h 334"/>
                <a:gd name="T28" fmla="*/ 0 w 365"/>
                <a:gd name="T29" fmla="*/ 0 h 334"/>
                <a:gd name="T30" fmla="*/ 0 w 365"/>
                <a:gd name="T31" fmla="*/ 0 h 334"/>
                <a:gd name="T32" fmla="*/ 0 w 365"/>
                <a:gd name="T33" fmla="*/ 0 h 334"/>
                <a:gd name="T34" fmla="*/ 0 w 365"/>
                <a:gd name="T35" fmla="*/ 0 h 334"/>
                <a:gd name="T36" fmla="*/ 0 w 365"/>
                <a:gd name="T37" fmla="*/ 0 h 334"/>
                <a:gd name="T38" fmla="*/ 0 w 365"/>
                <a:gd name="T39" fmla="*/ 0 h 334"/>
                <a:gd name="T40" fmla="*/ 0 w 365"/>
                <a:gd name="T41" fmla="*/ 0 h 334"/>
                <a:gd name="T42" fmla="*/ 0 w 365"/>
                <a:gd name="T43" fmla="*/ 0 h 334"/>
                <a:gd name="T44" fmla="*/ 0 w 365"/>
                <a:gd name="T45" fmla="*/ 0 h 334"/>
                <a:gd name="T46" fmla="*/ 0 w 365"/>
                <a:gd name="T47" fmla="*/ 0 h 334"/>
                <a:gd name="T48" fmla="*/ 0 w 365"/>
                <a:gd name="T49" fmla="*/ 0 h 334"/>
                <a:gd name="T50" fmla="*/ 0 w 365"/>
                <a:gd name="T51" fmla="*/ 0 h 334"/>
                <a:gd name="T52" fmla="*/ 0 w 365"/>
                <a:gd name="T53" fmla="*/ 0 h 334"/>
                <a:gd name="T54" fmla="*/ 0 w 365"/>
                <a:gd name="T55" fmla="*/ 0 h 334"/>
                <a:gd name="T56" fmla="*/ 0 w 365"/>
                <a:gd name="T57" fmla="*/ 0 h 334"/>
                <a:gd name="T58" fmla="*/ 0 w 365"/>
                <a:gd name="T59" fmla="*/ 0 h 334"/>
                <a:gd name="T60" fmla="*/ 0 w 365"/>
                <a:gd name="T61" fmla="*/ 0 h 334"/>
                <a:gd name="T62" fmla="*/ 0 w 365"/>
                <a:gd name="T63" fmla="*/ 0 h 334"/>
                <a:gd name="T64" fmla="*/ 0 w 365"/>
                <a:gd name="T65" fmla="*/ 0 h 334"/>
                <a:gd name="T66" fmla="*/ 0 w 365"/>
                <a:gd name="T67" fmla="*/ 0 h 334"/>
                <a:gd name="T68" fmla="*/ 0 w 365"/>
                <a:gd name="T69" fmla="*/ 0 h 334"/>
                <a:gd name="T70" fmla="*/ 0 w 365"/>
                <a:gd name="T71" fmla="*/ 0 h 334"/>
                <a:gd name="T72" fmla="*/ 0 w 365"/>
                <a:gd name="T73" fmla="*/ 0 h 334"/>
                <a:gd name="T74" fmla="*/ 0 w 365"/>
                <a:gd name="T75" fmla="*/ 0 h 334"/>
                <a:gd name="T76" fmla="*/ 0 w 365"/>
                <a:gd name="T77" fmla="*/ 0 h 334"/>
                <a:gd name="T78" fmla="*/ 0 w 365"/>
                <a:gd name="T79" fmla="*/ 0 h 334"/>
                <a:gd name="T80" fmla="*/ 0 w 365"/>
                <a:gd name="T81" fmla="*/ 0 h 334"/>
                <a:gd name="T82" fmla="*/ 0 w 365"/>
                <a:gd name="T83" fmla="*/ 0 h 334"/>
                <a:gd name="T84" fmla="*/ 0 w 365"/>
                <a:gd name="T85" fmla="*/ 0 h 334"/>
                <a:gd name="T86" fmla="*/ 0 w 365"/>
                <a:gd name="T87" fmla="*/ 0 h 334"/>
                <a:gd name="T88" fmla="*/ 0 w 365"/>
                <a:gd name="T89" fmla="*/ 0 h 334"/>
                <a:gd name="T90" fmla="*/ 0 w 365"/>
                <a:gd name="T91" fmla="*/ 0 h 334"/>
                <a:gd name="T92" fmla="*/ 0 w 365"/>
                <a:gd name="T93" fmla="*/ 0 h 334"/>
                <a:gd name="T94" fmla="*/ 0 w 365"/>
                <a:gd name="T95" fmla="*/ 0 h 334"/>
                <a:gd name="T96" fmla="*/ 0 w 365"/>
                <a:gd name="T97" fmla="*/ 0 h 334"/>
                <a:gd name="T98" fmla="*/ 0 w 365"/>
                <a:gd name="T99" fmla="*/ 0 h 334"/>
                <a:gd name="T100" fmla="*/ 0 w 365"/>
                <a:gd name="T101" fmla="*/ 0 h 334"/>
                <a:gd name="T102" fmla="*/ 0 w 365"/>
                <a:gd name="T103" fmla="*/ 0 h 334"/>
                <a:gd name="T104" fmla="*/ 0 w 365"/>
                <a:gd name="T105" fmla="*/ 0 h 334"/>
                <a:gd name="T106" fmla="*/ 0 w 365"/>
                <a:gd name="T107" fmla="*/ 0 h 334"/>
                <a:gd name="T108" fmla="*/ 0 w 365"/>
                <a:gd name="T109" fmla="*/ 0 h 334"/>
                <a:gd name="T110" fmla="*/ 0 w 365"/>
                <a:gd name="T111" fmla="*/ 0 h 334"/>
                <a:gd name="T112" fmla="*/ 0 w 365"/>
                <a:gd name="T113" fmla="*/ 0 h 334"/>
                <a:gd name="T114" fmla="*/ 0 w 365"/>
                <a:gd name="T115" fmla="*/ 0 h 334"/>
                <a:gd name="T116" fmla="*/ 0 w 365"/>
                <a:gd name="T117" fmla="*/ 0 h 334"/>
                <a:gd name="T118" fmla="*/ 0 w 365"/>
                <a:gd name="T119" fmla="*/ 0 h 334"/>
                <a:gd name="T120" fmla="*/ 0 w 365"/>
                <a:gd name="T121" fmla="*/ 0 h 3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5"/>
                <a:gd name="T184" fmla="*/ 0 h 334"/>
                <a:gd name="T185" fmla="*/ 365 w 365"/>
                <a:gd name="T186" fmla="*/ 334 h 3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0" name="Freeform 121">
              <a:extLst>
                <a:ext uri="{FF2B5EF4-FFF2-40B4-BE49-F238E27FC236}">
                  <a16:creationId xmlns:a16="http://schemas.microsoft.com/office/drawing/2014/main" id="{C6F64529-05F3-167D-F8D6-64153404C99B}"/>
                </a:ext>
              </a:extLst>
            </p:cNvPr>
            <p:cNvSpPr>
              <a:spLocks noChangeAspect="1"/>
            </p:cNvSpPr>
            <p:nvPr userDrawn="1"/>
          </p:nvSpPr>
          <p:spPr bwMode="gray">
            <a:xfrm>
              <a:off x="9907953" y="585933"/>
              <a:ext cx="117439" cy="142217"/>
            </a:xfrm>
            <a:custGeom>
              <a:avLst/>
              <a:gdLst>
                <a:gd name="T0" fmla="*/ 0 w 224"/>
                <a:gd name="T1" fmla="*/ 0 h 248"/>
                <a:gd name="T2" fmla="*/ 0 w 224"/>
                <a:gd name="T3" fmla="*/ 0 h 248"/>
                <a:gd name="T4" fmla="*/ 0 w 224"/>
                <a:gd name="T5" fmla="*/ 0 h 248"/>
                <a:gd name="T6" fmla="*/ 0 w 224"/>
                <a:gd name="T7" fmla="*/ 0 h 248"/>
                <a:gd name="T8" fmla="*/ 0 w 224"/>
                <a:gd name="T9" fmla="*/ 0 h 248"/>
                <a:gd name="T10" fmla="*/ 0 w 224"/>
                <a:gd name="T11" fmla="*/ 0 h 248"/>
                <a:gd name="T12" fmla="*/ 0 w 224"/>
                <a:gd name="T13" fmla="*/ 0 h 248"/>
                <a:gd name="T14" fmla="*/ 0 w 224"/>
                <a:gd name="T15" fmla="*/ 0 h 248"/>
                <a:gd name="T16" fmla="*/ 0 w 224"/>
                <a:gd name="T17" fmla="*/ 0 h 248"/>
                <a:gd name="T18" fmla="*/ 0 w 224"/>
                <a:gd name="T19" fmla="*/ 0 h 248"/>
                <a:gd name="T20" fmla="*/ 0 w 224"/>
                <a:gd name="T21" fmla="*/ 0 h 248"/>
                <a:gd name="T22" fmla="*/ 0 w 224"/>
                <a:gd name="T23" fmla="*/ 0 h 248"/>
                <a:gd name="T24" fmla="*/ 0 w 224"/>
                <a:gd name="T25" fmla="*/ 0 h 248"/>
                <a:gd name="T26" fmla="*/ 0 w 224"/>
                <a:gd name="T27" fmla="*/ 0 h 248"/>
                <a:gd name="T28" fmla="*/ 0 w 224"/>
                <a:gd name="T29" fmla="*/ 0 h 248"/>
                <a:gd name="T30" fmla="*/ 0 w 224"/>
                <a:gd name="T31" fmla="*/ 0 h 248"/>
                <a:gd name="T32" fmla="*/ 0 w 224"/>
                <a:gd name="T33" fmla="*/ 0 h 248"/>
                <a:gd name="T34" fmla="*/ 0 w 224"/>
                <a:gd name="T35" fmla="*/ 0 h 248"/>
                <a:gd name="T36" fmla="*/ 0 w 224"/>
                <a:gd name="T37" fmla="*/ 0 h 248"/>
                <a:gd name="T38" fmla="*/ 0 w 224"/>
                <a:gd name="T39" fmla="*/ 0 h 248"/>
                <a:gd name="T40" fmla="*/ 0 w 224"/>
                <a:gd name="T41" fmla="*/ 0 h 248"/>
                <a:gd name="T42" fmla="*/ 0 w 224"/>
                <a:gd name="T43" fmla="*/ 0 h 248"/>
                <a:gd name="T44" fmla="*/ 0 w 224"/>
                <a:gd name="T45" fmla="*/ 0 h 248"/>
                <a:gd name="T46" fmla="*/ 0 w 224"/>
                <a:gd name="T47" fmla="*/ 0 h 248"/>
                <a:gd name="T48" fmla="*/ 0 w 224"/>
                <a:gd name="T49" fmla="*/ 0 h 248"/>
                <a:gd name="T50" fmla="*/ 0 w 224"/>
                <a:gd name="T51" fmla="*/ 0 h 248"/>
                <a:gd name="T52" fmla="*/ 0 w 224"/>
                <a:gd name="T53" fmla="*/ 0 h 248"/>
                <a:gd name="T54" fmla="*/ 0 w 224"/>
                <a:gd name="T55" fmla="*/ 0 h 248"/>
                <a:gd name="T56" fmla="*/ 0 w 224"/>
                <a:gd name="T57" fmla="*/ 0 h 248"/>
                <a:gd name="T58" fmla="*/ 0 w 224"/>
                <a:gd name="T59" fmla="*/ 0 h 248"/>
                <a:gd name="T60" fmla="*/ 0 w 224"/>
                <a:gd name="T61" fmla="*/ 0 h 248"/>
                <a:gd name="T62" fmla="*/ 0 w 224"/>
                <a:gd name="T63" fmla="*/ 0 h 248"/>
                <a:gd name="T64" fmla="*/ 0 w 224"/>
                <a:gd name="T65" fmla="*/ 0 h 248"/>
                <a:gd name="T66" fmla="*/ 0 w 224"/>
                <a:gd name="T67" fmla="*/ 0 h 248"/>
                <a:gd name="T68" fmla="*/ 0 w 224"/>
                <a:gd name="T69" fmla="*/ 0 h 248"/>
                <a:gd name="T70" fmla="*/ 0 w 224"/>
                <a:gd name="T71" fmla="*/ 0 h 248"/>
                <a:gd name="T72" fmla="*/ 0 w 224"/>
                <a:gd name="T73" fmla="*/ 0 h 248"/>
                <a:gd name="T74" fmla="*/ 0 w 224"/>
                <a:gd name="T75" fmla="*/ 0 h 248"/>
                <a:gd name="T76" fmla="*/ 0 w 224"/>
                <a:gd name="T77" fmla="*/ 0 h 248"/>
                <a:gd name="T78" fmla="*/ 0 w 224"/>
                <a:gd name="T79" fmla="*/ 0 h 248"/>
                <a:gd name="T80" fmla="*/ 0 w 224"/>
                <a:gd name="T81" fmla="*/ 0 h 248"/>
                <a:gd name="T82" fmla="*/ 0 w 224"/>
                <a:gd name="T83" fmla="*/ 0 h 2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4"/>
                <a:gd name="T127" fmla="*/ 0 h 248"/>
                <a:gd name="T128" fmla="*/ 224 w 224"/>
                <a:gd name="T129" fmla="*/ 248 h 2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1" name="Freeform 122">
              <a:extLst>
                <a:ext uri="{FF2B5EF4-FFF2-40B4-BE49-F238E27FC236}">
                  <a16:creationId xmlns:a16="http://schemas.microsoft.com/office/drawing/2014/main" id="{9A4FA815-23D6-D677-F7BA-71B633D092B8}"/>
                </a:ext>
              </a:extLst>
            </p:cNvPr>
            <p:cNvSpPr>
              <a:spLocks noChangeAspect="1"/>
            </p:cNvSpPr>
            <p:nvPr userDrawn="1"/>
          </p:nvSpPr>
          <p:spPr bwMode="gray">
            <a:xfrm>
              <a:off x="10049413" y="662730"/>
              <a:ext cx="144130" cy="102396"/>
            </a:xfrm>
            <a:custGeom>
              <a:avLst/>
              <a:gdLst>
                <a:gd name="T0" fmla="*/ 0 w 266"/>
                <a:gd name="T1" fmla="*/ 0 h 180"/>
                <a:gd name="T2" fmla="*/ 0 w 266"/>
                <a:gd name="T3" fmla="*/ 0 h 180"/>
                <a:gd name="T4" fmla="*/ 0 w 266"/>
                <a:gd name="T5" fmla="*/ 0 h 180"/>
                <a:gd name="T6" fmla="*/ 0 w 266"/>
                <a:gd name="T7" fmla="*/ 0 h 180"/>
                <a:gd name="T8" fmla="*/ 0 w 266"/>
                <a:gd name="T9" fmla="*/ 0 h 180"/>
                <a:gd name="T10" fmla="*/ 0 w 266"/>
                <a:gd name="T11" fmla="*/ 0 h 180"/>
                <a:gd name="T12" fmla="*/ 0 w 266"/>
                <a:gd name="T13" fmla="*/ 0 h 180"/>
                <a:gd name="T14" fmla="*/ 0 w 266"/>
                <a:gd name="T15" fmla="*/ 0 h 180"/>
                <a:gd name="T16" fmla="*/ 0 w 266"/>
                <a:gd name="T17" fmla="*/ 0 h 180"/>
                <a:gd name="T18" fmla="*/ 0 w 266"/>
                <a:gd name="T19" fmla="*/ 0 h 180"/>
                <a:gd name="T20" fmla="*/ 0 w 266"/>
                <a:gd name="T21" fmla="*/ 0 h 180"/>
                <a:gd name="T22" fmla="*/ 0 w 266"/>
                <a:gd name="T23" fmla="*/ 0 h 180"/>
                <a:gd name="T24" fmla="*/ 0 w 266"/>
                <a:gd name="T25" fmla="*/ 0 h 180"/>
                <a:gd name="T26" fmla="*/ 0 w 266"/>
                <a:gd name="T27" fmla="*/ 0 h 180"/>
                <a:gd name="T28" fmla="*/ 0 w 266"/>
                <a:gd name="T29" fmla="*/ 0 h 180"/>
                <a:gd name="T30" fmla="*/ 0 w 266"/>
                <a:gd name="T31" fmla="*/ 0 h 180"/>
                <a:gd name="T32" fmla="*/ 0 w 266"/>
                <a:gd name="T33" fmla="*/ 0 h 180"/>
                <a:gd name="T34" fmla="*/ 0 w 266"/>
                <a:gd name="T35" fmla="*/ 0 h 180"/>
                <a:gd name="T36" fmla="*/ 0 w 266"/>
                <a:gd name="T37" fmla="*/ 0 h 180"/>
                <a:gd name="T38" fmla="*/ 0 w 266"/>
                <a:gd name="T39" fmla="*/ 0 h 180"/>
                <a:gd name="T40" fmla="*/ 0 w 266"/>
                <a:gd name="T41" fmla="*/ 0 h 180"/>
                <a:gd name="T42" fmla="*/ 0 w 266"/>
                <a:gd name="T43" fmla="*/ 0 h 180"/>
                <a:gd name="T44" fmla="*/ 0 w 266"/>
                <a:gd name="T45" fmla="*/ 0 h 180"/>
                <a:gd name="T46" fmla="*/ 0 w 266"/>
                <a:gd name="T47" fmla="*/ 0 h 180"/>
                <a:gd name="T48" fmla="*/ 0 w 266"/>
                <a:gd name="T49" fmla="*/ 0 h 180"/>
                <a:gd name="T50" fmla="*/ 0 w 266"/>
                <a:gd name="T51" fmla="*/ 0 h 180"/>
                <a:gd name="T52" fmla="*/ 0 w 266"/>
                <a:gd name="T53" fmla="*/ 0 h 180"/>
                <a:gd name="T54" fmla="*/ 0 w 266"/>
                <a:gd name="T55" fmla="*/ 0 h 180"/>
                <a:gd name="T56" fmla="*/ 0 w 266"/>
                <a:gd name="T57" fmla="*/ 0 h 180"/>
                <a:gd name="T58" fmla="*/ 0 w 266"/>
                <a:gd name="T59" fmla="*/ 0 h 180"/>
                <a:gd name="T60" fmla="*/ 0 w 266"/>
                <a:gd name="T61" fmla="*/ 0 h 180"/>
                <a:gd name="T62" fmla="*/ 0 w 266"/>
                <a:gd name="T63" fmla="*/ 0 h 180"/>
                <a:gd name="T64" fmla="*/ 0 w 266"/>
                <a:gd name="T65" fmla="*/ 0 h 180"/>
                <a:gd name="T66" fmla="*/ 0 w 266"/>
                <a:gd name="T67" fmla="*/ 0 h 180"/>
                <a:gd name="T68" fmla="*/ 0 w 266"/>
                <a:gd name="T69" fmla="*/ 0 h 180"/>
                <a:gd name="T70" fmla="*/ 0 w 266"/>
                <a:gd name="T71" fmla="*/ 0 h 180"/>
                <a:gd name="T72" fmla="*/ 0 w 266"/>
                <a:gd name="T73" fmla="*/ 0 h 180"/>
                <a:gd name="T74" fmla="*/ 0 w 266"/>
                <a:gd name="T75" fmla="*/ 0 h 180"/>
                <a:gd name="T76" fmla="*/ 0 w 266"/>
                <a:gd name="T77" fmla="*/ 0 h 180"/>
                <a:gd name="T78" fmla="*/ 0 w 266"/>
                <a:gd name="T79" fmla="*/ 0 h 180"/>
                <a:gd name="T80" fmla="*/ 0 w 266"/>
                <a:gd name="T81" fmla="*/ 0 h 180"/>
                <a:gd name="T82" fmla="*/ 0 w 266"/>
                <a:gd name="T83" fmla="*/ 0 h 180"/>
                <a:gd name="T84" fmla="*/ 0 w 266"/>
                <a:gd name="T85" fmla="*/ 0 h 180"/>
                <a:gd name="T86" fmla="*/ 0 w 266"/>
                <a:gd name="T87" fmla="*/ 0 h 180"/>
                <a:gd name="T88" fmla="*/ 0 w 266"/>
                <a:gd name="T89" fmla="*/ 0 h 180"/>
                <a:gd name="T90" fmla="*/ 0 w 266"/>
                <a:gd name="T91" fmla="*/ 0 h 180"/>
                <a:gd name="T92" fmla="*/ 0 w 266"/>
                <a:gd name="T93" fmla="*/ 0 h 180"/>
                <a:gd name="T94" fmla="*/ 0 w 266"/>
                <a:gd name="T95" fmla="*/ 0 h 180"/>
                <a:gd name="T96" fmla="*/ 0 w 266"/>
                <a:gd name="T97" fmla="*/ 0 h 180"/>
                <a:gd name="T98" fmla="*/ 0 w 266"/>
                <a:gd name="T99" fmla="*/ 0 h 18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66"/>
                <a:gd name="T151" fmla="*/ 0 h 180"/>
                <a:gd name="T152" fmla="*/ 266 w 266"/>
                <a:gd name="T153" fmla="*/ 180 h 18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2" name="Freeform 123">
              <a:extLst>
                <a:ext uri="{FF2B5EF4-FFF2-40B4-BE49-F238E27FC236}">
                  <a16:creationId xmlns:a16="http://schemas.microsoft.com/office/drawing/2014/main" id="{EBC39F87-AF32-AB19-750A-CCE38AA7F0F5}"/>
                </a:ext>
              </a:extLst>
            </p:cNvPr>
            <p:cNvSpPr>
              <a:spLocks noChangeAspect="1"/>
            </p:cNvSpPr>
            <p:nvPr userDrawn="1"/>
          </p:nvSpPr>
          <p:spPr bwMode="gray">
            <a:xfrm>
              <a:off x="9857240" y="856144"/>
              <a:ext cx="114770" cy="76797"/>
            </a:xfrm>
            <a:custGeom>
              <a:avLst/>
              <a:gdLst>
                <a:gd name="T0" fmla="*/ 0 w 212"/>
                <a:gd name="T1" fmla="*/ 0 h 136"/>
                <a:gd name="T2" fmla="*/ 0 w 212"/>
                <a:gd name="T3" fmla="*/ 0 h 136"/>
                <a:gd name="T4" fmla="*/ 0 w 212"/>
                <a:gd name="T5" fmla="*/ 0 h 136"/>
                <a:gd name="T6" fmla="*/ 0 w 212"/>
                <a:gd name="T7" fmla="*/ 0 h 136"/>
                <a:gd name="T8" fmla="*/ 0 w 212"/>
                <a:gd name="T9" fmla="*/ 0 h 136"/>
                <a:gd name="T10" fmla="*/ 0 w 212"/>
                <a:gd name="T11" fmla="*/ 0 h 136"/>
                <a:gd name="T12" fmla="*/ 0 w 212"/>
                <a:gd name="T13" fmla="*/ 0 h 136"/>
                <a:gd name="T14" fmla="*/ 0 w 212"/>
                <a:gd name="T15" fmla="*/ 0 h 136"/>
                <a:gd name="T16" fmla="*/ 0 w 212"/>
                <a:gd name="T17" fmla="*/ 0 h 136"/>
                <a:gd name="T18" fmla="*/ 0 w 212"/>
                <a:gd name="T19" fmla="*/ 0 h 136"/>
                <a:gd name="T20" fmla="*/ 0 w 212"/>
                <a:gd name="T21" fmla="*/ 0 h 136"/>
                <a:gd name="T22" fmla="*/ 0 w 212"/>
                <a:gd name="T23" fmla="*/ 0 h 136"/>
                <a:gd name="T24" fmla="*/ 0 w 212"/>
                <a:gd name="T25" fmla="*/ 0 h 136"/>
                <a:gd name="T26" fmla="*/ 0 w 212"/>
                <a:gd name="T27" fmla="*/ 0 h 136"/>
                <a:gd name="T28" fmla="*/ 0 w 212"/>
                <a:gd name="T29" fmla="*/ 0 h 136"/>
                <a:gd name="T30" fmla="*/ 0 w 212"/>
                <a:gd name="T31" fmla="*/ 0 h 136"/>
                <a:gd name="T32" fmla="*/ 0 w 212"/>
                <a:gd name="T33" fmla="*/ 0 h 136"/>
                <a:gd name="T34" fmla="*/ 0 w 212"/>
                <a:gd name="T35" fmla="*/ 0 h 136"/>
                <a:gd name="T36" fmla="*/ 0 w 212"/>
                <a:gd name="T37" fmla="*/ 0 h 136"/>
                <a:gd name="T38" fmla="*/ 0 w 212"/>
                <a:gd name="T39" fmla="*/ 0 h 136"/>
                <a:gd name="T40" fmla="*/ 0 w 212"/>
                <a:gd name="T41" fmla="*/ 0 h 136"/>
                <a:gd name="T42" fmla="*/ 0 w 212"/>
                <a:gd name="T43" fmla="*/ 0 h 136"/>
                <a:gd name="T44" fmla="*/ 0 w 212"/>
                <a:gd name="T45" fmla="*/ 0 h 136"/>
                <a:gd name="T46" fmla="*/ 0 w 212"/>
                <a:gd name="T47" fmla="*/ 0 h 136"/>
                <a:gd name="T48" fmla="*/ 0 w 212"/>
                <a:gd name="T49" fmla="*/ 0 h 136"/>
                <a:gd name="T50" fmla="*/ 0 w 212"/>
                <a:gd name="T51" fmla="*/ 0 h 136"/>
                <a:gd name="T52" fmla="*/ 0 w 212"/>
                <a:gd name="T53" fmla="*/ 0 h 136"/>
                <a:gd name="T54" fmla="*/ 0 w 212"/>
                <a:gd name="T55" fmla="*/ 0 h 136"/>
                <a:gd name="T56" fmla="*/ 0 w 212"/>
                <a:gd name="T57" fmla="*/ 0 h 136"/>
                <a:gd name="T58" fmla="*/ 0 w 212"/>
                <a:gd name="T59" fmla="*/ 0 h 136"/>
                <a:gd name="T60" fmla="*/ 0 w 212"/>
                <a:gd name="T61" fmla="*/ 0 h 136"/>
                <a:gd name="T62" fmla="*/ 0 w 212"/>
                <a:gd name="T63" fmla="*/ 0 h 136"/>
                <a:gd name="T64" fmla="*/ 0 w 212"/>
                <a:gd name="T65" fmla="*/ 0 h 136"/>
                <a:gd name="T66" fmla="*/ 0 w 212"/>
                <a:gd name="T67" fmla="*/ 0 h 136"/>
                <a:gd name="T68" fmla="*/ 0 w 212"/>
                <a:gd name="T69" fmla="*/ 0 h 1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2"/>
                <a:gd name="T106" fmla="*/ 0 h 136"/>
                <a:gd name="T107" fmla="*/ 212 w 212"/>
                <a:gd name="T108" fmla="*/ 136 h 1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3" name="Freeform 124">
              <a:extLst>
                <a:ext uri="{FF2B5EF4-FFF2-40B4-BE49-F238E27FC236}">
                  <a16:creationId xmlns:a16="http://schemas.microsoft.com/office/drawing/2014/main" id="{57A215C7-D599-A07A-F201-90D063D294B4}"/>
                </a:ext>
              </a:extLst>
            </p:cNvPr>
            <p:cNvSpPr>
              <a:spLocks noChangeAspect="1"/>
            </p:cNvSpPr>
            <p:nvPr userDrawn="1"/>
          </p:nvSpPr>
          <p:spPr bwMode="gray">
            <a:xfrm>
              <a:off x="7276257" y="915875"/>
              <a:ext cx="181496" cy="290122"/>
            </a:xfrm>
            <a:custGeom>
              <a:avLst/>
              <a:gdLst>
                <a:gd name="T0" fmla="*/ 0 w 338"/>
                <a:gd name="T1" fmla="*/ 0 h 508"/>
                <a:gd name="T2" fmla="*/ 0 w 338"/>
                <a:gd name="T3" fmla="*/ 0 h 508"/>
                <a:gd name="T4" fmla="*/ 0 w 338"/>
                <a:gd name="T5" fmla="*/ 0 h 508"/>
                <a:gd name="T6" fmla="*/ 0 w 338"/>
                <a:gd name="T7" fmla="*/ 0 h 508"/>
                <a:gd name="T8" fmla="*/ 0 w 338"/>
                <a:gd name="T9" fmla="*/ 0 h 508"/>
                <a:gd name="T10" fmla="*/ 0 w 338"/>
                <a:gd name="T11" fmla="*/ 0 h 508"/>
                <a:gd name="T12" fmla="*/ 0 w 338"/>
                <a:gd name="T13" fmla="*/ 0 h 508"/>
                <a:gd name="T14" fmla="*/ 0 w 338"/>
                <a:gd name="T15" fmla="*/ 0 h 508"/>
                <a:gd name="T16" fmla="*/ 0 w 338"/>
                <a:gd name="T17" fmla="*/ 0 h 508"/>
                <a:gd name="T18" fmla="*/ 0 w 338"/>
                <a:gd name="T19" fmla="*/ 0 h 508"/>
                <a:gd name="T20" fmla="*/ 0 w 338"/>
                <a:gd name="T21" fmla="*/ 0 h 508"/>
                <a:gd name="T22" fmla="*/ 0 w 338"/>
                <a:gd name="T23" fmla="*/ 0 h 508"/>
                <a:gd name="T24" fmla="*/ 0 w 338"/>
                <a:gd name="T25" fmla="*/ 0 h 508"/>
                <a:gd name="T26" fmla="*/ 0 w 338"/>
                <a:gd name="T27" fmla="*/ 0 h 508"/>
                <a:gd name="T28" fmla="*/ 0 w 338"/>
                <a:gd name="T29" fmla="*/ 0 h 508"/>
                <a:gd name="T30" fmla="*/ 0 w 338"/>
                <a:gd name="T31" fmla="*/ 0 h 508"/>
                <a:gd name="T32" fmla="*/ 0 w 338"/>
                <a:gd name="T33" fmla="*/ 0 h 508"/>
                <a:gd name="T34" fmla="*/ 0 w 338"/>
                <a:gd name="T35" fmla="*/ 0 h 508"/>
                <a:gd name="T36" fmla="*/ 0 w 338"/>
                <a:gd name="T37" fmla="*/ 0 h 508"/>
                <a:gd name="T38" fmla="*/ 0 w 338"/>
                <a:gd name="T39" fmla="*/ 0 h 508"/>
                <a:gd name="T40" fmla="*/ 0 w 338"/>
                <a:gd name="T41" fmla="*/ 0 h 508"/>
                <a:gd name="T42" fmla="*/ 0 w 338"/>
                <a:gd name="T43" fmla="*/ 0 h 508"/>
                <a:gd name="T44" fmla="*/ 0 w 338"/>
                <a:gd name="T45" fmla="*/ 0 h 508"/>
                <a:gd name="T46" fmla="*/ 0 w 338"/>
                <a:gd name="T47" fmla="*/ 0 h 508"/>
                <a:gd name="T48" fmla="*/ 0 w 338"/>
                <a:gd name="T49" fmla="*/ 0 h 508"/>
                <a:gd name="T50" fmla="*/ 0 w 338"/>
                <a:gd name="T51" fmla="*/ 0 h 508"/>
                <a:gd name="T52" fmla="*/ 0 w 338"/>
                <a:gd name="T53" fmla="*/ 0 h 508"/>
                <a:gd name="T54" fmla="*/ 0 w 338"/>
                <a:gd name="T55" fmla="*/ 0 h 508"/>
                <a:gd name="T56" fmla="*/ 0 w 338"/>
                <a:gd name="T57" fmla="*/ 0 h 508"/>
                <a:gd name="T58" fmla="*/ 0 w 338"/>
                <a:gd name="T59" fmla="*/ 0 h 508"/>
                <a:gd name="T60" fmla="*/ 0 w 338"/>
                <a:gd name="T61" fmla="*/ 0 h 508"/>
                <a:gd name="T62" fmla="*/ 0 w 338"/>
                <a:gd name="T63" fmla="*/ 0 h 508"/>
                <a:gd name="T64" fmla="*/ 0 w 338"/>
                <a:gd name="T65" fmla="*/ 0 h 508"/>
                <a:gd name="T66" fmla="*/ 0 w 338"/>
                <a:gd name="T67" fmla="*/ 0 h 508"/>
                <a:gd name="T68" fmla="*/ 0 w 338"/>
                <a:gd name="T69" fmla="*/ 0 h 508"/>
                <a:gd name="T70" fmla="*/ 0 w 338"/>
                <a:gd name="T71" fmla="*/ 0 h 508"/>
                <a:gd name="T72" fmla="*/ 0 w 338"/>
                <a:gd name="T73" fmla="*/ 0 h 508"/>
                <a:gd name="T74" fmla="*/ 0 w 338"/>
                <a:gd name="T75" fmla="*/ 0 h 508"/>
                <a:gd name="T76" fmla="*/ 0 w 338"/>
                <a:gd name="T77" fmla="*/ 0 h 508"/>
                <a:gd name="T78" fmla="*/ 0 w 338"/>
                <a:gd name="T79" fmla="*/ 0 h 508"/>
                <a:gd name="T80" fmla="*/ 0 w 338"/>
                <a:gd name="T81" fmla="*/ 0 h 508"/>
                <a:gd name="T82" fmla="*/ 0 w 338"/>
                <a:gd name="T83" fmla="*/ 0 h 508"/>
                <a:gd name="T84" fmla="*/ 0 w 338"/>
                <a:gd name="T85" fmla="*/ 0 h 508"/>
                <a:gd name="T86" fmla="*/ 0 w 338"/>
                <a:gd name="T87" fmla="*/ 0 h 508"/>
                <a:gd name="T88" fmla="*/ 0 w 338"/>
                <a:gd name="T89" fmla="*/ 0 h 508"/>
                <a:gd name="T90" fmla="*/ 0 w 338"/>
                <a:gd name="T91" fmla="*/ 0 h 508"/>
                <a:gd name="T92" fmla="*/ 0 w 338"/>
                <a:gd name="T93" fmla="*/ 0 h 508"/>
                <a:gd name="T94" fmla="*/ 0 w 338"/>
                <a:gd name="T95" fmla="*/ 0 h 508"/>
                <a:gd name="T96" fmla="*/ 0 w 338"/>
                <a:gd name="T97" fmla="*/ 0 h 508"/>
                <a:gd name="T98" fmla="*/ 0 w 338"/>
                <a:gd name="T99" fmla="*/ 0 h 508"/>
                <a:gd name="T100" fmla="*/ 0 w 338"/>
                <a:gd name="T101" fmla="*/ 0 h 508"/>
                <a:gd name="T102" fmla="*/ 0 w 338"/>
                <a:gd name="T103" fmla="*/ 0 h 508"/>
                <a:gd name="T104" fmla="*/ 0 w 338"/>
                <a:gd name="T105" fmla="*/ 0 h 508"/>
                <a:gd name="T106" fmla="*/ 0 w 338"/>
                <a:gd name="T107" fmla="*/ 0 h 508"/>
                <a:gd name="T108" fmla="*/ 0 w 338"/>
                <a:gd name="T109" fmla="*/ 0 h 508"/>
                <a:gd name="T110" fmla="*/ 0 w 338"/>
                <a:gd name="T111" fmla="*/ 0 h 508"/>
                <a:gd name="T112" fmla="*/ 0 w 338"/>
                <a:gd name="T113" fmla="*/ 0 h 508"/>
                <a:gd name="T114" fmla="*/ 0 w 338"/>
                <a:gd name="T115" fmla="*/ 0 h 508"/>
                <a:gd name="T116" fmla="*/ 0 w 338"/>
                <a:gd name="T117" fmla="*/ 0 h 508"/>
                <a:gd name="T118" fmla="*/ 0 w 338"/>
                <a:gd name="T119" fmla="*/ 0 h 508"/>
                <a:gd name="T120" fmla="*/ 0 w 338"/>
                <a:gd name="T121" fmla="*/ 0 h 508"/>
                <a:gd name="T122" fmla="*/ 0 w 338"/>
                <a:gd name="T123" fmla="*/ 0 h 508"/>
                <a:gd name="T124" fmla="*/ 0 w 338"/>
                <a:gd name="T125" fmla="*/ 0 h 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38"/>
                <a:gd name="T190" fmla="*/ 0 h 508"/>
                <a:gd name="T191" fmla="*/ 338 w 338"/>
                <a:gd name="T192" fmla="*/ 508 h 50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4" name="Freeform 125">
              <a:extLst>
                <a:ext uri="{FF2B5EF4-FFF2-40B4-BE49-F238E27FC236}">
                  <a16:creationId xmlns:a16="http://schemas.microsoft.com/office/drawing/2014/main" id="{3692F0DB-8008-9A21-3B71-2156629F73A8}"/>
                </a:ext>
              </a:extLst>
            </p:cNvPr>
            <p:cNvSpPr>
              <a:spLocks noChangeAspect="1"/>
            </p:cNvSpPr>
            <p:nvPr userDrawn="1"/>
          </p:nvSpPr>
          <p:spPr bwMode="gray">
            <a:xfrm>
              <a:off x="7340314" y="480692"/>
              <a:ext cx="451072" cy="452249"/>
            </a:xfrm>
            <a:custGeom>
              <a:avLst/>
              <a:gdLst>
                <a:gd name="T0" fmla="*/ 0 w 843"/>
                <a:gd name="T1" fmla="*/ 0 h 796"/>
                <a:gd name="T2" fmla="*/ 0 w 843"/>
                <a:gd name="T3" fmla="*/ 0 h 796"/>
                <a:gd name="T4" fmla="*/ 0 w 843"/>
                <a:gd name="T5" fmla="*/ 0 h 796"/>
                <a:gd name="T6" fmla="*/ 0 w 843"/>
                <a:gd name="T7" fmla="*/ 0 h 796"/>
                <a:gd name="T8" fmla="*/ 0 w 843"/>
                <a:gd name="T9" fmla="*/ 0 h 796"/>
                <a:gd name="T10" fmla="*/ 0 w 843"/>
                <a:gd name="T11" fmla="*/ 0 h 796"/>
                <a:gd name="T12" fmla="*/ 0 w 843"/>
                <a:gd name="T13" fmla="*/ 0 h 796"/>
                <a:gd name="T14" fmla="*/ 0 w 843"/>
                <a:gd name="T15" fmla="*/ 0 h 796"/>
                <a:gd name="T16" fmla="*/ 0 w 843"/>
                <a:gd name="T17" fmla="*/ 0 h 796"/>
                <a:gd name="T18" fmla="*/ 0 w 843"/>
                <a:gd name="T19" fmla="*/ 0 h 796"/>
                <a:gd name="T20" fmla="*/ 0 w 843"/>
                <a:gd name="T21" fmla="*/ 0 h 796"/>
                <a:gd name="T22" fmla="*/ 0 w 843"/>
                <a:gd name="T23" fmla="*/ 0 h 796"/>
                <a:gd name="T24" fmla="*/ 0 w 843"/>
                <a:gd name="T25" fmla="*/ 0 h 796"/>
                <a:gd name="T26" fmla="*/ 0 w 843"/>
                <a:gd name="T27" fmla="*/ 0 h 796"/>
                <a:gd name="T28" fmla="*/ 0 w 843"/>
                <a:gd name="T29" fmla="*/ 0 h 796"/>
                <a:gd name="T30" fmla="*/ 0 w 843"/>
                <a:gd name="T31" fmla="*/ 0 h 796"/>
                <a:gd name="T32" fmla="*/ 0 w 843"/>
                <a:gd name="T33" fmla="*/ 0 h 796"/>
                <a:gd name="T34" fmla="*/ 0 w 843"/>
                <a:gd name="T35" fmla="*/ 0 h 796"/>
                <a:gd name="T36" fmla="*/ 0 w 843"/>
                <a:gd name="T37" fmla="*/ 0 h 796"/>
                <a:gd name="T38" fmla="*/ 0 w 843"/>
                <a:gd name="T39" fmla="*/ 0 h 796"/>
                <a:gd name="T40" fmla="*/ 0 w 843"/>
                <a:gd name="T41" fmla="*/ 0 h 796"/>
                <a:gd name="T42" fmla="*/ 0 w 843"/>
                <a:gd name="T43" fmla="*/ 0 h 796"/>
                <a:gd name="T44" fmla="*/ 0 w 843"/>
                <a:gd name="T45" fmla="*/ 0 h 796"/>
                <a:gd name="T46" fmla="*/ 0 w 843"/>
                <a:gd name="T47" fmla="*/ 0 h 796"/>
                <a:gd name="T48" fmla="*/ 0 w 843"/>
                <a:gd name="T49" fmla="*/ 0 h 796"/>
                <a:gd name="T50" fmla="*/ 0 w 843"/>
                <a:gd name="T51" fmla="*/ 0 h 796"/>
                <a:gd name="T52" fmla="*/ 0 w 843"/>
                <a:gd name="T53" fmla="*/ 0 h 796"/>
                <a:gd name="T54" fmla="*/ 0 w 843"/>
                <a:gd name="T55" fmla="*/ 0 h 796"/>
                <a:gd name="T56" fmla="*/ 0 w 843"/>
                <a:gd name="T57" fmla="*/ 0 h 796"/>
                <a:gd name="T58" fmla="*/ 0 w 843"/>
                <a:gd name="T59" fmla="*/ 0 h 796"/>
                <a:gd name="T60" fmla="*/ 0 w 843"/>
                <a:gd name="T61" fmla="*/ 0 h 796"/>
                <a:gd name="T62" fmla="*/ 0 w 843"/>
                <a:gd name="T63" fmla="*/ 0 h 796"/>
                <a:gd name="T64" fmla="*/ 0 w 843"/>
                <a:gd name="T65" fmla="*/ 0 h 796"/>
                <a:gd name="T66" fmla="*/ 0 w 843"/>
                <a:gd name="T67" fmla="*/ 0 h 796"/>
                <a:gd name="T68" fmla="*/ 0 w 843"/>
                <a:gd name="T69" fmla="*/ 0 h 796"/>
                <a:gd name="T70" fmla="*/ 0 w 843"/>
                <a:gd name="T71" fmla="*/ 0 h 796"/>
                <a:gd name="T72" fmla="*/ 0 w 843"/>
                <a:gd name="T73" fmla="*/ 0 h 796"/>
                <a:gd name="T74" fmla="*/ 0 w 843"/>
                <a:gd name="T75" fmla="*/ 0 h 796"/>
                <a:gd name="T76" fmla="*/ 0 w 843"/>
                <a:gd name="T77" fmla="*/ 0 h 796"/>
                <a:gd name="T78" fmla="*/ 0 w 843"/>
                <a:gd name="T79" fmla="*/ 0 h 796"/>
                <a:gd name="T80" fmla="*/ 0 w 843"/>
                <a:gd name="T81" fmla="*/ 0 h 796"/>
                <a:gd name="T82" fmla="*/ 0 w 843"/>
                <a:gd name="T83" fmla="*/ 0 h 796"/>
                <a:gd name="T84" fmla="*/ 0 w 843"/>
                <a:gd name="T85" fmla="*/ 0 h 796"/>
                <a:gd name="T86" fmla="*/ 0 w 843"/>
                <a:gd name="T87" fmla="*/ 0 h 796"/>
                <a:gd name="T88" fmla="*/ 0 w 843"/>
                <a:gd name="T89" fmla="*/ 0 h 796"/>
                <a:gd name="T90" fmla="*/ 0 w 843"/>
                <a:gd name="T91" fmla="*/ 0 h 796"/>
                <a:gd name="T92" fmla="*/ 0 w 843"/>
                <a:gd name="T93" fmla="*/ 0 h 796"/>
                <a:gd name="T94" fmla="*/ 0 w 843"/>
                <a:gd name="T95" fmla="*/ 0 h 796"/>
                <a:gd name="T96" fmla="*/ 0 w 843"/>
                <a:gd name="T97" fmla="*/ 0 h 796"/>
                <a:gd name="T98" fmla="*/ 0 w 843"/>
                <a:gd name="T99" fmla="*/ 0 h 796"/>
                <a:gd name="T100" fmla="*/ 0 w 843"/>
                <a:gd name="T101" fmla="*/ 0 h 796"/>
                <a:gd name="T102" fmla="*/ 0 w 843"/>
                <a:gd name="T103" fmla="*/ 0 h 796"/>
                <a:gd name="T104" fmla="*/ 0 w 843"/>
                <a:gd name="T105" fmla="*/ 0 h 796"/>
                <a:gd name="T106" fmla="*/ 0 w 843"/>
                <a:gd name="T107" fmla="*/ 0 h 796"/>
                <a:gd name="T108" fmla="*/ 0 w 843"/>
                <a:gd name="T109" fmla="*/ 0 h 7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43"/>
                <a:gd name="T166" fmla="*/ 0 h 796"/>
                <a:gd name="T167" fmla="*/ 843 w 843"/>
                <a:gd name="T168" fmla="*/ 796 h 7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5" name="Freeform 126">
              <a:extLst>
                <a:ext uri="{FF2B5EF4-FFF2-40B4-BE49-F238E27FC236}">
                  <a16:creationId xmlns:a16="http://schemas.microsoft.com/office/drawing/2014/main" id="{DCD39319-E6A9-227F-45E5-A0A6FA6F58DF}"/>
                </a:ext>
              </a:extLst>
            </p:cNvPr>
            <p:cNvSpPr>
              <a:spLocks noChangeAspect="1"/>
            </p:cNvSpPr>
            <p:nvPr userDrawn="1"/>
          </p:nvSpPr>
          <p:spPr bwMode="gray">
            <a:xfrm>
              <a:off x="7302948" y="1123511"/>
              <a:ext cx="24021" cy="45509"/>
            </a:xfrm>
            <a:custGeom>
              <a:avLst/>
              <a:gdLst>
                <a:gd name="T0" fmla="*/ 0 w 48"/>
                <a:gd name="T1" fmla="*/ 0 h 81"/>
                <a:gd name="T2" fmla="*/ 0 w 48"/>
                <a:gd name="T3" fmla="*/ 0 h 81"/>
                <a:gd name="T4" fmla="*/ 0 w 48"/>
                <a:gd name="T5" fmla="*/ 0 h 81"/>
                <a:gd name="T6" fmla="*/ 0 w 48"/>
                <a:gd name="T7" fmla="*/ 0 h 81"/>
                <a:gd name="T8" fmla="*/ 0 w 48"/>
                <a:gd name="T9" fmla="*/ 0 h 81"/>
                <a:gd name="T10" fmla="*/ 0 w 48"/>
                <a:gd name="T11" fmla="*/ 0 h 81"/>
                <a:gd name="T12" fmla="*/ 0 w 48"/>
                <a:gd name="T13" fmla="*/ 0 h 81"/>
                <a:gd name="T14" fmla="*/ 0 w 48"/>
                <a:gd name="T15" fmla="*/ 0 h 81"/>
                <a:gd name="T16" fmla="*/ 0 w 48"/>
                <a:gd name="T17" fmla="*/ 0 h 81"/>
                <a:gd name="T18" fmla="*/ 0 w 48"/>
                <a:gd name="T19" fmla="*/ 0 h 81"/>
                <a:gd name="T20" fmla="*/ 0 w 48"/>
                <a:gd name="T21" fmla="*/ 0 h 81"/>
                <a:gd name="T22" fmla="*/ 0 w 48"/>
                <a:gd name="T23" fmla="*/ 0 h 81"/>
                <a:gd name="T24" fmla="*/ 0 w 48"/>
                <a:gd name="T25" fmla="*/ 0 h 81"/>
                <a:gd name="T26" fmla="*/ 0 w 48"/>
                <a:gd name="T27" fmla="*/ 0 h 81"/>
                <a:gd name="T28" fmla="*/ 0 w 48"/>
                <a:gd name="T29" fmla="*/ 0 h 81"/>
                <a:gd name="T30" fmla="*/ 0 w 48"/>
                <a:gd name="T31" fmla="*/ 0 h 81"/>
                <a:gd name="T32" fmla="*/ 0 w 48"/>
                <a:gd name="T33" fmla="*/ 0 h 81"/>
                <a:gd name="T34" fmla="*/ 0 w 48"/>
                <a:gd name="T35" fmla="*/ 0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81"/>
                <a:gd name="T56" fmla="*/ 48 w 48"/>
                <a:gd name="T57" fmla="*/ 81 h 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6" name="Freeform 127">
              <a:extLst>
                <a:ext uri="{FF2B5EF4-FFF2-40B4-BE49-F238E27FC236}">
                  <a16:creationId xmlns:a16="http://schemas.microsoft.com/office/drawing/2014/main" id="{4CC0D312-A148-5F02-9818-0019C674FBF6}"/>
                </a:ext>
              </a:extLst>
            </p:cNvPr>
            <p:cNvSpPr>
              <a:spLocks noChangeAspect="1"/>
            </p:cNvSpPr>
            <p:nvPr userDrawn="1"/>
          </p:nvSpPr>
          <p:spPr bwMode="gray">
            <a:xfrm>
              <a:off x="9843895" y="1006893"/>
              <a:ext cx="45374" cy="36976"/>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w 85"/>
                <a:gd name="T57" fmla="*/ 0 h 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5"/>
                <a:gd name="T88" fmla="*/ 0 h 61"/>
                <a:gd name="T89" fmla="*/ 85 w 85"/>
                <a:gd name="T90" fmla="*/ 61 h 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7" name="Freeform 128">
              <a:extLst>
                <a:ext uri="{FF2B5EF4-FFF2-40B4-BE49-F238E27FC236}">
                  <a16:creationId xmlns:a16="http://schemas.microsoft.com/office/drawing/2014/main" id="{1B9DABEC-B12E-88DD-D985-1428DDC926FB}"/>
                </a:ext>
              </a:extLst>
            </p:cNvPr>
            <p:cNvSpPr>
              <a:spLocks noChangeAspect="1"/>
            </p:cNvSpPr>
            <p:nvPr userDrawn="1"/>
          </p:nvSpPr>
          <p:spPr bwMode="gray">
            <a:xfrm>
              <a:off x="7484444" y="1211686"/>
              <a:ext cx="58720" cy="71108"/>
            </a:xfrm>
            <a:custGeom>
              <a:avLst/>
              <a:gdLst>
                <a:gd name="T0" fmla="*/ 0 w 112"/>
                <a:gd name="T1" fmla="*/ 0 h 123"/>
                <a:gd name="T2" fmla="*/ 0 w 112"/>
                <a:gd name="T3" fmla="*/ 0 h 123"/>
                <a:gd name="T4" fmla="*/ 0 w 112"/>
                <a:gd name="T5" fmla="*/ 0 h 123"/>
                <a:gd name="T6" fmla="*/ 0 w 112"/>
                <a:gd name="T7" fmla="*/ 0 h 123"/>
                <a:gd name="T8" fmla="*/ 0 w 112"/>
                <a:gd name="T9" fmla="*/ 0 h 123"/>
                <a:gd name="T10" fmla="*/ 0 w 112"/>
                <a:gd name="T11" fmla="*/ 0 h 123"/>
                <a:gd name="T12" fmla="*/ 0 w 112"/>
                <a:gd name="T13" fmla="*/ 0 h 123"/>
                <a:gd name="T14" fmla="*/ 0 w 112"/>
                <a:gd name="T15" fmla="*/ 0 h 123"/>
                <a:gd name="T16" fmla="*/ 0 w 112"/>
                <a:gd name="T17" fmla="*/ 0 h 123"/>
                <a:gd name="T18" fmla="*/ 0 w 112"/>
                <a:gd name="T19" fmla="*/ 0 h 123"/>
                <a:gd name="T20" fmla="*/ 0 w 112"/>
                <a:gd name="T21" fmla="*/ 0 h 123"/>
                <a:gd name="T22" fmla="*/ 0 w 112"/>
                <a:gd name="T23" fmla="*/ 0 h 123"/>
                <a:gd name="T24" fmla="*/ 0 w 112"/>
                <a:gd name="T25" fmla="*/ 0 h 123"/>
                <a:gd name="T26" fmla="*/ 0 w 112"/>
                <a:gd name="T27" fmla="*/ 0 h 123"/>
                <a:gd name="T28" fmla="*/ 0 w 112"/>
                <a:gd name="T29" fmla="*/ 0 h 123"/>
                <a:gd name="T30" fmla="*/ 0 w 112"/>
                <a:gd name="T31" fmla="*/ 0 h 123"/>
                <a:gd name="T32" fmla="*/ 0 w 112"/>
                <a:gd name="T33" fmla="*/ 0 h 123"/>
                <a:gd name="T34" fmla="*/ 0 w 112"/>
                <a:gd name="T35" fmla="*/ 0 h 123"/>
                <a:gd name="T36" fmla="*/ 0 w 112"/>
                <a:gd name="T37" fmla="*/ 0 h 123"/>
                <a:gd name="T38" fmla="*/ 0 w 112"/>
                <a:gd name="T39" fmla="*/ 0 h 123"/>
                <a:gd name="T40" fmla="*/ 0 w 112"/>
                <a:gd name="T41" fmla="*/ 0 h 123"/>
                <a:gd name="T42" fmla="*/ 0 w 112"/>
                <a:gd name="T43" fmla="*/ 0 h 123"/>
                <a:gd name="T44" fmla="*/ 0 w 112"/>
                <a:gd name="T45" fmla="*/ 0 h 123"/>
                <a:gd name="T46" fmla="*/ 0 w 112"/>
                <a:gd name="T47" fmla="*/ 0 h 123"/>
                <a:gd name="T48" fmla="*/ 0 w 112"/>
                <a:gd name="T49" fmla="*/ 0 h 123"/>
                <a:gd name="T50" fmla="*/ 0 w 112"/>
                <a:gd name="T51" fmla="*/ 0 h 123"/>
                <a:gd name="T52" fmla="*/ 0 w 112"/>
                <a:gd name="T53" fmla="*/ 0 h 123"/>
                <a:gd name="T54" fmla="*/ 0 w 112"/>
                <a:gd name="T55" fmla="*/ 0 h 123"/>
                <a:gd name="T56" fmla="*/ 0 w 112"/>
                <a:gd name="T57" fmla="*/ 0 h 123"/>
                <a:gd name="T58" fmla="*/ 0 w 112"/>
                <a:gd name="T59" fmla="*/ 0 h 123"/>
                <a:gd name="T60" fmla="*/ 0 w 112"/>
                <a:gd name="T61" fmla="*/ 0 h 123"/>
                <a:gd name="T62" fmla="*/ 0 w 112"/>
                <a:gd name="T63" fmla="*/ 0 h 123"/>
                <a:gd name="T64" fmla="*/ 0 w 112"/>
                <a:gd name="T65" fmla="*/ 0 h 123"/>
                <a:gd name="T66" fmla="*/ 0 w 112"/>
                <a:gd name="T67" fmla="*/ 0 h 123"/>
                <a:gd name="T68" fmla="*/ 0 w 112"/>
                <a:gd name="T69" fmla="*/ 0 h 12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123"/>
                <a:gd name="T107" fmla="*/ 112 w 112"/>
                <a:gd name="T108" fmla="*/ 123 h 12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8" name="Freeform 129">
              <a:extLst>
                <a:ext uri="{FF2B5EF4-FFF2-40B4-BE49-F238E27FC236}">
                  <a16:creationId xmlns:a16="http://schemas.microsoft.com/office/drawing/2014/main" id="{B0E0B236-8796-1979-812C-A6109AC60519}"/>
                </a:ext>
              </a:extLst>
            </p:cNvPr>
            <p:cNvSpPr>
              <a:spLocks noChangeAspect="1"/>
            </p:cNvSpPr>
            <p:nvPr userDrawn="1"/>
          </p:nvSpPr>
          <p:spPr bwMode="gray">
            <a:xfrm>
              <a:off x="8488011" y="0"/>
              <a:ext cx="216195" cy="213325"/>
            </a:xfrm>
            <a:custGeom>
              <a:avLst/>
              <a:gdLst>
                <a:gd name="T0" fmla="*/ 0 w 405"/>
                <a:gd name="T1" fmla="*/ 0 h 373"/>
                <a:gd name="T2" fmla="*/ 0 w 405"/>
                <a:gd name="T3" fmla="*/ 0 h 373"/>
                <a:gd name="T4" fmla="*/ 0 w 405"/>
                <a:gd name="T5" fmla="*/ 0 h 373"/>
                <a:gd name="T6" fmla="*/ 0 w 405"/>
                <a:gd name="T7" fmla="*/ 0 h 373"/>
                <a:gd name="T8" fmla="*/ 0 w 405"/>
                <a:gd name="T9" fmla="*/ 0 h 373"/>
                <a:gd name="T10" fmla="*/ 0 w 405"/>
                <a:gd name="T11" fmla="*/ 0 h 373"/>
                <a:gd name="T12" fmla="*/ 0 w 405"/>
                <a:gd name="T13" fmla="*/ 0 h 373"/>
                <a:gd name="T14" fmla="*/ 0 w 405"/>
                <a:gd name="T15" fmla="*/ 0 h 373"/>
                <a:gd name="T16" fmla="*/ 0 w 405"/>
                <a:gd name="T17" fmla="*/ 0 h 373"/>
                <a:gd name="T18" fmla="*/ 0 w 405"/>
                <a:gd name="T19" fmla="*/ 0 h 373"/>
                <a:gd name="T20" fmla="*/ 0 w 405"/>
                <a:gd name="T21" fmla="*/ 0 h 373"/>
                <a:gd name="T22" fmla="*/ 0 w 405"/>
                <a:gd name="T23" fmla="*/ 0 h 373"/>
                <a:gd name="T24" fmla="*/ 0 w 405"/>
                <a:gd name="T25" fmla="*/ 0 h 373"/>
                <a:gd name="T26" fmla="*/ 0 w 405"/>
                <a:gd name="T27" fmla="*/ 0 h 373"/>
                <a:gd name="T28" fmla="*/ 0 w 405"/>
                <a:gd name="T29" fmla="*/ 0 h 373"/>
                <a:gd name="T30" fmla="*/ 0 w 405"/>
                <a:gd name="T31" fmla="*/ 0 h 373"/>
                <a:gd name="T32" fmla="*/ 0 w 405"/>
                <a:gd name="T33" fmla="*/ 0 h 373"/>
                <a:gd name="T34" fmla="*/ 0 w 405"/>
                <a:gd name="T35" fmla="*/ 0 h 373"/>
                <a:gd name="T36" fmla="*/ 0 w 405"/>
                <a:gd name="T37" fmla="*/ 0 h 373"/>
                <a:gd name="T38" fmla="*/ 0 w 405"/>
                <a:gd name="T39" fmla="*/ 0 h 373"/>
                <a:gd name="T40" fmla="*/ 0 w 405"/>
                <a:gd name="T41" fmla="*/ 0 h 373"/>
                <a:gd name="T42" fmla="*/ 0 w 405"/>
                <a:gd name="T43" fmla="*/ 0 h 373"/>
                <a:gd name="T44" fmla="*/ 0 w 405"/>
                <a:gd name="T45" fmla="*/ 0 h 373"/>
                <a:gd name="T46" fmla="*/ 0 w 405"/>
                <a:gd name="T47" fmla="*/ 0 h 373"/>
                <a:gd name="T48" fmla="*/ 0 w 405"/>
                <a:gd name="T49" fmla="*/ 0 h 373"/>
                <a:gd name="T50" fmla="*/ 0 w 405"/>
                <a:gd name="T51" fmla="*/ 0 h 373"/>
                <a:gd name="T52" fmla="*/ 0 w 405"/>
                <a:gd name="T53" fmla="*/ 0 h 373"/>
                <a:gd name="T54" fmla="*/ 0 w 405"/>
                <a:gd name="T55" fmla="*/ 0 h 373"/>
                <a:gd name="T56" fmla="*/ 0 w 405"/>
                <a:gd name="T57" fmla="*/ 0 h 373"/>
                <a:gd name="T58" fmla="*/ 0 w 405"/>
                <a:gd name="T59" fmla="*/ 0 h 373"/>
                <a:gd name="T60" fmla="*/ 0 w 405"/>
                <a:gd name="T61" fmla="*/ 0 h 373"/>
                <a:gd name="T62" fmla="*/ 0 w 405"/>
                <a:gd name="T63" fmla="*/ 0 h 373"/>
                <a:gd name="T64" fmla="*/ 0 w 405"/>
                <a:gd name="T65" fmla="*/ 0 h 373"/>
                <a:gd name="T66" fmla="*/ 0 w 405"/>
                <a:gd name="T67" fmla="*/ 0 h 373"/>
                <a:gd name="T68" fmla="*/ 0 w 405"/>
                <a:gd name="T69" fmla="*/ 0 h 373"/>
                <a:gd name="T70" fmla="*/ 0 w 405"/>
                <a:gd name="T71" fmla="*/ 0 h 373"/>
                <a:gd name="T72" fmla="*/ 0 w 405"/>
                <a:gd name="T73" fmla="*/ 0 h 373"/>
                <a:gd name="T74" fmla="*/ 0 w 405"/>
                <a:gd name="T75" fmla="*/ 0 h 373"/>
                <a:gd name="T76" fmla="*/ 0 w 405"/>
                <a:gd name="T77" fmla="*/ 0 h 373"/>
                <a:gd name="T78" fmla="*/ 0 w 405"/>
                <a:gd name="T79" fmla="*/ 0 h 373"/>
                <a:gd name="T80" fmla="*/ 0 w 405"/>
                <a:gd name="T81" fmla="*/ 0 h 373"/>
                <a:gd name="T82" fmla="*/ 0 w 405"/>
                <a:gd name="T83" fmla="*/ 0 h 373"/>
                <a:gd name="T84" fmla="*/ 0 w 405"/>
                <a:gd name="T85" fmla="*/ 0 h 373"/>
                <a:gd name="T86" fmla="*/ 0 w 405"/>
                <a:gd name="T87" fmla="*/ 0 h 373"/>
                <a:gd name="T88" fmla="*/ 0 w 405"/>
                <a:gd name="T89" fmla="*/ 0 h 373"/>
                <a:gd name="T90" fmla="*/ 0 w 405"/>
                <a:gd name="T91" fmla="*/ 0 h 373"/>
                <a:gd name="T92" fmla="*/ 0 w 405"/>
                <a:gd name="T93" fmla="*/ 0 h 373"/>
                <a:gd name="T94" fmla="*/ 0 w 405"/>
                <a:gd name="T95" fmla="*/ 0 h 373"/>
                <a:gd name="T96" fmla="*/ 0 w 405"/>
                <a:gd name="T97" fmla="*/ 0 h 3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5"/>
                <a:gd name="T148" fmla="*/ 0 h 373"/>
                <a:gd name="T149" fmla="*/ 405 w 405"/>
                <a:gd name="T150" fmla="*/ 373 h 37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29" name="Freeform 130">
              <a:extLst>
                <a:ext uri="{FF2B5EF4-FFF2-40B4-BE49-F238E27FC236}">
                  <a16:creationId xmlns:a16="http://schemas.microsoft.com/office/drawing/2014/main" id="{8F43E6BF-3830-944D-AC6A-78BFF564D239}"/>
                </a:ext>
              </a:extLst>
            </p:cNvPr>
            <p:cNvSpPr>
              <a:spLocks noChangeAspect="1"/>
            </p:cNvSpPr>
            <p:nvPr userDrawn="1"/>
          </p:nvSpPr>
          <p:spPr bwMode="gray">
            <a:xfrm>
              <a:off x="10994261" y="1103601"/>
              <a:ext cx="117439" cy="71108"/>
            </a:xfrm>
            <a:custGeom>
              <a:avLst/>
              <a:gdLst>
                <a:gd name="T0" fmla="*/ 0 w 218"/>
                <a:gd name="T1" fmla="*/ 0 h 125"/>
                <a:gd name="T2" fmla="*/ 0 w 218"/>
                <a:gd name="T3" fmla="*/ 0 h 125"/>
                <a:gd name="T4" fmla="*/ 0 w 218"/>
                <a:gd name="T5" fmla="*/ 0 h 125"/>
                <a:gd name="T6" fmla="*/ 0 w 218"/>
                <a:gd name="T7" fmla="*/ 0 h 125"/>
                <a:gd name="T8" fmla="*/ 0 w 218"/>
                <a:gd name="T9" fmla="*/ 0 h 125"/>
                <a:gd name="T10" fmla="*/ 0 w 218"/>
                <a:gd name="T11" fmla="*/ 0 h 125"/>
                <a:gd name="T12" fmla="*/ 0 w 218"/>
                <a:gd name="T13" fmla="*/ 0 h 125"/>
                <a:gd name="T14" fmla="*/ 0 w 218"/>
                <a:gd name="T15" fmla="*/ 0 h 125"/>
                <a:gd name="T16" fmla="*/ 0 w 218"/>
                <a:gd name="T17" fmla="*/ 0 h 125"/>
                <a:gd name="T18" fmla="*/ 0 w 218"/>
                <a:gd name="T19" fmla="*/ 0 h 125"/>
                <a:gd name="T20" fmla="*/ 0 w 218"/>
                <a:gd name="T21" fmla="*/ 0 h 125"/>
                <a:gd name="T22" fmla="*/ 0 w 218"/>
                <a:gd name="T23" fmla="*/ 0 h 125"/>
                <a:gd name="T24" fmla="*/ 0 w 218"/>
                <a:gd name="T25" fmla="*/ 0 h 125"/>
                <a:gd name="T26" fmla="*/ 0 w 218"/>
                <a:gd name="T27" fmla="*/ 0 h 125"/>
                <a:gd name="T28" fmla="*/ 0 w 218"/>
                <a:gd name="T29" fmla="*/ 0 h 125"/>
                <a:gd name="T30" fmla="*/ 0 w 218"/>
                <a:gd name="T31" fmla="*/ 0 h 125"/>
                <a:gd name="T32" fmla="*/ 0 w 218"/>
                <a:gd name="T33" fmla="*/ 0 h 125"/>
                <a:gd name="T34" fmla="*/ 0 w 218"/>
                <a:gd name="T35" fmla="*/ 0 h 125"/>
                <a:gd name="T36" fmla="*/ 0 w 218"/>
                <a:gd name="T37" fmla="*/ 0 h 125"/>
                <a:gd name="T38" fmla="*/ 0 w 218"/>
                <a:gd name="T39" fmla="*/ 0 h 125"/>
                <a:gd name="T40" fmla="*/ 0 w 218"/>
                <a:gd name="T41" fmla="*/ 0 h 125"/>
                <a:gd name="T42" fmla="*/ 0 w 218"/>
                <a:gd name="T43" fmla="*/ 0 h 125"/>
                <a:gd name="T44" fmla="*/ 0 w 218"/>
                <a:gd name="T45" fmla="*/ 0 h 125"/>
                <a:gd name="T46" fmla="*/ 0 w 218"/>
                <a:gd name="T47" fmla="*/ 0 h 125"/>
                <a:gd name="T48" fmla="*/ 0 w 218"/>
                <a:gd name="T49" fmla="*/ 0 h 125"/>
                <a:gd name="T50" fmla="*/ 0 w 218"/>
                <a:gd name="T51" fmla="*/ 0 h 125"/>
                <a:gd name="T52" fmla="*/ 0 w 218"/>
                <a:gd name="T53" fmla="*/ 0 h 125"/>
                <a:gd name="T54" fmla="*/ 0 w 218"/>
                <a:gd name="T55" fmla="*/ 0 h 125"/>
                <a:gd name="T56" fmla="*/ 0 w 218"/>
                <a:gd name="T57" fmla="*/ 0 h 125"/>
                <a:gd name="T58" fmla="*/ 0 w 218"/>
                <a:gd name="T59" fmla="*/ 0 h 125"/>
                <a:gd name="T60" fmla="*/ 0 w 218"/>
                <a:gd name="T61" fmla="*/ 0 h 125"/>
                <a:gd name="T62" fmla="*/ 0 w 218"/>
                <a:gd name="T63" fmla="*/ 0 h 125"/>
                <a:gd name="T64" fmla="*/ 0 w 218"/>
                <a:gd name="T65" fmla="*/ 0 h 125"/>
                <a:gd name="T66" fmla="*/ 0 w 218"/>
                <a:gd name="T67" fmla="*/ 0 h 125"/>
                <a:gd name="T68" fmla="*/ 0 w 218"/>
                <a:gd name="T69" fmla="*/ 0 h 125"/>
                <a:gd name="T70" fmla="*/ 0 w 218"/>
                <a:gd name="T71" fmla="*/ 0 h 125"/>
                <a:gd name="T72" fmla="*/ 0 w 218"/>
                <a:gd name="T73" fmla="*/ 0 h 125"/>
                <a:gd name="T74" fmla="*/ 0 w 218"/>
                <a:gd name="T75" fmla="*/ 0 h 125"/>
                <a:gd name="T76" fmla="*/ 0 w 218"/>
                <a:gd name="T77" fmla="*/ 0 h 125"/>
                <a:gd name="T78" fmla="*/ 0 w 218"/>
                <a:gd name="T79" fmla="*/ 0 h 125"/>
                <a:gd name="T80" fmla="*/ 0 w 218"/>
                <a:gd name="T81" fmla="*/ 0 h 125"/>
                <a:gd name="T82" fmla="*/ 0 w 218"/>
                <a:gd name="T83" fmla="*/ 0 h 125"/>
                <a:gd name="T84" fmla="*/ 0 w 218"/>
                <a:gd name="T85" fmla="*/ 0 h 125"/>
                <a:gd name="T86" fmla="*/ 0 w 218"/>
                <a:gd name="T87" fmla="*/ 0 h 125"/>
                <a:gd name="T88" fmla="*/ 0 w 218"/>
                <a:gd name="T89" fmla="*/ 0 h 12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8"/>
                <a:gd name="T136" fmla="*/ 0 h 125"/>
                <a:gd name="T137" fmla="*/ 218 w 218"/>
                <a:gd name="T138" fmla="*/ 125 h 12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0" name="Freeform 131">
              <a:extLst>
                <a:ext uri="{FF2B5EF4-FFF2-40B4-BE49-F238E27FC236}">
                  <a16:creationId xmlns:a16="http://schemas.microsoft.com/office/drawing/2014/main" id="{7688F3CA-7F6D-EDC2-8795-D336D20A7FE6}"/>
                </a:ext>
              </a:extLst>
            </p:cNvPr>
            <p:cNvSpPr>
              <a:spLocks noChangeAspect="1"/>
            </p:cNvSpPr>
            <p:nvPr userDrawn="1"/>
          </p:nvSpPr>
          <p:spPr bwMode="gray">
            <a:xfrm>
              <a:off x="9920391" y="2324455"/>
              <a:ext cx="91033" cy="410015"/>
            </a:xfrm>
            <a:custGeom>
              <a:avLst/>
              <a:gdLst>
                <a:gd name="T0" fmla="*/ 0 w 170"/>
                <a:gd name="T1" fmla="*/ 0 h 721"/>
                <a:gd name="T2" fmla="*/ 0 w 170"/>
                <a:gd name="T3" fmla="*/ 0 h 721"/>
                <a:gd name="T4" fmla="*/ 0 w 170"/>
                <a:gd name="T5" fmla="*/ 0 h 721"/>
                <a:gd name="T6" fmla="*/ 0 w 170"/>
                <a:gd name="T7" fmla="*/ 0 h 721"/>
                <a:gd name="T8" fmla="*/ 0 w 170"/>
                <a:gd name="T9" fmla="*/ 0 h 721"/>
                <a:gd name="T10" fmla="*/ 0 w 170"/>
                <a:gd name="T11" fmla="*/ 0 h 721"/>
                <a:gd name="T12" fmla="*/ 0 w 170"/>
                <a:gd name="T13" fmla="*/ 0 h 721"/>
                <a:gd name="T14" fmla="*/ 0 w 170"/>
                <a:gd name="T15" fmla="*/ 0 h 721"/>
                <a:gd name="T16" fmla="*/ 0 w 170"/>
                <a:gd name="T17" fmla="*/ 0 h 721"/>
                <a:gd name="T18" fmla="*/ 0 w 170"/>
                <a:gd name="T19" fmla="*/ 2147483647 h 721"/>
                <a:gd name="T20" fmla="*/ 0 w 170"/>
                <a:gd name="T21" fmla="*/ 2147483647 h 721"/>
                <a:gd name="T22" fmla="*/ 0 w 170"/>
                <a:gd name="T23" fmla="*/ 2147483647 h 721"/>
                <a:gd name="T24" fmla="*/ 0 w 170"/>
                <a:gd name="T25" fmla="*/ 2147483647 h 721"/>
                <a:gd name="T26" fmla="*/ 0 w 170"/>
                <a:gd name="T27" fmla="*/ 2147483647 h 721"/>
                <a:gd name="T28" fmla="*/ 0 w 170"/>
                <a:gd name="T29" fmla="*/ 2147483647 h 721"/>
                <a:gd name="T30" fmla="*/ 0 w 170"/>
                <a:gd name="T31" fmla="*/ 2147483647 h 721"/>
                <a:gd name="T32" fmla="*/ 0 w 170"/>
                <a:gd name="T33" fmla="*/ 2147483647 h 721"/>
                <a:gd name="T34" fmla="*/ 0 w 170"/>
                <a:gd name="T35" fmla="*/ 2147483647 h 721"/>
                <a:gd name="T36" fmla="*/ 0 w 170"/>
                <a:gd name="T37" fmla="*/ 2147483647 h 721"/>
                <a:gd name="T38" fmla="*/ 0 w 170"/>
                <a:gd name="T39" fmla="*/ 2147483647 h 721"/>
                <a:gd name="T40" fmla="*/ 0 w 170"/>
                <a:gd name="T41" fmla="*/ 2147483647 h 721"/>
                <a:gd name="T42" fmla="*/ 0 w 170"/>
                <a:gd name="T43" fmla="*/ 2147483647 h 721"/>
                <a:gd name="T44" fmla="*/ 0 w 170"/>
                <a:gd name="T45" fmla="*/ 2147483647 h 721"/>
                <a:gd name="T46" fmla="*/ 0 w 170"/>
                <a:gd name="T47" fmla="*/ 2147483647 h 721"/>
                <a:gd name="T48" fmla="*/ 0 w 170"/>
                <a:gd name="T49" fmla="*/ 2147483647 h 721"/>
                <a:gd name="T50" fmla="*/ 0 w 170"/>
                <a:gd name="T51" fmla="*/ 2147483647 h 721"/>
                <a:gd name="T52" fmla="*/ 0 w 170"/>
                <a:gd name="T53" fmla="*/ 2147483647 h 721"/>
                <a:gd name="T54" fmla="*/ 0 w 170"/>
                <a:gd name="T55" fmla="*/ 2147483647 h 721"/>
                <a:gd name="T56" fmla="*/ 0 w 170"/>
                <a:gd name="T57" fmla="*/ 2147483647 h 721"/>
                <a:gd name="T58" fmla="*/ 0 w 170"/>
                <a:gd name="T59" fmla="*/ 2147483647 h 721"/>
                <a:gd name="T60" fmla="*/ 0 w 170"/>
                <a:gd name="T61" fmla="*/ 2147483647 h 721"/>
                <a:gd name="T62" fmla="*/ 0 w 170"/>
                <a:gd name="T63" fmla="*/ 2147483647 h 721"/>
                <a:gd name="T64" fmla="*/ 0 w 170"/>
                <a:gd name="T65" fmla="*/ 2147483647 h 721"/>
                <a:gd name="T66" fmla="*/ 0 w 170"/>
                <a:gd name="T67" fmla="*/ 2147483647 h 721"/>
                <a:gd name="T68" fmla="*/ 0 w 170"/>
                <a:gd name="T69" fmla="*/ 2147483647 h 721"/>
                <a:gd name="T70" fmla="*/ 0 w 170"/>
                <a:gd name="T71" fmla="*/ 2147483647 h 721"/>
                <a:gd name="T72" fmla="*/ 0 w 170"/>
                <a:gd name="T73" fmla="*/ 2147483647 h 721"/>
                <a:gd name="T74" fmla="*/ 0 w 170"/>
                <a:gd name="T75" fmla="*/ 0 h 721"/>
                <a:gd name="T76" fmla="*/ 0 w 170"/>
                <a:gd name="T77" fmla="*/ 0 h 721"/>
                <a:gd name="T78" fmla="*/ 0 w 170"/>
                <a:gd name="T79" fmla="*/ 0 h 721"/>
                <a:gd name="T80" fmla="*/ 0 w 170"/>
                <a:gd name="T81" fmla="*/ 0 h 721"/>
                <a:gd name="T82" fmla="*/ 0 w 170"/>
                <a:gd name="T83" fmla="*/ 0 h 721"/>
                <a:gd name="T84" fmla="*/ 0 w 170"/>
                <a:gd name="T85" fmla="*/ 0 h 721"/>
                <a:gd name="T86" fmla="*/ 0 w 170"/>
                <a:gd name="T87" fmla="*/ 0 h 721"/>
                <a:gd name="T88" fmla="*/ 0 w 170"/>
                <a:gd name="T89" fmla="*/ 0 h 721"/>
                <a:gd name="T90" fmla="*/ 0 w 170"/>
                <a:gd name="T91" fmla="*/ 0 h 721"/>
                <a:gd name="T92" fmla="*/ 0 w 170"/>
                <a:gd name="T93" fmla="*/ 0 h 721"/>
                <a:gd name="T94" fmla="*/ 0 w 170"/>
                <a:gd name="T95" fmla="*/ 0 h 721"/>
                <a:gd name="T96" fmla="*/ 0 w 170"/>
                <a:gd name="T97" fmla="*/ 0 h 721"/>
                <a:gd name="T98" fmla="*/ 0 w 170"/>
                <a:gd name="T99" fmla="*/ 0 h 721"/>
                <a:gd name="T100" fmla="*/ 0 w 170"/>
                <a:gd name="T101" fmla="*/ 0 h 721"/>
                <a:gd name="T102" fmla="*/ 0 w 170"/>
                <a:gd name="T103" fmla="*/ 0 h 7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0"/>
                <a:gd name="T157" fmla="*/ 0 h 721"/>
                <a:gd name="T158" fmla="*/ 170 w 170"/>
                <a:gd name="T159" fmla="*/ 721 h 7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1" name="Freeform 132">
              <a:extLst>
                <a:ext uri="{FF2B5EF4-FFF2-40B4-BE49-F238E27FC236}">
                  <a16:creationId xmlns:a16="http://schemas.microsoft.com/office/drawing/2014/main" id="{ADCB9269-0093-21F6-AD20-221EC3061253}"/>
                </a:ext>
              </a:extLst>
            </p:cNvPr>
            <p:cNvSpPr>
              <a:spLocks noChangeAspect="1"/>
            </p:cNvSpPr>
            <p:nvPr userDrawn="1"/>
          </p:nvSpPr>
          <p:spPr bwMode="gray">
            <a:xfrm>
              <a:off x="6574560" y="373457"/>
              <a:ext cx="4766540" cy="2562211"/>
            </a:xfrm>
            <a:custGeom>
              <a:avLst/>
              <a:gdLst>
                <a:gd name="T0" fmla="*/ 2147483647 w 8931"/>
                <a:gd name="T1" fmla="*/ 2147483647 h 4504"/>
                <a:gd name="T2" fmla="*/ 2147483647 w 8931"/>
                <a:gd name="T3" fmla="*/ 2147483647 h 4504"/>
                <a:gd name="T4" fmla="*/ 2147483647 w 8931"/>
                <a:gd name="T5" fmla="*/ 2147483647 h 4504"/>
                <a:gd name="T6" fmla="*/ 2147483647 w 8931"/>
                <a:gd name="T7" fmla="*/ 2147483647 h 4504"/>
                <a:gd name="T8" fmla="*/ 2147483647 w 8931"/>
                <a:gd name="T9" fmla="*/ 2147483647 h 4504"/>
                <a:gd name="T10" fmla="*/ 2147483647 w 8931"/>
                <a:gd name="T11" fmla="*/ 2147483647 h 4504"/>
                <a:gd name="T12" fmla="*/ 2147483647 w 8931"/>
                <a:gd name="T13" fmla="*/ 2147483647 h 4504"/>
                <a:gd name="T14" fmla="*/ 2147483647 w 8931"/>
                <a:gd name="T15" fmla="*/ 2147483647 h 4504"/>
                <a:gd name="T16" fmla="*/ 2147483647 w 8931"/>
                <a:gd name="T17" fmla="*/ 2147483647 h 4504"/>
                <a:gd name="T18" fmla="*/ 2147483647 w 8931"/>
                <a:gd name="T19" fmla="*/ 2147483647 h 4504"/>
                <a:gd name="T20" fmla="*/ 2147483647 w 8931"/>
                <a:gd name="T21" fmla="*/ 2147483647 h 4504"/>
                <a:gd name="T22" fmla="*/ 2147483647 w 8931"/>
                <a:gd name="T23" fmla="*/ 2147483647 h 4504"/>
                <a:gd name="T24" fmla="*/ 2147483647 w 8931"/>
                <a:gd name="T25" fmla="*/ 2147483647 h 4504"/>
                <a:gd name="T26" fmla="*/ 2147483647 w 8931"/>
                <a:gd name="T27" fmla="*/ 2147483647 h 4504"/>
                <a:gd name="T28" fmla="*/ 2147483647 w 8931"/>
                <a:gd name="T29" fmla="*/ 2147483647 h 4504"/>
                <a:gd name="T30" fmla="*/ 2147483647 w 8931"/>
                <a:gd name="T31" fmla="*/ 2147483647 h 4504"/>
                <a:gd name="T32" fmla="*/ 2147483647 w 8931"/>
                <a:gd name="T33" fmla="*/ 2147483647 h 4504"/>
                <a:gd name="T34" fmla="*/ 2147483647 w 8931"/>
                <a:gd name="T35" fmla="*/ 2147483647 h 4504"/>
                <a:gd name="T36" fmla="*/ 2147483647 w 8931"/>
                <a:gd name="T37" fmla="*/ 2147483647 h 4504"/>
                <a:gd name="T38" fmla="*/ 2147483647 w 8931"/>
                <a:gd name="T39" fmla="*/ 2147483647 h 4504"/>
                <a:gd name="T40" fmla="*/ 2147483647 w 8931"/>
                <a:gd name="T41" fmla="*/ 2147483647 h 4504"/>
                <a:gd name="T42" fmla="*/ 2147483647 w 8931"/>
                <a:gd name="T43" fmla="*/ 2147483647 h 4504"/>
                <a:gd name="T44" fmla="*/ 2147483647 w 8931"/>
                <a:gd name="T45" fmla="*/ 2147483647 h 4504"/>
                <a:gd name="T46" fmla="*/ 2147483647 w 8931"/>
                <a:gd name="T47" fmla="*/ 2147483647 h 4504"/>
                <a:gd name="T48" fmla="*/ 2147483647 w 8931"/>
                <a:gd name="T49" fmla="*/ 2147483647 h 4504"/>
                <a:gd name="T50" fmla="*/ 2147483647 w 8931"/>
                <a:gd name="T51" fmla="*/ 2147483647 h 4504"/>
                <a:gd name="T52" fmla="*/ 2147483647 w 8931"/>
                <a:gd name="T53" fmla="*/ 2147483647 h 4504"/>
                <a:gd name="T54" fmla="*/ 2147483647 w 8931"/>
                <a:gd name="T55" fmla="*/ 2147483647 h 4504"/>
                <a:gd name="T56" fmla="*/ 2147483647 w 8931"/>
                <a:gd name="T57" fmla="*/ 2147483647 h 4504"/>
                <a:gd name="T58" fmla="*/ 2147483647 w 8931"/>
                <a:gd name="T59" fmla="*/ 2147483647 h 4504"/>
                <a:gd name="T60" fmla="*/ 2147483647 w 8931"/>
                <a:gd name="T61" fmla="*/ 2147483647 h 4504"/>
                <a:gd name="T62" fmla="*/ 2147483647 w 8931"/>
                <a:gd name="T63" fmla="*/ 0 h 4504"/>
                <a:gd name="T64" fmla="*/ 2147483647 w 8931"/>
                <a:gd name="T65" fmla="*/ 0 h 4504"/>
                <a:gd name="T66" fmla="*/ 2147483647 w 8931"/>
                <a:gd name="T67" fmla="*/ 2147483647 h 4504"/>
                <a:gd name="T68" fmla="*/ 2147483647 w 8931"/>
                <a:gd name="T69" fmla="*/ 2147483647 h 4504"/>
                <a:gd name="T70" fmla="*/ 2147483647 w 8931"/>
                <a:gd name="T71" fmla="*/ 2147483647 h 4504"/>
                <a:gd name="T72" fmla="*/ 2147483647 w 8931"/>
                <a:gd name="T73" fmla="*/ 2147483647 h 4504"/>
                <a:gd name="T74" fmla="*/ 2147483647 w 8931"/>
                <a:gd name="T75" fmla="*/ 2147483647 h 4504"/>
                <a:gd name="T76" fmla="*/ 2147483647 w 8931"/>
                <a:gd name="T77" fmla="*/ 2147483647 h 4504"/>
                <a:gd name="T78" fmla="*/ 2147483647 w 8931"/>
                <a:gd name="T79" fmla="*/ 2147483647 h 4504"/>
                <a:gd name="T80" fmla="*/ 2147483647 w 8931"/>
                <a:gd name="T81" fmla="*/ 2147483647 h 4504"/>
                <a:gd name="T82" fmla="*/ 2147483647 w 8931"/>
                <a:gd name="T83" fmla="*/ 2147483647 h 4504"/>
                <a:gd name="T84" fmla="*/ 2147483647 w 8931"/>
                <a:gd name="T85" fmla="*/ 2147483647 h 4504"/>
                <a:gd name="T86" fmla="*/ 2147483647 w 8931"/>
                <a:gd name="T87" fmla="*/ 2147483647 h 4504"/>
                <a:gd name="T88" fmla="*/ 2147483647 w 8931"/>
                <a:gd name="T89" fmla="*/ 2147483647 h 4504"/>
                <a:gd name="T90" fmla="*/ 2147483647 w 8931"/>
                <a:gd name="T91" fmla="*/ 2147483647 h 4504"/>
                <a:gd name="T92" fmla="*/ 2147483647 w 8931"/>
                <a:gd name="T93" fmla="*/ 2147483647 h 4504"/>
                <a:gd name="T94" fmla="*/ 2147483647 w 8931"/>
                <a:gd name="T95" fmla="*/ 2147483647 h 4504"/>
                <a:gd name="T96" fmla="*/ 0 w 8931"/>
                <a:gd name="T97" fmla="*/ 2147483647 h 4504"/>
                <a:gd name="T98" fmla="*/ 2147483647 w 8931"/>
                <a:gd name="T99" fmla="*/ 2147483647 h 4504"/>
                <a:gd name="T100" fmla="*/ 0 w 8931"/>
                <a:gd name="T101" fmla="*/ 2147483647 h 4504"/>
                <a:gd name="T102" fmla="*/ 0 w 8931"/>
                <a:gd name="T103" fmla="*/ 2147483647 h 4504"/>
                <a:gd name="T104" fmla="*/ 0 w 8931"/>
                <a:gd name="T105" fmla="*/ 2147483647 h 4504"/>
                <a:gd name="T106" fmla="*/ 0 w 8931"/>
                <a:gd name="T107" fmla="*/ 2147483647 h 4504"/>
                <a:gd name="T108" fmla="*/ 2147483647 w 8931"/>
                <a:gd name="T109" fmla="*/ 2147483647 h 4504"/>
                <a:gd name="T110" fmla="*/ 2147483647 w 8931"/>
                <a:gd name="T111" fmla="*/ 2147483647 h 4504"/>
                <a:gd name="T112" fmla="*/ 2147483647 w 8931"/>
                <a:gd name="T113" fmla="*/ 2147483647 h 4504"/>
                <a:gd name="T114" fmla="*/ 2147483647 w 8931"/>
                <a:gd name="T115" fmla="*/ 2147483647 h 4504"/>
                <a:gd name="T116" fmla="*/ 2147483647 w 8931"/>
                <a:gd name="T117" fmla="*/ 2147483647 h 4504"/>
                <a:gd name="T118" fmla="*/ 2147483647 w 8931"/>
                <a:gd name="T119" fmla="*/ 2147483647 h 4504"/>
                <a:gd name="T120" fmla="*/ 2147483647 w 8931"/>
                <a:gd name="T121" fmla="*/ 2147483647 h 4504"/>
                <a:gd name="T122" fmla="*/ 2147483647 w 8931"/>
                <a:gd name="T123" fmla="*/ 2147483647 h 4504"/>
                <a:gd name="T124" fmla="*/ 2147483647 w 8931"/>
                <a:gd name="T125" fmla="*/ 2147483647 h 45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931"/>
                <a:gd name="T190" fmla="*/ 0 h 4504"/>
                <a:gd name="T191" fmla="*/ 8931 w 8931"/>
                <a:gd name="T192" fmla="*/ 4504 h 45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2" name="Freeform 133">
              <a:extLst>
                <a:ext uri="{FF2B5EF4-FFF2-40B4-BE49-F238E27FC236}">
                  <a16:creationId xmlns:a16="http://schemas.microsoft.com/office/drawing/2014/main" id="{A540BCA6-1EE9-D0D3-A0AA-796F6C19FC1A}"/>
                </a:ext>
              </a:extLst>
            </p:cNvPr>
            <p:cNvSpPr>
              <a:spLocks noChangeAspect="1"/>
            </p:cNvSpPr>
            <p:nvPr userDrawn="1"/>
          </p:nvSpPr>
          <p:spPr bwMode="gray">
            <a:xfrm>
              <a:off x="6341755" y="2246721"/>
              <a:ext cx="97003" cy="77734"/>
            </a:xfrm>
            <a:custGeom>
              <a:avLst/>
              <a:gdLst>
                <a:gd name="T0" fmla="*/ 0 w 180"/>
                <a:gd name="T1" fmla="*/ 0 h 134"/>
                <a:gd name="T2" fmla="*/ 0 w 180"/>
                <a:gd name="T3" fmla="*/ 0 h 134"/>
                <a:gd name="T4" fmla="*/ 0 w 180"/>
                <a:gd name="T5" fmla="*/ 0 h 134"/>
                <a:gd name="T6" fmla="*/ 0 w 180"/>
                <a:gd name="T7" fmla="*/ 0 h 134"/>
                <a:gd name="T8" fmla="*/ 0 w 180"/>
                <a:gd name="T9" fmla="*/ 0 h 134"/>
                <a:gd name="T10" fmla="*/ 0 w 180"/>
                <a:gd name="T11" fmla="*/ 0 h 134"/>
                <a:gd name="T12" fmla="*/ 0 w 180"/>
                <a:gd name="T13" fmla="*/ 0 h 134"/>
                <a:gd name="T14" fmla="*/ 0 w 180"/>
                <a:gd name="T15" fmla="*/ 0 h 134"/>
                <a:gd name="T16" fmla="*/ 0 w 180"/>
                <a:gd name="T17" fmla="*/ 0 h 134"/>
                <a:gd name="T18" fmla="*/ 0 w 180"/>
                <a:gd name="T19" fmla="*/ 0 h 134"/>
                <a:gd name="T20" fmla="*/ 0 w 180"/>
                <a:gd name="T21" fmla="*/ 0 h 134"/>
                <a:gd name="T22" fmla="*/ 0 w 180"/>
                <a:gd name="T23" fmla="*/ 0 h 134"/>
                <a:gd name="T24" fmla="*/ 0 w 180"/>
                <a:gd name="T25" fmla="*/ 0 h 134"/>
                <a:gd name="T26" fmla="*/ 0 w 180"/>
                <a:gd name="T27" fmla="*/ 0 h 134"/>
                <a:gd name="T28" fmla="*/ 0 w 180"/>
                <a:gd name="T29" fmla="*/ 0 h 134"/>
                <a:gd name="T30" fmla="*/ 0 w 180"/>
                <a:gd name="T31" fmla="*/ 0 h 134"/>
                <a:gd name="T32" fmla="*/ 0 w 180"/>
                <a:gd name="T33" fmla="*/ 0 h 134"/>
                <a:gd name="T34" fmla="*/ 0 w 180"/>
                <a:gd name="T35" fmla="*/ 0 h 134"/>
                <a:gd name="T36" fmla="*/ 0 w 180"/>
                <a:gd name="T37" fmla="*/ 0 h 134"/>
                <a:gd name="T38" fmla="*/ 0 w 180"/>
                <a:gd name="T39" fmla="*/ 0 h 134"/>
                <a:gd name="T40" fmla="*/ 0 w 180"/>
                <a:gd name="T41" fmla="*/ 0 h 134"/>
                <a:gd name="T42" fmla="*/ 0 w 180"/>
                <a:gd name="T43" fmla="*/ 0 h 134"/>
                <a:gd name="T44" fmla="*/ 0 w 180"/>
                <a:gd name="T45" fmla="*/ 0 h 134"/>
                <a:gd name="T46" fmla="*/ 0 w 180"/>
                <a:gd name="T47" fmla="*/ 0 h 134"/>
                <a:gd name="T48" fmla="*/ 0 w 180"/>
                <a:gd name="T49" fmla="*/ 0 h 134"/>
                <a:gd name="T50" fmla="*/ 0 w 180"/>
                <a:gd name="T51" fmla="*/ 0 h 134"/>
                <a:gd name="T52" fmla="*/ 0 w 180"/>
                <a:gd name="T53" fmla="*/ 0 h 134"/>
                <a:gd name="T54" fmla="*/ 0 w 180"/>
                <a:gd name="T55" fmla="*/ 0 h 134"/>
                <a:gd name="T56" fmla="*/ 0 w 180"/>
                <a:gd name="T57" fmla="*/ 0 h 134"/>
                <a:gd name="T58" fmla="*/ 0 w 180"/>
                <a:gd name="T59" fmla="*/ 0 h 134"/>
                <a:gd name="T60" fmla="*/ 0 w 180"/>
                <a:gd name="T61" fmla="*/ 0 h 134"/>
                <a:gd name="T62" fmla="*/ 0 w 180"/>
                <a:gd name="T63" fmla="*/ 0 h 134"/>
                <a:gd name="T64" fmla="*/ 0 w 180"/>
                <a:gd name="T65" fmla="*/ 0 h 134"/>
                <a:gd name="T66" fmla="*/ 0 w 180"/>
                <a:gd name="T67" fmla="*/ 0 h 134"/>
                <a:gd name="T68" fmla="*/ 0 w 180"/>
                <a:gd name="T69" fmla="*/ 0 h 134"/>
                <a:gd name="T70" fmla="*/ 0 w 180"/>
                <a:gd name="T71" fmla="*/ 0 h 134"/>
                <a:gd name="T72" fmla="*/ 0 w 180"/>
                <a:gd name="T73" fmla="*/ 0 h 134"/>
                <a:gd name="T74" fmla="*/ 0 w 180"/>
                <a:gd name="T75" fmla="*/ 0 h 134"/>
                <a:gd name="T76" fmla="*/ 0 w 180"/>
                <a:gd name="T77" fmla="*/ 0 h 134"/>
                <a:gd name="T78" fmla="*/ 0 w 180"/>
                <a:gd name="T79" fmla="*/ 0 h 134"/>
                <a:gd name="T80" fmla="*/ 0 w 180"/>
                <a:gd name="T81" fmla="*/ 0 h 134"/>
                <a:gd name="T82" fmla="*/ 0 w 180"/>
                <a:gd name="T83" fmla="*/ 0 h 13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0"/>
                <a:gd name="T127" fmla="*/ 0 h 134"/>
                <a:gd name="T128" fmla="*/ 180 w 180"/>
                <a:gd name="T129" fmla="*/ 134 h 13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3" name="Freeform 134">
              <a:extLst>
                <a:ext uri="{FF2B5EF4-FFF2-40B4-BE49-F238E27FC236}">
                  <a16:creationId xmlns:a16="http://schemas.microsoft.com/office/drawing/2014/main" id="{15A2B9B2-B334-B947-1D17-F02105E1693F}"/>
                </a:ext>
              </a:extLst>
            </p:cNvPr>
            <p:cNvSpPr>
              <a:spLocks noChangeAspect="1"/>
            </p:cNvSpPr>
            <p:nvPr userDrawn="1"/>
          </p:nvSpPr>
          <p:spPr bwMode="gray">
            <a:xfrm>
              <a:off x="6996893" y="3940127"/>
              <a:ext cx="41786" cy="59445"/>
            </a:xfrm>
            <a:custGeom>
              <a:avLst/>
              <a:gdLst>
                <a:gd name="T0" fmla="*/ 0 w 83"/>
                <a:gd name="T1" fmla="*/ 0 h 106"/>
                <a:gd name="T2" fmla="*/ 0 w 83"/>
                <a:gd name="T3" fmla="*/ 0 h 106"/>
                <a:gd name="T4" fmla="*/ 0 w 83"/>
                <a:gd name="T5" fmla="*/ 0 h 106"/>
                <a:gd name="T6" fmla="*/ 0 w 83"/>
                <a:gd name="T7" fmla="*/ 0 h 106"/>
                <a:gd name="T8" fmla="*/ 0 w 83"/>
                <a:gd name="T9" fmla="*/ 0 h 106"/>
                <a:gd name="T10" fmla="*/ 0 w 83"/>
                <a:gd name="T11" fmla="*/ 0 h 106"/>
                <a:gd name="T12" fmla="*/ 0 w 83"/>
                <a:gd name="T13" fmla="*/ 0 h 106"/>
                <a:gd name="T14" fmla="*/ 0 w 83"/>
                <a:gd name="T15" fmla="*/ 0 h 106"/>
                <a:gd name="T16" fmla="*/ 0 w 83"/>
                <a:gd name="T17" fmla="*/ 2147483647 h 106"/>
                <a:gd name="T18" fmla="*/ 0 w 83"/>
                <a:gd name="T19" fmla="*/ 2147483647 h 106"/>
                <a:gd name="T20" fmla="*/ 0 w 83"/>
                <a:gd name="T21" fmla="*/ 2147483647 h 106"/>
                <a:gd name="T22" fmla="*/ 0 w 83"/>
                <a:gd name="T23" fmla="*/ 2147483647 h 106"/>
                <a:gd name="T24" fmla="*/ 0 w 83"/>
                <a:gd name="T25" fmla="*/ 2147483647 h 106"/>
                <a:gd name="T26" fmla="*/ 0 w 83"/>
                <a:gd name="T27" fmla="*/ 2147483647 h 106"/>
                <a:gd name="T28" fmla="*/ 0 w 83"/>
                <a:gd name="T29" fmla="*/ 2147483647 h 106"/>
                <a:gd name="T30" fmla="*/ 0 w 83"/>
                <a:gd name="T31" fmla="*/ 2147483647 h 106"/>
                <a:gd name="T32" fmla="*/ 0 w 83"/>
                <a:gd name="T33" fmla="*/ 2147483647 h 106"/>
                <a:gd name="T34" fmla="*/ 0 w 83"/>
                <a:gd name="T35" fmla="*/ 2147483647 h 106"/>
                <a:gd name="T36" fmla="*/ 0 w 83"/>
                <a:gd name="T37" fmla="*/ 2147483647 h 106"/>
                <a:gd name="T38" fmla="*/ 0 w 83"/>
                <a:gd name="T39" fmla="*/ 2147483647 h 106"/>
                <a:gd name="T40" fmla="*/ 0 w 83"/>
                <a:gd name="T41" fmla="*/ 2147483647 h 106"/>
                <a:gd name="T42" fmla="*/ 0 w 83"/>
                <a:gd name="T43" fmla="*/ 2147483647 h 106"/>
                <a:gd name="T44" fmla="*/ 2147483647 w 83"/>
                <a:gd name="T45" fmla="*/ 2147483647 h 106"/>
                <a:gd name="T46" fmla="*/ 2147483647 w 83"/>
                <a:gd name="T47" fmla="*/ 0 h 106"/>
                <a:gd name="T48" fmla="*/ 2147483647 w 83"/>
                <a:gd name="T49" fmla="*/ 0 h 106"/>
                <a:gd name="T50" fmla="*/ 2147483647 w 83"/>
                <a:gd name="T51" fmla="*/ 0 h 106"/>
                <a:gd name="T52" fmla="*/ 2147483647 w 83"/>
                <a:gd name="T53" fmla="*/ 0 h 106"/>
                <a:gd name="T54" fmla="*/ 2147483647 w 83"/>
                <a:gd name="T55" fmla="*/ 0 h 106"/>
                <a:gd name="T56" fmla="*/ 0 w 83"/>
                <a:gd name="T57" fmla="*/ 0 h 106"/>
                <a:gd name="T58" fmla="*/ 0 w 83"/>
                <a:gd name="T59" fmla="*/ 0 h 106"/>
                <a:gd name="T60" fmla="*/ 0 w 83"/>
                <a:gd name="T61" fmla="*/ 0 h 106"/>
                <a:gd name="T62" fmla="*/ 0 w 83"/>
                <a:gd name="T63" fmla="*/ 0 h 106"/>
                <a:gd name="T64" fmla="*/ 0 w 83"/>
                <a:gd name="T65" fmla="*/ 0 h 106"/>
                <a:gd name="T66" fmla="*/ 0 w 83"/>
                <a:gd name="T67" fmla="*/ 0 h 106"/>
                <a:gd name="T68" fmla="*/ 0 w 83"/>
                <a:gd name="T69" fmla="*/ 0 h 106"/>
                <a:gd name="T70" fmla="*/ 0 w 83"/>
                <a:gd name="T71" fmla="*/ 0 h 106"/>
                <a:gd name="T72" fmla="*/ 0 w 83"/>
                <a:gd name="T73" fmla="*/ 0 h 106"/>
                <a:gd name="T74" fmla="*/ 0 w 83"/>
                <a:gd name="T75" fmla="*/ 0 h 106"/>
                <a:gd name="T76" fmla="*/ 0 w 83"/>
                <a:gd name="T77" fmla="*/ 0 h 106"/>
                <a:gd name="T78" fmla="*/ 0 w 83"/>
                <a:gd name="T79" fmla="*/ 0 h 106"/>
                <a:gd name="T80" fmla="*/ 0 w 83"/>
                <a:gd name="T81" fmla="*/ 0 h 106"/>
                <a:gd name="T82" fmla="*/ 0 w 83"/>
                <a:gd name="T83" fmla="*/ 0 h 106"/>
                <a:gd name="T84" fmla="*/ 0 w 83"/>
                <a:gd name="T85" fmla="*/ 0 h 106"/>
                <a:gd name="T86" fmla="*/ 2147483647 w 83"/>
                <a:gd name="T87" fmla="*/ 0 h 106"/>
                <a:gd name="T88" fmla="*/ 2147483647 w 83"/>
                <a:gd name="T89" fmla="*/ 0 h 106"/>
                <a:gd name="T90" fmla="*/ 2147483647 w 83"/>
                <a:gd name="T91" fmla="*/ 0 h 106"/>
                <a:gd name="T92" fmla="*/ 2147483647 w 83"/>
                <a:gd name="T93" fmla="*/ 0 h 106"/>
                <a:gd name="T94" fmla="*/ 2147483647 w 83"/>
                <a:gd name="T95" fmla="*/ 0 h 106"/>
                <a:gd name="T96" fmla="*/ 2147483647 w 83"/>
                <a:gd name="T97" fmla="*/ 0 h 106"/>
                <a:gd name="T98" fmla="*/ 2147483647 w 83"/>
                <a:gd name="T99" fmla="*/ 0 h 106"/>
                <a:gd name="T100" fmla="*/ 0 w 83"/>
                <a:gd name="T101" fmla="*/ 0 h 106"/>
                <a:gd name="T102" fmla="*/ 0 w 83"/>
                <a:gd name="T103" fmla="*/ 0 h 10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
                <a:gd name="T157" fmla="*/ 0 h 106"/>
                <a:gd name="T158" fmla="*/ 83 w 83"/>
                <a:gd name="T159" fmla="*/ 106 h 10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4" name="Freeform 135">
              <a:extLst>
                <a:ext uri="{FF2B5EF4-FFF2-40B4-BE49-F238E27FC236}">
                  <a16:creationId xmlns:a16="http://schemas.microsoft.com/office/drawing/2014/main" id="{AE60C35E-E873-4236-65CD-978203DE20A8}"/>
                </a:ext>
              </a:extLst>
            </p:cNvPr>
            <p:cNvSpPr>
              <a:spLocks noChangeAspect="1"/>
            </p:cNvSpPr>
            <p:nvPr userDrawn="1"/>
          </p:nvSpPr>
          <p:spPr bwMode="gray">
            <a:xfrm>
              <a:off x="6793935" y="3188687"/>
              <a:ext cx="50740" cy="65541"/>
            </a:xfrm>
            <a:custGeom>
              <a:avLst/>
              <a:gdLst>
                <a:gd name="T0" fmla="*/ 0 w 95"/>
                <a:gd name="T1" fmla="*/ 2147483647 h 116"/>
                <a:gd name="T2" fmla="*/ 0 w 95"/>
                <a:gd name="T3" fmla="*/ 2147483647 h 116"/>
                <a:gd name="T4" fmla="*/ 2147483647 w 95"/>
                <a:gd name="T5" fmla="*/ 2147483647 h 116"/>
                <a:gd name="T6" fmla="*/ 2147483647 w 95"/>
                <a:gd name="T7" fmla="*/ 2147483647 h 116"/>
                <a:gd name="T8" fmla="*/ 2147483647 w 95"/>
                <a:gd name="T9" fmla="*/ 0 h 116"/>
                <a:gd name="T10" fmla="*/ 2147483647 w 95"/>
                <a:gd name="T11" fmla="*/ 0 h 116"/>
                <a:gd name="T12" fmla="*/ 2147483647 w 95"/>
                <a:gd name="T13" fmla="*/ 0 h 116"/>
                <a:gd name="T14" fmla="*/ 2147483647 w 95"/>
                <a:gd name="T15" fmla="*/ 0 h 116"/>
                <a:gd name="T16" fmla="*/ 2147483647 w 95"/>
                <a:gd name="T17" fmla="*/ 0 h 116"/>
                <a:gd name="T18" fmla="*/ 2147483647 w 95"/>
                <a:gd name="T19" fmla="*/ 0 h 116"/>
                <a:gd name="T20" fmla="*/ 2147483647 w 95"/>
                <a:gd name="T21" fmla="*/ 0 h 116"/>
                <a:gd name="T22" fmla="*/ 2147483647 w 95"/>
                <a:gd name="T23" fmla="*/ 0 h 116"/>
                <a:gd name="T24" fmla="*/ 2147483647 w 95"/>
                <a:gd name="T25" fmla="*/ 0 h 116"/>
                <a:gd name="T26" fmla="*/ 2147483647 w 95"/>
                <a:gd name="T27" fmla="*/ 0 h 116"/>
                <a:gd name="T28" fmla="*/ 2147483647 w 95"/>
                <a:gd name="T29" fmla="*/ 0 h 116"/>
                <a:gd name="T30" fmla="*/ 2147483647 w 95"/>
                <a:gd name="T31" fmla="*/ 0 h 116"/>
                <a:gd name="T32" fmla="*/ 2147483647 w 95"/>
                <a:gd name="T33" fmla="*/ 0 h 116"/>
                <a:gd name="T34" fmla="*/ 2147483647 w 95"/>
                <a:gd name="T35" fmla="*/ 0 h 116"/>
                <a:gd name="T36" fmla="*/ 2147483647 w 95"/>
                <a:gd name="T37" fmla="*/ 0 h 116"/>
                <a:gd name="T38" fmla="*/ 2147483647 w 95"/>
                <a:gd name="T39" fmla="*/ 0 h 116"/>
                <a:gd name="T40" fmla="*/ 2147483647 w 95"/>
                <a:gd name="T41" fmla="*/ 0 h 116"/>
                <a:gd name="T42" fmla="*/ 2147483647 w 95"/>
                <a:gd name="T43" fmla="*/ 0 h 116"/>
                <a:gd name="T44" fmla="*/ 2147483647 w 95"/>
                <a:gd name="T45" fmla="*/ 0 h 116"/>
                <a:gd name="T46" fmla="*/ 0 w 95"/>
                <a:gd name="T47" fmla="*/ 0 h 116"/>
                <a:gd name="T48" fmla="*/ 0 w 95"/>
                <a:gd name="T49" fmla="*/ 0 h 116"/>
                <a:gd name="T50" fmla="*/ 0 w 95"/>
                <a:gd name="T51" fmla="*/ 0 h 116"/>
                <a:gd name="T52" fmla="*/ 0 w 95"/>
                <a:gd name="T53" fmla="*/ 0 h 116"/>
                <a:gd name="T54" fmla="*/ 0 w 95"/>
                <a:gd name="T55" fmla="*/ 2147483647 h 116"/>
                <a:gd name="T56" fmla="*/ 0 w 95"/>
                <a:gd name="T57" fmla="*/ 2147483647 h 116"/>
                <a:gd name="T58" fmla="*/ 0 w 95"/>
                <a:gd name="T59" fmla="*/ 2147483647 h 116"/>
                <a:gd name="T60" fmla="*/ 0 w 95"/>
                <a:gd name="T61" fmla="*/ 2147483647 h 116"/>
                <a:gd name="T62" fmla="*/ 0 w 95"/>
                <a:gd name="T63" fmla="*/ 2147483647 h 116"/>
                <a:gd name="T64" fmla="*/ 0 w 95"/>
                <a:gd name="T65" fmla="*/ 2147483647 h 116"/>
                <a:gd name="T66" fmla="*/ 0 w 95"/>
                <a:gd name="T67" fmla="*/ 2147483647 h 1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5"/>
                <a:gd name="T103" fmla="*/ 0 h 116"/>
                <a:gd name="T104" fmla="*/ 95 w 95"/>
                <a:gd name="T105" fmla="*/ 116 h 1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5" h="116">
                  <a:moveTo>
                    <a:pt x="32" y="102"/>
                  </a:moveTo>
                  <a:lnTo>
                    <a:pt x="39" y="96"/>
                  </a:lnTo>
                  <a:lnTo>
                    <a:pt x="44" y="95"/>
                  </a:lnTo>
                  <a:lnTo>
                    <a:pt x="45" y="93"/>
                  </a:lnTo>
                  <a:lnTo>
                    <a:pt x="52" y="88"/>
                  </a:lnTo>
                  <a:lnTo>
                    <a:pt x="55" y="83"/>
                  </a:lnTo>
                  <a:lnTo>
                    <a:pt x="58" y="83"/>
                  </a:lnTo>
                  <a:lnTo>
                    <a:pt x="58" y="78"/>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5" name="Freeform 137">
              <a:extLst>
                <a:ext uri="{FF2B5EF4-FFF2-40B4-BE49-F238E27FC236}">
                  <a16:creationId xmlns:a16="http://schemas.microsoft.com/office/drawing/2014/main" id="{D6DE4D9A-7148-7ED5-826D-094320F5BD7A}"/>
                </a:ext>
              </a:extLst>
            </p:cNvPr>
            <p:cNvSpPr>
              <a:spLocks noChangeAspect="1"/>
            </p:cNvSpPr>
            <p:nvPr userDrawn="1"/>
          </p:nvSpPr>
          <p:spPr bwMode="gray">
            <a:xfrm>
              <a:off x="6787965" y="3274044"/>
              <a:ext cx="20893" cy="44202"/>
            </a:xfrm>
            <a:custGeom>
              <a:avLst/>
              <a:gdLst>
                <a:gd name="T0" fmla="*/ 0 w 37"/>
                <a:gd name="T1" fmla="*/ 0 h 80"/>
                <a:gd name="T2" fmla="*/ 0 w 37"/>
                <a:gd name="T3" fmla="*/ 0 h 80"/>
                <a:gd name="T4" fmla="*/ 0 w 37"/>
                <a:gd name="T5" fmla="*/ 0 h 80"/>
                <a:gd name="T6" fmla="*/ 0 w 37"/>
                <a:gd name="T7" fmla="*/ 0 h 80"/>
                <a:gd name="T8" fmla="*/ 0 w 37"/>
                <a:gd name="T9" fmla="*/ 0 h 80"/>
                <a:gd name="T10" fmla="*/ 0 w 37"/>
                <a:gd name="T11" fmla="*/ 0 h 80"/>
                <a:gd name="T12" fmla="*/ 0 w 37"/>
                <a:gd name="T13" fmla="*/ 0 h 80"/>
                <a:gd name="T14" fmla="*/ 0 w 37"/>
                <a:gd name="T15" fmla="*/ 0 h 80"/>
                <a:gd name="T16" fmla="*/ 0 w 37"/>
                <a:gd name="T17" fmla="*/ 0 h 80"/>
                <a:gd name="T18" fmla="*/ 0 w 37"/>
                <a:gd name="T19" fmla="*/ 0 h 80"/>
                <a:gd name="T20" fmla="*/ 0 w 37"/>
                <a:gd name="T21" fmla="*/ 0 h 80"/>
                <a:gd name="T22" fmla="*/ 0 w 37"/>
                <a:gd name="T23" fmla="*/ 0 h 80"/>
                <a:gd name="T24" fmla="*/ 0 w 37"/>
                <a:gd name="T25" fmla="*/ 0 h 80"/>
                <a:gd name="T26" fmla="*/ 0 w 37"/>
                <a:gd name="T27" fmla="*/ 0 h 80"/>
                <a:gd name="T28" fmla="*/ 0 w 37"/>
                <a:gd name="T29" fmla="*/ 0 h 80"/>
                <a:gd name="T30" fmla="*/ 0 w 37"/>
                <a:gd name="T31" fmla="*/ 0 h 80"/>
                <a:gd name="T32" fmla="*/ 0 w 37"/>
                <a:gd name="T33" fmla="*/ 0 h 80"/>
                <a:gd name="T34" fmla="*/ 0 w 37"/>
                <a:gd name="T35" fmla="*/ 0 h 80"/>
                <a:gd name="T36" fmla="*/ 0 w 37"/>
                <a:gd name="T37" fmla="*/ 0 h 80"/>
                <a:gd name="T38" fmla="*/ 0 w 37"/>
                <a:gd name="T39" fmla="*/ 0 h 80"/>
                <a:gd name="T40" fmla="*/ 0 w 37"/>
                <a:gd name="T41" fmla="*/ 0 h 80"/>
                <a:gd name="T42" fmla="*/ 0 w 37"/>
                <a:gd name="T43" fmla="*/ 0 h 80"/>
                <a:gd name="T44" fmla="*/ 0 w 37"/>
                <a:gd name="T45" fmla="*/ 0 h 80"/>
                <a:gd name="T46" fmla="*/ 0 w 37"/>
                <a:gd name="T47" fmla="*/ 0 h 80"/>
                <a:gd name="T48" fmla="*/ 0 w 37"/>
                <a:gd name="T49" fmla="*/ 0 h 80"/>
                <a:gd name="T50" fmla="*/ 0 w 37"/>
                <a:gd name="T51" fmla="*/ 0 h 80"/>
                <a:gd name="T52" fmla="*/ 0 w 37"/>
                <a:gd name="T53" fmla="*/ 0 h 80"/>
                <a:gd name="T54" fmla="*/ 0 w 37"/>
                <a:gd name="T55" fmla="*/ 0 h 80"/>
                <a:gd name="T56" fmla="*/ 0 w 37"/>
                <a:gd name="T57" fmla="*/ 0 h 80"/>
                <a:gd name="T58" fmla="*/ 0 w 37"/>
                <a:gd name="T59" fmla="*/ 0 h 80"/>
                <a:gd name="T60" fmla="*/ 0 w 37"/>
                <a:gd name="T61" fmla="*/ 0 h 80"/>
                <a:gd name="T62" fmla="*/ 0 w 37"/>
                <a:gd name="T63" fmla="*/ 0 h 80"/>
                <a:gd name="T64" fmla="*/ 0 w 37"/>
                <a:gd name="T65" fmla="*/ 0 h 80"/>
                <a:gd name="T66" fmla="*/ 0 w 37"/>
                <a:gd name="T67" fmla="*/ 0 h 80"/>
                <a:gd name="T68" fmla="*/ 0 w 37"/>
                <a:gd name="T69" fmla="*/ 0 h 80"/>
                <a:gd name="T70" fmla="*/ 0 w 37"/>
                <a:gd name="T71" fmla="*/ 0 h 80"/>
                <a:gd name="T72" fmla="*/ 0 w 37"/>
                <a:gd name="T73" fmla="*/ 0 h 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
                <a:gd name="T112" fmla="*/ 0 h 80"/>
                <a:gd name="T113" fmla="*/ 37 w 37"/>
                <a:gd name="T114" fmla="*/ 80 h 8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 h="80">
                  <a:moveTo>
                    <a:pt x="30" y="66"/>
                  </a:moveTo>
                  <a:lnTo>
                    <a:pt x="32" y="64"/>
                  </a:lnTo>
                  <a:lnTo>
                    <a:pt x="33" y="55"/>
                  </a:lnTo>
                  <a:lnTo>
                    <a:pt x="36" y="49"/>
                  </a:lnTo>
                  <a:lnTo>
                    <a:pt x="33" y="40"/>
                  </a:lnTo>
                  <a:lnTo>
                    <a:pt x="35" y="29"/>
                  </a:lnTo>
                  <a:lnTo>
                    <a:pt x="36" y="21"/>
                  </a:lnTo>
                  <a:lnTo>
                    <a:pt x="37" y="12"/>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6" name="Freeform 138">
              <a:extLst>
                <a:ext uri="{FF2B5EF4-FFF2-40B4-BE49-F238E27FC236}">
                  <a16:creationId xmlns:a16="http://schemas.microsoft.com/office/drawing/2014/main" id="{0D542931-E779-A06D-61DE-8D58222A54F6}"/>
                </a:ext>
              </a:extLst>
            </p:cNvPr>
            <p:cNvSpPr>
              <a:spLocks noChangeAspect="1"/>
            </p:cNvSpPr>
            <p:nvPr userDrawn="1"/>
          </p:nvSpPr>
          <p:spPr bwMode="gray">
            <a:xfrm>
              <a:off x="6767073" y="3310625"/>
              <a:ext cx="10446" cy="13717"/>
            </a:xfrm>
            <a:custGeom>
              <a:avLst/>
              <a:gdLst>
                <a:gd name="T0" fmla="*/ 0 w 18"/>
                <a:gd name="T1" fmla="*/ 0 h 24"/>
                <a:gd name="T2" fmla="*/ 0 w 18"/>
                <a:gd name="T3" fmla="*/ 0 h 24"/>
                <a:gd name="T4" fmla="*/ 0 w 18"/>
                <a:gd name="T5" fmla="*/ 0 h 24"/>
                <a:gd name="T6" fmla="*/ 0 w 18"/>
                <a:gd name="T7" fmla="*/ 0 h 24"/>
                <a:gd name="T8" fmla="*/ 0 w 18"/>
                <a:gd name="T9" fmla="*/ 0 h 24"/>
                <a:gd name="T10" fmla="*/ 0 w 18"/>
                <a:gd name="T11" fmla="*/ 0 h 24"/>
                <a:gd name="T12" fmla="*/ 0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 y="24"/>
                  </a:moveTo>
                  <a:lnTo>
                    <a:pt x="8" y="21"/>
                  </a:lnTo>
                  <a:lnTo>
                    <a:pt x="7" y="16"/>
                  </a:lnTo>
                  <a:lnTo>
                    <a:pt x="18" y="5"/>
                  </a:lnTo>
                  <a:lnTo>
                    <a:pt x="14" y="0"/>
                  </a:lnTo>
                  <a:lnTo>
                    <a:pt x="0" y="14"/>
                  </a:lnTo>
                  <a:lnTo>
                    <a:pt x="1" y="2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7" name="Freeform 139">
              <a:extLst>
                <a:ext uri="{FF2B5EF4-FFF2-40B4-BE49-F238E27FC236}">
                  <a16:creationId xmlns:a16="http://schemas.microsoft.com/office/drawing/2014/main" id="{618105BA-CDB7-AED3-2B85-DA4DA2811E37}"/>
                </a:ext>
              </a:extLst>
            </p:cNvPr>
            <p:cNvSpPr>
              <a:spLocks noChangeAspect="1"/>
            </p:cNvSpPr>
            <p:nvPr userDrawn="1"/>
          </p:nvSpPr>
          <p:spPr bwMode="gray">
            <a:xfrm>
              <a:off x="6771549" y="3245083"/>
              <a:ext cx="41786" cy="144801"/>
            </a:xfrm>
            <a:custGeom>
              <a:avLst/>
              <a:gdLst>
                <a:gd name="T0" fmla="*/ 0 w 81"/>
                <a:gd name="T1" fmla="*/ 0 h 251"/>
                <a:gd name="T2" fmla="*/ 0 w 81"/>
                <a:gd name="T3" fmla="*/ 0 h 251"/>
                <a:gd name="T4" fmla="*/ 0 w 81"/>
                <a:gd name="T5" fmla="*/ 0 h 251"/>
                <a:gd name="T6" fmla="*/ 0 w 81"/>
                <a:gd name="T7" fmla="*/ 0 h 251"/>
                <a:gd name="T8" fmla="*/ 0 w 81"/>
                <a:gd name="T9" fmla="*/ 0 h 251"/>
                <a:gd name="T10" fmla="*/ 0 w 81"/>
                <a:gd name="T11" fmla="*/ 0 h 251"/>
                <a:gd name="T12" fmla="*/ 0 w 81"/>
                <a:gd name="T13" fmla="*/ 0 h 251"/>
                <a:gd name="T14" fmla="*/ 0 w 81"/>
                <a:gd name="T15" fmla="*/ 0 h 251"/>
                <a:gd name="T16" fmla="*/ 0 w 81"/>
                <a:gd name="T17" fmla="*/ 0 h 251"/>
                <a:gd name="T18" fmla="*/ 0 w 81"/>
                <a:gd name="T19" fmla="*/ 0 h 251"/>
                <a:gd name="T20" fmla="*/ 0 w 81"/>
                <a:gd name="T21" fmla="*/ 0 h 251"/>
                <a:gd name="T22" fmla="*/ 0 w 81"/>
                <a:gd name="T23" fmla="*/ 0 h 251"/>
                <a:gd name="T24" fmla="*/ 0 w 81"/>
                <a:gd name="T25" fmla="*/ 0 h 251"/>
                <a:gd name="T26" fmla="*/ 0 w 81"/>
                <a:gd name="T27" fmla="*/ 0 h 251"/>
                <a:gd name="T28" fmla="*/ 0 w 81"/>
                <a:gd name="T29" fmla="*/ 0 h 251"/>
                <a:gd name="T30" fmla="*/ 0 w 81"/>
                <a:gd name="T31" fmla="*/ 0 h 251"/>
                <a:gd name="T32" fmla="*/ 0 w 81"/>
                <a:gd name="T33" fmla="*/ 0 h 251"/>
                <a:gd name="T34" fmla="*/ 0 w 81"/>
                <a:gd name="T35" fmla="*/ 0 h 251"/>
                <a:gd name="T36" fmla="*/ 0 w 81"/>
                <a:gd name="T37" fmla="*/ 0 h 251"/>
                <a:gd name="T38" fmla="*/ 0 w 81"/>
                <a:gd name="T39" fmla="*/ 0 h 251"/>
                <a:gd name="T40" fmla="*/ 0 w 81"/>
                <a:gd name="T41" fmla="*/ 0 h 251"/>
                <a:gd name="T42" fmla="*/ 0 w 81"/>
                <a:gd name="T43" fmla="*/ 0 h 251"/>
                <a:gd name="T44" fmla="*/ 0 w 81"/>
                <a:gd name="T45" fmla="*/ 0 h 251"/>
                <a:gd name="T46" fmla="*/ 0 w 81"/>
                <a:gd name="T47" fmla="*/ 0 h 251"/>
                <a:gd name="T48" fmla="*/ 0 w 81"/>
                <a:gd name="T49" fmla="*/ 0 h 251"/>
                <a:gd name="T50" fmla="*/ 0 w 81"/>
                <a:gd name="T51" fmla="*/ 0 h 251"/>
                <a:gd name="T52" fmla="*/ 0 w 81"/>
                <a:gd name="T53" fmla="*/ 0 h 251"/>
                <a:gd name="T54" fmla="*/ 0 w 81"/>
                <a:gd name="T55" fmla="*/ 0 h 251"/>
                <a:gd name="T56" fmla="*/ 0 w 81"/>
                <a:gd name="T57" fmla="*/ 0 h 251"/>
                <a:gd name="T58" fmla="*/ 0 w 81"/>
                <a:gd name="T59" fmla="*/ 0 h 251"/>
                <a:gd name="T60" fmla="*/ 0 w 81"/>
                <a:gd name="T61" fmla="*/ 0 h 251"/>
                <a:gd name="T62" fmla="*/ 0 w 81"/>
                <a:gd name="T63" fmla="*/ 0 h 251"/>
                <a:gd name="T64" fmla="*/ 0 w 81"/>
                <a:gd name="T65" fmla="*/ 0 h 251"/>
                <a:gd name="T66" fmla="*/ 0 w 81"/>
                <a:gd name="T67" fmla="*/ 0 h 2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1"/>
                <a:gd name="T103" fmla="*/ 0 h 251"/>
                <a:gd name="T104" fmla="*/ 81 w 81"/>
                <a:gd name="T105" fmla="*/ 251 h 2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8" name="Freeform 140">
              <a:extLst>
                <a:ext uri="{FF2B5EF4-FFF2-40B4-BE49-F238E27FC236}">
                  <a16:creationId xmlns:a16="http://schemas.microsoft.com/office/drawing/2014/main" id="{7DC749F1-6830-D775-2538-B37490E325E3}"/>
                </a:ext>
              </a:extLst>
            </p:cNvPr>
            <p:cNvSpPr>
              <a:spLocks noChangeAspect="1"/>
            </p:cNvSpPr>
            <p:nvPr userDrawn="1"/>
          </p:nvSpPr>
          <p:spPr bwMode="gray">
            <a:xfrm>
              <a:off x="7137173" y="3363972"/>
              <a:ext cx="50740" cy="53348"/>
            </a:xfrm>
            <a:custGeom>
              <a:avLst/>
              <a:gdLst>
                <a:gd name="T0" fmla="*/ 2147483647 w 96"/>
                <a:gd name="T1" fmla="*/ 2147483647 h 95"/>
                <a:gd name="T2" fmla="*/ 2147483647 w 96"/>
                <a:gd name="T3" fmla="*/ 2147483647 h 95"/>
                <a:gd name="T4" fmla="*/ 2147483647 w 96"/>
                <a:gd name="T5" fmla="*/ 2147483647 h 95"/>
                <a:gd name="T6" fmla="*/ 2147483647 w 96"/>
                <a:gd name="T7" fmla="*/ 0 h 95"/>
                <a:gd name="T8" fmla="*/ 2147483647 w 96"/>
                <a:gd name="T9" fmla="*/ 0 h 95"/>
                <a:gd name="T10" fmla="*/ 2147483647 w 96"/>
                <a:gd name="T11" fmla="*/ 0 h 95"/>
                <a:gd name="T12" fmla="*/ 2147483647 w 96"/>
                <a:gd name="T13" fmla="*/ 0 h 95"/>
                <a:gd name="T14" fmla="*/ 2147483647 w 96"/>
                <a:gd name="T15" fmla="*/ 0 h 95"/>
                <a:gd name="T16" fmla="*/ 2147483647 w 96"/>
                <a:gd name="T17" fmla="*/ 0 h 95"/>
                <a:gd name="T18" fmla="*/ 2147483647 w 96"/>
                <a:gd name="T19" fmla="*/ 0 h 95"/>
                <a:gd name="T20" fmla="*/ 2147483647 w 96"/>
                <a:gd name="T21" fmla="*/ 0 h 95"/>
                <a:gd name="T22" fmla="*/ 2147483647 w 96"/>
                <a:gd name="T23" fmla="*/ 0 h 95"/>
                <a:gd name="T24" fmla="*/ 2147483647 w 96"/>
                <a:gd name="T25" fmla="*/ 0 h 95"/>
                <a:gd name="T26" fmla="*/ 2147483647 w 96"/>
                <a:gd name="T27" fmla="*/ 0 h 95"/>
                <a:gd name="T28" fmla="*/ 2147483647 w 96"/>
                <a:gd name="T29" fmla="*/ 0 h 95"/>
                <a:gd name="T30" fmla="*/ 2147483647 w 96"/>
                <a:gd name="T31" fmla="*/ 0 h 95"/>
                <a:gd name="T32" fmla="*/ 2147483647 w 96"/>
                <a:gd name="T33" fmla="*/ 0 h 95"/>
                <a:gd name="T34" fmla="*/ 2147483647 w 96"/>
                <a:gd name="T35" fmla="*/ 0 h 95"/>
                <a:gd name="T36" fmla="*/ 2147483647 w 96"/>
                <a:gd name="T37" fmla="*/ 0 h 95"/>
                <a:gd name="T38" fmla="*/ 0 w 96"/>
                <a:gd name="T39" fmla="*/ 0 h 95"/>
                <a:gd name="T40" fmla="*/ 0 w 96"/>
                <a:gd name="T41" fmla="*/ 0 h 95"/>
                <a:gd name="T42" fmla="*/ 0 w 96"/>
                <a:gd name="T43" fmla="*/ 0 h 95"/>
                <a:gd name="T44" fmla="*/ 0 w 96"/>
                <a:gd name="T45" fmla="*/ 0 h 95"/>
                <a:gd name="T46" fmla="*/ 0 w 96"/>
                <a:gd name="T47" fmla="*/ 0 h 95"/>
                <a:gd name="T48" fmla="*/ 0 w 96"/>
                <a:gd name="T49" fmla="*/ 0 h 95"/>
                <a:gd name="T50" fmla="*/ 0 w 96"/>
                <a:gd name="T51" fmla="*/ 0 h 95"/>
                <a:gd name="T52" fmla="*/ 2147483647 w 96"/>
                <a:gd name="T53" fmla="*/ 2147483647 h 95"/>
                <a:gd name="T54" fmla="*/ 2147483647 w 96"/>
                <a:gd name="T55" fmla="*/ 2147483647 h 95"/>
                <a:gd name="T56" fmla="*/ 2147483647 w 96"/>
                <a:gd name="T57" fmla="*/ 2147483647 h 9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6"/>
                <a:gd name="T88" fmla="*/ 0 h 95"/>
                <a:gd name="T89" fmla="*/ 96 w 96"/>
                <a:gd name="T90" fmla="*/ 95 h 9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39" name="Freeform 141">
              <a:extLst>
                <a:ext uri="{FF2B5EF4-FFF2-40B4-BE49-F238E27FC236}">
                  <a16:creationId xmlns:a16="http://schemas.microsoft.com/office/drawing/2014/main" id="{FE75069E-8A31-1CAE-F42A-BB00C948F881}"/>
                </a:ext>
              </a:extLst>
            </p:cNvPr>
            <p:cNvSpPr>
              <a:spLocks noChangeAspect="1"/>
            </p:cNvSpPr>
            <p:nvPr userDrawn="1"/>
          </p:nvSpPr>
          <p:spPr bwMode="gray">
            <a:xfrm>
              <a:off x="6786473" y="3287761"/>
              <a:ext cx="616338" cy="538050"/>
            </a:xfrm>
            <a:custGeom>
              <a:avLst/>
              <a:gdLst>
                <a:gd name="T0" fmla="*/ 0 w 15957"/>
                <a:gd name="T1" fmla="*/ 0 h 13229"/>
                <a:gd name="T2" fmla="*/ 0 w 15957"/>
                <a:gd name="T3" fmla="*/ 0 h 13229"/>
                <a:gd name="T4" fmla="*/ 0 w 15957"/>
                <a:gd name="T5" fmla="*/ 0 h 13229"/>
                <a:gd name="T6" fmla="*/ 0 w 15957"/>
                <a:gd name="T7" fmla="*/ 0 h 13229"/>
                <a:gd name="T8" fmla="*/ 0 w 15957"/>
                <a:gd name="T9" fmla="*/ 0 h 13229"/>
                <a:gd name="T10" fmla="*/ 0 w 15957"/>
                <a:gd name="T11" fmla="*/ 0 h 13229"/>
                <a:gd name="T12" fmla="*/ 0 w 15957"/>
                <a:gd name="T13" fmla="*/ 0 h 13229"/>
                <a:gd name="T14" fmla="*/ 0 w 15957"/>
                <a:gd name="T15" fmla="*/ 0 h 13229"/>
                <a:gd name="T16" fmla="*/ 0 w 15957"/>
                <a:gd name="T17" fmla="*/ 0 h 13229"/>
                <a:gd name="T18" fmla="*/ 0 w 15957"/>
                <a:gd name="T19" fmla="*/ 0 h 13229"/>
                <a:gd name="T20" fmla="*/ 0 w 15957"/>
                <a:gd name="T21" fmla="*/ 0 h 13229"/>
                <a:gd name="T22" fmla="*/ 0 w 15957"/>
                <a:gd name="T23" fmla="*/ 0 h 13229"/>
                <a:gd name="T24" fmla="*/ 0 w 15957"/>
                <a:gd name="T25" fmla="*/ 0 h 13229"/>
                <a:gd name="T26" fmla="*/ 0 w 15957"/>
                <a:gd name="T27" fmla="*/ 0 h 13229"/>
                <a:gd name="T28" fmla="*/ 0 w 15957"/>
                <a:gd name="T29" fmla="*/ 0 h 13229"/>
                <a:gd name="T30" fmla="*/ 0 w 15957"/>
                <a:gd name="T31" fmla="*/ 0 h 13229"/>
                <a:gd name="T32" fmla="*/ 0 w 15957"/>
                <a:gd name="T33" fmla="*/ 0 h 13229"/>
                <a:gd name="T34" fmla="*/ 0 w 15957"/>
                <a:gd name="T35" fmla="*/ 0 h 13229"/>
                <a:gd name="T36" fmla="*/ 0 w 15957"/>
                <a:gd name="T37" fmla="*/ 0 h 13229"/>
                <a:gd name="T38" fmla="*/ 0 w 15957"/>
                <a:gd name="T39" fmla="*/ 0 h 13229"/>
                <a:gd name="T40" fmla="*/ 0 w 15957"/>
                <a:gd name="T41" fmla="*/ 0 h 13229"/>
                <a:gd name="T42" fmla="*/ 0 w 15957"/>
                <a:gd name="T43" fmla="*/ 0 h 13229"/>
                <a:gd name="T44" fmla="*/ 0 w 15957"/>
                <a:gd name="T45" fmla="*/ 0 h 13229"/>
                <a:gd name="T46" fmla="*/ 0 w 15957"/>
                <a:gd name="T47" fmla="*/ 0 h 13229"/>
                <a:gd name="T48" fmla="*/ 0 w 15957"/>
                <a:gd name="T49" fmla="*/ 0 h 13229"/>
                <a:gd name="T50" fmla="*/ 0 w 15957"/>
                <a:gd name="T51" fmla="*/ 0 h 13229"/>
                <a:gd name="T52" fmla="*/ 0 w 15957"/>
                <a:gd name="T53" fmla="*/ 0 h 13229"/>
                <a:gd name="T54" fmla="*/ 0 w 15957"/>
                <a:gd name="T55" fmla="*/ 0 h 13229"/>
                <a:gd name="T56" fmla="*/ 0 w 15957"/>
                <a:gd name="T57" fmla="*/ 0 h 13229"/>
                <a:gd name="T58" fmla="*/ 0 w 15957"/>
                <a:gd name="T59" fmla="*/ 0 h 13229"/>
                <a:gd name="T60" fmla="*/ 0 w 15957"/>
                <a:gd name="T61" fmla="*/ 0 h 13229"/>
                <a:gd name="T62" fmla="*/ 0 w 15957"/>
                <a:gd name="T63" fmla="*/ 0 h 13229"/>
                <a:gd name="T64" fmla="*/ 0 w 15957"/>
                <a:gd name="T65" fmla="*/ 0 h 13229"/>
                <a:gd name="T66" fmla="*/ 0 w 15957"/>
                <a:gd name="T67" fmla="*/ 0 h 13229"/>
                <a:gd name="T68" fmla="*/ 0 w 15957"/>
                <a:gd name="T69" fmla="*/ 0 h 13229"/>
                <a:gd name="T70" fmla="*/ 0 w 15957"/>
                <a:gd name="T71" fmla="*/ 0 h 13229"/>
                <a:gd name="T72" fmla="*/ 0 w 15957"/>
                <a:gd name="T73" fmla="*/ 0 h 13229"/>
                <a:gd name="T74" fmla="*/ 0 w 15957"/>
                <a:gd name="T75" fmla="*/ 0 h 13229"/>
                <a:gd name="T76" fmla="*/ 0 w 15957"/>
                <a:gd name="T77" fmla="*/ 0 h 13229"/>
                <a:gd name="T78" fmla="*/ 0 w 15957"/>
                <a:gd name="T79" fmla="*/ 0 h 13229"/>
                <a:gd name="T80" fmla="*/ 0 w 15957"/>
                <a:gd name="T81" fmla="*/ 0 h 13229"/>
                <a:gd name="T82" fmla="*/ 0 w 15957"/>
                <a:gd name="T83" fmla="*/ 0 h 13229"/>
                <a:gd name="T84" fmla="*/ 0 w 15957"/>
                <a:gd name="T85" fmla="*/ 0 h 13229"/>
                <a:gd name="T86" fmla="*/ 0 w 15957"/>
                <a:gd name="T87" fmla="*/ 0 h 13229"/>
                <a:gd name="T88" fmla="*/ 0 w 15957"/>
                <a:gd name="T89" fmla="*/ 0 h 13229"/>
                <a:gd name="T90" fmla="*/ 0 w 15957"/>
                <a:gd name="T91" fmla="*/ 0 h 13229"/>
                <a:gd name="T92" fmla="*/ 0 w 15957"/>
                <a:gd name="T93" fmla="*/ 0 h 13229"/>
                <a:gd name="T94" fmla="*/ 0 w 15957"/>
                <a:gd name="T95" fmla="*/ 0 h 13229"/>
                <a:gd name="T96" fmla="*/ 0 w 15957"/>
                <a:gd name="T97" fmla="*/ 0 h 13229"/>
                <a:gd name="T98" fmla="*/ 0 w 15957"/>
                <a:gd name="T99" fmla="*/ 0 h 13229"/>
                <a:gd name="T100" fmla="*/ 0 w 15957"/>
                <a:gd name="T101" fmla="*/ 0 h 13229"/>
                <a:gd name="T102" fmla="*/ 0 w 15957"/>
                <a:gd name="T103" fmla="*/ 0 h 132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957"/>
                <a:gd name="T157" fmla="*/ 0 h 13229"/>
                <a:gd name="T158" fmla="*/ 15957 w 15957"/>
                <a:gd name="T159" fmla="*/ 13229 h 132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0" name="Freeform 142">
              <a:extLst>
                <a:ext uri="{FF2B5EF4-FFF2-40B4-BE49-F238E27FC236}">
                  <a16:creationId xmlns:a16="http://schemas.microsoft.com/office/drawing/2014/main" id="{124B1271-3473-13FF-B221-3FB07E74E9D7}"/>
                </a:ext>
              </a:extLst>
            </p:cNvPr>
            <p:cNvSpPr>
              <a:spLocks noChangeAspect="1"/>
            </p:cNvSpPr>
            <p:nvPr userDrawn="1"/>
          </p:nvSpPr>
          <p:spPr bwMode="gray">
            <a:xfrm>
              <a:off x="7020771" y="3741978"/>
              <a:ext cx="304438" cy="205770"/>
            </a:xfrm>
            <a:custGeom>
              <a:avLst/>
              <a:gdLst>
                <a:gd name="T0" fmla="*/ 0 w 15675"/>
                <a:gd name="T1" fmla="*/ 0 h 9942"/>
                <a:gd name="T2" fmla="*/ 0 w 15675"/>
                <a:gd name="T3" fmla="*/ 0 h 9942"/>
                <a:gd name="T4" fmla="*/ 0 w 15675"/>
                <a:gd name="T5" fmla="*/ 0 h 9942"/>
                <a:gd name="T6" fmla="*/ 0 w 15675"/>
                <a:gd name="T7" fmla="*/ 0 h 9942"/>
                <a:gd name="T8" fmla="*/ 0 w 15675"/>
                <a:gd name="T9" fmla="*/ 0 h 9942"/>
                <a:gd name="T10" fmla="*/ 0 w 15675"/>
                <a:gd name="T11" fmla="*/ 0 h 9942"/>
                <a:gd name="T12" fmla="*/ 0 w 15675"/>
                <a:gd name="T13" fmla="*/ 0 h 9942"/>
                <a:gd name="T14" fmla="*/ 0 w 15675"/>
                <a:gd name="T15" fmla="*/ 0 h 9942"/>
                <a:gd name="T16" fmla="*/ 0 w 15675"/>
                <a:gd name="T17" fmla="*/ 0 h 9942"/>
                <a:gd name="T18" fmla="*/ 0 w 15675"/>
                <a:gd name="T19" fmla="*/ 0 h 9942"/>
                <a:gd name="T20" fmla="*/ 0 w 15675"/>
                <a:gd name="T21" fmla="*/ 0 h 9942"/>
                <a:gd name="T22" fmla="*/ 0 w 15675"/>
                <a:gd name="T23" fmla="*/ 0 h 9942"/>
                <a:gd name="T24" fmla="*/ 0 w 15675"/>
                <a:gd name="T25" fmla="*/ 0 h 9942"/>
                <a:gd name="T26" fmla="*/ 0 w 15675"/>
                <a:gd name="T27" fmla="*/ 0 h 9942"/>
                <a:gd name="T28" fmla="*/ 0 w 15675"/>
                <a:gd name="T29" fmla="*/ 0 h 9942"/>
                <a:gd name="T30" fmla="*/ 0 w 15675"/>
                <a:gd name="T31" fmla="*/ 0 h 9942"/>
                <a:gd name="T32" fmla="*/ 0 w 15675"/>
                <a:gd name="T33" fmla="*/ 0 h 9942"/>
                <a:gd name="T34" fmla="*/ 0 w 15675"/>
                <a:gd name="T35" fmla="*/ 0 h 9942"/>
                <a:gd name="T36" fmla="*/ 0 w 15675"/>
                <a:gd name="T37" fmla="*/ 0 h 9942"/>
                <a:gd name="T38" fmla="*/ 0 w 15675"/>
                <a:gd name="T39" fmla="*/ 0 h 9942"/>
                <a:gd name="T40" fmla="*/ 0 w 15675"/>
                <a:gd name="T41" fmla="*/ 0 h 9942"/>
                <a:gd name="T42" fmla="*/ 0 w 15675"/>
                <a:gd name="T43" fmla="*/ 0 h 9942"/>
                <a:gd name="T44" fmla="*/ 0 w 15675"/>
                <a:gd name="T45" fmla="*/ 0 h 9942"/>
                <a:gd name="T46" fmla="*/ 0 w 15675"/>
                <a:gd name="T47" fmla="*/ 0 h 9942"/>
                <a:gd name="T48" fmla="*/ 0 w 15675"/>
                <a:gd name="T49" fmla="*/ 0 h 9942"/>
                <a:gd name="T50" fmla="*/ 0 w 15675"/>
                <a:gd name="T51" fmla="*/ 0 h 9942"/>
                <a:gd name="T52" fmla="*/ 0 w 15675"/>
                <a:gd name="T53" fmla="*/ 0 h 9942"/>
                <a:gd name="T54" fmla="*/ 0 w 15675"/>
                <a:gd name="T55" fmla="*/ 0 h 9942"/>
                <a:gd name="T56" fmla="*/ 0 w 15675"/>
                <a:gd name="T57" fmla="*/ 0 h 9942"/>
                <a:gd name="T58" fmla="*/ 0 w 15675"/>
                <a:gd name="T59" fmla="*/ 0 h 9942"/>
                <a:gd name="T60" fmla="*/ 0 w 15675"/>
                <a:gd name="T61" fmla="*/ 0 h 9942"/>
                <a:gd name="T62" fmla="*/ 0 w 15675"/>
                <a:gd name="T63" fmla="*/ 0 h 9942"/>
                <a:gd name="T64" fmla="*/ 0 w 15675"/>
                <a:gd name="T65" fmla="*/ 0 h 9942"/>
                <a:gd name="T66" fmla="*/ 0 w 15675"/>
                <a:gd name="T67" fmla="*/ 0 h 9942"/>
                <a:gd name="T68" fmla="*/ 0 w 15675"/>
                <a:gd name="T69" fmla="*/ 0 h 9942"/>
                <a:gd name="T70" fmla="*/ 0 w 15675"/>
                <a:gd name="T71" fmla="*/ 0 h 9942"/>
                <a:gd name="T72" fmla="*/ 0 w 15675"/>
                <a:gd name="T73" fmla="*/ 0 h 9942"/>
                <a:gd name="T74" fmla="*/ 0 w 15675"/>
                <a:gd name="T75" fmla="*/ 0 h 9942"/>
                <a:gd name="T76" fmla="*/ 0 w 15675"/>
                <a:gd name="T77" fmla="*/ 0 h 9942"/>
                <a:gd name="T78" fmla="*/ 0 w 15675"/>
                <a:gd name="T79" fmla="*/ 0 h 9942"/>
                <a:gd name="T80" fmla="*/ 0 w 15675"/>
                <a:gd name="T81" fmla="*/ 0 h 9942"/>
                <a:gd name="T82" fmla="*/ 0 w 15675"/>
                <a:gd name="T83" fmla="*/ 0 h 9942"/>
                <a:gd name="T84" fmla="*/ 0 w 15675"/>
                <a:gd name="T85" fmla="*/ 0 h 9942"/>
                <a:gd name="T86" fmla="*/ 0 w 15675"/>
                <a:gd name="T87" fmla="*/ 0 h 9942"/>
                <a:gd name="T88" fmla="*/ 0 w 15675"/>
                <a:gd name="T89" fmla="*/ 0 h 9942"/>
                <a:gd name="T90" fmla="*/ 0 w 15675"/>
                <a:gd name="T91" fmla="*/ 0 h 9942"/>
                <a:gd name="T92" fmla="*/ 0 w 15675"/>
                <a:gd name="T93" fmla="*/ 0 h 9942"/>
                <a:gd name="T94" fmla="*/ 0 w 15675"/>
                <a:gd name="T95" fmla="*/ 0 h 9942"/>
                <a:gd name="T96" fmla="*/ 0 w 15675"/>
                <a:gd name="T97" fmla="*/ 0 h 9942"/>
                <a:gd name="T98" fmla="*/ 0 w 15675"/>
                <a:gd name="T99" fmla="*/ 0 h 9942"/>
                <a:gd name="T100" fmla="*/ 0 w 15675"/>
                <a:gd name="T101" fmla="*/ 0 h 9942"/>
                <a:gd name="T102" fmla="*/ 0 w 15675"/>
                <a:gd name="T103" fmla="*/ 0 h 9942"/>
                <a:gd name="T104" fmla="*/ 0 w 15675"/>
                <a:gd name="T105" fmla="*/ 0 h 9942"/>
                <a:gd name="T106" fmla="*/ 0 w 15675"/>
                <a:gd name="T107" fmla="*/ 0 h 9942"/>
                <a:gd name="T108" fmla="*/ 0 w 15675"/>
                <a:gd name="T109" fmla="*/ 0 h 994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675"/>
                <a:gd name="T166" fmla="*/ 0 h 9942"/>
                <a:gd name="T167" fmla="*/ 15675 w 15675"/>
                <a:gd name="T168" fmla="*/ 9942 h 994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1" name="Freeform 143">
              <a:extLst>
                <a:ext uri="{FF2B5EF4-FFF2-40B4-BE49-F238E27FC236}">
                  <a16:creationId xmlns:a16="http://schemas.microsoft.com/office/drawing/2014/main" id="{B941064E-82BB-1F13-9013-30AB2F0FFECE}"/>
                </a:ext>
              </a:extLst>
            </p:cNvPr>
            <p:cNvSpPr>
              <a:spLocks noChangeAspect="1"/>
            </p:cNvSpPr>
            <p:nvPr userDrawn="1"/>
          </p:nvSpPr>
          <p:spPr bwMode="gray">
            <a:xfrm>
              <a:off x="7341624" y="3565169"/>
              <a:ext cx="7462" cy="4573"/>
            </a:xfrm>
            <a:custGeom>
              <a:avLst/>
              <a:gdLst>
                <a:gd name="T0" fmla="*/ 0 w 16"/>
                <a:gd name="T1" fmla="*/ 0 h 9"/>
                <a:gd name="T2" fmla="*/ 0 w 16"/>
                <a:gd name="T3" fmla="*/ 0 h 9"/>
                <a:gd name="T4" fmla="*/ 0 w 16"/>
                <a:gd name="T5" fmla="*/ 0 h 9"/>
                <a:gd name="T6" fmla="*/ 0 w 16"/>
                <a:gd name="T7" fmla="*/ 0 h 9"/>
                <a:gd name="T8" fmla="*/ 0 w 16"/>
                <a:gd name="T9" fmla="*/ 0 h 9"/>
                <a:gd name="T10" fmla="*/ 0 w 16"/>
                <a:gd name="T11" fmla="*/ 0 h 9"/>
                <a:gd name="T12" fmla="*/ 0 w 16"/>
                <a:gd name="T13" fmla="*/ 0 h 9"/>
                <a:gd name="T14" fmla="*/ 0 w 16"/>
                <a:gd name="T15" fmla="*/ 0 h 9"/>
                <a:gd name="T16" fmla="*/ 0 w 16"/>
                <a:gd name="T17" fmla="*/ 0 h 9"/>
                <a:gd name="T18" fmla="*/ 0 w 16"/>
                <a:gd name="T19" fmla="*/ 0 h 9"/>
                <a:gd name="T20" fmla="*/ 0 w 16"/>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9"/>
                <a:gd name="T35" fmla="*/ 16 w 16"/>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2" name="Freeform 145">
              <a:extLst>
                <a:ext uri="{FF2B5EF4-FFF2-40B4-BE49-F238E27FC236}">
                  <a16:creationId xmlns:a16="http://schemas.microsoft.com/office/drawing/2014/main" id="{DDA3AAC7-4902-5588-4F4E-B5313D3C9771}"/>
                </a:ext>
              </a:extLst>
            </p:cNvPr>
            <p:cNvSpPr>
              <a:spLocks noChangeAspect="1"/>
            </p:cNvSpPr>
            <p:nvPr userDrawn="1"/>
          </p:nvSpPr>
          <p:spPr bwMode="gray">
            <a:xfrm>
              <a:off x="7411764" y="3495055"/>
              <a:ext cx="10446" cy="22864"/>
            </a:xfrm>
            <a:custGeom>
              <a:avLst/>
              <a:gdLst>
                <a:gd name="T0" fmla="*/ 0 w 19"/>
                <a:gd name="T1" fmla="*/ 0 h 40"/>
                <a:gd name="T2" fmla="*/ 0 w 19"/>
                <a:gd name="T3" fmla="*/ 0 h 40"/>
                <a:gd name="T4" fmla="*/ 0 w 19"/>
                <a:gd name="T5" fmla="*/ 0 h 40"/>
                <a:gd name="T6" fmla="*/ 0 w 19"/>
                <a:gd name="T7" fmla="*/ 0 h 40"/>
                <a:gd name="T8" fmla="*/ 0 w 19"/>
                <a:gd name="T9" fmla="*/ 0 h 40"/>
                <a:gd name="T10" fmla="*/ 0 w 19"/>
                <a:gd name="T11" fmla="*/ 0 h 40"/>
                <a:gd name="T12" fmla="*/ 0 w 19"/>
                <a:gd name="T13" fmla="*/ 0 h 40"/>
                <a:gd name="T14" fmla="*/ 0 w 19"/>
                <a:gd name="T15" fmla="*/ 0 h 40"/>
                <a:gd name="T16" fmla="*/ 0 w 19"/>
                <a:gd name="T17" fmla="*/ 0 h 40"/>
                <a:gd name="T18" fmla="*/ 0 w 19"/>
                <a:gd name="T19" fmla="*/ 0 h 40"/>
                <a:gd name="T20" fmla="*/ 0 w 19"/>
                <a:gd name="T21" fmla="*/ 0 h 40"/>
                <a:gd name="T22" fmla="*/ 0 w 19"/>
                <a:gd name="T23" fmla="*/ 0 h 40"/>
                <a:gd name="T24" fmla="*/ 0 w 19"/>
                <a:gd name="T25" fmla="*/ 0 h 40"/>
                <a:gd name="T26" fmla="*/ 0 w 19"/>
                <a:gd name="T27" fmla="*/ 0 h 40"/>
                <a:gd name="T28" fmla="*/ 0 w 19"/>
                <a:gd name="T29" fmla="*/ 0 h 40"/>
                <a:gd name="T30" fmla="*/ 0 w 19"/>
                <a:gd name="T31" fmla="*/ 0 h 40"/>
                <a:gd name="T32" fmla="*/ 0 w 19"/>
                <a:gd name="T33" fmla="*/ 0 h 40"/>
                <a:gd name="T34" fmla="*/ 0 w 19"/>
                <a:gd name="T35" fmla="*/ 0 h 40"/>
                <a:gd name="T36" fmla="*/ 0 w 19"/>
                <a:gd name="T37" fmla="*/ 0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40"/>
                <a:gd name="T59" fmla="*/ 19 w 19"/>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3" name="Freeform 146">
              <a:extLst>
                <a:ext uri="{FF2B5EF4-FFF2-40B4-BE49-F238E27FC236}">
                  <a16:creationId xmlns:a16="http://schemas.microsoft.com/office/drawing/2014/main" id="{4FAB22F7-BAFC-FA24-BF5D-CA9F9714DC03}"/>
                </a:ext>
              </a:extLst>
            </p:cNvPr>
            <p:cNvSpPr>
              <a:spLocks noChangeAspect="1"/>
            </p:cNvSpPr>
            <p:nvPr userDrawn="1"/>
          </p:nvSpPr>
          <p:spPr bwMode="gray">
            <a:xfrm>
              <a:off x="7293869" y="3545355"/>
              <a:ext cx="225344" cy="272835"/>
            </a:xfrm>
            <a:custGeom>
              <a:avLst/>
              <a:gdLst>
                <a:gd name="T0" fmla="*/ 0 w 427"/>
                <a:gd name="T1" fmla="*/ 0 h 482"/>
                <a:gd name="T2" fmla="*/ 0 w 427"/>
                <a:gd name="T3" fmla="*/ 0 h 482"/>
                <a:gd name="T4" fmla="*/ 0 w 427"/>
                <a:gd name="T5" fmla="*/ 0 h 482"/>
                <a:gd name="T6" fmla="*/ 0 w 427"/>
                <a:gd name="T7" fmla="*/ 2147483647 h 482"/>
                <a:gd name="T8" fmla="*/ 0 w 427"/>
                <a:gd name="T9" fmla="*/ 2147483647 h 482"/>
                <a:gd name="T10" fmla="*/ 0 w 427"/>
                <a:gd name="T11" fmla="*/ 2147483647 h 482"/>
                <a:gd name="T12" fmla="*/ 0 w 427"/>
                <a:gd name="T13" fmla="*/ 2147483647 h 482"/>
                <a:gd name="T14" fmla="*/ 0 w 427"/>
                <a:gd name="T15" fmla="*/ 2147483647 h 482"/>
                <a:gd name="T16" fmla="*/ 0 w 427"/>
                <a:gd name="T17" fmla="*/ 2147483647 h 482"/>
                <a:gd name="T18" fmla="*/ 0 w 427"/>
                <a:gd name="T19" fmla="*/ 2147483647 h 482"/>
                <a:gd name="T20" fmla="*/ 0 w 427"/>
                <a:gd name="T21" fmla="*/ 2147483647 h 482"/>
                <a:gd name="T22" fmla="*/ 0 w 427"/>
                <a:gd name="T23" fmla="*/ 2147483647 h 482"/>
                <a:gd name="T24" fmla="*/ 0 w 427"/>
                <a:gd name="T25" fmla="*/ 2147483647 h 482"/>
                <a:gd name="T26" fmla="*/ 0 w 427"/>
                <a:gd name="T27" fmla="*/ 2147483647 h 482"/>
                <a:gd name="T28" fmla="*/ 0 w 427"/>
                <a:gd name="T29" fmla="*/ 2147483647 h 482"/>
                <a:gd name="T30" fmla="*/ 0 w 427"/>
                <a:gd name="T31" fmla="*/ 2147483647 h 482"/>
                <a:gd name="T32" fmla="*/ 0 w 427"/>
                <a:gd name="T33" fmla="*/ 2147483647 h 482"/>
                <a:gd name="T34" fmla="*/ 0 w 427"/>
                <a:gd name="T35" fmla="*/ 2147483647 h 482"/>
                <a:gd name="T36" fmla="*/ 0 w 427"/>
                <a:gd name="T37" fmla="*/ 2147483647 h 482"/>
                <a:gd name="T38" fmla="*/ 2147483647 w 427"/>
                <a:gd name="T39" fmla="*/ 2147483647 h 482"/>
                <a:gd name="T40" fmla="*/ 2147483647 w 427"/>
                <a:gd name="T41" fmla="*/ 2147483647 h 482"/>
                <a:gd name="T42" fmla="*/ 0 w 427"/>
                <a:gd name="T43" fmla="*/ 0 h 482"/>
                <a:gd name="T44" fmla="*/ 2147483647 w 427"/>
                <a:gd name="T45" fmla="*/ 0 h 482"/>
                <a:gd name="T46" fmla="*/ 2147483647 w 427"/>
                <a:gd name="T47" fmla="*/ 0 h 482"/>
                <a:gd name="T48" fmla="*/ 2147483647 w 427"/>
                <a:gd name="T49" fmla="*/ 0 h 482"/>
                <a:gd name="T50" fmla="*/ 2147483647 w 427"/>
                <a:gd name="T51" fmla="*/ 0 h 482"/>
                <a:gd name="T52" fmla="*/ 2147483647 w 427"/>
                <a:gd name="T53" fmla="*/ 0 h 482"/>
                <a:gd name="T54" fmla="*/ 2147483647 w 427"/>
                <a:gd name="T55" fmla="*/ 0 h 482"/>
                <a:gd name="T56" fmla="*/ 2147483647 w 427"/>
                <a:gd name="T57" fmla="*/ 0 h 482"/>
                <a:gd name="T58" fmla="*/ 2147483647 w 427"/>
                <a:gd name="T59" fmla="*/ 0 h 482"/>
                <a:gd name="T60" fmla="*/ 2147483647 w 427"/>
                <a:gd name="T61" fmla="*/ 0 h 482"/>
                <a:gd name="T62" fmla="*/ 2147483647 w 427"/>
                <a:gd name="T63" fmla="*/ 0 h 482"/>
                <a:gd name="T64" fmla="*/ 2147483647 w 427"/>
                <a:gd name="T65" fmla="*/ 0 h 482"/>
                <a:gd name="T66" fmla="*/ 2147483647 w 427"/>
                <a:gd name="T67" fmla="*/ 0 h 482"/>
                <a:gd name="T68" fmla="*/ 2147483647 w 427"/>
                <a:gd name="T69" fmla="*/ 0 h 482"/>
                <a:gd name="T70" fmla="*/ 2147483647 w 427"/>
                <a:gd name="T71" fmla="*/ 0 h 482"/>
                <a:gd name="T72" fmla="*/ 2147483647 w 427"/>
                <a:gd name="T73" fmla="*/ 0 h 482"/>
                <a:gd name="T74" fmla="*/ 2147483647 w 427"/>
                <a:gd name="T75" fmla="*/ 0 h 482"/>
                <a:gd name="T76" fmla="*/ 2147483647 w 427"/>
                <a:gd name="T77" fmla="*/ 0 h 482"/>
                <a:gd name="T78" fmla="*/ 2147483647 w 427"/>
                <a:gd name="T79" fmla="*/ 0 h 482"/>
                <a:gd name="T80" fmla="*/ 0 w 427"/>
                <a:gd name="T81" fmla="*/ 0 h 482"/>
                <a:gd name="T82" fmla="*/ 0 w 427"/>
                <a:gd name="T83" fmla="*/ 0 h 482"/>
                <a:gd name="T84" fmla="*/ 0 w 427"/>
                <a:gd name="T85" fmla="*/ 0 h 482"/>
                <a:gd name="T86" fmla="*/ 0 w 427"/>
                <a:gd name="T87" fmla="*/ 0 h 4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7"/>
                <a:gd name="T133" fmla="*/ 0 h 482"/>
                <a:gd name="T134" fmla="*/ 427 w 427"/>
                <a:gd name="T135" fmla="*/ 482 h 48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4" name="Freeform 147">
              <a:extLst>
                <a:ext uri="{FF2B5EF4-FFF2-40B4-BE49-F238E27FC236}">
                  <a16:creationId xmlns:a16="http://schemas.microsoft.com/office/drawing/2014/main" id="{B823EB82-1876-A316-089B-671D2A5E2C31}"/>
                </a:ext>
              </a:extLst>
            </p:cNvPr>
            <p:cNvSpPr>
              <a:spLocks noChangeAspect="1"/>
            </p:cNvSpPr>
            <p:nvPr userDrawn="1"/>
          </p:nvSpPr>
          <p:spPr bwMode="gray">
            <a:xfrm>
              <a:off x="7249099" y="3496580"/>
              <a:ext cx="1493" cy="7621"/>
            </a:xfrm>
            <a:custGeom>
              <a:avLst/>
              <a:gdLst>
                <a:gd name="T0" fmla="*/ 0 w 8"/>
                <a:gd name="T1" fmla="*/ 0 h 19"/>
                <a:gd name="T2" fmla="*/ 0 w 8"/>
                <a:gd name="T3" fmla="*/ 0 h 19"/>
                <a:gd name="T4" fmla="*/ 0 w 8"/>
                <a:gd name="T5" fmla="*/ 0 h 19"/>
                <a:gd name="T6" fmla="*/ 0 w 8"/>
                <a:gd name="T7" fmla="*/ 0 h 19"/>
                <a:gd name="T8" fmla="*/ 0 w 8"/>
                <a:gd name="T9" fmla="*/ 0 h 19"/>
                <a:gd name="T10" fmla="*/ 0 w 8"/>
                <a:gd name="T11" fmla="*/ 0 h 19"/>
                <a:gd name="T12" fmla="*/ 0 60000 65536"/>
                <a:gd name="T13" fmla="*/ 0 60000 65536"/>
                <a:gd name="T14" fmla="*/ 0 60000 65536"/>
                <a:gd name="T15" fmla="*/ 0 60000 65536"/>
                <a:gd name="T16" fmla="*/ 0 60000 65536"/>
                <a:gd name="T17" fmla="*/ 0 60000 65536"/>
                <a:gd name="T18" fmla="*/ 0 w 8"/>
                <a:gd name="T19" fmla="*/ 0 h 19"/>
                <a:gd name="T20" fmla="*/ 8 w 8"/>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8" h="19">
                  <a:moveTo>
                    <a:pt x="8" y="3"/>
                  </a:moveTo>
                  <a:lnTo>
                    <a:pt x="0" y="0"/>
                  </a:lnTo>
                  <a:lnTo>
                    <a:pt x="0" y="11"/>
                  </a:lnTo>
                  <a:lnTo>
                    <a:pt x="3" y="19"/>
                  </a:lnTo>
                  <a:lnTo>
                    <a:pt x="8" y="17"/>
                  </a:lnTo>
                  <a:lnTo>
                    <a:pt x="8"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5" name="Freeform 149">
              <a:extLst>
                <a:ext uri="{FF2B5EF4-FFF2-40B4-BE49-F238E27FC236}">
                  <a16:creationId xmlns:a16="http://schemas.microsoft.com/office/drawing/2014/main" id="{E52AC0AA-E109-851E-25F5-07000EB44FA7}"/>
                </a:ext>
              </a:extLst>
            </p:cNvPr>
            <p:cNvSpPr>
              <a:spLocks noChangeAspect="1"/>
            </p:cNvSpPr>
            <p:nvPr userDrawn="1"/>
          </p:nvSpPr>
          <p:spPr bwMode="gray">
            <a:xfrm>
              <a:off x="7387887" y="3475241"/>
              <a:ext cx="28354" cy="13717"/>
            </a:xfrm>
            <a:custGeom>
              <a:avLst/>
              <a:gdLst>
                <a:gd name="T0" fmla="*/ 0 w 50"/>
                <a:gd name="T1" fmla="*/ 0 h 26"/>
                <a:gd name="T2" fmla="*/ 0 w 50"/>
                <a:gd name="T3" fmla="*/ 0 h 26"/>
                <a:gd name="T4" fmla="*/ 0 w 50"/>
                <a:gd name="T5" fmla="*/ 0 h 26"/>
                <a:gd name="T6" fmla="*/ 0 w 50"/>
                <a:gd name="T7" fmla="*/ 0 h 26"/>
                <a:gd name="T8" fmla="*/ 0 w 50"/>
                <a:gd name="T9" fmla="*/ 0 h 26"/>
                <a:gd name="T10" fmla="*/ 0 w 50"/>
                <a:gd name="T11" fmla="*/ 0 h 26"/>
                <a:gd name="T12" fmla="*/ 0 w 50"/>
                <a:gd name="T13" fmla="*/ 0 h 26"/>
                <a:gd name="T14" fmla="*/ 0 w 50"/>
                <a:gd name="T15" fmla="*/ 0 h 26"/>
                <a:gd name="T16" fmla="*/ 0 w 50"/>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26"/>
                <a:gd name="T29" fmla="*/ 50 w 50"/>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26">
                  <a:moveTo>
                    <a:pt x="50" y="2"/>
                  </a:moveTo>
                  <a:lnTo>
                    <a:pt x="45" y="0"/>
                  </a:lnTo>
                  <a:lnTo>
                    <a:pt x="27" y="2"/>
                  </a:lnTo>
                  <a:lnTo>
                    <a:pt x="23" y="10"/>
                  </a:lnTo>
                  <a:lnTo>
                    <a:pt x="12" y="18"/>
                  </a:lnTo>
                  <a:lnTo>
                    <a:pt x="0" y="22"/>
                  </a:lnTo>
                  <a:lnTo>
                    <a:pt x="1" y="26"/>
                  </a:lnTo>
                  <a:lnTo>
                    <a:pt x="27" y="19"/>
                  </a:lnTo>
                  <a:lnTo>
                    <a:pt x="50"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6" name="Freeform 150">
              <a:extLst>
                <a:ext uri="{FF2B5EF4-FFF2-40B4-BE49-F238E27FC236}">
                  <a16:creationId xmlns:a16="http://schemas.microsoft.com/office/drawing/2014/main" id="{D9F06405-E1DA-32FF-FA29-524BE6A60111}"/>
                </a:ext>
              </a:extLst>
            </p:cNvPr>
            <p:cNvSpPr>
              <a:spLocks noChangeAspect="1"/>
            </p:cNvSpPr>
            <p:nvPr userDrawn="1"/>
          </p:nvSpPr>
          <p:spPr bwMode="gray">
            <a:xfrm>
              <a:off x="7062556" y="2989014"/>
              <a:ext cx="561121" cy="548718"/>
            </a:xfrm>
            <a:custGeom>
              <a:avLst/>
              <a:gdLst>
                <a:gd name="T0" fmla="*/ 2147483647 w 1049"/>
                <a:gd name="T1" fmla="*/ 2147483647 h 961"/>
                <a:gd name="T2" fmla="*/ 2147483647 w 1049"/>
                <a:gd name="T3" fmla="*/ 2147483647 h 961"/>
                <a:gd name="T4" fmla="*/ 2147483647 w 1049"/>
                <a:gd name="T5" fmla="*/ 2147483647 h 961"/>
                <a:gd name="T6" fmla="*/ 2147483647 w 1049"/>
                <a:gd name="T7" fmla="*/ 2147483647 h 961"/>
                <a:gd name="T8" fmla="*/ 2147483647 w 1049"/>
                <a:gd name="T9" fmla="*/ 2147483647 h 961"/>
                <a:gd name="T10" fmla="*/ 2147483647 w 1049"/>
                <a:gd name="T11" fmla="*/ 2147483647 h 961"/>
                <a:gd name="T12" fmla="*/ 2147483647 w 1049"/>
                <a:gd name="T13" fmla="*/ 2147483647 h 961"/>
                <a:gd name="T14" fmla="*/ 2147483647 w 1049"/>
                <a:gd name="T15" fmla="*/ 2147483647 h 961"/>
                <a:gd name="T16" fmla="*/ 2147483647 w 1049"/>
                <a:gd name="T17" fmla="*/ 2147483647 h 961"/>
                <a:gd name="T18" fmla="*/ 2147483647 w 1049"/>
                <a:gd name="T19" fmla="*/ 2147483647 h 961"/>
                <a:gd name="T20" fmla="*/ 2147483647 w 1049"/>
                <a:gd name="T21" fmla="*/ 2147483647 h 961"/>
                <a:gd name="T22" fmla="*/ 2147483647 w 1049"/>
                <a:gd name="T23" fmla="*/ 2147483647 h 961"/>
                <a:gd name="T24" fmla="*/ 0 w 1049"/>
                <a:gd name="T25" fmla="*/ 2147483647 h 961"/>
                <a:gd name="T26" fmla="*/ 0 w 1049"/>
                <a:gd name="T27" fmla="*/ 2147483647 h 961"/>
                <a:gd name="T28" fmla="*/ 0 w 1049"/>
                <a:gd name="T29" fmla="*/ 2147483647 h 961"/>
                <a:gd name="T30" fmla="*/ 0 w 1049"/>
                <a:gd name="T31" fmla="*/ 2147483647 h 961"/>
                <a:gd name="T32" fmla="*/ 0 w 1049"/>
                <a:gd name="T33" fmla="*/ 2147483647 h 961"/>
                <a:gd name="T34" fmla="*/ 0 w 1049"/>
                <a:gd name="T35" fmla="*/ 2147483647 h 961"/>
                <a:gd name="T36" fmla="*/ 0 w 1049"/>
                <a:gd name="T37" fmla="*/ 2147483647 h 961"/>
                <a:gd name="T38" fmla="*/ 0 w 1049"/>
                <a:gd name="T39" fmla="*/ 2147483647 h 961"/>
                <a:gd name="T40" fmla="*/ 0 w 1049"/>
                <a:gd name="T41" fmla="*/ 2147483647 h 961"/>
                <a:gd name="T42" fmla="*/ 0 w 1049"/>
                <a:gd name="T43" fmla="*/ 2147483647 h 961"/>
                <a:gd name="T44" fmla="*/ 0 w 1049"/>
                <a:gd name="T45" fmla="*/ 0 h 961"/>
                <a:gd name="T46" fmla="*/ 0 w 1049"/>
                <a:gd name="T47" fmla="*/ 0 h 961"/>
                <a:gd name="T48" fmla="*/ 0 w 1049"/>
                <a:gd name="T49" fmla="*/ 0 h 961"/>
                <a:gd name="T50" fmla="*/ 0 w 1049"/>
                <a:gd name="T51" fmla="*/ 0 h 961"/>
                <a:gd name="T52" fmla="*/ 0 w 1049"/>
                <a:gd name="T53" fmla="*/ 0 h 961"/>
                <a:gd name="T54" fmla="*/ 0 w 1049"/>
                <a:gd name="T55" fmla="*/ 0 h 961"/>
                <a:gd name="T56" fmla="*/ 0 w 1049"/>
                <a:gd name="T57" fmla="*/ 0 h 961"/>
                <a:gd name="T58" fmla="*/ 0 w 1049"/>
                <a:gd name="T59" fmla="*/ 0 h 961"/>
                <a:gd name="T60" fmla="*/ 0 w 1049"/>
                <a:gd name="T61" fmla="*/ 0 h 961"/>
                <a:gd name="T62" fmla="*/ 0 w 1049"/>
                <a:gd name="T63" fmla="*/ 0 h 961"/>
                <a:gd name="T64" fmla="*/ 0 w 1049"/>
                <a:gd name="T65" fmla="*/ 0 h 961"/>
                <a:gd name="T66" fmla="*/ 2147483647 w 1049"/>
                <a:gd name="T67" fmla="*/ 0 h 961"/>
                <a:gd name="T68" fmla="*/ 2147483647 w 1049"/>
                <a:gd name="T69" fmla="*/ 0 h 961"/>
                <a:gd name="T70" fmla="*/ 2147483647 w 1049"/>
                <a:gd name="T71" fmla="*/ 0 h 961"/>
                <a:gd name="T72" fmla="*/ 2147483647 w 1049"/>
                <a:gd name="T73" fmla="*/ 0 h 961"/>
                <a:gd name="T74" fmla="*/ 2147483647 w 1049"/>
                <a:gd name="T75" fmla="*/ 0 h 961"/>
                <a:gd name="T76" fmla="*/ 2147483647 w 1049"/>
                <a:gd name="T77" fmla="*/ 0 h 961"/>
                <a:gd name="T78" fmla="*/ 2147483647 w 1049"/>
                <a:gd name="T79" fmla="*/ 0 h 961"/>
                <a:gd name="T80" fmla="*/ 2147483647 w 1049"/>
                <a:gd name="T81" fmla="*/ 0 h 961"/>
                <a:gd name="T82" fmla="*/ 2147483647 w 1049"/>
                <a:gd name="T83" fmla="*/ 0 h 961"/>
                <a:gd name="T84" fmla="*/ 2147483647 w 1049"/>
                <a:gd name="T85" fmla="*/ 2147483647 h 961"/>
                <a:gd name="T86" fmla="*/ 2147483647 w 1049"/>
                <a:gd name="T87" fmla="*/ 2147483647 h 961"/>
                <a:gd name="T88" fmla="*/ 2147483647 w 1049"/>
                <a:gd name="T89" fmla="*/ 2147483647 h 961"/>
                <a:gd name="T90" fmla="*/ 2147483647 w 1049"/>
                <a:gd name="T91" fmla="*/ 2147483647 h 961"/>
                <a:gd name="T92" fmla="*/ 2147483647 w 1049"/>
                <a:gd name="T93" fmla="*/ 2147483647 h 961"/>
                <a:gd name="T94" fmla="*/ 2147483647 w 1049"/>
                <a:gd name="T95" fmla="*/ 2147483647 h 961"/>
                <a:gd name="T96" fmla="*/ 2147483647 w 1049"/>
                <a:gd name="T97" fmla="*/ 2147483647 h 961"/>
                <a:gd name="T98" fmla="*/ 2147483647 w 1049"/>
                <a:gd name="T99" fmla="*/ 2147483647 h 961"/>
                <a:gd name="T100" fmla="*/ 2147483647 w 1049"/>
                <a:gd name="T101" fmla="*/ 2147483647 h 961"/>
                <a:gd name="T102" fmla="*/ 2147483647 w 1049"/>
                <a:gd name="T103" fmla="*/ 2147483647 h 9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49"/>
                <a:gd name="T157" fmla="*/ 0 h 961"/>
                <a:gd name="T158" fmla="*/ 1049 w 1049"/>
                <a:gd name="T159" fmla="*/ 961 h 9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7" name="Freeform 151">
              <a:extLst>
                <a:ext uri="{FF2B5EF4-FFF2-40B4-BE49-F238E27FC236}">
                  <a16:creationId xmlns:a16="http://schemas.microsoft.com/office/drawing/2014/main" id="{B34274A5-8FBC-99B7-910E-7F1CD1063CA0}"/>
                </a:ext>
              </a:extLst>
            </p:cNvPr>
            <p:cNvSpPr>
              <a:spLocks noChangeAspect="1"/>
            </p:cNvSpPr>
            <p:nvPr userDrawn="1"/>
          </p:nvSpPr>
          <p:spPr bwMode="gray">
            <a:xfrm>
              <a:off x="6905860" y="3085041"/>
              <a:ext cx="286530" cy="309415"/>
            </a:xfrm>
            <a:custGeom>
              <a:avLst/>
              <a:gdLst>
                <a:gd name="T0" fmla="*/ 2147483647 w 534"/>
                <a:gd name="T1" fmla="*/ 2147483647 h 548"/>
                <a:gd name="T2" fmla="*/ 2147483647 w 534"/>
                <a:gd name="T3" fmla="*/ 2147483647 h 548"/>
                <a:gd name="T4" fmla="*/ 2147483647 w 534"/>
                <a:gd name="T5" fmla="*/ 2147483647 h 548"/>
                <a:gd name="T6" fmla="*/ 2147483647 w 534"/>
                <a:gd name="T7" fmla="*/ 2147483647 h 548"/>
                <a:gd name="T8" fmla="*/ 2147483647 w 534"/>
                <a:gd name="T9" fmla="*/ 2147483647 h 548"/>
                <a:gd name="T10" fmla="*/ 2147483647 w 534"/>
                <a:gd name="T11" fmla="*/ 2147483647 h 548"/>
                <a:gd name="T12" fmla="*/ 2147483647 w 534"/>
                <a:gd name="T13" fmla="*/ 2147483647 h 548"/>
                <a:gd name="T14" fmla="*/ 2147483647 w 534"/>
                <a:gd name="T15" fmla="*/ 2147483647 h 548"/>
                <a:gd name="T16" fmla="*/ 2147483647 w 534"/>
                <a:gd name="T17" fmla="*/ 2147483647 h 548"/>
                <a:gd name="T18" fmla="*/ 2147483647 w 534"/>
                <a:gd name="T19" fmla="*/ 2147483647 h 548"/>
                <a:gd name="T20" fmla="*/ 2147483647 w 534"/>
                <a:gd name="T21" fmla="*/ 2147483647 h 548"/>
                <a:gd name="T22" fmla="*/ 0 w 534"/>
                <a:gd name="T23" fmla="*/ 2147483647 h 548"/>
                <a:gd name="T24" fmla="*/ 2147483647 w 534"/>
                <a:gd name="T25" fmla="*/ 2147483647 h 548"/>
                <a:gd name="T26" fmla="*/ 2147483647 w 534"/>
                <a:gd name="T27" fmla="*/ 2147483647 h 548"/>
                <a:gd name="T28" fmla="*/ 2147483647 w 534"/>
                <a:gd name="T29" fmla="*/ 2147483647 h 548"/>
                <a:gd name="T30" fmla="*/ 2147483647 w 534"/>
                <a:gd name="T31" fmla="*/ 2147483647 h 548"/>
                <a:gd name="T32" fmla="*/ 2147483647 w 534"/>
                <a:gd name="T33" fmla="*/ 0 h 548"/>
                <a:gd name="T34" fmla="*/ 2147483647 w 534"/>
                <a:gd name="T35" fmla="*/ 0 h 548"/>
                <a:gd name="T36" fmla="*/ 2147483647 w 534"/>
                <a:gd name="T37" fmla="*/ 0 h 548"/>
                <a:gd name="T38" fmla="*/ 2147483647 w 534"/>
                <a:gd name="T39" fmla="*/ 0 h 548"/>
                <a:gd name="T40" fmla="*/ 2147483647 w 534"/>
                <a:gd name="T41" fmla="*/ 0 h 548"/>
                <a:gd name="T42" fmla="*/ 2147483647 w 534"/>
                <a:gd name="T43" fmla="*/ 0 h 548"/>
                <a:gd name="T44" fmla="*/ 2147483647 w 534"/>
                <a:gd name="T45" fmla="*/ 0 h 548"/>
                <a:gd name="T46" fmla="*/ 2147483647 w 534"/>
                <a:gd name="T47" fmla="*/ 2147483647 h 548"/>
                <a:gd name="T48" fmla="*/ 2147483647 w 534"/>
                <a:gd name="T49" fmla="*/ 2147483647 h 548"/>
                <a:gd name="T50" fmla="*/ 2147483647 w 534"/>
                <a:gd name="T51" fmla="*/ 2147483647 h 548"/>
                <a:gd name="T52" fmla="*/ 2147483647 w 534"/>
                <a:gd name="T53" fmla="*/ 2147483647 h 548"/>
                <a:gd name="T54" fmla="*/ 2147483647 w 534"/>
                <a:gd name="T55" fmla="*/ 2147483647 h 548"/>
                <a:gd name="T56" fmla="*/ 2147483647 w 534"/>
                <a:gd name="T57" fmla="*/ 2147483647 h 548"/>
                <a:gd name="T58" fmla="*/ 2147483647 w 534"/>
                <a:gd name="T59" fmla="*/ 2147483647 h 548"/>
                <a:gd name="T60" fmla="*/ 2147483647 w 534"/>
                <a:gd name="T61" fmla="*/ 2147483647 h 548"/>
                <a:gd name="T62" fmla="*/ 2147483647 w 534"/>
                <a:gd name="T63" fmla="*/ 2147483647 h 548"/>
                <a:gd name="T64" fmla="*/ 2147483647 w 534"/>
                <a:gd name="T65" fmla="*/ 2147483647 h 548"/>
                <a:gd name="T66" fmla="*/ 2147483647 w 534"/>
                <a:gd name="T67" fmla="*/ 2147483647 h 548"/>
                <a:gd name="T68" fmla="*/ 2147483647 w 534"/>
                <a:gd name="T69" fmla="*/ 2147483647 h 548"/>
                <a:gd name="T70" fmla="*/ 2147483647 w 534"/>
                <a:gd name="T71" fmla="*/ 2147483647 h 548"/>
                <a:gd name="T72" fmla="*/ 2147483647 w 534"/>
                <a:gd name="T73" fmla="*/ 2147483647 h 548"/>
                <a:gd name="T74" fmla="*/ 2147483647 w 534"/>
                <a:gd name="T75" fmla="*/ 2147483647 h 548"/>
                <a:gd name="T76" fmla="*/ 2147483647 w 534"/>
                <a:gd name="T77" fmla="*/ 2147483647 h 548"/>
                <a:gd name="T78" fmla="*/ 2147483647 w 534"/>
                <a:gd name="T79" fmla="*/ 2147483647 h 548"/>
                <a:gd name="T80" fmla="*/ 2147483647 w 534"/>
                <a:gd name="T81" fmla="*/ 2147483647 h 548"/>
                <a:gd name="T82" fmla="*/ 2147483647 w 534"/>
                <a:gd name="T83" fmla="*/ 2147483647 h 548"/>
                <a:gd name="T84" fmla="*/ 2147483647 w 534"/>
                <a:gd name="T85" fmla="*/ 2147483647 h 5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34"/>
                <a:gd name="T130" fmla="*/ 0 h 548"/>
                <a:gd name="T131" fmla="*/ 534 w 534"/>
                <a:gd name="T132" fmla="*/ 548 h 5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8" name="Freeform 152">
              <a:extLst>
                <a:ext uri="{FF2B5EF4-FFF2-40B4-BE49-F238E27FC236}">
                  <a16:creationId xmlns:a16="http://schemas.microsoft.com/office/drawing/2014/main" id="{9E31D3BE-A9CF-B3A6-BAAA-31D13C4AC849}"/>
                </a:ext>
              </a:extLst>
            </p:cNvPr>
            <p:cNvSpPr>
              <a:spLocks noChangeAspect="1"/>
            </p:cNvSpPr>
            <p:nvPr userDrawn="1"/>
          </p:nvSpPr>
          <p:spPr bwMode="gray">
            <a:xfrm>
              <a:off x="7255068" y="3501152"/>
              <a:ext cx="25370" cy="54872"/>
            </a:xfrm>
            <a:custGeom>
              <a:avLst/>
              <a:gdLst>
                <a:gd name="T0" fmla="*/ 0 w 45"/>
                <a:gd name="T1" fmla="*/ 2147483647 h 98"/>
                <a:gd name="T2" fmla="*/ 0 w 45"/>
                <a:gd name="T3" fmla="*/ 2147483647 h 98"/>
                <a:gd name="T4" fmla="*/ 0 w 45"/>
                <a:gd name="T5" fmla="*/ 2147483647 h 98"/>
                <a:gd name="T6" fmla="*/ 0 w 45"/>
                <a:gd name="T7" fmla="*/ 2147483647 h 98"/>
                <a:gd name="T8" fmla="*/ 0 w 45"/>
                <a:gd name="T9" fmla="*/ 0 h 98"/>
                <a:gd name="T10" fmla="*/ 0 w 45"/>
                <a:gd name="T11" fmla="*/ 0 h 98"/>
                <a:gd name="T12" fmla="*/ 0 w 45"/>
                <a:gd name="T13" fmla="*/ 0 h 98"/>
                <a:gd name="T14" fmla="*/ 0 w 45"/>
                <a:gd name="T15" fmla="*/ 0 h 98"/>
                <a:gd name="T16" fmla="*/ 0 w 45"/>
                <a:gd name="T17" fmla="*/ 0 h 98"/>
                <a:gd name="T18" fmla="*/ 0 w 45"/>
                <a:gd name="T19" fmla="*/ 0 h 98"/>
                <a:gd name="T20" fmla="*/ 0 w 45"/>
                <a:gd name="T21" fmla="*/ 0 h 98"/>
                <a:gd name="T22" fmla="*/ 0 w 45"/>
                <a:gd name="T23" fmla="*/ 0 h 98"/>
                <a:gd name="T24" fmla="*/ 0 w 45"/>
                <a:gd name="T25" fmla="*/ 0 h 98"/>
                <a:gd name="T26" fmla="*/ 0 w 45"/>
                <a:gd name="T27" fmla="*/ 0 h 98"/>
                <a:gd name="T28" fmla="*/ 0 w 45"/>
                <a:gd name="T29" fmla="*/ 0 h 98"/>
                <a:gd name="T30" fmla="*/ 0 w 45"/>
                <a:gd name="T31" fmla="*/ 0 h 98"/>
                <a:gd name="T32" fmla="*/ 0 w 45"/>
                <a:gd name="T33" fmla="*/ 0 h 98"/>
                <a:gd name="T34" fmla="*/ 0 w 45"/>
                <a:gd name="T35" fmla="*/ 0 h 98"/>
                <a:gd name="T36" fmla="*/ 0 w 45"/>
                <a:gd name="T37" fmla="*/ 0 h 98"/>
                <a:gd name="T38" fmla="*/ 0 w 45"/>
                <a:gd name="T39" fmla="*/ 0 h 98"/>
                <a:gd name="T40" fmla="*/ 0 w 45"/>
                <a:gd name="T41" fmla="*/ 0 h 98"/>
                <a:gd name="T42" fmla="*/ 0 w 45"/>
                <a:gd name="T43" fmla="*/ 0 h 98"/>
                <a:gd name="T44" fmla="*/ 0 w 45"/>
                <a:gd name="T45" fmla="*/ 0 h 98"/>
                <a:gd name="T46" fmla="*/ 0 w 45"/>
                <a:gd name="T47" fmla="*/ 0 h 98"/>
                <a:gd name="T48" fmla="*/ 0 w 45"/>
                <a:gd name="T49" fmla="*/ 0 h 98"/>
                <a:gd name="T50" fmla="*/ 0 w 45"/>
                <a:gd name="T51" fmla="*/ 0 h 98"/>
                <a:gd name="T52" fmla="*/ 0 w 45"/>
                <a:gd name="T53" fmla="*/ 0 h 98"/>
                <a:gd name="T54" fmla="*/ 0 w 45"/>
                <a:gd name="T55" fmla="*/ 0 h 98"/>
                <a:gd name="T56" fmla="*/ 0 w 45"/>
                <a:gd name="T57" fmla="*/ 0 h 98"/>
                <a:gd name="T58" fmla="*/ 0 w 45"/>
                <a:gd name="T59" fmla="*/ 0 h 98"/>
                <a:gd name="T60" fmla="*/ 0 w 45"/>
                <a:gd name="T61" fmla="*/ 0 h 98"/>
                <a:gd name="T62" fmla="*/ 0 w 45"/>
                <a:gd name="T63" fmla="*/ 0 h 98"/>
                <a:gd name="T64" fmla="*/ 0 w 45"/>
                <a:gd name="T65" fmla="*/ 0 h 98"/>
                <a:gd name="T66" fmla="*/ 0 w 45"/>
                <a:gd name="T67" fmla="*/ 2147483647 h 98"/>
                <a:gd name="T68" fmla="*/ 0 w 45"/>
                <a:gd name="T69" fmla="*/ 2147483647 h 98"/>
                <a:gd name="T70" fmla="*/ 0 w 45"/>
                <a:gd name="T71" fmla="*/ 2147483647 h 98"/>
                <a:gd name="T72" fmla="*/ 0 w 45"/>
                <a:gd name="T73" fmla="*/ 2147483647 h 98"/>
                <a:gd name="T74" fmla="*/ 0 w 45"/>
                <a:gd name="T75" fmla="*/ 2147483647 h 9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
                <a:gd name="T115" fmla="*/ 0 h 98"/>
                <a:gd name="T116" fmla="*/ 45 w 45"/>
                <a:gd name="T117" fmla="*/ 98 h 9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49" name="Freeform 153">
              <a:extLst>
                <a:ext uri="{FF2B5EF4-FFF2-40B4-BE49-F238E27FC236}">
                  <a16:creationId xmlns:a16="http://schemas.microsoft.com/office/drawing/2014/main" id="{DAED77FC-619A-3219-670F-73398CD51AD9}"/>
                </a:ext>
              </a:extLst>
            </p:cNvPr>
            <p:cNvSpPr>
              <a:spLocks noChangeAspect="1"/>
            </p:cNvSpPr>
            <p:nvPr userDrawn="1"/>
          </p:nvSpPr>
          <p:spPr bwMode="gray">
            <a:xfrm>
              <a:off x="7264022" y="3502676"/>
              <a:ext cx="153712" cy="121938"/>
            </a:xfrm>
            <a:custGeom>
              <a:avLst/>
              <a:gdLst>
                <a:gd name="T0" fmla="*/ 2147483647 w 288"/>
                <a:gd name="T1" fmla="*/ 2147483647 h 215"/>
                <a:gd name="T2" fmla="*/ 0 w 288"/>
                <a:gd name="T3" fmla="*/ 2147483647 h 215"/>
                <a:gd name="T4" fmla="*/ 0 w 288"/>
                <a:gd name="T5" fmla="*/ 2147483647 h 215"/>
                <a:gd name="T6" fmla="*/ 0 w 288"/>
                <a:gd name="T7" fmla="*/ 2147483647 h 215"/>
                <a:gd name="T8" fmla="*/ 0 w 288"/>
                <a:gd name="T9" fmla="*/ 2147483647 h 215"/>
                <a:gd name="T10" fmla="*/ 0 w 288"/>
                <a:gd name="T11" fmla="*/ 2147483647 h 215"/>
                <a:gd name="T12" fmla="*/ 0 w 288"/>
                <a:gd name="T13" fmla="*/ 2147483647 h 215"/>
                <a:gd name="T14" fmla="*/ 0 w 288"/>
                <a:gd name="T15" fmla="*/ 2147483647 h 215"/>
                <a:gd name="T16" fmla="*/ 0 w 288"/>
                <a:gd name="T17" fmla="*/ 2147483647 h 215"/>
                <a:gd name="T18" fmla="*/ 2147483647 w 288"/>
                <a:gd name="T19" fmla="*/ 2147483647 h 215"/>
                <a:gd name="T20" fmla="*/ 2147483647 w 288"/>
                <a:gd name="T21" fmla="*/ 2147483647 h 215"/>
                <a:gd name="T22" fmla="*/ 2147483647 w 288"/>
                <a:gd name="T23" fmla="*/ 2147483647 h 215"/>
                <a:gd name="T24" fmla="*/ 2147483647 w 288"/>
                <a:gd name="T25" fmla="*/ 2147483647 h 215"/>
                <a:gd name="T26" fmla="*/ 2147483647 w 288"/>
                <a:gd name="T27" fmla="*/ 2147483647 h 215"/>
                <a:gd name="T28" fmla="*/ 2147483647 w 288"/>
                <a:gd name="T29" fmla="*/ 2147483647 h 215"/>
                <a:gd name="T30" fmla="*/ 2147483647 w 288"/>
                <a:gd name="T31" fmla="*/ 2147483647 h 215"/>
                <a:gd name="T32" fmla="*/ 2147483647 w 288"/>
                <a:gd name="T33" fmla="*/ 2147483647 h 215"/>
                <a:gd name="T34" fmla="*/ 2147483647 w 288"/>
                <a:gd name="T35" fmla="*/ 2147483647 h 215"/>
                <a:gd name="T36" fmla="*/ 2147483647 w 288"/>
                <a:gd name="T37" fmla="*/ 2147483647 h 215"/>
                <a:gd name="T38" fmla="*/ 2147483647 w 288"/>
                <a:gd name="T39" fmla="*/ 2147483647 h 215"/>
                <a:gd name="T40" fmla="*/ 2147483647 w 288"/>
                <a:gd name="T41" fmla="*/ 2147483647 h 215"/>
                <a:gd name="T42" fmla="*/ 2147483647 w 288"/>
                <a:gd name="T43" fmla="*/ 0 h 215"/>
                <a:gd name="T44" fmla="*/ 2147483647 w 288"/>
                <a:gd name="T45" fmla="*/ 0 h 215"/>
                <a:gd name="T46" fmla="*/ 2147483647 w 288"/>
                <a:gd name="T47" fmla="*/ 0 h 215"/>
                <a:gd name="T48" fmla="*/ 2147483647 w 288"/>
                <a:gd name="T49" fmla="*/ 0 h 215"/>
                <a:gd name="T50" fmla="*/ 2147483647 w 288"/>
                <a:gd name="T51" fmla="*/ 0 h 215"/>
                <a:gd name="T52" fmla="*/ 2147483647 w 288"/>
                <a:gd name="T53" fmla="*/ 0 h 215"/>
                <a:gd name="T54" fmla="*/ 2147483647 w 288"/>
                <a:gd name="T55" fmla="*/ 0 h 215"/>
                <a:gd name="T56" fmla="*/ 2147483647 w 288"/>
                <a:gd name="T57" fmla="*/ 0 h 215"/>
                <a:gd name="T58" fmla="*/ 2147483647 w 288"/>
                <a:gd name="T59" fmla="*/ 0 h 215"/>
                <a:gd name="T60" fmla="*/ 2147483647 w 288"/>
                <a:gd name="T61" fmla="*/ 0 h 215"/>
                <a:gd name="T62" fmla="*/ 2147483647 w 288"/>
                <a:gd name="T63" fmla="*/ 0 h 215"/>
                <a:gd name="T64" fmla="*/ 2147483647 w 288"/>
                <a:gd name="T65" fmla="*/ 0 h 215"/>
                <a:gd name="T66" fmla="*/ 2147483647 w 288"/>
                <a:gd name="T67" fmla="*/ 0 h 215"/>
                <a:gd name="T68" fmla="*/ 2147483647 w 288"/>
                <a:gd name="T69" fmla="*/ 0 h 215"/>
                <a:gd name="T70" fmla="*/ 2147483647 w 288"/>
                <a:gd name="T71" fmla="*/ 0 h 215"/>
                <a:gd name="T72" fmla="*/ 2147483647 w 288"/>
                <a:gd name="T73" fmla="*/ 2147483647 h 21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215"/>
                <a:gd name="T113" fmla="*/ 288 w 288"/>
                <a:gd name="T114" fmla="*/ 215 h 21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0" name="Freeform 155">
              <a:extLst>
                <a:ext uri="{FF2B5EF4-FFF2-40B4-BE49-F238E27FC236}">
                  <a16:creationId xmlns:a16="http://schemas.microsoft.com/office/drawing/2014/main" id="{268425F5-FB03-384F-F410-F632695F6BD6}"/>
                </a:ext>
              </a:extLst>
            </p:cNvPr>
            <p:cNvSpPr>
              <a:spLocks noChangeAspect="1"/>
            </p:cNvSpPr>
            <p:nvPr userDrawn="1"/>
          </p:nvSpPr>
          <p:spPr bwMode="gray">
            <a:xfrm>
              <a:off x="6538744" y="2897562"/>
              <a:ext cx="543212" cy="248448"/>
            </a:xfrm>
            <a:custGeom>
              <a:avLst/>
              <a:gdLst>
                <a:gd name="T0" fmla="*/ 2147483647 w 1022"/>
                <a:gd name="T1" fmla="*/ 2147483647 h 439"/>
                <a:gd name="T2" fmla="*/ 2147483647 w 1022"/>
                <a:gd name="T3" fmla="*/ 2147483647 h 439"/>
                <a:gd name="T4" fmla="*/ 2147483647 w 1022"/>
                <a:gd name="T5" fmla="*/ 2147483647 h 439"/>
                <a:gd name="T6" fmla="*/ 2147483647 w 1022"/>
                <a:gd name="T7" fmla="*/ 2147483647 h 439"/>
                <a:gd name="T8" fmla="*/ 2147483647 w 1022"/>
                <a:gd name="T9" fmla="*/ 2147483647 h 439"/>
                <a:gd name="T10" fmla="*/ 0 w 1022"/>
                <a:gd name="T11" fmla="*/ 2147483647 h 439"/>
                <a:gd name="T12" fmla="*/ 0 w 1022"/>
                <a:gd name="T13" fmla="*/ 2147483647 h 439"/>
                <a:gd name="T14" fmla="*/ 0 w 1022"/>
                <a:gd name="T15" fmla="*/ 2147483647 h 439"/>
                <a:gd name="T16" fmla="*/ 0 w 1022"/>
                <a:gd name="T17" fmla="*/ 2147483647 h 439"/>
                <a:gd name="T18" fmla="*/ 0 w 1022"/>
                <a:gd name="T19" fmla="*/ 2147483647 h 439"/>
                <a:gd name="T20" fmla="*/ 0 w 1022"/>
                <a:gd name="T21" fmla="*/ 2147483647 h 439"/>
                <a:gd name="T22" fmla="*/ 0 w 1022"/>
                <a:gd name="T23" fmla="*/ 2147483647 h 439"/>
                <a:gd name="T24" fmla="*/ 0 w 1022"/>
                <a:gd name="T25" fmla="*/ 2147483647 h 439"/>
                <a:gd name="T26" fmla="*/ 0 w 1022"/>
                <a:gd name="T27" fmla="*/ 2147483647 h 439"/>
                <a:gd name="T28" fmla="*/ 0 w 1022"/>
                <a:gd name="T29" fmla="*/ 2147483647 h 439"/>
                <a:gd name="T30" fmla="*/ 0 w 1022"/>
                <a:gd name="T31" fmla="*/ 2147483647 h 439"/>
                <a:gd name="T32" fmla="*/ 0 w 1022"/>
                <a:gd name="T33" fmla="*/ 0 h 439"/>
                <a:gd name="T34" fmla="*/ 0 w 1022"/>
                <a:gd name="T35" fmla="*/ 0 h 439"/>
                <a:gd name="T36" fmla="*/ 0 w 1022"/>
                <a:gd name="T37" fmla="*/ 0 h 439"/>
                <a:gd name="T38" fmla="*/ 0 w 1022"/>
                <a:gd name="T39" fmla="*/ 0 h 439"/>
                <a:gd name="T40" fmla="*/ 0 w 1022"/>
                <a:gd name="T41" fmla="*/ 0 h 439"/>
                <a:gd name="T42" fmla="*/ 0 w 1022"/>
                <a:gd name="T43" fmla="*/ 0 h 439"/>
                <a:gd name="T44" fmla="*/ 0 w 1022"/>
                <a:gd name="T45" fmla="*/ 0 h 439"/>
                <a:gd name="T46" fmla="*/ 0 w 1022"/>
                <a:gd name="T47" fmla="*/ 0 h 439"/>
                <a:gd name="T48" fmla="*/ 0 w 1022"/>
                <a:gd name="T49" fmla="*/ 0 h 439"/>
                <a:gd name="T50" fmla="*/ 0 w 1022"/>
                <a:gd name="T51" fmla="*/ 0 h 439"/>
                <a:gd name="T52" fmla="*/ 0 w 1022"/>
                <a:gd name="T53" fmla="*/ 0 h 439"/>
                <a:gd name="T54" fmla="*/ 0 w 1022"/>
                <a:gd name="T55" fmla="*/ 0 h 439"/>
                <a:gd name="T56" fmla="*/ 0 w 1022"/>
                <a:gd name="T57" fmla="*/ 0 h 439"/>
                <a:gd name="T58" fmla="*/ 0 w 1022"/>
                <a:gd name="T59" fmla="*/ 0 h 439"/>
                <a:gd name="T60" fmla="*/ 0 w 1022"/>
                <a:gd name="T61" fmla="*/ 0 h 439"/>
                <a:gd name="T62" fmla="*/ 2147483647 w 1022"/>
                <a:gd name="T63" fmla="*/ 0 h 439"/>
                <a:gd name="T64" fmla="*/ 2147483647 w 1022"/>
                <a:gd name="T65" fmla="*/ 0 h 439"/>
                <a:gd name="T66" fmla="*/ 2147483647 w 1022"/>
                <a:gd name="T67" fmla="*/ 0 h 439"/>
                <a:gd name="T68" fmla="*/ 2147483647 w 1022"/>
                <a:gd name="T69" fmla="*/ 0 h 439"/>
                <a:gd name="T70" fmla="*/ 2147483647 w 1022"/>
                <a:gd name="T71" fmla="*/ 0 h 439"/>
                <a:gd name="T72" fmla="*/ 2147483647 w 1022"/>
                <a:gd name="T73" fmla="*/ 0 h 439"/>
                <a:gd name="T74" fmla="*/ 2147483647 w 1022"/>
                <a:gd name="T75" fmla="*/ 0 h 439"/>
                <a:gd name="T76" fmla="*/ 2147483647 w 1022"/>
                <a:gd name="T77" fmla="*/ 0 h 439"/>
                <a:gd name="T78" fmla="*/ 2147483647 w 1022"/>
                <a:gd name="T79" fmla="*/ 0 h 439"/>
                <a:gd name="T80" fmla="*/ 2147483647 w 1022"/>
                <a:gd name="T81" fmla="*/ 0 h 439"/>
                <a:gd name="T82" fmla="*/ 2147483647 w 1022"/>
                <a:gd name="T83" fmla="*/ 0 h 439"/>
                <a:gd name="T84" fmla="*/ 2147483647 w 1022"/>
                <a:gd name="T85" fmla="*/ 0 h 439"/>
                <a:gd name="T86" fmla="*/ 2147483647 w 1022"/>
                <a:gd name="T87" fmla="*/ 0 h 439"/>
                <a:gd name="T88" fmla="*/ 2147483647 w 1022"/>
                <a:gd name="T89" fmla="*/ 2147483647 h 439"/>
                <a:gd name="T90" fmla="*/ 2147483647 w 1022"/>
                <a:gd name="T91" fmla="*/ 2147483647 h 439"/>
                <a:gd name="T92" fmla="*/ 2147483647 w 1022"/>
                <a:gd name="T93" fmla="*/ 2147483647 h 439"/>
                <a:gd name="T94" fmla="*/ 2147483647 w 1022"/>
                <a:gd name="T95" fmla="*/ 2147483647 h 439"/>
                <a:gd name="T96" fmla="*/ 2147483647 w 1022"/>
                <a:gd name="T97" fmla="*/ 2147483647 h 439"/>
                <a:gd name="T98" fmla="*/ 2147483647 w 1022"/>
                <a:gd name="T99" fmla="*/ 2147483647 h 439"/>
                <a:gd name="T100" fmla="*/ 2147483647 w 1022"/>
                <a:gd name="T101" fmla="*/ 2147483647 h 439"/>
                <a:gd name="T102" fmla="*/ 2147483647 w 1022"/>
                <a:gd name="T103" fmla="*/ 2147483647 h 439"/>
                <a:gd name="T104" fmla="*/ 2147483647 w 1022"/>
                <a:gd name="T105" fmla="*/ 2147483647 h 439"/>
                <a:gd name="T106" fmla="*/ 2147483647 w 1022"/>
                <a:gd name="T107" fmla="*/ 2147483647 h 439"/>
                <a:gd name="T108" fmla="*/ 2147483647 w 1022"/>
                <a:gd name="T109" fmla="*/ 2147483647 h 439"/>
                <a:gd name="T110" fmla="*/ 2147483647 w 1022"/>
                <a:gd name="T111" fmla="*/ 2147483647 h 4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22"/>
                <a:gd name="T169" fmla="*/ 0 h 439"/>
                <a:gd name="T170" fmla="*/ 1022 w 1022"/>
                <a:gd name="T171" fmla="*/ 439 h 4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1" name="Freeform 156">
              <a:extLst>
                <a:ext uri="{FF2B5EF4-FFF2-40B4-BE49-F238E27FC236}">
                  <a16:creationId xmlns:a16="http://schemas.microsoft.com/office/drawing/2014/main" id="{A65A3930-D5E1-A768-2AF5-BF7349577AD8}"/>
                </a:ext>
              </a:extLst>
            </p:cNvPr>
            <p:cNvSpPr>
              <a:spLocks noChangeAspect="1"/>
            </p:cNvSpPr>
            <p:nvPr userDrawn="1"/>
          </p:nvSpPr>
          <p:spPr bwMode="gray">
            <a:xfrm>
              <a:off x="6534267" y="2899086"/>
              <a:ext cx="88048" cy="80783"/>
            </a:xfrm>
            <a:custGeom>
              <a:avLst/>
              <a:gdLst>
                <a:gd name="T0" fmla="*/ 0 w 166"/>
                <a:gd name="T1" fmla="*/ 0 h 140"/>
                <a:gd name="T2" fmla="*/ 0 w 166"/>
                <a:gd name="T3" fmla="*/ 0 h 140"/>
                <a:gd name="T4" fmla="*/ 0 w 166"/>
                <a:gd name="T5" fmla="*/ 0 h 140"/>
                <a:gd name="T6" fmla="*/ 0 w 166"/>
                <a:gd name="T7" fmla="*/ 0 h 140"/>
                <a:gd name="T8" fmla="*/ 0 w 166"/>
                <a:gd name="T9" fmla="*/ 0 h 140"/>
                <a:gd name="T10" fmla="*/ 0 w 166"/>
                <a:gd name="T11" fmla="*/ 0 h 140"/>
                <a:gd name="T12" fmla="*/ 0 w 166"/>
                <a:gd name="T13" fmla="*/ 0 h 140"/>
                <a:gd name="T14" fmla="*/ 0 w 166"/>
                <a:gd name="T15" fmla="*/ 0 h 140"/>
                <a:gd name="T16" fmla="*/ 0 w 166"/>
                <a:gd name="T17" fmla="*/ 0 h 140"/>
                <a:gd name="T18" fmla="*/ 0 w 166"/>
                <a:gd name="T19" fmla="*/ 0 h 140"/>
                <a:gd name="T20" fmla="*/ 0 w 166"/>
                <a:gd name="T21" fmla="*/ 0 h 140"/>
                <a:gd name="T22" fmla="*/ 0 w 166"/>
                <a:gd name="T23" fmla="*/ 0 h 140"/>
                <a:gd name="T24" fmla="*/ 0 w 166"/>
                <a:gd name="T25" fmla="*/ 0 h 140"/>
                <a:gd name="T26" fmla="*/ 0 w 166"/>
                <a:gd name="T27" fmla="*/ 0 h 140"/>
                <a:gd name="T28" fmla="*/ 0 w 166"/>
                <a:gd name="T29" fmla="*/ 0 h 140"/>
                <a:gd name="T30" fmla="*/ 0 w 166"/>
                <a:gd name="T31" fmla="*/ 0 h 140"/>
                <a:gd name="T32" fmla="*/ 0 w 166"/>
                <a:gd name="T33" fmla="*/ 0 h 140"/>
                <a:gd name="T34" fmla="*/ 0 w 166"/>
                <a:gd name="T35" fmla="*/ 0 h 140"/>
                <a:gd name="T36" fmla="*/ 0 w 166"/>
                <a:gd name="T37" fmla="*/ 0 h 140"/>
                <a:gd name="T38" fmla="*/ 0 w 166"/>
                <a:gd name="T39" fmla="*/ 0 h 140"/>
                <a:gd name="T40" fmla="*/ 0 w 166"/>
                <a:gd name="T41" fmla="*/ 0 h 140"/>
                <a:gd name="T42" fmla="*/ 0 w 166"/>
                <a:gd name="T43" fmla="*/ 0 h 140"/>
                <a:gd name="T44" fmla="*/ 0 w 166"/>
                <a:gd name="T45" fmla="*/ 0 h 140"/>
                <a:gd name="T46" fmla="*/ 0 w 166"/>
                <a:gd name="T47" fmla="*/ 0 h 140"/>
                <a:gd name="T48" fmla="*/ 0 w 166"/>
                <a:gd name="T49" fmla="*/ 0 h 140"/>
                <a:gd name="T50" fmla="*/ 0 w 166"/>
                <a:gd name="T51" fmla="*/ 0 h 140"/>
                <a:gd name="T52" fmla="*/ 0 w 166"/>
                <a:gd name="T53" fmla="*/ 0 h 140"/>
                <a:gd name="T54" fmla="*/ 0 w 166"/>
                <a:gd name="T55" fmla="*/ 0 h 140"/>
                <a:gd name="T56" fmla="*/ 0 w 166"/>
                <a:gd name="T57" fmla="*/ 0 h 140"/>
                <a:gd name="T58" fmla="*/ 0 w 166"/>
                <a:gd name="T59" fmla="*/ 0 h 140"/>
                <a:gd name="T60" fmla="*/ 0 w 166"/>
                <a:gd name="T61" fmla="*/ 0 h 140"/>
                <a:gd name="T62" fmla="*/ 0 w 166"/>
                <a:gd name="T63" fmla="*/ 0 h 140"/>
                <a:gd name="T64" fmla="*/ 0 w 166"/>
                <a:gd name="T65" fmla="*/ 0 h 140"/>
                <a:gd name="T66" fmla="*/ 0 w 166"/>
                <a:gd name="T67" fmla="*/ 0 h 140"/>
                <a:gd name="T68" fmla="*/ 0 w 166"/>
                <a:gd name="T69" fmla="*/ 0 h 140"/>
                <a:gd name="T70" fmla="*/ 0 w 166"/>
                <a:gd name="T71" fmla="*/ 0 h 140"/>
                <a:gd name="T72" fmla="*/ 0 w 166"/>
                <a:gd name="T73" fmla="*/ 0 h 140"/>
                <a:gd name="T74" fmla="*/ 0 w 166"/>
                <a:gd name="T75" fmla="*/ 0 h 140"/>
                <a:gd name="T76" fmla="*/ 0 w 166"/>
                <a:gd name="T77" fmla="*/ 0 h 140"/>
                <a:gd name="T78" fmla="*/ 0 w 166"/>
                <a:gd name="T79" fmla="*/ 0 h 140"/>
                <a:gd name="T80" fmla="*/ 0 w 166"/>
                <a:gd name="T81" fmla="*/ 0 h 140"/>
                <a:gd name="T82" fmla="*/ 0 w 166"/>
                <a:gd name="T83" fmla="*/ 0 h 140"/>
                <a:gd name="T84" fmla="*/ 0 w 166"/>
                <a:gd name="T85" fmla="*/ 0 h 1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6"/>
                <a:gd name="T130" fmla="*/ 0 h 140"/>
                <a:gd name="T131" fmla="*/ 166 w 166"/>
                <a:gd name="T132" fmla="*/ 140 h 1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2" name="Freeform 157">
              <a:extLst>
                <a:ext uri="{FF2B5EF4-FFF2-40B4-BE49-F238E27FC236}">
                  <a16:creationId xmlns:a16="http://schemas.microsoft.com/office/drawing/2014/main" id="{ABD19BE2-2844-9B0A-722E-BF21E00A8F18}"/>
                </a:ext>
              </a:extLst>
            </p:cNvPr>
            <p:cNvSpPr>
              <a:spLocks noChangeAspect="1"/>
            </p:cNvSpPr>
            <p:nvPr userDrawn="1"/>
          </p:nvSpPr>
          <p:spPr bwMode="gray">
            <a:xfrm>
              <a:off x="6792442" y="3242035"/>
              <a:ext cx="123865" cy="152422"/>
            </a:xfrm>
            <a:custGeom>
              <a:avLst/>
              <a:gdLst>
                <a:gd name="T0" fmla="*/ 2147483647 w 231"/>
                <a:gd name="T1" fmla="*/ 2147483647 h 269"/>
                <a:gd name="T2" fmla="*/ 2147483647 w 231"/>
                <a:gd name="T3" fmla="*/ 0 h 269"/>
                <a:gd name="T4" fmla="*/ 2147483647 w 231"/>
                <a:gd name="T5" fmla="*/ 0 h 269"/>
                <a:gd name="T6" fmla="*/ 2147483647 w 231"/>
                <a:gd name="T7" fmla="*/ 0 h 269"/>
                <a:gd name="T8" fmla="*/ 2147483647 w 231"/>
                <a:gd name="T9" fmla="*/ 0 h 269"/>
                <a:gd name="T10" fmla="*/ 2147483647 w 231"/>
                <a:gd name="T11" fmla="*/ 0 h 269"/>
                <a:gd name="T12" fmla="*/ 2147483647 w 231"/>
                <a:gd name="T13" fmla="*/ 0 h 269"/>
                <a:gd name="T14" fmla="*/ 2147483647 w 231"/>
                <a:gd name="T15" fmla="*/ 0 h 269"/>
                <a:gd name="T16" fmla="*/ 2147483647 w 231"/>
                <a:gd name="T17" fmla="*/ 0 h 269"/>
                <a:gd name="T18" fmla="*/ 2147483647 w 231"/>
                <a:gd name="T19" fmla="*/ 0 h 269"/>
                <a:gd name="T20" fmla="*/ 2147483647 w 231"/>
                <a:gd name="T21" fmla="*/ 0 h 269"/>
                <a:gd name="T22" fmla="*/ 2147483647 w 231"/>
                <a:gd name="T23" fmla="*/ 0 h 269"/>
                <a:gd name="T24" fmla="*/ 0 w 231"/>
                <a:gd name="T25" fmla="*/ 0 h 269"/>
                <a:gd name="T26" fmla="*/ 0 w 231"/>
                <a:gd name="T27" fmla="*/ 0 h 269"/>
                <a:gd name="T28" fmla="*/ 0 w 231"/>
                <a:gd name="T29" fmla="*/ 0 h 269"/>
                <a:gd name="T30" fmla="*/ 0 w 231"/>
                <a:gd name="T31" fmla="*/ 0 h 269"/>
                <a:gd name="T32" fmla="*/ 0 w 231"/>
                <a:gd name="T33" fmla="*/ 0 h 269"/>
                <a:gd name="T34" fmla="*/ 0 w 231"/>
                <a:gd name="T35" fmla="*/ 2147483647 h 269"/>
                <a:gd name="T36" fmla="*/ 0 w 231"/>
                <a:gd name="T37" fmla="*/ 2147483647 h 269"/>
                <a:gd name="T38" fmla="*/ 0 w 231"/>
                <a:gd name="T39" fmla="*/ 2147483647 h 269"/>
                <a:gd name="T40" fmla="*/ 0 w 231"/>
                <a:gd name="T41" fmla="*/ 2147483647 h 269"/>
                <a:gd name="T42" fmla="*/ 0 w 231"/>
                <a:gd name="T43" fmla="*/ 2147483647 h 269"/>
                <a:gd name="T44" fmla="*/ 0 w 231"/>
                <a:gd name="T45" fmla="*/ 2147483647 h 269"/>
                <a:gd name="T46" fmla="*/ 0 w 231"/>
                <a:gd name="T47" fmla="*/ 2147483647 h 269"/>
                <a:gd name="T48" fmla="*/ 0 w 231"/>
                <a:gd name="T49" fmla="*/ 2147483647 h 269"/>
                <a:gd name="T50" fmla="*/ 0 w 231"/>
                <a:gd name="T51" fmla="*/ 2147483647 h 269"/>
                <a:gd name="T52" fmla="*/ 0 w 231"/>
                <a:gd name="T53" fmla="*/ 2147483647 h 269"/>
                <a:gd name="T54" fmla="*/ 0 w 231"/>
                <a:gd name="T55" fmla="*/ 2147483647 h 269"/>
                <a:gd name="T56" fmla="*/ 0 w 231"/>
                <a:gd name="T57" fmla="*/ 2147483647 h 269"/>
                <a:gd name="T58" fmla="*/ 0 w 231"/>
                <a:gd name="T59" fmla="*/ 2147483647 h 269"/>
                <a:gd name="T60" fmla="*/ 0 w 231"/>
                <a:gd name="T61" fmla="*/ 2147483647 h 269"/>
                <a:gd name="T62" fmla="*/ 0 w 231"/>
                <a:gd name="T63" fmla="*/ 2147483647 h 269"/>
                <a:gd name="T64" fmla="*/ 0 w 231"/>
                <a:gd name="T65" fmla="*/ 2147483647 h 269"/>
                <a:gd name="T66" fmla="*/ 2147483647 w 231"/>
                <a:gd name="T67" fmla="*/ 2147483647 h 269"/>
                <a:gd name="T68" fmla="*/ 2147483647 w 231"/>
                <a:gd name="T69" fmla="*/ 2147483647 h 269"/>
                <a:gd name="T70" fmla="*/ 2147483647 w 231"/>
                <a:gd name="T71" fmla="*/ 2147483647 h 269"/>
                <a:gd name="T72" fmla="*/ 2147483647 w 231"/>
                <a:gd name="T73" fmla="*/ 2147483647 h 269"/>
                <a:gd name="T74" fmla="*/ 2147483647 w 231"/>
                <a:gd name="T75" fmla="*/ 2147483647 h 269"/>
                <a:gd name="T76" fmla="*/ 2147483647 w 231"/>
                <a:gd name="T77" fmla="*/ 2147483647 h 269"/>
                <a:gd name="T78" fmla="*/ 2147483647 w 231"/>
                <a:gd name="T79" fmla="*/ 2147483647 h 269"/>
                <a:gd name="T80" fmla="*/ 2147483647 w 231"/>
                <a:gd name="T81" fmla="*/ 2147483647 h 269"/>
                <a:gd name="T82" fmla="*/ 2147483647 w 231"/>
                <a:gd name="T83" fmla="*/ 2147483647 h 269"/>
                <a:gd name="T84" fmla="*/ 2147483647 w 231"/>
                <a:gd name="T85" fmla="*/ 2147483647 h 269"/>
                <a:gd name="T86" fmla="*/ 2147483647 w 231"/>
                <a:gd name="T87" fmla="*/ 2147483647 h 269"/>
                <a:gd name="T88" fmla="*/ 2147483647 w 231"/>
                <a:gd name="T89" fmla="*/ 2147483647 h 269"/>
                <a:gd name="T90" fmla="*/ 2147483647 w 231"/>
                <a:gd name="T91" fmla="*/ 2147483647 h 2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1"/>
                <a:gd name="T139" fmla="*/ 0 h 269"/>
                <a:gd name="T140" fmla="*/ 231 w 231"/>
                <a:gd name="T141" fmla="*/ 269 h 2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3" name="Freeform 158">
              <a:extLst>
                <a:ext uri="{FF2B5EF4-FFF2-40B4-BE49-F238E27FC236}">
                  <a16:creationId xmlns:a16="http://schemas.microsoft.com/office/drawing/2014/main" id="{7420B709-AE2A-19E7-E46A-F7783608E90E}"/>
                </a:ext>
              </a:extLst>
            </p:cNvPr>
            <p:cNvSpPr>
              <a:spLocks noChangeAspect="1"/>
            </p:cNvSpPr>
            <p:nvPr userDrawn="1"/>
          </p:nvSpPr>
          <p:spPr bwMode="gray">
            <a:xfrm>
              <a:off x="6808858" y="3089613"/>
              <a:ext cx="207435" cy="190528"/>
            </a:xfrm>
            <a:custGeom>
              <a:avLst/>
              <a:gdLst>
                <a:gd name="T0" fmla="*/ 2147483647 w 387"/>
                <a:gd name="T1" fmla="*/ 2147483647 h 337"/>
                <a:gd name="T2" fmla="*/ 2147483647 w 387"/>
                <a:gd name="T3" fmla="*/ 2147483647 h 337"/>
                <a:gd name="T4" fmla="*/ 2147483647 w 387"/>
                <a:gd name="T5" fmla="*/ 2147483647 h 337"/>
                <a:gd name="T6" fmla="*/ 2147483647 w 387"/>
                <a:gd name="T7" fmla="*/ 0 h 337"/>
                <a:gd name="T8" fmla="*/ 2147483647 w 387"/>
                <a:gd name="T9" fmla="*/ 0 h 337"/>
                <a:gd name="T10" fmla="*/ 2147483647 w 387"/>
                <a:gd name="T11" fmla="*/ 0 h 337"/>
                <a:gd name="T12" fmla="*/ 2147483647 w 387"/>
                <a:gd name="T13" fmla="*/ 0 h 337"/>
                <a:gd name="T14" fmla="*/ 2147483647 w 387"/>
                <a:gd name="T15" fmla="*/ 0 h 337"/>
                <a:gd name="T16" fmla="*/ 2147483647 w 387"/>
                <a:gd name="T17" fmla="*/ 0 h 337"/>
                <a:gd name="T18" fmla="*/ 2147483647 w 387"/>
                <a:gd name="T19" fmla="*/ 0 h 337"/>
                <a:gd name="T20" fmla="*/ 2147483647 w 387"/>
                <a:gd name="T21" fmla="*/ 0 h 337"/>
                <a:gd name="T22" fmla="*/ 2147483647 w 387"/>
                <a:gd name="T23" fmla="*/ 0 h 337"/>
                <a:gd name="T24" fmla="*/ 2147483647 w 387"/>
                <a:gd name="T25" fmla="*/ 0 h 337"/>
                <a:gd name="T26" fmla="*/ 2147483647 w 387"/>
                <a:gd name="T27" fmla="*/ 0 h 337"/>
                <a:gd name="T28" fmla="*/ 2147483647 w 387"/>
                <a:gd name="T29" fmla="*/ 0 h 337"/>
                <a:gd name="T30" fmla="*/ 2147483647 w 387"/>
                <a:gd name="T31" fmla="*/ 0 h 337"/>
                <a:gd name="T32" fmla="*/ 2147483647 w 387"/>
                <a:gd name="T33" fmla="*/ 0 h 337"/>
                <a:gd name="T34" fmla="*/ 2147483647 w 387"/>
                <a:gd name="T35" fmla="*/ 0 h 337"/>
                <a:gd name="T36" fmla="*/ 2147483647 w 387"/>
                <a:gd name="T37" fmla="*/ 2147483647 h 337"/>
                <a:gd name="T38" fmla="*/ 0 w 387"/>
                <a:gd name="T39" fmla="*/ 2147483647 h 337"/>
                <a:gd name="T40" fmla="*/ 0 w 387"/>
                <a:gd name="T41" fmla="*/ 2147483647 h 337"/>
                <a:gd name="T42" fmla="*/ 0 w 387"/>
                <a:gd name="T43" fmla="*/ 2147483647 h 337"/>
                <a:gd name="T44" fmla="*/ 0 w 387"/>
                <a:gd name="T45" fmla="*/ 2147483647 h 337"/>
                <a:gd name="T46" fmla="*/ 2147483647 w 387"/>
                <a:gd name="T47" fmla="*/ 2147483647 h 337"/>
                <a:gd name="T48" fmla="*/ 2147483647 w 387"/>
                <a:gd name="T49" fmla="*/ 2147483647 h 337"/>
                <a:gd name="T50" fmla="*/ 2147483647 w 387"/>
                <a:gd name="T51" fmla="*/ 2147483647 h 337"/>
                <a:gd name="T52" fmla="*/ 2147483647 w 387"/>
                <a:gd name="T53" fmla="*/ 2147483647 h 337"/>
                <a:gd name="T54" fmla="*/ 2147483647 w 387"/>
                <a:gd name="T55" fmla="*/ 2147483647 h 337"/>
                <a:gd name="T56" fmla="*/ 2147483647 w 387"/>
                <a:gd name="T57" fmla="*/ 2147483647 h 337"/>
                <a:gd name="T58" fmla="*/ 2147483647 w 387"/>
                <a:gd name="T59" fmla="*/ 2147483647 h 337"/>
                <a:gd name="T60" fmla="*/ 2147483647 w 387"/>
                <a:gd name="T61" fmla="*/ 2147483647 h 337"/>
                <a:gd name="T62" fmla="*/ 0 w 387"/>
                <a:gd name="T63" fmla="*/ 2147483647 h 337"/>
                <a:gd name="T64" fmla="*/ 2147483647 w 387"/>
                <a:gd name="T65" fmla="*/ 2147483647 h 337"/>
                <a:gd name="T66" fmla="*/ 0 w 387"/>
                <a:gd name="T67" fmla="*/ 2147483647 h 337"/>
                <a:gd name="T68" fmla="*/ 0 w 387"/>
                <a:gd name="T69" fmla="*/ 2147483647 h 337"/>
                <a:gd name="T70" fmla="*/ 0 w 387"/>
                <a:gd name="T71" fmla="*/ 2147483647 h 337"/>
                <a:gd name="T72" fmla="*/ 0 w 387"/>
                <a:gd name="T73" fmla="*/ 2147483647 h 337"/>
                <a:gd name="T74" fmla="*/ 0 w 387"/>
                <a:gd name="T75" fmla="*/ 2147483647 h 337"/>
                <a:gd name="T76" fmla="*/ 0 w 387"/>
                <a:gd name="T77" fmla="*/ 2147483647 h 337"/>
                <a:gd name="T78" fmla="*/ 0 w 387"/>
                <a:gd name="T79" fmla="*/ 2147483647 h 337"/>
                <a:gd name="T80" fmla="*/ 0 w 387"/>
                <a:gd name="T81" fmla="*/ 2147483647 h 337"/>
                <a:gd name="T82" fmla="*/ 0 w 387"/>
                <a:gd name="T83" fmla="*/ 2147483647 h 337"/>
                <a:gd name="T84" fmla="*/ 2147483647 w 387"/>
                <a:gd name="T85" fmla="*/ 2147483647 h 33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7"/>
                <a:gd name="T130" fmla="*/ 0 h 337"/>
                <a:gd name="T131" fmla="*/ 387 w 387"/>
                <a:gd name="T132" fmla="*/ 337 h 33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0" y="237"/>
                  </a:lnTo>
                  <a:lnTo>
                    <a:pt x="45" y="236"/>
                  </a:lnTo>
                  <a:lnTo>
                    <a:pt x="32" y="237"/>
                  </a:lnTo>
                  <a:lnTo>
                    <a:pt x="31" y="242"/>
                  </a:lnTo>
                  <a:lnTo>
                    <a:pt x="28" y="243"/>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4" name="Freeform 159">
              <a:extLst>
                <a:ext uri="{FF2B5EF4-FFF2-40B4-BE49-F238E27FC236}">
                  <a16:creationId xmlns:a16="http://schemas.microsoft.com/office/drawing/2014/main" id="{5F86A189-0D2D-A93D-ABAD-6DB106C26F5C}"/>
                </a:ext>
              </a:extLst>
            </p:cNvPr>
            <p:cNvSpPr>
              <a:spLocks noChangeAspect="1"/>
            </p:cNvSpPr>
            <p:nvPr userDrawn="1"/>
          </p:nvSpPr>
          <p:spPr bwMode="gray">
            <a:xfrm>
              <a:off x="6717825" y="3152107"/>
              <a:ext cx="68648" cy="42678"/>
            </a:xfrm>
            <a:custGeom>
              <a:avLst/>
              <a:gdLst>
                <a:gd name="T0" fmla="*/ 2147483647 w 126"/>
                <a:gd name="T1" fmla="*/ 0 h 75"/>
                <a:gd name="T2" fmla="*/ 2147483647 w 126"/>
                <a:gd name="T3" fmla="*/ 0 h 75"/>
                <a:gd name="T4" fmla="*/ 2147483647 w 126"/>
                <a:gd name="T5" fmla="*/ 0 h 75"/>
                <a:gd name="T6" fmla="*/ 2147483647 w 126"/>
                <a:gd name="T7" fmla="*/ 0 h 75"/>
                <a:gd name="T8" fmla="*/ 2147483647 w 126"/>
                <a:gd name="T9" fmla="*/ 0 h 75"/>
                <a:gd name="T10" fmla="*/ 2147483647 w 126"/>
                <a:gd name="T11" fmla="*/ 0 h 75"/>
                <a:gd name="T12" fmla="*/ 2147483647 w 126"/>
                <a:gd name="T13" fmla="*/ 0 h 75"/>
                <a:gd name="T14" fmla="*/ 2147483647 w 126"/>
                <a:gd name="T15" fmla="*/ 0 h 75"/>
                <a:gd name="T16" fmla="*/ 2147483647 w 126"/>
                <a:gd name="T17" fmla="*/ 0 h 75"/>
                <a:gd name="T18" fmla="*/ 2147483647 w 126"/>
                <a:gd name="T19" fmla="*/ 0 h 75"/>
                <a:gd name="T20" fmla="*/ 2147483647 w 126"/>
                <a:gd name="T21" fmla="*/ 0 h 75"/>
                <a:gd name="T22" fmla="*/ 2147483647 w 126"/>
                <a:gd name="T23" fmla="*/ 0 h 75"/>
                <a:gd name="T24" fmla="*/ 2147483647 w 126"/>
                <a:gd name="T25" fmla="*/ 0 h 75"/>
                <a:gd name="T26" fmla="*/ 2147483647 w 126"/>
                <a:gd name="T27" fmla="*/ 0 h 75"/>
                <a:gd name="T28" fmla="*/ 0 w 126"/>
                <a:gd name="T29" fmla="*/ 0 h 75"/>
                <a:gd name="T30" fmla="*/ 0 w 126"/>
                <a:gd name="T31" fmla="*/ 0 h 75"/>
                <a:gd name="T32" fmla="*/ 0 w 126"/>
                <a:gd name="T33" fmla="*/ 0 h 75"/>
                <a:gd name="T34" fmla="*/ 0 w 126"/>
                <a:gd name="T35" fmla="*/ 0 h 75"/>
                <a:gd name="T36" fmla="*/ 0 w 126"/>
                <a:gd name="T37" fmla="*/ 0 h 75"/>
                <a:gd name="T38" fmla="*/ 0 w 126"/>
                <a:gd name="T39" fmla="*/ 0 h 75"/>
                <a:gd name="T40" fmla="*/ 0 w 126"/>
                <a:gd name="T41" fmla="*/ 0 h 75"/>
                <a:gd name="T42" fmla="*/ 0 w 126"/>
                <a:gd name="T43" fmla="*/ 0 h 75"/>
                <a:gd name="T44" fmla="*/ 0 w 126"/>
                <a:gd name="T45" fmla="*/ 0 h 75"/>
                <a:gd name="T46" fmla="*/ 0 w 126"/>
                <a:gd name="T47" fmla="*/ 0 h 75"/>
                <a:gd name="T48" fmla="*/ 0 w 126"/>
                <a:gd name="T49" fmla="*/ 0 h 75"/>
                <a:gd name="T50" fmla="*/ 2147483647 w 126"/>
                <a:gd name="T51" fmla="*/ 0 h 75"/>
                <a:gd name="T52" fmla="*/ 2147483647 w 126"/>
                <a:gd name="T53" fmla="*/ 0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6"/>
                <a:gd name="T82" fmla="*/ 0 h 75"/>
                <a:gd name="T83" fmla="*/ 126 w 126"/>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5" name="Freeform 160">
              <a:extLst>
                <a:ext uri="{FF2B5EF4-FFF2-40B4-BE49-F238E27FC236}">
                  <a16:creationId xmlns:a16="http://schemas.microsoft.com/office/drawing/2014/main" id="{58E14C05-AB2B-530F-B6F3-34FFE63ABEDD}"/>
                </a:ext>
              </a:extLst>
            </p:cNvPr>
            <p:cNvSpPr>
              <a:spLocks noChangeAspect="1"/>
            </p:cNvSpPr>
            <p:nvPr userDrawn="1"/>
          </p:nvSpPr>
          <p:spPr bwMode="gray">
            <a:xfrm>
              <a:off x="7041663" y="2928046"/>
              <a:ext cx="91032" cy="100598"/>
            </a:xfrm>
            <a:custGeom>
              <a:avLst/>
              <a:gdLst>
                <a:gd name="T0" fmla="*/ 2147483647 w 170"/>
                <a:gd name="T1" fmla="*/ 2147483647 h 175"/>
                <a:gd name="T2" fmla="*/ 2147483647 w 170"/>
                <a:gd name="T3" fmla="*/ 2147483647 h 175"/>
                <a:gd name="T4" fmla="*/ 2147483647 w 170"/>
                <a:gd name="T5" fmla="*/ 2147483647 h 175"/>
                <a:gd name="T6" fmla="*/ 2147483647 w 170"/>
                <a:gd name="T7" fmla="*/ 2147483647 h 175"/>
                <a:gd name="T8" fmla="*/ 0 w 170"/>
                <a:gd name="T9" fmla="*/ 2147483647 h 175"/>
                <a:gd name="T10" fmla="*/ 0 w 170"/>
                <a:gd name="T11" fmla="*/ 2147483647 h 175"/>
                <a:gd name="T12" fmla="*/ 0 w 170"/>
                <a:gd name="T13" fmla="*/ 2147483647 h 175"/>
                <a:gd name="T14" fmla="*/ 0 w 170"/>
                <a:gd name="T15" fmla="*/ 0 h 175"/>
                <a:gd name="T16" fmla="*/ 0 w 170"/>
                <a:gd name="T17" fmla="*/ 0 h 175"/>
                <a:gd name="T18" fmla="*/ 0 w 170"/>
                <a:gd name="T19" fmla="*/ 0 h 175"/>
                <a:gd name="T20" fmla="*/ 0 w 170"/>
                <a:gd name="T21" fmla="*/ 0 h 175"/>
                <a:gd name="T22" fmla="*/ 0 w 170"/>
                <a:gd name="T23" fmla="*/ 0 h 175"/>
                <a:gd name="T24" fmla="*/ 0 w 170"/>
                <a:gd name="T25" fmla="*/ 0 h 175"/>
                <a:gd name="T26" fmla="*/ 0 w 170"/>
                <a:gd name="T27" fmla="*/ 0 h 175"/>
                <a:gd name="T28" fmla="*/ 0 w 170"/>
                <a:gd name="T29" fmla="*/ 0 h 175"/>
                <a:gd name="T30" fmla="*/ 2147483647 w 170"/>
                <a:gd name="T31" fmla="*/ 0 h 175"/>
                <a:gd name="T32" fmla="*/ 2147483647 w 170"/>
                <a:gd name="T33" fmla="*/ 0 h 175"/>
                <a:gd name="T34" fmla="*/ 2147483647 w 170"/>
                <a:gd name="T35" fmla="*/ 0 h 175"/>
                <a:gd name="T36" fmla="*/ 2147483647 w 170"/>
                <a:gd name="T37" fmla="*/ 0 h 175"/>
                <a:gd name="T38" fmla="*/ 2147483647 w 170"/>
                <a:gd name="T39" fmla="*/ 0 h 175"/>
                <a:gd name="T40" fmla="*/ 2147483647 w 170"/>
                <a:gd name="T41" fmla="*/ 0 h 175"/>
                <a:gd name="T42" fmla="*/ 2147483647 w 170"/>
                <a:gd name="T43" fmla="*/ 0 h 175"/>
                <a:gd name="T44" fmla="*/ 2147483647 w 170"/>
                <a:gd name="T45" fmla="*/ 0 h 175"/>
                <a:gd name="T46" fmla="*/ 2147483647 w 170"/>
                <a:gd name="T47" fmla="*/ 0 h 175"/>
                <a:gd name="T48" fmla="*/ 2147483647 w 170"/>
                <a:gd name="T49" fmla="*/ 0 h 175"/>
                <a:gd name="T50" fmla="*/ 2147483647 w 170"/>
                <a:gd name="T51" fmla="*/ 0 h 175"/>
                <a:gd name="T52" fmla="*/ 2147483647 w 170"/>
                <a:gd name="T53" fmla="*/ 0 h 175"/>
                <a:gd name="T54" fmla="*/ 2147483647 w 170"/>
                <a:gd name="T55" fmla="*/ 0 h 175"/>
                <a:gd name="T56" fmla="*/ 2147483647 w 170"/>
                <a:gd name="T57" fmla="*/ 0 h 175"/>
                <a:gd name="T58" fmla="*/ 2147483647 w 170"/>
                <a:gd name="T59" fmla="*/ 0 h 175"/>
                <a:gd name="T60" fmla="*/ 2147483647 w 170"/>
                <a:gd name="T61" fmla="*/ 2147483647 h 175"/>
                <a:gd name="T62" fmla="*/ 2147483647 w 170"/>
                <a:gd name="T63" fmla="*/ 2147483647 h 175"/>
                <a:gd name="T64" fmla="*/ 2147483647 w 170"/>
                <a:gd name="T65" fmla="*/ 2147483647 h 175"/>
                <a:gd name="T66" fmla="*/ 2147483647 w 170"/>
                <a:gd name="T67" fmla="*/ 2147483647 h 175"/>
                <a:gd name="T68" fmla="*/ 2147483647 w 170"/>
                <a:gd name="T69" fmla="*/ 2147483647 h 175"/>
                <a:gd name="T70" fmla="*/ 2147483647 w 170"/>
                <a:gd name="T71" fmla="*/ 2147483647 h 175"/>
                <a:gd name="T72" fmla="*/ 2147483647 w 170"/>
                <a:gd name="T73" fmla="*/ 2147483647 h 175"/>
                <a:gd name="T74" fmla="*/ 2147483647 w 170"/>
                <a:gd name="T75" fmla="*/ 2147483647 h 175"/>
                <a:gd name="T76" fmla="*/ 2147483647 w 170"/>
                <a:gd name="T77" fmla="*/ 2147483647 h 175"/>
                <a:gd name="T78" fmla="*/ 2147483647 w 170"/>
                <a:gd name="T79" fmla="*/ 2147483647 h 175"/>
                <a:gd name="T80" fmla="*/ 2147483647 w 170"/>
                <a:gd name="T81" fmla="*/ 2147483647 h 175"/>
                <a:gd name="T82" fmla="*/ 2147483647 w 170"/>
                <a:gd name="T83" fmla="*/ 2147483647 h 175"/>
                <a:gd name="T84" fmla="*/ 2147483647 w 170"/>
                <a:gd name="T85" fmla="*/ 2147483647 h 175"/>
                <a:gd name="T86" fmla="*/ 2147483647 w 170"/>
                <a:gd name="T87" fmla="*/ 2147483647 h 175"/>
                <a:gd name="T88" fmla="*/ 2147483647 w 170"/>
                <a:gd name="T89" fmla="*/ 2147483647 h 175"/>
                <a:gd name="T90" fmla="*/ 2147483647 w 170"/>
                <a:gd name="T91" fmla="*/ 2147483647 h 175"/>
                <a:gd name="T92" fmla="*/ 2147483647 w 170"/>
                <a:gd name="T93" fmla="*/ 2147483647 h 175"/>
                <a:gd name="T94" fmla="*/ 2147483647 w 170"/>
                <a:gd name="T95" fmla="*/ 2147483647 h 175"/>
                <a:gd name="T96" fmla="*/ 2147483647 w 170"/>
                <a:gd name="T97" fmla="*/ 2147483647 h 175"/>
                <a:gd name="T98" fmla="*/ 2147483647 w 170"/>
                <a:gd name="T99" fmla="*/ 2147483647 h 175"/>
                <a:gd name="T100" fmla="*/ 2147483647 w 170"/>
                <a:gd name="T101" fmla="*/ 2147483647 h 175"/>
                <a:gd name="T102" fmla="*/ 2147483647 w 170"/>
                <a:gd name="T103" fmla="*/ 2147483647 h 175"/>
                <a:gd name="T104" fmla="*/ 2147483647 w 170"/>
                <a:gd name="T105" fmla="*/ 2147483647 h 175"/>
                <a:gd name="T106" fmla="*/ 2147483647 w 170"/>
                <a:gd name="T107" fmla="*/ 2147483647 h 175"/>
                <a:gd name="T108" fmla="*/ 2147483647 w 170"/>
                <a:gd name="T109" fmla="*/ 2147483647 h 175"/>
                <a:gd name="T110" fmla="*/ 2147483647 w 170"/>
                <a:gd name="T111" fmla="*/ 2147483647 h 175"/>
                <a:gd name="T112" fmla="*/ 2147483647 w 170"/>
                <a:gd name="T113" fmla="*/ 2147483647 h 175"/>
                <a:gd name="T114" fmla="*/ 2147483647 w 170"/>
                <a:gd name="T115" fmla="*/ 2147483647 h 175"/>
                <a:gd name="T116" fmla="*/ 2147483647 w 170"/>
                <a:gd name="T117" fmla="*/ 2147483647 h 175"/>
                <a:gd name="T118" fmla="*/ 2147483647 w 170"/>
                <a:gd name="T119" fmla="*/ 2147483647 h 175"/>
                <a:gd name="T120" fmla="*/ 2147483647 w 170"/>
                <a:gd name="T121" fmla="*/ 2147483647 h 1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0"/>
                <a:gd name="T184" fmla="*/ 0 h 175"/>
                <a:gd name="T185" fmla="*/ 170 w 170"/>
                <a:gd name="T186" fmla="*/ 175 h 1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6" name="Freeform 161">
              <a:extLst>
                <a:ext uri="{FF2B5EF4-FFF2-40B4-BE49-F238E27FC236}">
                  <a16:creationId xmlns:a16="http://schemas.microsoft.com/office/drawing/2014/main" id="{422063BF-15EF-477A-EDFC-B4E36AACAB66}"/>
                </a:ext>
              </a:extLst>
            </p:cNvPr>
            <p:cNvSpPr>
              <a:spLocks noChangeAspect="1"/>
            </p:cNvSpPr>
            <p:nvPr userDrawn="1"/>
          </p:nvSpPr>
          <p:spPr bwMode="gray">
            <a:xfrm>
              <a:off x="7132696" y="2261963"/>
              <a:ext cx="1189397" cy="676753"/>
            </a:xfrm>
            <a:custGeom>
              <a:avLst/>
              <a:gdLst>
                <a:gd name="T0" fmla="*/ 2147483647 w 2230"/>
                <a:gd name="T1" fmla="*/ 2147483647 h 1190"/>
                <a:gd name="T2" fmla="*/ 2147483647 w 2230"/>
                <a:gd name="T3" fmla="*/ 2147483647 h 1190"/>
                <a:gd name="T4" fmla="*/ 2147483647 w 2230"/>
                <a:gd name="T5" fmla="*/ 2147483647 h 1190"/>
                <a:gd name="T6" fmla="*/ 2147483647 w 2230"/>
                <a:gd name="T7" fmla="*/ 2147483647 h 1190"/>
                <a:gd name="T8" fmla="*/ 2147483647 w 2230"/>
                <a:gd name="T9" fmla="*/ 2147483647 h 1190"/>
                <a:gd name="T10" fmla="*/ 2147483647 w 2230"/>
                <a:gd name="T11" fmla="*/ 2147483647 h 1190"/>
                <a:gd name="T12" fmla="*/ 2147483647 w 2230"/>
                <a:gd name="T13" fmla="*/ 2147483647 h 1190"/>
                <a:gd name="T14" fmla="*/ 2147483647 w 2230"/>
                <a:gd name="T15" fmla="*/ 2147483647 h 1190"/>
                <a:gd name="T16" fmla="*/ 2147483647 w 2230"/>
                <a:gd name="T17" fmla="*/ 2147483647 h 1190"/>
                <a:gd name="T18" fmla="*/ 2147483647 w 2230"/>
                <a:gd name="T19" fmla="*/ 2147483647 h 1190"/>
                <a:gd name="T20" fmla="*/ 2147483647 w 2230"/>
                <a:gd name="T21" fmla="*/ 2147483647 h 1190"/>
                <a:gd name="T22" fmla="*/ 0 w 2230"/>
                <a:gd name="T23" fmla="*/ 2147483647 h 1190"/>
                <a:gd name="T24" fmla="*/ 0 w 2230"/>
                <a:gd name="T25" fmla="*/ 2147483647 h 1190"/>
                <a:gd name="T26" fmla="*/ 2147483647 w 2230"/>
                <a:gd name="T27" fmla="*/ 2147483647 h 1190"/>
                <a:gd name="T28" fmla="*/ 2147483647 w 2230"/>
                <a:gd name="T29" fmla="*/ 2147483647 h 1190"/>
                <a:gd name="T30" fmla="*/ 2147483647 w 2230"/>
                <a:gd name="T31" fmla="*/ 2147483647 h 1190"/>
                <a:gd name="T32" fmla="*/ 2147483647 w 2230"/>
                <a:gd name="T33" fmla="*/ 2147483647 h 1190"/>
                <a:gd name="T34" fmla="*/ 2147483647 w 2230"/>
                <a:gd name="T35" fmla="*/ 2147483647 h 1190"/>
                <a:gd name="T36" fmla="*/ 2147483647 w 2230"/>
                <a:gd name="T37" fmla="*/ 2147483647 h 1190"/>
                <a:gd name="T38" fmla="*/ 2147483647 w 2230"/>
                <a:gd name="T39" fmla="*/ 2147483647 h 1190"/>
                <a:gd name="T40" fmla="*/ 2147483647 w 2230"/>
                <a:gd name="T41" fmla="*/ 2147483647 h 1190"/>
                <a:gd name="T42" fmla="*/ 2147483647 w 2230"/>
                <a:gd name="T43" fmla="*/ 2147483647 h 1190"/>
                <a:gd name="T44" fmla="*/ 2147483647 w 2230"/>
                <a:gd name="T45" fmla="*/ 2147483647 h 1190"/>
                <a:gd name="T46" fmla="*/ 2147483647 w 2230"/>
                <a:gd name="T47" fmla="*/ 2147483647 h 1190"/>
                <a:gd name="T48" fmla="*/ 2147483647 w 2230"/>
                <a:gd name="T49" fmla="*/ 2147483647 h 1190"/>
                <a:gd name="T50" fmla="*/ 2147483647 w 2230"/>
                <a:gd name="T51" fmla="*/ 2147483647 h 1190"/>
                <a:gd name="T52" fmla="*/ 2147483647 w 2230"/>
                <a:gd name="T53" fmla="*/ 2147483647 h 1190"/>
                <a:gd name="T54" fmla="*/ 2147483647 w 2230"/>
                <a:gd name="T55" fmla="*/ 2147483647 h 1190"/>
                <a:gd name="T56" fmla="*/ 2147483647 w 2230"/>
                <a:gd name="T57" fmla="*/ 2147483647 h 1190"/>
                <a:gd name="T58" fmla="*/ 2147483647 w 2230"/>
                <a:gd name="T59" fmla="*/ 2147483647 h 1190"/>
                <a:gd name="T60" fmla="*/ 2147483647 w 2230"/>
                <a:gd name="T61" fmla="*/ 2147483647 h 1190"/>
                <a:gd name="T62" fmla="*/ 2147483647 w 2230"/>
                <a:gd name="T63" fmla="*/ 0 h 1190"/>
                <a:gd name="T64" fmla="*/ 2147483647 w 2230"/>
                <a:gd name="T65" fmla="*/ 0 h 1190"/>
                <a:gd name="T66" fmla="*/ 2147483647 w 2230"/>
                <a:gd name="T67" fmla="*/ 0 h 1190"/>
                <a:gd name="T68" fmla="*/ 2147483647 w 2230"/>
                <a:gd name="T69" fmla="*/ 0 h 1190"/>
                <a:gd name="T70" fmla="*/ 2147483647 w 2230"/>
                <a:gd name="T71" fmla="*/ 2147483647 h 1190"/>
                <a:gd name="T72" fmla="*/ 2147483647 w 2230"/>
                <a:gd name="T73" fmla="*/ 2147483647 h 1190"/>
                <a:gd name="T74" fmla="*/ 2147483647 w 2230"/>
                <a:gd name="T75" fmla="*/ 2147483647 h 1190"/>
                <a:gd name="T76" fmla="*/ 2147483647 w 2230"/>
                <a:gd name="T77" fmla="*/ 2147483647 h 1190"/>
                <a:gd name="T78" fmla="*/ 2147483647 w 2230"/>
                <a:gd name="T79" fmla="*/ 2147483647 h 1190"/>
                <a:gd name="T80" fmla="*/ 2147483647 w 2230"/>
                <a:gd name="T81" fmla="*/ 2147483647 h 1190"/>
                <a:gd name="T82" fmla="*/ 2147483647 w 2230"/>
                <a:gd name="T83" fmla="*/ 2147483647 h 1190"/>
                <a:gd name="T84" fmla="*/ 2147483647 w 2230"/>
                <a:gd name="T85" fmla="*/ 2147483647 h 1190"/>
                <a:gd name="T86" fmla="*/ 2147483647 w 2230"/>
                <a:gd name="T87" fmla="*/ 2147483647 h 1190"/>
                <a:gd name="T88" fmla="*/ 2147483647 w 2230"/>
                <a:gd name="T89" fmla="*/ 2147483647 h 1190"/>
                <a:gd name="T90" fmla="*/ 2147483647 w 2230"/>
                <a:gd name="T91" fmla="*/ 2147483647 h 1190"/>
                <a:gd name="T92" fmla="*/ 2147483647 w 2230"/>
                <a:gd name="T93" fmla="*/ 2147483647 h 1190"/>
                <a:gd name="T94" fmla="*/ 2147483647 w 2230"/>
                <a:gd name="T95" fmla="*/ 2147483647 h 1190"/>
                <a:gd name="T96" fmla="*/ 2147483647 w 2230"/>
                <a:gd name="T97" fmla="*/ 2147483647 h 1190"/>
                <a:gd name="T98" fmla="*/ 2147483647 w 2230"/>
                <a:gd name="T99" fmla="*/ 2147483647 h 1190"/>
                <a:gd name="T100" fmla="*/ 2147483647 w 2230"/>
                <a:gd name="T101" fmla="*/ 2147483647 h 1190"/>
                <a:gd name="T102" fmla="*/ 2147483647 w 2230"/>
                <a:gd name="T103" fmla="*/ 2147483647 h 1190"/>
                <a:gd name="T104" fmla="*/ 2147483647 w 2230"/>
                <a:gd name="T105" fmla="*/ 2147483647 h 1190"/>
                <a:gd name="T106" fmla="*/ 2147483647 w 2230"/>
                <a:gd name="T107" fmla="*/ 2147483647 h 1190"/>
                <a:gd name="T108" fmla="*/ 2147483647 w 2230"/>
                <a:gd name="T109" fmla="*/ 2147483647 h 1190"/>
                <a:gd name="T110" fmla="*/ 2147483647 w 2230"/>
                <a:gd name="T111" fmla="*/ 2147483647 h 1190"/>
                <a:gd name="T112" fmla="*/ 2147483647 w 2230"/>
                <a:gd name="T113" fmla="*/ 2147483647 h 1190"/>
                <a:gd name="T114" fmla="*/ 2147483647 w 2230"/>
                <a:gd name="T115" fmla="*/ 2147483647 h 1190"/>
                <a:gd name="T116" fmla="*/ 2147483647 w 2230"/>
                <a:gd name="T117" fmla="*/ 2147483647 h 1190"/>
                <a:gd name="T118" fmla="*/ 2147483647 w 2230"/>
                <a:gd name="T119" fmla="*/ 2147483647 h 1190"/>
                <a:gd name="T120" fmla="*/ 2147483647 w 2230"/>
                <a:gd name="T121" fmla="*/ 2147483647 h 11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30"/>
                <a:gd name="T184" fmla="*/ 0 h 1190"/>
                <a:gd name="T185" fmla="*/ 2230 w 2230"/>
                <a:gd name="T186" fmla="*/ 1190 h 119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7" name="Freeform 162">
              <a:extLst>
                <a:ext uri="{FF2B5EF4-FFF2-40B4-BE49-F238E27FC236}">
                  <a16:creationId xmlns:a16="http://schemas.microsoft.com/office/drawing/2014/main" id="{A0D682FA-8B8E-A545-405C-2C69E6568FE9}"/>
                </a:ext>
              </a:extLst>
            </p:cNvPr>
            <p:cNvSpPr>
              <a:spLocks noChangeAspect="1"/>
            </p:cNvSpPr>
            <p:nvPr userDrawn="1"/>
          </p:nvSpPr>
          <p:spPr bwMode="gray">
            <a:xfrm>
              <a:off x="6937200" y="2835069"/>
              <a:ext cx="196989" cy="102122"/>
            </a:xfrm>
            <a:custGeom>
              <a:avLst/>
              <a:gdLst>
                <a:gd name="T0" fmla="*/ 2147483647 w 368"/>
                <a:gd name="T1" fmla="*/ 2147483647 h 182"/>
                <a:gd name="T2" fmla="*/ 2147483647 w 368"/>
                <a:gd name="T3" fmla="*/ 2147483647 h 182"/>
                <a:gd name="T4" fmla="*/ 2147483647 w 368"/>
                <a:gd name="T5" fmla="*/ 2147483647 h 182"/>
                <a:gd name="T6" fmla="*/ 2147483647 w 368"/>
                <a:gd name="T7" fmla="*/ 2147483647 h 182"/>
                <a:gd name="T8" fmla="*/ 2147483647 w 368"/>
                <a:gd name="T9" fmla="*/ 2147483647 h 182"/>
                <a:gd name="T10" fmla="*/ 2147483647 w 368"/>
                <a:gd name="T11" fmla="*/ 2147483647 h 182"/>
                <a:gd name="T12" fmla="*/ 2147483647 w 368"/>
                <a:gd name="T13" fmla="*/ 2147483647 h 182"/>
                <a:gd name="T14" fmla="*/ 2147483647 w 368"/>
                <a:gd name="T15" fmla="*/ 2147483647 h 182"/>
                <a:gd name="T16" fmla="*/ 2147483647 w 368"/>
                <a:gd name="T17" fmla="*/ 2147483647 h 182"/>
                <a:gd name="T18" fmla="*/ 2147483647 w 368"/>
                <a:gd name="T19" fmla="*/ 2147483647 h 182"/>
                <a:gd name="T20" fmla="*/ 2147483647 w 368"/>
                <a:gd name="T21" fmla="*/ 2147483647 h 182"/>
                <a:gd name="T22" fmla="*/ 2147483647 w 368"/>
                <a:gd name="T23" fmla="*/ 2147483647 h 182"/>
                <a:gd name="T24" fmla="*/ 2147483647 w 368"/>
                <a:gd name="T25" fmla="*/ 2147483647 h 182"/>
                <a:gd name="T26" fmla="*/ 2147483647 w 368"/>
                <a:gd name="T27" fmla="*/ 2147483647 h 182"/>
                <a:gd name="T28" fmla="*/ 2147483647 w 368"/>
                <a:gd name="T29" fmla="*/ 2147483647 h 182"/>
                <a:gd name="T30" fmla="*/ 2147483647 w 368"/>
                <a:gd name="T31" fmla="*/ 2147483647 h 182"/>
                <a:gd name="T32" fmla="*/ 2147483647 w 368"/>
                <a:gd name="T33" fmla="*/ 2147483647 h 182"/>
                <a:gd name="T34" fmla="*/ 2147483647 w 368"/>
                <a:gd name="T35" fmla="*/ 2147483647 h 182"/>
                <a:gd name="T36" fmla="*/ 2147483647 w 368"/>
                <a:gd name="T37" fmla="*/ 2147483647 h 182"/>
                <a:gd name="T38" fmla="*/ 2147483647 w 368"/>
                <a:gd name="T39" fmla="*/ 2147483647 h 182"/>
                <a:gd name="T40" fmla="*/ 2147483647 w 368"/>
                <a:gd name="T41" fmla="*/ 2147483647 h 182"/>
                <a:gd name="T42" fmla="*/ 2147483647 w 368"/>
                <a:gd name="T43" fmla="*/ 0 h 182"/>
                <a:gd name="T44" fmla="*/ 2147483647 w 368"/>
                <a:gd name="T45" fmla="*/ 0 h 182"/>
                <a:gd name="T46" fmla="*/ 2147483647 w 368"/>
                <a:gd name="T47" fmla="*/ 0 h 182"/>
                <a:gd name="T48" fmla="*/ 2147483647 w 368"/>
                <a:gd name="T49" fmla="*/ 0 h 182"/>
                <a:gd name="T50" fmla="*/ 2147483647 w 368"/>
                <a:gd name="T51" fmla="*/ 0 h 182"/>
                <a:gd name="T52" fmla="*/ 2147483647 w 368"/>
                <a:gd name="T53" fmla="*/ 0 h 182"/>
                <a:gd name="T54" fmla="*/ 2147483647 w 368"/>
                <a:gd name="T55" fmla="*/ 0 h 182"/>
                <a:gd name="T56" fmla="*/ 2147483647 w 368"/>
                <a:gd name="T57" fmla="*/ 0 h 182"/>
                <a:gd name="T58" fmla="*/ 2147483647 w 368"/>
                <a:gd name="T59" fmla="*/ 0 h 182"/>
                <a:gd name="T60" fmla="*/ 2147483647 w 368"/>
                <a:gd name="T61" fmla="*/ 0 h 182"/>
                <a:gd name="T62" fmla="*/ 2147483647 w 368"/>
                <a:gd name="T63" fmla="*/ 0 h 182"/>
                <a:gd name="T64" fmla="*/ 2147483647 w 368"/>
                <a:gd name="T65" fmla="*/ 0 h 182"/>
                <a:gd name="T66" fmla="*/ 0 w 368"/>
                <a:gd name="T67" fmla="*/ 0 h 182"/>
                <a:gd name="T68" fmla="*/ 0 w 368"/>
                <a:gd name="T69" fmla="*/ 0 h 182"/>
                <a:gd name="T70" fmla="*/ 0 w 368"/>
                <a:gd name="T71" fmla="*/ 0 h 182"/>
                <a:gd name="T72" fmla="*/ 0 w 368"/>
                <a:gd name="T73" fmla="*/ 0 h 182"/>
                <a:gd name="T74" fmla="*/ 2147483647 w 368"/>
                <a:gd name="T75" fmla="*/ 0 h 182"/>
                <a:gd name="T76" fmla="*/ 2147483647 w 368"/>
                <a:gd name="T77" fmla="*/ 0 h 182"/>
                <a:gd name="T78" fmla="*/ 2147483647 w 368"/>
                <a:gd name="T79" fmla="*/ 2147483647 h 182"/>
                <a:gd name="T80" fmla="*/ 2147483647 w 368"/>
                <a:gd name="T81" fmla="*/ 2147483647 h 182"/>
                <a:gd name="T82" fmla="*/ 2147483647 w 368"/>
                <a:gd name="T83" fmla="*/ 2147483647 h 182"/>
                <a:gd name="T84" fmla="*/ 2147483647 w 368"/>
                <a:gd name="T85" fmla="*/ 2147483647 h 1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8"/>
                <a:gd name="T130" fmla="*/ 0 h 182"/>
                <a:gd name="T131" fmla="*/ 368 w 368"/>
                <a:gd name="T132" fmla="*/ 182 h 1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8" name="Freeform 163">
              <a:extLst>
                <a:ext uri="{FF2B5EF4-FFF2-40B4-BE49-F238E27FC236}">
                  <a16:creationId xmlns:a16="http://schemas.microsoft.com/office/drawing/2014/main" id="{195DC7B2-38D7-F6DB-A767-5A0E96D500E1}"/>
                </a:ext>
              </a:extLst>
            </p:cNvPr>
            <p:cNvSpPr>
              <a:spLocks noChangeAspect="1"/>
            </p:cNvSpPr>
            <p:nvPr userDrawn="1"/>
          </p:nvSpPr>
          <p:spPr bwMode="gray">
            <a:xfrm>
              <a:off x="7408780" y="2748188"/>
              <a:ext cx="502919" cy="344473"/>
            </a:xfrm>
            <a:custGeom>
              <a:avLst/>
              <a:gdLst>
                <a:gd name="T0" fmla="*/ 0 w 940"/>
                <a:gd name="T1" fmla="*/ 2147483647 h 612"/>
                <a:gd name="T2" fmla="*/ 2147483647 w 940"/>
                <a:gd name="T3" fmla="*/ 2147483647 h 612"/>
                <a:gd name="T4" fmla="*/ 2147483647 w 940"/>
                <a:gd name="T5" fmla="*/ 2147483647 h 612"/>
                <a:gd name="T6" fmla="*/ 2147483647 w 940"/>
                <a:gd name="T7" fmla="*/ 2147483647 h 612"/>
                <a:gd name="T8" fmla="*/ 2147483647 w 940"/>
                <a:gd name="T9" fmla="*/ 2147483647 h 612"/>
                <a:gd name="T10" fmla="*/ 2147483647 w 940"/>
                <a:gd name="T11" fmla="*/ 2147483647 h 612"/>
                <a:gd name="T12" fmla="*/ 2147483647 w 940"/>
                <a:gd name="T13" fmla="*/ 2147483647 h 612"/>
                <a:gd name="T14" fmla="*/ 2147483647 w 940"/>
                <a:gd name="T15" fmla="*/ 2147483647 h 612"/>
                <a:gd name="T16" fmla="*/ 2147483647 w 940"/>
                <a:gd name="T17" fmla="*/ 2147483647 h 612"/>
                <a:gd name="T18" fmla="*/ 2147483647 w 940"/>
                <a:gd name="T19" fmla="*/ 2147483647 h 612"/>
                <a:gd name="T20" fmla="*/ 2147483647 w 940"/>
                <a:gd name="T21" fmla="*/ 2147483647 h 612"/>
                <a:gd name="T22" fmla="*/ 2147483647 w 940"/>
                <a:gd name="T23" fmla="*/ 2147483647 h 612"/>
                <a:gd name="T24" fmla="*/ 2147483647 w 940"/>
                <a:gd name="T25" fmla="*/ 2147483647 h 612"/>
                <a:gd name="T26" fmla="*/ 2147483647 w 940"/>
                <a:gd name="T27" fmla="*/ 2147483647 h 612"/>
                <a:gd name="T28" fmla="*/ 2147483647 w 940"/>
                <a:gd name="T29" fmla="*/ 2147483647 h 612"/>
                <a:gd name="T30" fmla="*/ 2147483647 w 940"/>
                <a:gd name="T31" fmla="*/ 2147483647 h 612"/>
                <a:gd name="T32" fmla="*/ 2147483647 w 940"/>
                <a:gd name="T33" fmla="*/ 2147483647 h 612"/>
                <a:gd name="T34" fmla="*/ 2147483647 w 940"/>
                <a:gd name="T35" fmla="*/ 2147483647 h 612"/>
                <a:gd name="T36" fmla="*/ 2147483647 w 940"/>
                <a:gd name="T37" fmla="*/ 2147483647 h 612"/>
                <a:gd name="T38" fmla="*/ 2147483647 w 940"/>
                <a:gd name="T39" fmla="*/ 2147483647 h 612"/>
                <a:gd name="T40" fmla="*/ 2147483647 w 940"/>
                <a:gd name="T41" fmla="*/ 2147483647 h 612"/>
                <a:gd name="T42" fmla="*/ 2147483647 w 940"/>
                <a:gd name="T43" fmla="*/ 2147483647 h 612"/>
                <a:gd name="T44" fmla="*/ 2147483647 w 940"/>
                <a:gd name="T45" fmla="*/ 2147483647 h 612"/>
                <a:gd name="T46" fmla="*/ 2147483647 w 940"/>
                <a:gd name="T47" fmla="*/ 2147483647 h 612"/>
                <a:gd name="T48" fmla="*/ 2147483647 w 940"/>
                <a:gd name="T49" fmla="*/ 2147483647 h 612"/>
                <a:gd name="T50" fmla="*/ 2147483647 w 940"/>
                <a:gd name="T51" fmla="*/ 2147483647 h 612"/>
                <a:gd name="T52" fmla="*/ 2147483647 w 940"/>
                <a:gd name="T53" fmla="*/ 2147483647 h 612"/>
                <a:gd name="T54" fmla="*/ 2147483647 w 940"/>
                <a:gd name="T55" fmla="*/ 2147483647 h 612"/>
                <a:gd name="T56" fmla="*/ 2147483647 w 940"/>
                <a:gd name="T57" fmla="*/ 2147483647 h 612"/>
                <a:gd name="T58" fmla="*/ 2147483647 w 940"/>
                <a:gd name="T59" fmla="*/ 2147483647 h 612"/>
                <a:gd name="T60" fmla="*/ 2147483647 w 940"/>
                <a:gd name="T61" fmla="*/ 2147483647 h 612"/>
                <a:gd name="T62" fmla="*/ 2147483647 w 940"/>
                <a:gd name="T63" fmla="*/ 2147483647 h 612"/>
                <a:gd name="T64" fmla="*/ 2147483647 w 940"/>
                <a:gd name="T65" fmla="*/ 2147483647 h 612"/>
                <a:gd name="T66" fmla="*/ 2147483647 w 940"/>
                <a:gd name="T67" fmla="*/ 2147483647 h 612"/>
                <a:gd name="T68" fmla="*/ 2147483647 w 940"/>
                <a:gd name="T69" fmla="*/ 2147483647 h 612"/>
                <a:gd name="T70" fmla="*/ 2147483647 w 940"/>
                <a:gd name="T71" fmla="*/ 2147483647 h 612"/>
                <a:gd name="T72" fmla="*/ 2147483647 w 940"/>
                <a:gd name="T73" fmla="*/ 2147483647 h 612"/>
                <a:gd name="T74" fmla="*/ 2147483647 w 940"/>
                <a:gd name="T75" fmla="*/ 2147483647 h 612"/>
                <a:gd name="T76" fmla="*/ 2147483647 w 940"/>
                <a:gd name="T77" fmla="*/ 2147483647 h 612"/>
                <a:gd name="T78" fmla="*/ 2147483647 w 940"/>
                <a:gd name="T79" fmla="*/ 2147483647 h 612"/>
                <a:gd name="T80" fmla="*/ 2147483647 w 940"/>
                <a:gd name="T81" fmla="*/ 2147483647 h 612"/>
                <a:gd name="T82" fmla="*/ 2147483647 w 940"/>
                <a:gd name="T83" fmla="*/ 2147483647 h 612"/>
                <a:gd name="T84" fmla="*/ 2147483647 w 940"/>
                <a:gd name="T85" fmla="*/ 2147483647 h 612"/>
                <a:gd name="T86" fmla="*/ 2147483647 w 940"/>
                <a:gd name="T87" fmla="*/ 2147483647 h 612"/>
                <a:gd name="T88" fmla="*/ 2147483647 w 940"/>
                <a:gd name="T89" fmla="*/ 2147483647 h 612"/>
                <a:gd name="T90" fmla="*/ 2147483647 w 940"/>
                <a:gd name="T91" fmla="*/ 2147483647 h 612"/>
                <a:gd name="T92" fmla="*/ 2147483647 w 940"/>
                <a:gd name="T93" fmla="*/ 2147483647 h 612"/>
                <a:gd name="T94" fmla="*/ 2147483647 w 940"/>
                <a:gd name="T95" fmla="*/ 2147483647 h 612"/>
                <a:gd name="T96" fmla="*/ 2147483647 w 940"/>
                <a:gd name="T97" fmla="*/ 2147483647 h 612"/>
                <a:gd name="T98" fmla="*/ 2147483647 w 940"/>
                <a:gd name="T99" fmla="*/ 2147483647 h 612"/>
                <a:gd name="T100" fmla="*/ 2147483647 w 940"/>
                <a:gd name="T101" fmla="*/ 2147483647 h 612"/>
                <a:gd name="T102" fmla="*/ 2147483647 w 940"/>
                <a:gd name="T103" fmla="*/ 2147483647 h 612"/>
                <a:gd name="T104" fmla="*/ 2147483647 w 940"/>
                <a:gd name="T105" fmla="*/ 2147483647 h 612"/>
                <a:gd name="T106" fmla="*/ 2147483647 w 940"/>
                <a:gd name="T107" fmla="*/ 2147483647 h 612"/>
                <a:gd name="T108" fmla="*/ 2147483647 w 940"/>
                <a:gd name="T109" fmla="*/ 2147483647 h 612"/>
                <a:gd name="T110" fmla="*/ 2147483647 w 940"/>
                <a:gd name="T111" fmla="*/ 2147483647 h 612"/>
                <a:gd name="T112" fmla="*/ 2147483647 w 940"/>
                <a:gd name="T113" fmla="*/ 0 h 612"/>
                <a:gd name="T114" fmla="*/ 0 w 940"/>
                <a:gd name="T115" fmla="*/ 0 h 61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0"/>
                <a:gd name="T175" fmla="*/ 0 h 612"/>
                <a:gd name="T176" fmla="*/ 940 w 940"/>
                <a:gd name="T177" fmla="*/ 612 h 61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59" name="Freeform 164">
              <a:extLst>
                <a:ext uri="{FF2B5EF4-FFF2-40B4-BE49-F238E27FC236}">
                  <a16:creationId xmlns:a16="http://schemas.microsoft.com/office/drawing/2014/main" id="{A0EB90ED-5395-E03B-E366-444570BB693C}"/>
                </a:ext>
              </a:extLst>
            </p:cNvPr>
            <p:cNvSpPr>
              <a:spLocks noChangeAspect="1"/>
            </p:cNvSpPr>
            <p:nvPr userDrawn="1"/>
          </p:nvSpPr>
          <p:spPr bwMode="gray">
            <a:xfrm>
              <a:off x="7305808" y="2865554"/>
              <a:ext cx="416364" cy="307892"/>
            </a:xfrm>
            <a:custGeom>
              <a:avLst/>
              <a:gdLst>
                <a:gd name="T0" fmla="*/ 2147483647 w 778"/>
                <a:gd name="T1" fmla="*/ 2147483647 h 536"/>
                <a:gd name="T2" fmla="*/ 2147483647 w 778"/>
                <a:gd name="T3" fmla="*/ 0 h 536"/>
                <a:gd name="T4" fmla="*/ 2147483647 w 778"/>
                <a:gd name="T5" fmla="*/ 0 h 536"/>
                <a:gd name="T6" fmla="*/ 2147483647 w 778"/>
                <a:gd name="T7" fmla="*/ 0 h 536"/>
                <a:gd name="T8" fmla="*/ 2147483647 w 778"/>
                <a:gd name="T9" fmla="*/ 0 h 536"/>
                <a:gd name="T10" fmla="*/ 2147483647 w 778"/>
                <a:gd name="T11" fmla="*/ 0 h 536"/>
                <a:gd name="T12" fmla="*/ 2147483647 w 778"/>
                <a:gd name="T13" fmla="*/ 0 h 536"/>
                <a:gd name="T14" fmla="*/ 2147483647 w 778"/>
                <a:gd name="T15" fmla="*/ 0 h 536"/>
                <a:gd name="T16" fmla="*/ 2147483647 w 778"/>
                <a:gd name="T17" fmla="*/ 0 h 536"/>
                <a:gd name="T18" fmla="*/ 2147483647 w 778"/>
                <a:gd name="T19" fmla="*/ 2147483647 h 536"/>
                <a:gd name="T20" fmla="*/ 2147483647 w 778"/>
                <a:gd name="T21" fmla="*/ 2147483647 h 536"/>
                <a:gd name="T22" fmla="*/ 2147483647 w 778"/>
                <a:gd name="T23" fmla="*/ 2147483647 h 536"/>
                <a:gd name="T24" fmla="*/ 2147483647 w 778"/>
                <a:gd name="T25" fmla="*/ 2147483647 h 536"/>
                <a:gd name="T26" fmla="*/ 2147483647 w 778"/>
                <a:gd name="T27" fmla="*/ 2147483647 h 536"/>
                <a:gd name="T28" fmla="*/ 2147483647 w 778"/>
                <a:gd name="T29" fmla="*/ 2147483647 h 536"/>
                <a:gd name="T30" fmla="*/ 2147483647 w 778"/>
                <a:gd name="T31" fmla="*/ 2147483647 h 536"/>
                <a:gd name="T32" fmla="*/ 2147483647 w 778"/>
                <a:gd name="T33" fmla="*/ 2147483647 h 536"/>
                <a:gd name="T34" fmla="*/ 2147483647 w 778"/>
                <a:gd name="T35" fmla="*/ 2147483647 h 536"/>
                <a:gd name="T36" fmla="*/ 2147483647 w 778"/>
                <a:gd name="T37" fmla="*/ 2147483647 h 536"/>
                <a:gd name="T38" fmla="*/ 2147483647 w 778"/>
                <a:gd name="T39" fmla="*/ 2147483647 h 536"/>
                <a:gd name="T40" fmla="*/ 2147483647 w 778"/>
                <a:gd name="T41" fmla="*/ 2147483647 h 536"/>
                <a:gd name="T42" fmla="*/ 2147483647 w 778"/>
                <a:gd name="T43" fmla="*/ 2147483647 h 536"/>
                <a:gd name="T44" fmla="*/ 2147483647 w 778"/>
                <a:gd name="T45" fmla="*/ 2147483647 h 536"/>
                <a:gd name="T46" fmla="*/ 2147483647 w 778"/>
                <a:gd name="T47" fmla="*/ 2147483647 h 536"/>
                <a:gd name="T48" fmla="*/ 2147483647 w 778"/>
                <a:gd name="T49" fmla="*/ 2147483647 h 536"/>
                <a:gd name="T50" fmla="*/ 2147483647 w 778"/>
                <a:gd name="T51" fmla="*/ 2147483647 h 536"/>
                <a:gd name="T52" fmla="*/ 2147483647 w 778"/>
                <a:gd name="T53" fmla="*/ 2147483647 h 536"/>
                <a:gd name="T54" fmla="*/ 2147483647 w 778"/>
                <a:gd name="T55" fmla="*/ 2147483647 h 536"/>
                <a:gd name="T56" fmla="*/ 2147483647 w 778"/>
                <a:gd name="T57" fmla="*/ 2147483647 h 536"/>
                <a:gd name="T58" fmla="*/ 2147483647 w 778"/>
                <a:gd name="T59" fmla="*/ 2147483647 h 536"/>
                <a:gd name="T60" fmla="*/ 2147483647 w 778"/>
                <a:gd name="T61" fmla="*/ 2147483647 h 536"/>
                <a:gd name="T62" fmla="*/ 2147483647 w 778"/>
                <a:gd name="T63" fmla="*/ 2147483647 h 536"/>
                <a:gd name="T64" fmla="*/ 2147483647 w 778"/>
                <a:gd name="T65" fmla="*/ 2147483647 h 536"/>
                <a:gd name="T66" fmla="*/ 2147483647 w 778"/>
                <a:gd name="T67" fmla="*/ 2147483647 h 536"/>
                <a:gd name="T68" fmla="*/ 2147483647 w 778"/>
                <a:gd name="T69" fmla="*/ 2147483647 h 536"/>
                <a:gd name="T70" fmla="*/ 2147483647 w 778"/>
                <a:gd name="T71" fmla="*/ 2147483647 h 536"/>
                <a:gd name="T72" fmla="*/ 2147483647 w 778"/>
                <a:gd name="T73" fmla="*/ 2147483647 h 536"/>
                <a:gd name="T74" fmla="*/ 2147483647 w 778"/>
                <a:gd name="T75" fmla="*/ 2147483647 h 536"/>
                <a:gd name="T76" fmla="*/ 2147483647 w 778"/>
                <a:gd name="T77" fmla="*/ 2147483647 h 536"/>
                <a:gd name="T78" fmla="*/ 2147483647 w 778"/>
                <a:gd name="T79" fmla="*/ 2147483647 h 536"/>
                <a:gd name="T80" fmla="*/ 2147483647 w 778"/>
                <a:gd name="T81" fmla="*/ 2147483647 h 536"/>
                <a:gd name="T82" fmla="*/ 2147483647 w 778"/>
                <a:gd name="T83" fmla="*/ 2147483647 h 536"/>
                <a:gd name="T84" fmla="*/ 2147483647 w 778"/>
                <a:gd name="T85" fmla="*/ 2147483647 h 536"/>
                <a:gd name="T86" fmla="*/ 2147483647 w 778"/>
                <a:gd name="T87" fmla="*/ 2147483647 h 536"/>
                <a:gd name="T88" fmla="*/ 0 w 778"/>
                <a:gd name="T89" fmla="*/ 2147483647 h 536"/>
                <a:gd name="T90" fmla="*/ 0 w 778"/>
                <a:gd name="T91" fmla="*/ 2147483647 h 536"/>
                <a:gd name="T92" fmla="*/ 0 w 778"/>
                <a:gd name="T93" fmla="*/ 2147483647 h 536"/>
                <a:gd name="T94" fmla="*/ 2147483647 w 778"/>
                <a:gd name="T95" fmla="*/ 2147483647 h 536"/>
                <a:gd name="T96" fmla="*/ 2147483647 w 778"/>
                <a:gd name="T97" fmla="*/ 2147483647 h 536"/>
                <a:gd name="T98" fmla="*/ 2147483647 w 778"/>
                <a:gd name="T99" fmla="*/ 2147483647 h 536"/>
                <a:gd name="T100" fmla="*/ 2147483647 w 778"/>
                <a:gd name="T101" fmla="*/ 0 h 536"/>
                <a:gd name="T102" fmla="*/ 0 w 778"/>
                <a:gd name="T103" fmla="*/ 2147483647 h 536"/>
                <a:gd name="T104" fmla="*/ 0 w 778"/>
                <a:gd name="T105" fmla="*/ 2147483647 h 536"/>
                <a:gd name="T106" fmla="*/ 2147483647 w 778"/>
                <a:gd name="T107" fmla="*/ 0 h 536"/>
                <a:gd name="T108" fmla="*/ 2147483647 w 778"/>
                <a:gd name="T109" fmla="*/ 0 h 536"/>
                <a:gd name="T110" fmla="*/ 2147483647 w 778"/>
                <a:gd name="T111" fmla="*/ 0 h 536"/>
                <a:gd name="T112" fmla="*/ 2147483647 w 778"/>
                <a:gd name="T113" fmla="*/ 2147483647 h 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78"/>
                <a:gd name="T172" fmla="*/ 0 h 536"/>
                <a:gd name="T173" fmla="*/ 778 w 778"/>
                <a:gd name="T174" fmla="*/ 536 h 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0" name="Freeform 166">
              <a:extLst>
                <a:ext uri="{FF2B5EF4-FFF2-40B4-BE49-F238E27FC236}">
                  <a16:creationId xmlns:a16="http://schemas.microsoft.com/office/drawing/2014/main" id="{338D8819-6CF3-5185-15A1-65DE57C8C0E2}"/>
                </a:ext>
              </a:extLst>
            </p:cNvPr>
            <p:cNvSpPr>
              <a:spLocks noChangeAspect="1"/>
            </p:cNvSpPr>
            <p:nvPr userDrawn="1"/>
          </p:nvSpPr>
          <p:spPr bwMode="gray">
            <a:xfrm>
              <a:off x="7081956" y="2993588"/>
              <a:ext cx="35816" cy="35057"/>
            </a:xfrm>
            <a:custGeom>
              <a:avLst/>
              <a:gdLst>
                <a:gd name="T0" fmla="*/ 0 w 65"/>
                <a:gd name="T1" fmla="*/ 0 h 59"/>
                <a:gd name="T2" fmla="*/ 0 w 65"/>
                <a:gd name="T3" fmla="*/ 0 h 59"/>
                <a:gd name="T4" fmla="*/ 0 w 65"/>
                <a:gd name="T5" fmla="*/ 0 h 59"/>
                <a:gd name="T6" fmla="*/ 0 w 65"/>
                <a:gd name="T7" fmla="*/ 0 h 59"/>
                <a:gd name="T8" fmla="*/ 0 w 65"/>
                <a:gd name="T9" fmla="*/ 0 h 59"/>
                <a:gd name="T10" fmla="*/ 0 w 65"/>
                <a:gd name="T11" fmla="*/ 0 h 59"/>
                <a:gd name="T12" fmla="*/ 0 w 65"/>
                <a:gd name="T13" fmla="*/ 0 h 59"/>
                <a:gd name="T14" fmla="*/ 0 w 65"/>
                <a:gd name="T15" fmla="*/ 0 h 59"/>
                <a:gd name="T16" fmla="*/ 0 w 65"/>
                <a:gd name="T17" fmla="*/ 0 h 59"/>
                <a:gd name="T18" fmla="*/ 0 w 65"/>
                <a:gd name="T19" fmla="*/ 0 h 59"/>
                <a:gd name="T20" fmla="*/ 0 w 65"/>
                <a:gd name="T21" fmla="*/ 0 h 59"/>
                <a:gd name="T22" fmla="*/ 0 w 65"/>
                <a:gd name="T23" fmla="*/ 0 h 59"/>
                <a:gd name="T24" fmla="*/ 0 w 65"/>
                <a:gd name="T25" fmla="*/ 0 h 59"/>
                <a:gd name="T26" fmla="*/ 0 w 65"/>
                <a:gd name="T27" fmla="*/ 0 h 59"/>
                <a:gd name="T28" fmla="*/ 0 w 65"/>
                <a:gd name="T29" fmla="*/ 0 h 59"/>
                <a:gd name="T30" fmla="*/ 0 w 65"/>
                <a:gd name="T31" fmla="*/ 0 h 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5"/>
                <a:gd name="T49" fmla="*/ 0 h 59"/>
                <a:gd name="T50" fmla="*/ 65 w 65"/>
                <a:gd name="T51" fmla="*/ 59 h 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1" name="Freeform 167">
              <a:extLst>
                <a:ext uri="{FF2B5EF4-FFF2-40B4-BE49-F238E27FC236}">
                  <a16:creationId xmlns:a16="http://schemas.microsoft.com/office/drawing/2014/main" id="{77BD16EC-DE23-16F9-4F96-1A648A91750C}"/>
                </a:ext>
              </a:extLst>
            </p:cNvPr>
            <p:cNvSpPr>
              <a:spLocks noChangeAspect="1"/>
            </p:cNvSpPr>
            <p:nvPr userDrawn="1"/>
          </p:nvSpPr>
          <p:spPr bwMode="gray">
            <a:xfrm>
              <a:off x="7087926" y="2905183"/>
              <a:ext cx="156696" cy="140228"/>
            </a:xfrm>
            <a:custGeom>
              <a:avLst/>
              <a:gdLst>
                <a:gd name="T0" fmla="*/ 0 w 294"/>
                <a:gd name="T1" fmla="*/ 0 h 245"/>
                <a:gd name="T2" fmla="*/ 0 w 294"/>
                <a:gd name="T3" fmla="*/ 0 h 245"/>
                <a:gd name="T4" fmla="*/ 0 w 294"/>
                <a:gd name="T5" fmla="*/ 0 h 245"/>
                <a:gd name="T6" fmla="*/ 0 w 294"/>
                <a:gd name="T7" fmla="*/ 0 h 245"/>
                <a:gd name="T8" fmla="*/ 0 w 294"/>
                <a:gd name="T9" fmla="*/ 0 h 245"/>
                <a:gd name="T10" fmla="*/ 0 w 294"/>
                <a:gd name="T11" fmla="*/ 0 h 245"/>
                <a:gd name="T12" fmla="*/ 0 w 294"/>
                <a:gd name="T13" fmla="*/ 0 h 245"/>
                <a:gd name="T14" fmla="*/ 0 w 294"/>
                <a:gd name="T15" fmla="*/ 0 h 245"/>
                <a:gd name="T16" fmla="*/ 0 w 294"/>
                <a:gd name="T17" fmla="*/ 0 h 245"/>
                <a:gd name="T18" fmla="*/ 0 w 294"/>
                <a:gd name="T19" fmla="*/ 0 h 245"/>
                <a:gd name="T20" fmla="*/ 0 w 294"/>
                <a:gd name="T21" fmla="*/ 0 h 245"/>
                <a:gd name="T22" fmla="*/ 0 w 294"/>
                <a:gd name="T23" fmla="*/ 0 h 245"/>
                <a:gd name="T24" fmla="*/ 0 w 294"/>
                <a:gd name="T25" fmla="*/ 0 h 245"/>
                <a:gd name="T26" fmla="*/ 0 w 294"/>
                <a:gd name="T27" fmla="*/ 0 h 245"/>
                <a:gd name="T28" fmla="*/ 0 w 294"/>
                <a:gd name="T29" fmla="*/ 0 h 245"/>
                <a:gd name="T30" fmla="*/ 0 w 294"/>
                <a:gd name="T31" fmla="*/ 0 h 245"/>
                <a:gd name="T32" fmla="*/ 0 w 294"/>
                <a:gd name="T33" fmla="*/ 0 h 245"/>
                <a:gd name="T34" fmla="*/ 0 w 294"/>
                <a:gd name="T35" fmla="*/ 0 h 245"/>
                <a:gd name="T36" fmla="*/ 0 w 294"/>
                <a:gd name="T37" fmla="*/ 0 h 245"/>
                <a:gd name="T38" fmla="*/ 0 w 294"/>
                <a:gd name="T39" fmla="*/ 0 h 245"/>
                <a:gd name="T40" fmla="*/ 0 w 294"/>
                <a:gd name="T41" fmla="*/ 0 h 245"/>
                <a:gd name="T42" fmla="*/ 0 w 294"/>
                <a:gd name="T43" fmla="*/ 0 h 245"/>
                <a:gd name="T44" fmla="*/ 0 w 294"/>
                <a:gd name="T45" fmla="*/ 0 h 245"/>
                <a:gd name="T46" fmla="*/ 0 w 294"/>
                <a:gd name="T47" fmla="*/ 0 h 245"/>
                <a:gd name="T48" fmla="*/ 0 w 294"/>
                <a:gd name="T49" fmla="*/ 0 h 245"/>
                <a:gd name="T50" fmla="*/ 0 w 294"/>
                <a:gd name="T51" fmla="*/ 0 h 245"/>
                <a:gd name="T52" fmla="*/ 0 w 294"/>
                <a:gd name="T53" fmla="*/ 0 h 245"/>
                <a:gd name="T54" fmla="*/ 0 w 294"/>
                <a:gd name="T55" fmla="*/ 0 h 245"/>
                <a:gd name="T56" fmla="*/ 0 w 294"/>
                <a:gd name="T57" fmla="*/ 0 h 245"/>
                <a:gd name="T58" fmla="*/ 0 w 294"/>
                <a:gd name="T59" fmla="*/ 0 h 245"/>
                <a:gd name="T60" fmla="*/ 0 w 294"/>
                <a:gd name="T61" fmla="*/ 0 h 245"/>
                <a:gd name="T62" fmla="*/ 0 w 294"/>
                <a:gd name="T63" fmla="*/ 0 h 245"/>
                <a:gd name="T64" fmla="*/ 0 w 294"/>
                <a:gd name="T65" fmla="*/ 0 h 245"/>
                <a:gd name="T66" fmla="*/ 0 w 294"/>
                <a:gd name="T67" fmla="*/ 0 h 245"/>
                <a:gd name="T68" fmla="*/ 0 w 294"/>
                <a:gd name="T69" fmla="*/ 0 h 245"/>
                <a:gd name="T70" fmla="*/ 0 w 294"/>
                <a:gd name="T71" fmla="*/ 0 h 245"/>
                <a:gd name="T72" fmla="*/ 0 w 294"/>
                <a:gd name="T73" fmla="*/ 0 h 245"/>
                <a:gd name="T74" fmla="*/ 0 w 294"/>
                <a:gd name="T75" fmla="*/ 0 h 245"/>
                <a:gd name="T76" fmla="*/ 0 w 294"/>
                <a:gd name="T77" fmla="*/ 0 h 245"/>
                <a:gd name="T78" fmla="*/ 0 w 294"/>
                <a:gd name="T79" fmla="*/ 0 h 245"/>
                <a:gd name="T80" fmla="*/ 0 w 294"/>
                <a:gd name="T81" fmla="*/ 0 h 245"/>
                <a:gd name="T82" fmla="*/ 0 w 294"/>
                <a:gd name="T83" fmla="*/ 0 h 245"/>
                <a:gd name="T84" fmla="*/ 0 w 294"/>
                <a:gd name="T85" fmla="*/ 0 h 245"/>
                <a:gd name="T86" fmla="*/ 0 w 294"/>
                <a:gd name="T87" fmla="*/ 0 h 245"/>
                <a:gd name="T88" fmla="*/ 0 w 294"/>
                <a:gd name="T89" fmla="*/ 0 h 245"/>
                <a:gd name="T90" fmla="*/ 0 w 294"/>
                <a:gd name="T91" fmla="*/ 0 h 245"/>
                <a:gd name="T92" fmla="*/ 0 w 294"/>
                <a:gd name="T93" fmla="*/ 0 h 245"/>
                <a:gd name="T94" fmla="*/ 0 w 294"/>
                <a:gd name="T95" fmla="*/ 0 h 245"/>
                <a:gd name="T96" fmla="*/ 0 w 294"/>
                <a:gd name="T97" fmla="*/ 0 h 245"/>
                <a:gd name="T98" fmla="*/ 0 w 294"/>
                <a:gd name="T99" fmla="*/ 0 h 245"/>
                <a:gd name="T100" fmla="*/ 0 w 294"/>
                <a:gd name="T101" fmla="*/ 0 h 24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4"/>
                <a:gd name="T154" fmla="*/ 0 h 245"/>
                <a:gd name="T155" fmla="*/ 294 w 294"/>
                <a:gd name="T156" fmla="*/ 245 h 24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2" name="Freeform 170">
              <a:extLst>
                <a:ext uri="{FF2B5EF4-FFF2-40B4-BE49-F238E27FC236}">
                  <a16:creationId xmlns:a16="http://schemas.microsoft.com/office/drawing/2014/main" id="{80624E2F-5934-5140-844B-D0456569CC04}"/>
                </a:ext>
              </a:extLst>
            </p:cNvPr>
            <p:cNvSpPr>
              <a:spLocks noChangeAspect="1"/>
            </p:cNvSpPr>
            <p:nvPr userDrawn="1"/>
          </p:nvSpPr>
          <p:spPr bwMode="gray">
            <a:xfrm>
              <a:off x="6044779" y="2594243"/>
              <a:ext cx="225343" cy="117364"/>
            </a:xfrm>
            <a:custGeom>
              <a:avLst/>
              <a:gdLst>
                <a:gd name="T0" fmla="*/ 0 w 420"/>
                <a:gd name="T1" fmla="*/ 0 h 205"/>
                <a:gd name="T2" fmla="*/ 0 w 420"/>
                <a:gd name="T3" fmla="*/ 0 h 205"/>
                <a:gd name="T4" fmla="*/ 0 w 420"/>
                <a:gd name="T5" fmla="*/ 0 h 205"/>
                <a:gd name="T6" fmla="*/ 0 w 420"/>
                <a:gd name="T7" fmla="*/ 0 h 205"/>
                <a:gd name="T8" fmla="*/ 0 w 420"/>
                <a:gd name="T9" fmla="*/ 0 h 205"/>
                <a:gd name="T10" fmla="*/ 0 w 420"/>
                <a:gd name="T11" fmla="*/ 0 h 205"/>
                <a:gd name="T12" fmla="*/ 0 w 420"/>
                <a:gd name="T13" fmla="*/ 0 h 205"/>
                <a:gd name="T14" fmla="*/ 0 w 420"/>
                <a:gd name="T15" fmla="*/ 0 h 205"/>
                <a:gd name="T16" fmla="*/ 0 w 420"/>
                <a:gd name="T17" fmla="*/ 0 h 205"/>
                <a:gd name="T18" fmla="*/ 0 w 420"/>
                <a:gd name="T19" fmla="*/ 0 h 205"/>
                <a:gd name="T20" fmla="*/ 0 w 420"/>
                <a:gd name="T21" fmla="*/ 0 h 205"/>
                <a:gd name="T22" fmla="*/ 0 w 420"/>
                <a:gd name="T23" fmla="*/ 0 h 205"/>
                <a:gd name="T24" fmla="*/ 0 w 420"/>
                <a:gd name="T25" fmla="*/ 0 h 205"/>
                <a:gd name="T26" fmla="*/ 0 w 420"/>
                <a:gd name="T27" fmla="*/ 0 h 205"/>
                <a:gd name="T28" fmla="*/ 0 w 420"/>
                <a:gd name="T29" fmla="*/ 0 h 205"/>
                <a:gd name="T30" fmla="*/ 0 w 420"/>
                <a:gd name="T31" fmla="*/ 0 h 205"/>
                <a:gd name="T32" fmla="*/ 0 w 420"/>
                <a:gd name="T33" fmla="*/ 0 h 205"/>
                <a:gd name="T34" fmla="*/ 0 w 420"/>
                <a:gd name="T35" fmla="*/ 0 h 205"/>
                <a:gd name="T36" fmla="*/ 0 w 420"/>
                <a:gd name="T37" fmla="*/ 0 h 205"/>
                <a:gd name="T38" fmla="*/ 0 w 420"/>
                <a:gd name="T39" fmla="*/ 0 h 205"/>
                <a:gd name="T40" fmla="*/ 0 w 420"/>
                <a:gd name="T41" fmla="*/ 0 h 205"/>
                <a:gd name="T42" fmla="*/ 0 w 420"/>
                <a:gd name="T43" fmla="*/ 0 h 205"/>
                <a:gd name="T44" fmla="*/ 0 w 420"/>
                <a:gd name="T45" fmla="*/ 0 h 205"/>
                <a:gd name="T46" fmla="*/ 0 w 420"/>
                <a:gd name="T47" fmla="*/ 0 h 205"/>
                <a:gd name="T48" fmla="*/ 0 w 420"/>
                <a:gd name="T49" fmla="*/ 0 h 205"/>
                <a:gd name="T50" fmla="*/ 0 w 420"/>
                <a:gd name="T51" fmla="*/ 0 h 205"/>
                <a:gd name="T52" fmla="*/ 0 w 420"/>
                <a:gd name="T53" fmla="*/ 0 h 205"/>
                <a:gd name="T54" fmla="*/ 0 w 420"/>
                <a:gd name="T55" fmla="*/ 0 h 205"/>
                <a:gd name="T56" fmla="*/ 0 w 420"/>
                <a:gd name="T57" fmla="*/ 0 h 205"/>
                <a:gd name="T58" fmla="*/ 0 w 420"/>
                <a:gd name="T59" fmla="*/ 0 h 205"/>
                <a:gd name="T60" fmla="*/ 2147483647 w 420"/>
                <a:gd name="T61" fmla="*/ 0 h 205"/>
                <a:gd name="T62" fmla="*/ 2147483647 w 420"/>
                <a:gd name="T63" fmla="*/ 0 h 205"/>
                <a:gd name="T64" fmla="*/ 2147483647 w 420"/>
                <a:gd name="T65" fmla="*/ 0 h 205"/>
                <a:gd name="T66" fmla="*/ 2147483647 w 420"/>
                <a:gd name="T67" fmla="*/ 0 h 205"/>
                <a:gd name="T68" fmla="*/ 2147483647 w 420"/>
                <a:gd name="T69" fmla="*/ 0 h 205"/>
                <a:gd name="T70" fmla="*/ 2147483647 w 420"/>
                <a:gd name="T71" fmla="*/ 0 h 205"/>
                <a:gd name="T72" fmla="*/ 2147483647 w 420"/>
                <a:gd name="T73" fmla="*/ 0 h 205"/>
                <a:gd name="T74" fmla="*/ 2147483647 w 420"/>
                <a:gd name="T75" fmla="*/ 0 h 205"/>
                <a:gd name="T76" fmla="*/ 2147483647 w 420"/>
                <a:gd name="T77" fmla="*/ 0 h 205"/>
                <a:gd name="T78" fmla="*/ 2147483647 w 420"/>
                <a:gd name="T79" fmla="*/ 0 h 205"/>
                <a:gd name="T80" fmla="*/ 2147483647 w 420"/>
                <a:gd name="T81" fmla="*/ 0 h 205"/>
                <a:gd name="T82" fmla="*/ 2147483647 w 420"/>
                <a:gd name="T83" fmla="*/ 0 h 205"/>
                <a:gd name="T84" fmla="*/ 0 w 420"/>
                <a:gd name="T85" fmla="*/ 0 h 205"/>
                <a:gd name="T86" fmla="*/ 0 w 420"/>
                <a:gd name="T87" fmla="*/ 0 h 205"/>
                <a:gd name="T88" fmla="*/ 0 w 420"/>
                <a:gd name="T89" fmla="*/ 0 h 205"/>
                <a:gd name="T90" fmla="*/ 0 w 420"/>
                <a:gd name="T91" fmla="*/ 0 h 2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20"/>
                <a:gd name="T139" fmla="*/ 0 h 205"/>
                <a:gd name="T140" fmla="*/ 420 w 420"/>
                <a:gd name="T141" fmla="*/ 205 h 2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3" name="Freeform 171">
              <a:extLst>
                <a:ext uri="{FF2B5EF4-FFF2-40B4-BE49-F238E27FC236}">
                  <a16:creationId xmlns:a16="http://schemas.microsoft.com/office/drawing/2014/main" id="{867B5E03-A182-AB35-F3B7-40ECD73E8D6A}"/>
                </a:ext>
              </a:extLst>
            </p:cNvPr>
            <p:cNvSpPr>
              <a:spLocks noChangeAspect="1"/>
            </p:cNvSpPr>
            <p:nvPr userDrawn="1"/>
          </p:nvSpPr>
          <p:spPr bwMode="gray">
            <a:xfrm>
              <a:off x="5810481" y="2879271"/>
              <a:ext cx="14923" cy="7622"/>
            </a:xfrm>
            <a:custGeom>
              <a:avLst/>
              <a:gdLst>
                <a:gd name="T0" fmla="*/ 0 w 21"/>
                <a:gd name="T1" fmla="*/ 0 h 13"/>
                <a:gd name="T2" fmla="*/ 0 w 21"/>
                <a:gd name="T3" fmla="*/ 0 h 13"/>
                <a:gd name="T4" fmla="*/ 0 w 21"/>
                <a:gd name="T5" fmla="*/ 0 h 13"/>
                <a:gd name="T6" fmla="*/ 0 w 21"/>
                <a:gd name="T7" fmla="*/ 0 h 13"/>
                <a:gd name="T8" fmla="*/ 0 w 21"/>
                <a:gd name="T9" fmla="*/ 0 h 13"/>
                <a:gd name="T10" fmla="*/ 0 w 21"/>
                <a:gd name="T11" fmla="*/ 0 h 13"/>
                <a:gd name="T12" fmla="*/ 0 w 21"/>
                <a:gd name="T13" fmla="*/ 0 h 13"/>
                <a:gd name="T14" fmla="*/ 0 w 21"/>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3"/>
                <a:gd name="T26" fmla="*/ 21 w 21"/>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3">
                  <a:moveTo>
                    <a:pt x="18" y="7"/>
                  </a:moveTo>
                  <a:lnTo>
                    <a:pt x="21" y="11"/>
                  </a:lnTo>
                  <a:lnTo>
                    <a:pt x="16" y="13"/>
                  </a:lnTo>
                  <a:lnTo>
                    <a:pt x="10" y="12"/>
                  </a:lnTo>
                  <a:lnTo>
                    <a:pt x="6" y="7"/>
                  </a:lnTo>
                  <a:lnTo>
                    <a:pt x="0" y="0"/>
                  </a:lnTo>
                  <a:lnTo>
                    <a:pt x="13" y="1"/>
                  </a:lnTo>
                  <a:lnTo>
                    <a:pt x="18"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4" name="Freeform 172">
              <a:extLst>
                <a:ext uri="{FF2B5EF4-FFF2-40B4-BE49-F238E27FC236}">
                  <a16:creationId xmlns:a16="http://schemas.microsoft.com/office/drawing/2014/main" id="{B2628098-B97A-B93D-69D4-C4009EE6FE4F}"/>
                </a:ext>
              </a:extLst>
            </p:cNvPr>
            <p:cNvSpPr>
              <a:spLocks noChangeAspect="1"/>
            </p:cNvSpPr>
            <p:nvPr userDrawn="1"/>
          </p:nvSpPr>
          <p:spPr bwMode="gray">
            <a:xfrm>
              <a:off x="6049256" y="2668929"/>
              <a:ext cx="7462" cy="16767"/>
            </a:xfrm>
            <a:custGeom>
              <a:avLst/>
              <a:gdLst>
                <a:gd name="T0" fmla="*/ 0 w 14"/>
                <a:gd name="T1" fmla="*/ 0 h 30"/>
                <a:gd name="T2" fmla="*/ 0 w 14"/>
                <a:gd name="T3" fmla="*/ 0 h 30"/>
                <a:gd name="T4" fmla="*/ 0 w 14"/>
                <a:gd name="T5" fmla="*/ 0 h 30"/>
                <a:gd name="T6" fmla="*/ 0 w 14"/>
                <a:gd name="T7" fmla="*/ 0 h 30"/>
                <a:gd name="T8" fmla="*/ 0 w 14"/>
                <a:gd name="T9" fmla="*/ 0 h 30"/>
                <a:gd name="T10" fmla="*/ 0 w 14"/>
                <a:gd name="T11" fmla="*/ 0 h 30"/>
                <a:gd name="T12" fmla="*/ 0 w 14"/>
                <a:gd name="T13" fmla="*/ 0 h 30"/>
                <a:gd name="T14" fmla="*/ 0 w 14"/>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30"/>
                <a:gd name="T26" fmla="*/ 14 w 14"/>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30">
                  <a:moveTo>
                    <a:pt x="8" y="30"/>
                  </a:moveTo>
                  <a:lnTo>
                    <a:pt x="14" y="23"/>
                  </a:lnTo>
                  <a:lnTo>
                    <a:pt x="14" y="12"/>
                  </a:lnTo>
                  <a:lnTo>
                    <a:pt x="13" y="5"/>
                  </a:lnTo>
                  <a:lnTo>
                    <a:pt x="4" y="0"/>
                  </a:lnTo>
                  <a:lnTo>
                    <a:pt x="2" y="8"/>
                  </a:lnTo>
                  <a:lnTo>
                    <a:pt x="0" y="18"/>
                  </a:lnTo>
                  <a:lnTo>
                    <a:pt x="8" y="3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5" name="Freeform 174">
              <a:extLst>
                <a:ext uri="{FF2B5EF4-FFF2-40B4-BE49-F238E27FC236}">
                  <a16:creationId xmlns:a16="http://schemas.microsoft.com/office/drawing/2014/main" id="{AAFEDF99-BB85-F05B-2597-D4931F6870E5}"/>
                </a:ext>
              </a:extLst>
            </p:cNvPr>
            <p:cNvSpPr>
              <a:spLocks noChangeAspect="1"/>
            </p:cNvSpPr>
            <p:nvPr userDrawn="1"/>
          </p:nvSpPr>
          <p:spPr bwMode="gray">
            <a:xfrm>
              <a:off x="6136500" y="3054857"/>
              <a:ext cx="90346" cy="62606"/>
            </a:xfrm>
            <a:custGeom>
              <a:avLst/>
              <a:gdLst>
                <a:gd name="T0" fmla="*/ 0 w 172"/>
                <a:gd name="T1" fmla="*/ 0 h 110"/>
                <a:gd name="T2" fmla="*/ 0 w 172"/>
                <a:gd name="T3" fmla="*/ 0 h 110"/>
                <a:gd name="T4" fmla="*/ 0 w 172"/>
                <a:gd name="T5" fmla="*/ 0 h 110"/>
                <a:gd name="T6" fmla="*/ 0 w 172"/>
                <a:gd name="T7" fmla="*/ 0 h 110"/>
                <a:gd name="T8" fmla="*/ 0 w 172"/>
                <a:gd name="T9" fmla="*/ 0 h 110"/>
                <a:gd name="T10" fmla="*/ 0 w 172"/>
                <a:gd name="T11" fmla="*/ 0 h 110"/>
                <a:gd name="T12" fmla="*/ 0 w 172"/>
                <a:gd name="T13" fmla="*/ 0 h 110"/>
                <a:gd name="T14" fmla="*/ 0 w 172"/>
                <a:gd name="T15" fmla="*/ 0 h 110"/>
                <a:gd name="T16" fmla="*/ 0 w 172"/>
                <a:gd name="T17" fmla="*/ 0 h 110"/>
                <a:gd name="T18" fmla="*/ 0 w 172"/>
                <a:gd name="T19" fmla="*/ 0 h 110"/>
                <a:gd name="T20" fmla="*/ 0 w 172"/>
                <a:gd name="T21" fmla="*/ 0 h 110"/>
                <a:gd name="T22" fmla="*/ 0 w 172"/>
                <a:gd name="T23" fmla="*/ 0 h 110"/>
                <a:gd name="T24" fmla="*/ 0 w 172"/>
                <a:gd name="T25" fmla="*/ 0 h 110"/>
                <a:gd name="T26" fmla="*/ 0 w 172"/>
                <a:gd name="T27" fmla="*/ 0 h 110"/>
                <a:gd name="T28" fmla="*/ 0 w 172"/>
                <a:gd name="T29" fmla="*/ 0 h 110"/>
                <a:gd name="T30" fmla="*/ 0 w 172"/>
                <a:gd name="T31" fmla="*/ 0 h 110"/>
                <a:gd name="T32" fmla="*/ 0 w 172"/>
                <a:gd name="T33" fmla="*/ 0 h 110"/>
                <a:gd name="T34" fmla="*/ 0 w 172"/>
                <a:gd name="T35" fmla="*/ 0 h 110"/>
                <a:gd name="T36" fmla="*/ 0 w 172"/>
                <a:gd name="T37" fmla="*/ 0 h 110"/>
                <a:gd name="T38" fmla="*/ 0 w 172"/>
                <a:gd name="T39" fmla="*/ 0 h 110"/>
                <a:gd name="T40" fmla="*/ 0 w 172"/>
                <a:gd name="T41" fmla="*/ 0 h 110"/>
                <a:gd name="T42" fmla="*/ 0 w 172"/>
                <a:gd name="T43" fmla="*/ 0 h 110"/>
                <a:gd name="T44" fmla="*/ 0 w 172"/>
                <a:gd name="T45" fmla="*/ 0 h 110"/>
                <a:gd name="T46" fmla="*/ 0 w 172"/>
                <a:gd name="T47" fmla="*/ 0 h 110"/>
                <a:gd name="T48" fmla="*/ 0 w 172"/>
                <a:gd name="T49" fmla="*/ 0 h 110"/>
                <a:gd name="T50" fmla="*/ 0 w 172"/>
                <a:gd name="T51" fmla="*/ 0 h 110"/>
                <a:gd name="T52" fmla="*/ 0 w 172"/>
                <a:gd name="T53" fmla="*/ 0 h 110"/>
                <a:gd name="T54" fmla="*/ 0 w 172"/>
                <a:gd name="T55" fmla="*/ 0 h 110"/>
                <a:gd name="T56" fmla="*/ 0 w 172"/>
                <a:gd name="T57" fmla="*/ 0 h 110"/>
                <a:gd name="T58" fmla="*/ 0 w 172"/>
                <a:gd name="T59" fmla="*/ 0 h 110"/>
                <a:gd name="T60" fmla="*/ 0 w 172"/>
                <a:gd name="T61" fmla="*/ 0 h 110"/>
                <a:gd name="T62" fmla="*/ 0 w 172"/>
                <a:gd name="T63" fmla="*/ 0 h 110"/>
                <a:gd name="T64" fmla="*/ 0 w 172"/>
                <a:gd name="T65" fmla="*/ 0 h 110"/>
                <a:gd name="T66" fmla="*/ 0 w 172"/>
                <a:gd name="T67" fmla="*/ 0 h 110"/>
                <a:gd name="T68" fmla="*/ 0 w 172"/>
                <a:gd name="T69" fmla="*/ 0 h 110"/>
                <a:gd name="T70" fmla="*/ 0 w 172"/>
                <a:gd name="T71" fmla="*/ 0 h 110"/>
                <a:gd name="T72" fmla="*/ 0 w 172"/>
                <a:gd name="T73" fmla="*/ 0 h 110"/>
                <a:gd name="T74" fmla="*/ 0 w 172"/>
                <a:gd name="T75" fmla="*/ 0 h 110"/>
                <a:gd name="T76" fmla="*/ 0 w 172"/>
                <a:gd name="T77" fmla="*/ 0 h 110"/>
                <a:gd name="T78" fmla="*/ 0 w 172"/>
                <a:gd name="T79" fmla="*/ 0 h 110"/>
                <a:gd name="T80" fmla="*/ 0 w 172"/>
                <a:gd name="T81" fmla="*/ 0 h 110"/>
                <a:gd name="T82" fmla="*/ 0 w 172"/>
                <a:gd name="T83" fmla="*/ 0 h 110"/>
                <a:gd name="T84" fmla="*/ 0 w 172"/>
                <a:gd name="T85" fmla="*/ 0 h 110"/>
                <a:gd name="T86" fmla="*/ 0 w 172"/>
                <a:gd name="T87" fmla="*/ 0 h 1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2"/>
                <a:gd name="T133" fmla="*/ 0 h 110"/>
                <a:gd name="T134" fmla="*/ 172 w 172"/>
                <a:gd name="T135" fmla="*/ 110 h 11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6" name="Freeform 175">
              <a:extLst>
                <a:ext uri="{FF2B5EF4-FFF2-40B4-BE49-F238E27FC236}">
                  <a16:creationId xmlns:a16="http://schemas.microsoft.com/office/drawing/2014/main" id="{3B89A4EC-3016-E423-AC03-BEF2FABCDC3F}"/>
                </a:ext>
              </a:extLst>
            </p:cNvPr>
            <p:cNvSpPr>
              <a:spLocks noChangeAspect="1"/>
            </p:cNvSpPr>
            <p:nvPr userDrawn="1"/>
          </p:nvSpPr>
          <p:spPr bwMode="gray">
            <a:xfrm>
              <a:off x="6011609" y="2932490"/>
              <a:ext cx="42516" cy="99601"/>
            </a:xfrm>
            <a:custGeom>
              <a:avLst/>
              <a:gdLst>
                <a:gd name="T0" fmla="*/ 0 w 82"/>
                <a:gd name="T1" fmla="*/ 0 h 173"/>
                <a:gd name="T2" fmla="*/ 0 w 82"/>
                <a:gd name="T3" fmla="*/ 0 h 173"/>
                <a:gd name="T4" fmla="*/ 0 w 82"/>
                <a:gd name="T5" fmla="*/ 0 h 173"/>
                <a:gd name="T6" fmla="*/ 0 w 82"/>
                <a:gd name="T7" fmla="*/ 0 h 173"/>
                <a:gd name="T8" fmla="*/ 0 w 82"/>
                <a:gd name="T9" fmla="*/ 0 h 173"/>
                <a:gd name="T10" fmla="*/ 0 w 82"/>
                <a:gd name="T11" fmla="*/ 0 h 173"/>
                <a:gd name="T12" fmla="*/ 0 w 82"/>
                <a:gd name="T13" fmla="*/ 0 h 173"/>
                <a:gd name="T14" fmla="*/ 0 w 82"/>
                <a:gd name="T15" fmla="*/ 0 h 173"/>
                <a:gd name="T16" fmla="*/ 0 w 82"/>
                <a:gd name="T17" fmla="*/ 0 h 173"/>
                <a:gd name="T18" fmla="*/ 0 w 82"/>
                <a:gd name="T19" fmla="*/ 0 h 173"/>
                <a:gd name="T20" fmla="*/ 0 w 82"/>
                <a:gd name="T21" fmla="*/ 0 h 173"/>
                <a:gd name="T22" fmla="*/ 0 w 82"/>
                <a:gd name="T23" fmla="*/ 0 h 173"/>
                <a:gd name="T24" fmla="*/ 0 w 82"/>
                <a:gd name="T25" fmla="*/ 0 h 173"/>
                <a:gd name="T26" fmla="*/ 0 w 82"/>
                <a:gd name="T27" fmla="*/ 0 h 173"/>
                <a:gd name="T28" fmla="*/ 0 w 82"/>
                <a:gd name="T29" fmla="*/ 0 h 173"/>
                <a:gd name="T30" fmla="*/ 0 w 82"/>
                <a:gd name="T31" fmla="*/ 0 h 173"/>
                <a:gd name="T32" fmla="*/ 0 w 82"/>
                <a:gd name="T33" fmla="*/ 0 h 173"/>
                <a:gd name="T34" fmla="*/ 0 w 82"/>
                <a:gd name="T35" fmla="*/ 0 h 173"/>
                <a:gd name="T36" fmla="*/ 0 w 82"/>
                <a:gd name="T37" fmla="*/ 0 h 173"/>
                <a:gd name="T38" fmla="*/ 0 w 82"/>
                <a:gd name="T39" fmla="*/ 0 h 173"/>
                <a:gd name="T40" fmla="*/ 0 w 82"/>
                <a:gd name="T41" fmla="*/ 0 h 173"/>
                <a:gd name="T42" fmla="*/ 0 w 82"/>
                <a:gd name="T43" fmla="*/ 0 h 173"/>
                <a:gd name="T44" fmla="*/ 0 w 82"/>
                <a:gd name="T45" fmla="*/ 0 h 173"/>
                <a:gd name="T46" fmla="*/ 0 w 82"/>
                <a:gd name="T47" fmla="*/ 0 h 173"/>
                <a:gd name="T48" fmla="*/ 0 w 82"/>
                <a:gd name="T49" fmla="*/ 0 h 173"/>
                <a:gd name="T50" fmla="*/ 0 w 82"/>
                <a:gd name="T51" fmla="*/ 0 h 173"/>
                <a:gd name="T52" fmla="*/ 0 w 82"/>
                <a:gd name="T53" fmla="*/ 0 h 173"/>
                <a:gd name="T54" fmla="*/ 0 w 82"/>
                <a:gd name="T55" fmla="*/ 0 h 173"/>
                <a:gd name="T56" fmla="*/ 0 w 82"/>
                <a:gd name="T57" fmla="*/ 0 h 173"/>
                <a:gd name="T58" fmla="*/ 0 w 82"/>
                <a:gd name="T59" fmla="*/ 0 h 173"/>
                <a:gd name="T60" fmla="*/ 0 w 82"/>
                <a:gd name="T61" fmla="*/ 0 h 173"/>
                <a:gd name="T62" fmla="*/ 0 w 82"/>
                <a:gd name="T63" fmla="*/ 0 h 173"/>
                <a:gd name="T64" fmla="*/ 0 w 82"/>
                <a:gd name="T65" fmla="*/ 0 h 173"/>
                <a:gd name="T66" fmla="*/ 0 w 82"/>
                <a:gd name="T67" fmla="*/ 0 h 173"/>
                <a:gd name="T68" fmla="*/ 0 w 82"/>
                <a:gd name="T69" fmla="*/ 0 h 173"/>
                <a:gd name="T70" fmla="*/ 0 w 82"/>
                <a:gd name="T71" fmla="*/ 0 h 173"/>
                <a:gd name="T72" fmla="*/ 0 w 82"/>
                <a:gd name="T73" fmla="*/ 0 h 173"/>
                <a:gd name="T74" fmla="*/ 0 w 82"/>
                <a:gd name="T75" fmla="*/ 0 h 173"/>
                <a:gd name="T76" fmla="*/ 0 w 82"/>
                <a:gd name="T77" fmla="*/ 0 h 173"/>
                <a:gd name="T78" fmla="*/ 0 w 82"/>
                <a:gd name="T79" fmla="*/ 0 h 173"/>
                <a:gd name="T80" fmla="*/ 0 w 82"/>
                <a:gd name="T81" fmla="*/ 0 h 173"/>
                <a:gd name="T82" fmla="*/ 0 w 82"/>
                <a:gd name="T83" fmla="*/ 0 h 17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2"/>
                <a:gd name="T127" fmla="*/ 0 h 173"/>
                <a:gd name="T128" fmla="*/ 82 w 82"/>
                <a:gd name="T129" fmla="*/ 173 h 17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7" name="Freeform 176">
              <a:extLst>
                <a:ext uri="{FF2B5EF4-FFF2-40B4-BE49-F238E27FC236}">
                  <a16:creationId xmlns:a16="http://schemas.microsoft.com/office/drawing/2014/main" id="{562DDF7A-6394-8988-C775-499CAE4CBBAA}"/>
                </a:ext>
              </a:extLst>
            </p:cNvPr>
            <p:cNvSpPr>
              <a:spLocks noChangeAspect="1"/>
            </p:cNvSpPr>
            <p:nvPr userDrawn="1"/>
          </p:nvSpPr>
          <p:spPr bwMode="gray">
            <a:xfrm>
              <a:off x="5966436" y="2682064"/>
              <a:ext cx="342785" cy="387022"/>
            </a:xfrm>
            <a:custGeom>
              <a:avLst/>
              <a:gdLst>
                <a:gd name="T0" fmla="*/ 0 w 645"/>
                <a:gd name="T1" fmla="*/ 0 h 681"/>
                <a:gd name="T2" fmla="*/ 0 w 645"/>
                <a:gd name="T3" fmla="*/ 0 h 681"/>
                <a:gd name="T4" fmla="*/ 0 w 645"/>
                <a:gd name="T5" fmla="*/ 0 h 681"/>
                <a:gd name="T6" fmla="*/ 0 w 645"/>
                <a:gd name="T7" fmla="*/ 0 h 681"/>
                <a:gd name="T8" fmla="*/ 0 w 645"/>
                <a:gd name="T9" fmla="*/ 0 h 681"/>
                <a:gd name="T10" fmla="*/ 0 w 645"/>
                <a:gd name="T11" fmla="*/ 0 h 681"/>
                <a:gd name="T12" fmla="*/ 0 w 645"/>
                <a:gd name="T13" fmla="*/ 0 h 681"/>
                <a:gd name="T14" fmla="*/ 0 w 645"/>
                <a:gd name="T15" fmla="*/ 0 h 681"/>
                <a:gd name="T16" fmla="*/ 0 w 645"/>
                <a:gd name="T17" fmla="*/ 0 h 681"/>
                <a:gd name="T18" fmla="*/ 0 w 645"/>
                <a:gd name="T19" fmla="*/ 0 h 681"/>
                <a:gd name="T20" fmla="*/ 0 w 645"/>
                <a:gd name="T21" fmla="*/ 0 h 681"/>
                <a:gd name="T22" fmla="*/ 0 w 645"/>
                <a:gd name="T23" fmla="*/ 0 h 681"/>
                <a:gd name="T24" fmla="*/ 0 w 645"/>
                <a:gd name="T25" fmla="*/ 0 h 681"/>
                <a:gd name="T26" fmla="*/ 0 w 645"/>
                <a:gd name="T27" fmla="*/ 0 h 681"/>
                <a:gd name="T28" fmla="*/ 0 w 645"/>
                <a:gd name="T29" fmla="*/ 0 h 681"/>
                <a:gd name="T30" fmla="*/ 0 w 645"/>
                <a:gd name="T31" fmla="*/ 0 h 681"/>
                <a:gd name="T32" fmla="*/ 0 w 645"/>
                <a:gd name="T33" fmla="*/ 0 h 681"/>
                <a:gd name="T34" fmla="*/ 0 w 645"/>
                <a:gd name="T35" fmla="*/ 0 h 681"/>
                <a:gd name="T36" fmla="*/ 0 w 645"/>
                <a:gd name="T37" fmla="*/ 0 h 681"/>
                <a:gd name="T38" fmla="*/ 0 w 645"/>
                <a:gd name="T39" fmla="*/ 0 h 681"/>
                <a:gd name="T40" fmla="*/ 0 w 645"/>
                <a:gd name="T41" fmla="*/ 0 h 681"/>
                <a:gd name="T42" fmla="*/ 0 w 645"/>
                <a:gd name="T43" fmla="*/ 0 h 681"/>
                <a:gd name="T44" fmla="*/ 0 w 645"/>
                <a:gd name="T45" fmla="*/ 0 h 681"/>
                <a:gd name="T46" fmla="*/ 0 w 645"/>
                <a:gd name="T47" fmla="*/ 0 h 681"/>
                <a:gd name="T48" fmla="*/ 0 w 645"/>
                <a:gd name="T49" fmla="*/ 0 h 681"/>
                <a:gd name="T50" fmla="*/ 0 w 645"/>
                <a:gd name="T51" fmla="*/ 0 h 681"/>
                <a:gd name="T52" fmla="*/ 0 w 645"/>
                <a:gd name="T53" fmla="*/ 0 h 681"/>
                <a:gd name="T54" fmla="*/ 0 w 645"/>
                <a:gd name="T55" fmla="*/ 0 h 681"/>
                <a:gd name="T56" fmla="*/ 0 w 645"/>
                <a:gd name="T57" fmla="*/ 0 h 681"/>
                <a:gd name="T58" fmla="*/ 0 w 645"/>
                <a:gd name="T59" fmla="*/ 0 h 681"/>
                <a:gd name="T60" fmla="*/ 0 w 645"/>
                <a:gd name="T61" fmla="*/ 0 h 681"/>
                <a:gd name="T62" fmla="*/ 0 w 645"/>
                <a:gd name="T63" fmla="*/ 0 h 681"/>
                <a:gd name="T64" fmla="*/ 0 w 645"/>
                <a:gd name="T65" fmla="*/ 0 h 681"/>
                <a:gd name="T66" fmla="*/ 0 w 645"/>
                <a:gd name="T67" fmla="*/ 0 h 681"/>
                <a:gd name="T68" fmla="*/ 0 w 645"/>
                <a:gd name="T69" fmla="*/ 0 h 681"/>
                <a:gd name="T70" fmla="*/ 0 w 645"/>
                <a:gd name="T71" fmla="*/ 0 h 681"/>
                <a:gd name="T72" fmla="*/ 0 w 645"/>
                <a:gd name="T73" fmla="*/ 0 h 681"/>
                <a:gd name="T74" fmla="*/ 0 w 645"/>
                <a:gd name="T75" fmla="*/ 0 h 681"/>
                <a:gd name="T76" fmla="*/ 0 w 645"/>
                <a:gd name="T77" fmla="*/ 0 h 681"/>
                <a:gd name="T78" fmla="*/ 0 w 645"/>
                <a:gd name="T79" fmla="*/ 0 h 681"/>
                <a:gd name="T80" fmla="*/ 0 w 645"/>
                <a:gd name="T81" fmla="*/ 0 h 681"/>
                <a:gd name="T82" fmla="*/ 0 w 645"/>
                <a:gd name="T83" fmla="*/ 0 h 681"/>
                <a:gd name="T84" fmla="*/ 0 w 645"/>
                <a:gd name="T85" fmla="*/ 0 h 681"/>
                <a:gd name="T86" fmla="*/ 0 w 645"/>
                <a:gd name="T87" fmla="*/ 0 h 681"/>
                <a:gd name="T88" fmla="*/ 0 w 645"/>
                <a:gd name="T89" fmla="*/ 0 h 681"/>
                <a:gd name="T90" fmla="*/ 0 w 645"/>
                <a:gd name="T91" fmla="*/ 0 h 681"/>
                <a:gd name="T92" fmla="*/ 0 w 645"/>
                <a:gd name="T93" fmla="*/ 0 h 681"/>
                <a:gd name="T94" fmla="*/ 0 w 645"/>
                <a:gd name="T95" fmla="*/ 0 h 681"/>
                <a:gd name="T96" fmla="*/ 0 w 645"/>
                <a:gd name="T97" fmla="*/ 0 h 681"/>
                <a:gd name="T98" fmla="*/ 0 w 645"/>
                <a:gd name="T99" fmla="*/ 0 h 681"/>
                <a:gd name="T100" fmla="*/ 0 w 645"/>
                <a:gd name="T101" fmla="*/ 0 h 681"/>
                <a:gd name="T102" fmla="*/ 0 w 645"/>
                <a:gd name="T103" fmla="*/ 0 h 681"/>
                <a:gd name="T104" fmla="*/ 0 w 645"/>
                <a:gd name="T105" fmla="*/ 0 h 681"/>
                <a:gd name="T106" fmla="*/ 0 w 645"/>
                <a:gd name="T107" fmla="*/ 0 h 681"/>
                <a:gd name="T108" fmla="*/ 0 w 645"/>
                <a:gd name="T109" fmla="*/ 0 h 681"/>
                <a:gd name="T110" fmla="*/ 0 w 645"/>
                <a:gd name="T111" fmla="*/ 0 h 681"/>
                <a:gd name="T112" fmla="*/ 0 w 645"/>
                <a:gd name="T113" fmla="*/ 0 h 681"/>
                <a:gd name="T114" fmla="*/ 0 w 645"/>
                <a:gd name="T115" fmla="*/ 0 h 681"/>
                <a:gd name="T116" fmla="*/ 0 w 645"/>
                <a:gd name="T117" fmla="*/ 0 h 681"/>
                <a:gd name="T118" fmla="*/ 0 w 645"/>
                <a:gd name="T119" fmla="*/ 0 h 681"/>
                <a:gd name="T120" fmla="*/ 0 w 645"/>
                <a:gd name="T121" fmla="*/ 0 h 6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45"/>
                <a:gd name="T184" fmla="*/ 0 h 681"/>
                <a:gd name="T185" fmla="*/ 645 w 645"/>
                <a:gd name="T186" fmla="*/ 681 h 6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8" name="Freeform 177">
              <a:extLst>
                <a:ext uri="{FF2B5EF4-FFF2-40B4-BE49-F238E27FC236}">
                  <a16:creationId xmlns:a16="http://schemas.microsoft.com/office/drawing/2014/main" id="{F7A2B36C-DEAF-0A7A-F844-ACB6A1E9FD28}"/>
                </a:ext>
              </a:extLst>
            </p:cNvPr>
            <p:cNvSpPr>
              <a:spLocks noChangeAspect="1"/>
            </p:cNvSpPr>
            <p:nvPr userDrawn="1"/>
          </p:nvSpPr>
          <p:spPr bwMode="gray">
            <a:xfrm>
              <a:off x="5937330" y="2536323"/>
              <a:ext cx="17908" cy="32008"/>
            </a:xfrm>
            <a:custGeom>
              <a:avLst/>
              <a:gdLst>
                <a:gd name="T0" fmla="*/ 0 w 38"/>
                <a:gd name="T1" fmla="*/ 0 h 53"/>
                <a:gd name="T2" fmla="*/ 0 w 38"/>
                <a:gd name="T3" fmla="*/ 0 h 53"/>
                <a:gd name="T4" fmla="*/ 0 w 38"/>
                <a:gd name="T5" fmla="*/ 0 h 53"/>
                <a:gd name="T6" fmla="*/ 0 w 38"/>
                <a:gd name="T7" fmla="*/ 0 h 53"/>
                <a:gd name="T8" fmla="*/ 0 w 38"/>
                <a:gd name="T9" fmla="*/ 0 h 53"/>
                <a:gd name="T10" fmla="*/ 0 w 38"/>
                <a:gd name="T11" fmla="*/ 0 h 53"/>
                <a:gd name="T12" fmla="*/ 0 w 38"/>
                <a:gd name="T13" fmla="*/ 0 h 53"/>
                <a:gd name="T14" fmla="*/ 0 w 38"/>
                <a:gd name="T15" fmla="*/ 0 h 53"/>
                <a:gd name="T16" fmla="*/ 0 w 38"/>
                <a:gd name="T17" fmla="*/ 0 h 53"/>
                <a:gd name="T18" fmla="*/ 0 w 38"/>
                <a:gd name="T19" fmla="*/ 0 h 53"/>
                <a:gd name="T20" fmla="*/ 0 w 38"/>
                <a:gd name="T21" fmla="*/ 0 h 53"/>
                <a:gd name="T22" fmla="*/ 0 w 38"/>
                <a:gd name="T23" fmla="*/ 0 h 53"/>
                <a:gd name="T24" fmla="*/ 0 w 38"/>
                <a:gd name="T25" fmla="*/ 0 h 53"/>
                <a:gd name="T26" fmla="*/ 0 w 38"/>
                <a:gd name="T27" fmla="*/ 0 h 53"/>
                <a:gd name="T28" fmla="*/ 0 w 38"/>
                <a:gd name="T29" fmla="*/ 0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53"/>
                <a:gd name="T47" fmla="*/ 38 w 38"/>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69" name="Freeform 178">
              <a:extLst>
                <a:ext uri="{FF2B5EF4-FFF2-40B4-BE49-F238E27FC236}">
                  <a16:creationId xmlns:a16="http://schemas.microsoft.com/office/drawing/2014/main" id="{D42B10FE-514C-4476-CE36-CC1A2DABC656}"/>
                </a:ext>
              </a:extLst>
            </p:cNvPr>
            <p:cNvSpPr>
              <a:spLocks noChangeAspect="1"/>
            </p:cNvSpPr>
            <p:nvPr userDrawn="1"/>
          </p:nvSpPr>
          <p:spPr bwMode="gray">
            <a:xfrm>
              <a:off x="5943300" y="2656735"/>
              <a:ext cx="131326" cy="79259"/>
            </a:xfrm>
            <a:custGeom>
              <a:avLst/>
              <a:gdLst>
                <a:gd name="T0" fmla="*/ 0 w 241"/>
                <a:gd name="T1" fmla="*/ 0 h 142"/>
                <a:gd name="T2" fmla="*/ 0 w 241"/>
                <a:gd name="T3" fmla="*/ 0 h 142"/>
                <a:gd name="T4" fmla="*/ 0 w 241"/>
                <a:gd name="T5" fmla="*/ 0 h 142"/>
                <a:gd name="T6" fmla="*/ 0 w 241"/>
                <a:gd name="T7" fmla="*/ 0 h 142"/>
                <a:gd name="T8" fmla="*/ 0 w 241"/>
                <a:gd name="T9" fmla="*/ 0 h 142"/>
                <a:gd name="T10" fmla="*/ 0 w 241"/>
                <a:gd name="T11" fmla="*/ 0 h 142"/>
                <a:gd name="T12" fmla="*/ 0 w 241"/>
                <a:gd name="T13" fmla="*/ 0 h 142"/>
                <a:gd name="T14" fmla="*/ 0 w 241"/>
                <a:gd name="T15" fmla="*/ 0 h 142"/>
                <a:gd name="T16" fmla="*/ 0 w 241"/>
                <a:gd name="T17" fmla="*/ 0 h 142"/>
                <a:gd name="T18" fmla="*/ 0 w 241"/>
                <a:gd name="T19" fmla="*/ 0 h 142"/>
                <a:gd name="T20" fmla="*/ 0 w 241"/>
                <a:gd name="T21" fmla="*/ 0 h 142"/>
                <a:gd name="T22" fmla="*/ 0 w 241"/>
                <a:gd name="T23" fmla="*/ 0 h 142"/>
                <a:gd name="T24" fmla="*/ 0 w 241"/>
                <a:gd name="T25" fmla="*/ 0 h 142"/>
                <a:gd name="T26" fmla="*/ 0 w 241"/>
                <a:gd name="T27" fmla="*/ 0 h 142"/>
                <a:gd name="T28" fmla="*/ 0 w 241"/>
                <a:gd name="T29" fmla="*/ 0 h 142"/>
                <a:gd name="T30" fmla="*/ 0 w 241"/>
                <a:gd name="T31" fmla="*/ 0 h 142"/>
                <a:gd name="T32" fmla="*/ 0 w 241"/>
                <a:gd name="T33" fmla="*/ 0 h 142"/>
                <a:gd name="T34" fmla="*/ 0 w 241"/>
                <a:gd name="T35" fmla="*/ 0 h 142"/>
                <a:gd name="T36" fmla="*/ 0 w 241"/>
                <a:gd name="T37" fmla="*/ 0 h 142"/>
                <a:gd name="T38" fmla="*/ 0 w 241"/>
                <a:gd name="T39" fmla="*/ 0 h 142"/>
                <a:gd name="T40" fmla="*/ 0 w 241"/>
                <a:gd name="T41" fmla="*/ 0 h 142"/>
                <a:gd name="T42" fmla="*/ 0 w 241"/>
                <a:gd name="T43" fmla="*/ 0 h 142"/>
                <a:gd name="T44" fmla="*/ 0 w 241"/>
                <a:gd name="T45" fmla="*/ 0 h 142"/>
                <a:gd name="T46" fmla="*/ 0 w 241"/>
                <a:gd name="T47" fmla="*/ 0 h 142"/>
                <a:gd name="T48" fmla="*/ 0 w 241"/>
                <a:gd name="T49" fmla="*/ 0 h 142"/>
                <a:gd name="T50" fmla="*/ 0 w 241"/>
                <a:gd name="T51" fmla="*/ 0 h 142"/>
                <a:gd name="T52" fmla="*/ 0 w 241"/>
                <a:gd name="T53" fmla="*/ 0 h 142"/>
                <a:gd name="T54" fmla="*/ 0 w 241"/>
                <a:gd name="T55" fmla="*/ 0 h 142"/>
                <a:gd name="T56" fmla="*/ 0 w 241"/>
                <a:gd name="T57" fmla="*/ 0 h 142"/>
                <a:gd name="T58" fmla="*/ 0 w 241"/>
                <a:gd name="T59" fmla="*/ 0 h 142"/>
                <a:gd name="T60" fmla="*/ 0 w 241"/>
                <a:gd name="T61" fmla="*/ 0 h 142"/>
                <a:gd name="T62" fmla="*/ 0 w 241"/>
                <a:gd name="T63" fmla="*/ 0 h 142"/>
                <a:gd name="T64" fmla="*/ 0 w 241"/>
                <a:gd name="T65" fmla="*/ 0 h 1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1"/>
                <a:gd name="T100" fmla="*/ 0 h 142"/>
                <a:gd name="T101" fmla="*/ 241 w 241"/>
                <a:gd name="T102" fmla="*/ 142 h 1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0" name="Freeform 179">
              <a:extLst>
                <a:ext uri="{FF2B5EF4-FFF2-40B4-BE49-F238E27FC236}">
                  <a16:creationId xmlns:a16="http://schemas.microsoft.com/office/drawing/2014/main" id="{6F30312A-36F1-2A8C-1985-F99485249740}"/>
                </a:ext>
              </a:extLst>
            </p:cNvPr>
            <p:cNvSpPr>
              <a:spLocks noChangeAspect="1"/>
            </p:cNvSpPr>
            <p:nvPr userDrawn="1"/>
          </p:nvSpPr>
          <p:spPr bwMode="gray">
            <a:xfrm>
              <a:off x="5855251" y="2475353"/>
              <a:ext cx="97003" cy="89929"/>
            </a:xfrm>
            <a:custGeom>
              <a:avLst/>
              <a:gdLst>
                <a:gd name="T0" fmla="*/ 0 w 188"/>
                <a:gd name="T1" fmla="*/ 0 h 161"/>
                <a:gd name="T2" fmla="*/ 0 w 188"/>
                <a:gd name="T3" fmla="*/ 0 h 161"/>
                <a:gd name="T4" fmla="*/ 0 w 188"/>
                <a:gd name="T5" fmla="*/ 0 h 161"/>
                <a:gd name="T6" fmla="*/ 0 w 188"/>
                <a:gd name="T7" fmla="*/ 0 h 161"/>
                <a:gd name="T8" fmla="*/ 0 w 188"/>
                <a:gd name="T9" fmla="*/ 0 h 161"/>
                <a:gd name="T10" fmla="*/ 0 w 188"/>
                <a:gd name="T11" fmla="*/ 0 h 161"/>
                <a:gd name="T12" fmla="*/ 0 w 188"/>
                <a:gd name="T13" fmla="*/ 0 h 161"/>
                <a:gd name="T14" fmla="*/ 0 w 188"/>
                <a:gd name="T15" fmla="*/ 0 h 161"/>
                <a:gd name="T16" fmla="*/ 0 w 188"/>
                <a:gd name="T17" fmla="*/ 0 h 161"/>
                <a:gd name="T18" fmla="*/ 0 w 188"/>
                <a:gd name="T19" fmla="*/ 0 h 161"/>
                <a:gd name="T20" fmla="*/ 0 w 188"/>
                <a:gd name="T21" fmla="*/ 0 h 161"/>
                <a:gd name="T22" fmla="*/ 0 w 188"/>
                <a:gd name="T23" fmla="*/ 0 h 161"/>
                <a:gd name="T24" fmla="*/ 0 w 188"/>
                <a:gd name="T25" fmla="*/ 0 h 161"/>
                <a:gd name="T26" fmla="*/ 0 w 188"/>
                <a:gd name="T27" fmla="*/ 0 h 161"/>
                <a:gd name="T28" fmla="*/ 0 w 188"/>
                <a:gd name="T29" fmla="*/ 0 h 161"/>
                <a:gd name="T30" fmla="*/ 0 w 188"/>
                <a:gd name="T31" fmla="*/ 0 h 161"/>
                <a:gd name="T32" fmla="*/ 0 w 188"/>
                <a:gd name="T33" fmla="*/ 0 h 161"/>
                <a:gd name="T34" fmla="*/ 0 w 188"/>
                <a:gd name="T35" fmla="*/ 0 h 161"/>
                <a:gd name="T36" fmla="*/ 0 w 188"/>
                <a:gd name="T37" fmla="*/ 0 h 161"/>
                <a:gd name="T38" fmla="*/ 0 w 188"/>
                <a:gd name="T39" fmla="*/ 0 h 161"/>
                <a:gd name="T40" fmla="*/ 0 w 188"/>
                <a:gd name="T41" fmla="*/ 0 h 161"/>
                <a:gd name="T42" fmla="*/ 0 w 188"/>
                <a:gd name="T43" fmla="*/ 0 h 161"/>
                <a:gd name="T44" fmla="*/ 0 w 188"/>
                <a:gd name="T45" fmla="*/ 0 h 161"/>
                <a:gd name="T46" fmla="*/ 0 w 188"/>
                <a:gd name="T47" fmla="*/ 0 h 161"/>
                <a:gd name="T48" fmla="*/ 0 w 188"/>
                <a:gd name="T49" fmla="*/ 0 h 161"/>
                <a:gd name="T50" fmla="*/ 0 w 188"/>
                <a:gd name="T51" fmla="*/ 0 h 161"/>
                <a:gd name="T52" fmla="*/ 0 w 188"/>
                <a:gd name="T53" fmla="*/ 0 h 161"/>
                <a:gd name="T54" fmla="*/ 0 w 188"/>
                <a:gd name="T55" fmla="*/ 0 h 161"/>
                <a:gd name="T56" fmla="*/ 0 w 188"/>
                <a:gd name="T57" fmla="*/ 0 h 161"/>
                <a:gd name="T58" fmla="*/ 0 w 188"/>
                <a:gd name="T59" fmla="*/ 0 h 161"/>
                <a:gd name="T60" fmla="*/ 0 w 188"/>
                <a:gd name="T61" fmla="*/ 0 h 161"/>
                <a:gd name="T62" fmla="*/ 0 w 188"/>
                <a:gd name="T63" fmla="*/ 0 h 161"/>
                <a:gd name="T64" fmla="*/ 0 w 188"/>
                <a:gd name="T65" fmla="*/ 0 h 161"/>
                <a:gd name="T66" fmla="*/ 0 w 188"/>
                <a:gd name="T67" fmla="*/ 0 h 161"/>
                <a:gd name="T68" fmla="*/ 0 w 188"/>
                <a:gd name="T69" fmla="*/ 0 h 161"/>
                <a:gd name="T70" fmla="*/ 0 w 188"/>
                <a:gd name="T71" fmla="*/ 0 h 161"/>
                <a:gd name="T72" fmla="*/ 0 w 188"/>
                <a:gd name="T73" fmla="*/ 0 h 161"/>
                <a:gd name="T74" fmla="*/ 0 w 188"/>
                <a:gd name="T75" fmla="*/ 0 h 161"/>
                <a:gd name="T76" fmla="*/ 0 w 188"/>
                <a:gd name="T77" fmla="*/ 0 h 161"/>
                <a:gd name="T78" fmla="*/ 0 w 188"/>
                <a:gd name="T79" fmla="*/ 0 h 161"/>
                <a:gd name="T80" fmla="*/ 0 w 188"/>
                <a:gd name="T81" fmla="*/ 0 h 161"/>
                <a:gd name="T82" fmla="*/ 0 w 188"/>
                <a:gd name="T83" fmla="*/ 0 h 161"/>
                <a:gd name="T84" fmla="*/ 0 w 188"/>
                <a:gd name="T85" fmla="*/ 0 h 161"/>
                <a:gd name="T86" fmla="*/ 0 w 188"/>
                <a:gd name="T87" fmla="*/ 0 h 161"/>
                <a:gd name="T88" fmla="*/ 0 w 188"/>
                <a:gd name="T89" fmla="*/ 0 h 161"/>
                <a:gd name="T90" fmla="*/ 0 w 188"/>
                <a:gd name="T91" fmla="*/ 0 h 161"/>
                <a:gd name="T92" fmla="*/ 0 w 188"/>
                <a:gd name="T93" fmla="*/ 0 h 161"/>
                <a:gd name="T94" fmla="*/ 0 w 188"/>
                <a:gd name="T95" fmla="*/ 0 h 161"/>
                <a:gd name="T96" fmla="*/ 0 w 188"/>
                <a:gd name="T97" fmla="*/ 0 h 161"/>
                <a:gd name="T98" fmla="*/ 0 w 188"/>
                <a:gd name="T99" fmla="*/ 0 h 161"/>
                <a:gd name="T100" fmla="*/ 0 w 188"/>
                <a:gd name="T101" fmla="*/ 0 h 161"/>
                <a:gd name="T102" fmla="*/ 0 w 188"/>
                <a:gd name="T103" fmla="*/ 0 h 161"/>
                <a:gd name="T104" fmla="*/ 0 w 188"/>
                <a:gd name="T105" fmla="*/ 0 h 161"/>
                <a:gd name="T106" fmla="*/ 0 w 188"/>
                <a:gd name="T107" fmla="*/ 0 h 161"/>
                <a:gd name="T108" fmla="*/ 0 w 188"/>
                <a:gd name="T109" fmla="*/ 0 h 16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8"/>
                <a:gd name="T166" fmla="*/ 0 h 161"/>
                <a:gd name="T167" fmla="*/ 188 w 188"/>
                <a:gd name="T168" fmla="*/ 161 h 16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1" name="Freeform 180">
              <a:extLst>
                <a:ext uri="{FF2B5EF4-FFF2-40B4-BE49-F238E27FC236}">
                  <a16:creationId xmlns:a16="http://schemas.microsoft.com/office/drawing/2014/main" id="{C9FCE218-D807-5E29-E2D4-6A92454F3157}"/>
                </a:ext>
              </a:extLst>
            </p:cNvPr>
            <p:cNvSpPr>
              <a:spLocks noChangeAspect="1"/>
            </p:cNvSpPr>
            <p:nvPr userDrawn="1"/>
          </p:nvSpPr>
          <p:spPr bwMode="gray">
            <a:xfrm>
              <a:off x="5504551" y="2830496"/>
              <a:ext cx="365623" cy="310940"/>
            </a:xfrm>
            <a:custGeom>
              <a:avLst/>
              <a:gdLst>
                <a:gd name="T0" fmla="*/ 0 w 687"/>
                <a:gd name="T1" fmla="*/ 2147483647 h 545"/>
                <a:gd name="T2" fmla="*/ 0 w 687"/>
                <a:gd name="T3" fmla="*/ 2147483647 h 545"/>
                <a:gd name="T4" fmla="*/ 0 w 687"/>
                <a:gd name="T5" fmla="*/ 2147483647 h 545"/>
                <a:gd name="T6" fmla="*/ 0 w 687"/>
                <a:gd name="T7" fmla="*/ 2147483647 h 545"/>
                <a:gd name="T8" fmla="*/ 0 w 687"/>
                <a:gd name="T9" fmla="*/ 0 h 545"/>
                <a:gd name="T10" fmla="*/ 0 w 687"/>
                <a:gd name="T11" fmla="*/ 0 h 545"/>
                <a:gd name="T12" fmla="*/ 0 w 687"/>
                <a:gd name="T13" fmla="*/ 0 h 545"/>
                <a:gd name="T14" fmla="*/ 0 w 687"/>
                <a:gd name="T15" fmla="*/ 0 h 545"/>
                <a:gd name="T16" fmla="*/ 0 w 687"/>
                <a:gd name="T17" fmla="*/ 0 h 545"/>
                <a:gd name="T18" fmla="*/ 0 w 687"/>
                <a:gd name="T19" fmla="*/ 0 h 545"/>
                <a:gd name="T20" fmla="*/ 0 w 687"/>
                <a:gd name="T21" fmla="*/ 0 h 545"/>
                <a:gd name="T22" fmla="*/ 0 w 687"/>
                <a:gd name="T23" fmla="*/ 0 h 545"/>
                <a:gd name="T24" fmla="*/ 0 w 687"/>
                <a:gd name="T25" fmla="*/ 0 h 545"/>
                <a:gd name="T26" fmla="*/ 0 w 687"/>
                <a:gd name="T27" fmla="*/ 0 h 545"/>
                <a:gd name="T28" fmla="*/ 0 w 687"/>
                <a:gd name="T29" fmla="*/ 0 h 545"/>
                <a:gd name="T30" fmla="*/ 0 w 687"/>
                <a:gd name="T31" fmla="*/ 0 h 545"/>
                <a:gd name="T32" fmla="*/ 0 w 687"/>
                <a:gd name="T33" fmla="*/ 0 h 545"/>
                <a:gd name="T34" fmla="*/ 0 w 687"/>
                <a:gd name="T35" fmla="*/ 0 h 545"/>
                <a:gd name="T36" fmla="*/ 0 w 687"/>
                <a:gd name="T37" fmla="*/ 0 h 545"/>
                <a:gd name="T38" fmla="*/ 0 w 687"/>
                <a:gd name="T39" fmla="*/ 0 h 545"/>
                <a:gd name="T40" fmla="*/ 0 w 687"/>
                <a:gd name="T41" fmla="*/ 0 h 545"/>
                <a:gd name="T42" fmla="*/ 0 w 687"/>
                <a:gd name="T43" fmla="*/ 0 h 545"/>
                <a:gd name="T44" fmla="*/ 0 w 687"/>
                <a:gd name="T45" fmla="*/ 0 h 545"/>
                <a:gd name="T46" fmla="*/ 0 w 687"/>
                <a:gd name="T47" fmla="*/ 0 h 545"/>
                <a:gd name="T48" fmla="*/ 2147483647 w 687"/>
                <a:gd name="T49" fmla="*/ 0 h 545"/>
                <a:gd name="T50" fmla="*/ 2147483647 w 687"/>
                <a:gd name="T51" fmla="*/ 0 h 545"/>
                <a:gd name="T52" fmla="*/ 2147483647 w 687"/>
                <a:gd name="T53" fmla="*/ 0 h 545"/>
                <a:gd name="T54" fmla="*/ 2147483647 w 687"/>
                <a:gd name="T55" fmla="*/ 0 h 545"/>
                <a:gd name="T56" fmla="*/ 2147483647 w 687"/>
                <a:gd name="T57" fmla="*/ 0 h 545"/>
                <a:gd name="T58" fmla="*/ 2147483647 w 687"/>
                <a:gd name="T59" fmla="*/ 0 h 545"/>
                <a:gd name="T60" fmla="*/ 2147483647 w 687"/>
                <a:gd name="T61" fmla="*/ 0 h 545"/>
                <a:gd name="T62" fmla="*/ 2147483647 w 687"/>
                <a:gd name="T63" fmla="*/ 0 h 545"/>
                <a:gd name="T64" fmla="*/ 2147483647 w 687"/>
                <a:gd name="T65" fmla="*/ 0 h 545"/>
                <a:gd name="T66" fmla="*/ 2147483647 w 687"/>
                <a:gd name="T67" fmla="*/ 0 h 545"/>
                <a:gd name="T68" fmla="*/ 2147483647 w 687"/>
                <a:gd name="T69" fmla="*/ 0 h 545"/>
                <a:gd name="T70" fmla="*/ 2147483647 w 687"/>
                <a:gd name="T71" fmla="*/ 0 h 545"/>
                <a:gd name="T72" fmla="*/ 2147483647 w 687"/>
                <a:gd name="T73" fmla="*/ 0 h 545"/>
                <a:gd name="T74" fmla="*/ 2147483647 w 687"/>
                <a:gd name="T75" fmla="*/ 0 h 545"/>
                <a:gd name="T76" fmla="*/ 2147483647 w 687"/>
                <a:gd name="T77" fmla="*/ 0 h 545"/>
                <a:gd name="T78" fmla="*/ 2147483647 w 687"/>
                <a:gd name="T79" fmla="*/ 2147483647 h 545"/>
                <a:gd name="T80" fmla="*/ 2147483647 w 687"/>
                <a:gd name="T81" fmla="*/ 2147483647 h 545"/>
                <a:gd name="T82" fmla="*/ 2147483647 w 687"/>
                <a:gd name="T83" fmla="*/ 2147483647 h 545"/>
                <a:gd name="T84" fmla="*/ 2147483647 w 687"/>
                <a:gd name="T85" fmla="*/ 2147483647 h 545"/>
                <a:gd name="T86" fmla="*/ 2147483647 w 687"/>
                <a:gd name="T87" fmla="*/ 2147483647 h 545"/>
                <a:gd name="T88" fmla="*/ 2147483647 w 687"/>
                <a:gd name="T89" fmla="*/ 2147483647 h 545"/>
                <a:gd name="T90" fmla="*/ 2147483647 w 687"/>
                <a:gd name="T91" fmla="*/ 2147483647 h 545"/>
                <a:gd name="T92" fmla="*/ 2147483647 w 687"/>
                <a:gd name="T93" fmla="*/ 2147483647 h 545"/>
                <a:gd name="T94" fmla="*/ 2147483647 w 687"/>
                <a:gd name="T95" fmla="*/ 2147483647 h 545"/>
                <a:gd name="T96" fmla="*/ 2147483647 w 687"/>
                <a:gd name="T97" fmla="*/ 2147483647 h 545"/>
                <a:gd name="T98" fmla="*/ 0 w 687"/>
                <a:gd name="T99" fmla="*/ 2147483647 h 545"/>
                <a:gd name="T100" fmla="*/ 0 w 687"/>
                <a:gd name="T101" fmla="*/ 2147483647 h 545"/>
                <a:gd name="T102" fmla="*/ 0 w 687"/>
                <a:gd name="T103" fmla="*/ 2147483647 h 545"/>
                <a:gd name="T104" fmla="*/ 0 w 687"/>
                <a:gd name="T105" fmla="*/ 2147483647 h 545"/>
                <a:gd name="T106" fmla="*/ 0 w 687"/>
                <a:gd name="T107" fmla="*/ 2147483647 h 545"/>
                <a:gd name="T108" fmla="*/ 0 w 687"/>
                <a:gd name="T109" fmla="*/ 2147483647 h 545"/>
                <a:gd name="T110" fmla="*/ 0 w 687"/>
                <a:gd name="T111" fmla="*/ 2147483647 h 5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7"/>
                <a:gd name="T169" fmla="*/ 0 h 545"/>
                <a:gd name="T170" fmla="*/ 687 w 687"/>
                <a:gd name="T171" fmla="*/ 545 h 54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2" name="Freeform 181">
              <a:extLst>
                <a:ext uri="{FF2B5EF4-FFF2-40B4-BE49-F238E27FC236}">
                  <a16:creationId xmlns:a16="http://schemas.microsoft.com/office/drawing/2014/main" id="{E1ECA462-1B9C-0FC8-7889-B03A0C6FED76}"/>
                </a:ext>
              </a:extLst>
            </p:cNvPr>
            <p:cNvSpPr>
              <a:spLocks noChangeAspect="1"/>
            </p:cNvSpPr>
            <p:nvPr userDrawn="1"/>
          </p:nvSpPr>
          <p:spPr bwMode="gray">
            <a:xfrm>
              <a:off x="5871667" y="2371707"/>
              <a:ext cx="107449" cy="138704"/>
            </a:xfrm>
            <a:custGeom>
              <a:avLst/>
              <a:gdLst>
                <a:gd name="T0" fmla="*/ 0 w 196"/>
                <a:gd name="T1" fmla="*/ 0 h 239"/>
                <a:gd name="T2" fmla="*/ 0 w 196"/>
                <a:gd name="T3" fmla="*/ 0 h 239"/>
                <a:gd name="T4" fmla="*/ 0 w 196"/>
                <a:gd name="T5" fmla="*/ 0 h 239"/>
                <a:gd name="T6" fmla="*/ 0 w 196"/>
                <a:gd name="T7" fmla="*/ 0 h 239"/>
                <a:gd name="T8" fmla="*/ 0 w 196"/>
                <a:gd name="T9" fmla="*/ 0 h 239"/>
                <a:gd name="T10" fmla="*/ 0 w 196"/>
                <a:gd name="T11" fmla="*/ 0 h 239"/>
                <a:gd name="T12" fmla="*/ 0 w 196"/>
                <a:gd name="T13" fmla="*/ 0 h 239"/>
                <a:gd name="T14" fmla="*/ 0 w 196"/>
                <a:gd name="T15" fmla="*/ 0 h 239"/>
                <a:gd name="T16" fmla="*/ 0 w 196"/>
                <a:gd name="T17" fmla="*/ 0 h 239"/>
                <a:gd name="T18" fmla="*/ 0 w 196"/>
                <a:gd name="T19" fmla="*/ 0 h 239"/>
                <a:gd name="T20" fmla="*/ 0 w 196"/>
                <a:gd name="T21" fmla="*/ 0 h 239"/>
                <a:gd name="T22" fmla="*/ 0 w 196"/>
                <a:gd name="T23" fmla="*/ 0 h 239"/>
                <a:gd name="T24" fmla="*/ 0 w 196"/>
                <a:gd name="T25" fmla="*/ 0 h 239"/>
                <a:gd name="T26" fmla="*/ 0 w 196"/>
                <a:gd name="T27" fmla="*/ 0 h 239"/>
                <a:gd name="T28" fmla="*/ 0 w 196"/>
                <a:gd name="T29" fmla="*/ 0 h 239"/>
                <a:gd name="T30" fmla="*/ 0 w 196"/>
                <a:gd name="T31" fmla="*/ 0 h 239"/>
                <a:gd name="T32" fmla="*/ 0 w 196"/>
                <a:gd name="T33" fmla="*/ 0 h 239"/>
                <a:gd name="T34" fmla="*/ 0 w 196"/>
                <a:gd name="T35" fmla="*/ 0 h 239"/>
                <a:gd name="T36" fmla="*/ 0 w 196"/>
                <a:gd name="T37" fmla="*/ 0 h 239"/>
                <a:gd name="T38" fmla="*/ 0 w 196"/>
                <a:gd name="T39" fmla="*/ 0 h 239"/>
                <a:gd name="T40" fmla="*/ 0 w 196"/>
                <a:gd name="T41" fmla="*/ 0 h 239"/>
                <a:gd name="T42" fmla="*/ 0 w 196"/>
                <a:gd name="T43" fmla="*/ 0 h 239"/>
                <a:gd name="T44" fmla="*/ 0 w 196"/>
                <a:gd name="T45" fmla="*/ 0 h 239"/>
                <a:gd name="T46" fmla="*/ 0 w 196"/>
                <a:gd name="T47" fmla="*/ 0 h 239"/>
                <a:gd name="T48" fmla="*/ 0 w 196"/>
                <a:gd name="T49" fmla="*/ 0 h 239"/>
                <a:gd name="T50" fmla="*/ 0 w 196"/>
                <a:gd name="T51" fmla="*/ 0 h 239"/>
                <a:gd name="T52" fmla="*/ 0 w 196"/>
                <a:gd name="T53" fmla="*/ 0 h 239"/>
                <a:gd name="T54" fmla="*/ 0 w 196"/>
                <a:gd name="T55" fmla="*/ 0 h 239"/>
                <a:gd name="T56" fmla="*/ 0 w 196"/>
                <a:gd name="T57" fmla="*/ 0 h 239"/>
                <a:gd name="T58" fmla="*/ 0 w 196"/>
                <a:gd name="T59" fmla="*/ 0 h 239"/>
                <a:gd name="T60" fmla="*/ 0 w 196"/>
                <a:gd name="T61" fmla="*/ 0 h 239"/>
                <a:gd name="T62" fmla="*/ 0 w 196"/>
                <a:gd name="T63" fmla="*/ 0 h 239"/>
                <a:gd name="T64" fmla="*/ 0 w 196"/>
                <a:gd name="T65" fmla="*/ 0 h 239"/>
                <a:gd name="T66" fmla="*/ 0 w 196"/>
                <a:gd name="T67" fmla="*/ 0 h 239"/>
                <a:gd name="T68" fmla="*/ 0 w 196"/>
                <a:gd name="T69" fmla="*/ 0 h 239"/>
                <a:gd name="T70" fmla="*/ 0 w 196"/>
                <a:gd name="T71" fmla="*/ 0 h 239"/>
                <a:gd name="T72" fmla="*/ 0 w 196"/>
                <a:gd name="T73" fmla="*/ 0 h 239"/>
                <a:gd name="T74" fmla="*/ 0 w 196"/>
                <a:gd name="T75" fmla="*/ 0 h 239"/>
                <a:gd name="T76" fmla="*/ 0 w 196"/>
                <a:gd name="T77" fmla="*/ 0 h 239"/>
                <a:gd name="T78" fmla="*/ 0 w 196"/>
                <a:gd name="T79" fmla="*/ 0 h 239"/>
                <a:gd name="T80" fmla="*/ 0 w 196"/>
                <a:gd name="T81" fmla="*/ 0 h 239"/>
                <a:gd name="T82" fmla="*/ 0 w 196"/>
                <a:gd name="T83" fmla="*/ 0 h 239"/>
                <a:gd name="T84" fmla="*/ 0 w 196"/>
                <a:gd name="T85" fmla="*/ 0 h 239"/>
                <a:gd name="T86" fmla="*/ 0 w 196"/>
                <a:gd name="T87" fmla="*/ 0 h 239"/>
                <a:gd name="T88" fmla="*/ 0 w 196"/>
                <a:gd name="T89" fmla="*/ 0 h 239"/>
                <a:gd name="T90" fmla="*/ 0 w 196"/>
                <a:gd name="T91" fmla="*/ 0 h 239"/>
                <a:gd name="T92" fmla="*/ 0 w 196"/>
                <a:gd name="T93" fmla="*/ 0 h 239"/>
                <a:gd name="T94" fmla="*/ 0 w 196"/>
                <a:gd name="T95" fmla="*/ 0 h 239"/>
                <a:gd name="T96" fmla="*/ 0 w 196"/>
                <a:gd name="T97" fmla="*/ 0 h 23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6"/>
                <a:gd name="T148" fmla="*/ 0 h 239"/>
                <a:gd name="T149" fmla="*/ 196 w 196"/>
                <a:gd name="T150" fmla="*/ 239 h 23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3" name="Freeform 182">
              <a:extLst>
                <a:ext uri="{FF2B5EF4-FFF2-40B4-BE49-F238E27FC236}">
                  <a16:creationId xmlns:a16="http://schemas.microsoft.com/office/drawing/2014/main" id="{666F2035-90BF-0D92-2D38-0DDFD5F0A24C}"/>
                </a:ext>
              </a:extLst>
            </p:cNvPr>
            <p:cNvSpPr>
              <a:spLocks noChangeAspect="1"/>
            </p:cNvSpPr>
            <p:nvPr userDrawn="1"/>
          </p:nvSpPr>
          <p:spPr bwMode="gray">
            <a:xfrm>
              <a:off x="5500074" y="2900610"/>
              <a:ext cx="92525" cy="202722"/>
            </a:xfrm>
            <a:custGeom>
              <a:avLst/>
              <a:gdLst>
                <a:gd name="T0" fmla="*/ 0 w 177"/>
                <a:gd name="T1" fmla="*/ 2147483647 h 356"/>
                <a:gd name="T2" fmla="*/ 0 w 177"/>
                <a:gd name="T3" fmla="*/ 0 h 356"/>
                <a:gd name="T4" fmla="*/ 0 w 177"/>
                <a:gd name="T5" fmla="*/ 0 h 356"/>
                <a:gd name="T6" fmla="*/ 0 w 177"/>
                <a:gd name="T7" fmla="*/ 0 h 356"/>
                <a:gd name="T8" fmla="*/ 0 w 177"/>
                <a:gd name="T9" fmla="*/ 0 h 356"/>
                <a:gd name="T10" fmla="*/ 0 w 177"/>
                <a:gd name="T11" fmla="*/ 0 h 356"/>
                <a:gd name="T12" fmla="*/ 0 w 177"/>
                <a:gd name="T13" fmla="*/ 0 h 356"/>
                <a:gd name="T14" fmla="*/ 0 w 177"/>
                <a:gd name="T15" fmla="*/ 0 h 356"/>
                <a:gd name="T16" fmla="*/ 0 w 177"/>
                <a:gd name="T17" fmla="*/ 0 h 356"/>
                <a:gd name="T18" fmla="*/ 0 w 177"/>
                <a:gd name="T19" fmla="*/ 0 h 356"/>
                <a:gd name="T20" fmla="*/ 0 w 177"/>
                <a:gd name="T21" fmla="*/ 0 h 356"/>
                <a:gd name="T22" fmla="*/ 0 w 177"/>
                <a:gd name="T23" fmla="*/ 0 h 356"/>
                <a:gd name="T24" fmla="*/ 0 w 177"/>
                <a:gd name="T25" fmla="*/ 0 h 356"/>
                <a:gd name="T26" fmla="*/ 0 w 177"/>
                <a:gd name="T27" fmla="*/ 0 h 356"/>
                <a:gd name="T28" fmla="*/ 0 w 177"/>
                <a:gd name="T29" fmla="*/ 0 h 356"/>
                <a:gd name="T30" fmla="*/ 0 w 177"/>
                <a:gd name="T31" fmla="*/ 0 h 356"/>
                <a:gd name="T32" fmla="*/ 0 w 177"/>
                <a:gd name="T33" fmla="*/ 0 h 356"/>
                <a:gd name="T34" fmla="*/ 0 w 177"/>
                <a:gd name="T35" fmla="*/ 0 h 356"/>
                <a:gd name="T36" fmla="*/ 0 w 177"/>
                <a:gd name="T37" fmla="*/ 0 h 356"/>
                <a:gd name="T38" fmla="*/ 0 w 177"/>
                <a:gd name="T39" fmla="*/ 0 h 356"/>
                <a:gd name="T40" fmla="*/ 0 w 177"/>
                <a:gd name="T41" fmla="*/ 0 h 356"/>
                <a:gd name="T42" fmla="*/ 0 w 177"/>
                <a:gd name="T43" fmla="*/ 0 h 356"/>
                <a:gd name="T44" fmla="*/ 0 w 177"/>
                <a:gd name="T45" fmla="*/ 0 h 356"/>
                <a:gd name="T46" fmla="*/ 0 w 177"/>
                <a:gd name="T47" fmla="*/ 0 h 356"/>
                <a:gd name="T48" fmla="*/ 0 w 177"/>
                <a:gd name="T49" fmla="*/ 0 h 356"/>
                <a:gd name="T50" fmla="*/ 0 w 177"/>
                <a:gd name="T51" fmla="*/ 0 h 356"/>
                <a:gd name="T52" fmla="*/ 0 w 177"/>
                <a:gd name="T53" fmla="*/ 0 h 356"/>
                <a:gd name="T54" fmla="*/ 0 w 177"/>
                <a:gd name="T55" fmla="*/ 0 h 356"/>
                <a:gd name="T56" fmla="*/ 0 w 177"/>
                <a:gd name="T57" fmla="*/ 0 h 356"/>
                <a:gd name="T58" fmla="*/ 0 w 177"/>
                <a:gd name="T59" fmla="*/ 0 h 356"/>
                <a:gd name="T60" fmla="*/ 0 w 177"/>
                <a:gd name="T61" fmla="*/ 0 h 356"/>
                <a:gd name="T62" fmla="*/ 0 w 177"/>
                <a:gd name="T63" fmla="*/ 2147483647 h 356"/>
                <a:gd name="T64" fmla="*/ 0 w 177"/>
                <a:gd name="T65" fmla="*/ 2147483647 h 356"/>
                <a:gd name="T66" fmla="*/ 0 w 177"/>
                <a:gd name="T67" fmla="*/ 2147483647 h 356"/>
                <a:gd name="T68" fmla="*/ 0 w 177"/>
                <a:gd name="T69" fmla="*/ 2147483647 h 356"/>
                <a:gd name="T70" fmla="*/ 0 w 177"/>
                <a:gd name="T71" fmla="*/ 2147483647 h 356"/>
                <a:gd name="T72" fmla="*/ 0 w 177"/>
                <a:gd name="T73" fmla="*/ 2147483647 h 356"/>
                <a:gd name="T74" fmla="*/ 0 w 177"/>
                <a:gd name="T75" fmla="*/ 2147483647 h 3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7"/>
                <a:gd name="T115" fmla="*/ 0 h 356"/>
                <a:gd name="T116" fmla="*/ 177 w 177"/>
                <a:gd name="T117" fmla="*/ 356 h 3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4" name="Freeform 183">
              <a:extLst>
                <a:ext uri="{FF2B5EF4-FFF2-40B4-BE49-F238E27FC236}">
                  <a16:creationId xmlns:a16="http://schemas.microsoft.com/office/drawing/2014/main" id="{779A867D-3D0A-BAF8-26D7-39DC68C8AD16}"/>
                </a:ext>
              </a:extLst>
            </p:cNvPr>
            <p:cNvSpPr>
              <a:spLocks noChangeAspect="1"/>
            </p:cNvSpPr>
            <p:nvPr userDrawn="1"/>
          </p:nvSpPr>
          <p:spPr bwMode="gray">
            <a:xfrm>
              <a:off x="5943300" y="2295496"/>
              <a:ext cx="262652" cy="373432"/>
            </a:xfrm>
            <a:custGeom>
              <a:avLst/>
              <a:gdLst>
                <a:gd name="T0" fmla="*/ 0 w 490"/>
                <a:gd name="T1" fmla="*/ 0 h 659"/>
                <a:gd name="T2" fmla="*/ 0 w 490"/>
                <a:gd name="T3" fmla="*/ 0 h 659"/>
                <a:gd name="T4" fmla="*/ 0 w 490"/>
                <a:gd name="T5" fmla="*/ 0 h 659"/>
                <a:gd name="T6" fmla="*/ 0 w 490"/>
                <a:gd name="T7" fmla="*/ 0 h 659"/>
                <a:gd name="T8" fmla="*/ 0 w 490"/>
                <a:gd name="T9" fmla="*/ 0 h 659"/>
                <a:gd name="T10" fmla="*/ 0 w 490"/>
                <a:gd name="T11" fmla="*/ 0 h 659"/>
                <a:gd name="T12" fmla="*/ 0 w 490"/>
                <a:gd name="T13" fmla="*/ 0 h 659"/>
                <a:gd name="T14" fmla="*/ 0 w 490"/>
                <a:gd name="T15" fmla="*/ 0 h 659"/>
                <a:gd name="T16" fmla="*/ 0 w 490"/>
                <a:gd name="T17" fmla="*/ 0 h 659"/>
                <a:gd name="T18" fmla="*/ 0 w 490"/>
                <a:gd name="T19" fmla="*/ 0 h 659"/>
                <a:gd name="T20" fmla="*/ 0 w 490"/>
                <a:gd name="T21" fmla="*/ 0 h 659"/>
                <a:gd name="T22" fmla="*/ 0 w 490"/>
                <a:gd name="T23" fmla="*/ 0 h 659"/>
                <a:gd name="T24" fmla="*/ 0 w 490"/>
                <a:gd name="T25" fmla="*/ 0 h 659"/>
                <a:gd name="T26" fmla="*/ 0 w 490"/>
                <a:gd name="T27" fmla="*/ 0 h 659"/>
                <a:gd name="T28" fmla="*/ 0 w 490"/>
                <a:gd name="T29" fmla="*/ 0 h 659"/>
                <a:gd name="T30" fmla="*/ 0 w 490"/>
                <a:gd name="T31" fmla="*/ 0 h 659"/>
                <a:gd name="T32" fmla="*/ 0 w 490"/>
                <a:gd name="T33" fmla="*/ 0 h 659"/>
                <a:gd name="T34" fmla="*/ 0 w 490"/>
                <a:gd name="T35" fmla="*/ 0 h 659"/>
                <a:gd name="T36" fmla="*/ 0 w 490"/>
                <a:gd name="T37" fmla="*/ 0 h 659"/>
                <a:gd name="T38" fmla="*/ 0 w 490"/>
                <a:gd name="T39" fmla="*/ 0 h 659"/>
                <a:gd name="T40" fmla="*/ 0 w 490"/>
                <a:gd name="T41" fmla="*/ 2147483647 h 659"/>
                <a:gd name="T42" fmla="*/ 0 w 490"/>
                <a:gd name="T43" fmla="*/ 2147483647 h 659"/>
                <a:gd name="T44" fmla="*/ 0 w 490"/>
                <a:gd name="T45" fmla="*/ 2147483647 h 659"/>
                <a:gd name="T46" fmla="*/ 0 w 490"/>
                <a:gd name="T47" fmla="*/ 2147483647 h 659"/>
                <a:gd name="T48" fmla="*/ 0 w 490"/>
                <a:gd name="T49" fmla="*/ 2147483647 h 659"/>
                <a:gd name="T50" fmla="*/ 0 w 490"/>
                <a:gd name="T51" fmla="*/ 2147483647 h 659"/>
                <a:gd name="T52" fmla="*/ 0 w 490"/>
                <a:gd name="T53" fmla="*/ 2147483647 h 659"/>
                <a:gd name="T54" fmla="*/ 0 w 490"/>
                <a:gd name="T55" fmla="*/ 2147483647 h 659"/>
                <a:gd name="T56" fmla="*/ 0 w 490"/>
                <a:gd name="T57" fmla="*/ 2147483647 h 659"/>
                <a:gd name="T58" fmla="*/ 0 w 490"/>
                <a:gd name="T59" fmla="*/ 2147483647 h 659"/>
                <a:gd name="T60" fmla="*/ 0 w 490"/>
                <a:gd name="T61" fmla="*/ 2147483647 h 659"/>
                <a:gd name="T62" fmla="*/ 0 w 490"/>
                <a:gd name="T63" fmla="*/ 2147483647 h 659"/>
                <a:gd name="T64" fmla="*/ 2147483647 w 490"/>
                <a:gd name="T65" fmla="*/ 2147483647 h 659"/>
                <a:gd name="T66" fmla="*/ 2147483647 w 490"/>
                <a:gd name="T67" fmla="*/ 2147483647 h 659"/>
                <a:gd name="T68" fmla="*/ 2147483647 w 490"/>
                <a:gd name="T69" fmla="*/ 2147483647 h 659"/>
                <a:gd name="T70" fmla="*/ 2147483647 w 490"/>
                <a:gd name="T71" fmla="*/ 2147483647 h 659"/>
                <a:gd name="T72" fmla="*/ 2147483647 w 490"/>
                <a:gd name="T73" fmla="*/ 2147483647 h 659"/>
                <a:gd name="T74" fmla="*/ 2147483647 w 490"/>
                <a:gd name="T75" fmla="*/ 2147483647 h 659"/>
                <a:gd name="T76" fmla="*/ 2147483647 w 490"/>
                <a:gd name="T77" fmla="*/ 2147483647 h 659"/>
                <a:gd name="T78" fmla="*/ 2147483647 w 490"/>
                <a:gd name="T79" fmla="*/ 2147483647 h 659"/>
                <a:gd name="T80" fmla="*/ 2147483647 w 490"/>
                <a:gd name="T81" fmla="*/ 2147483647 h 659"/>
                <a:gd name="T82" fmla="*/ 2147483647 w 490"/>
                <a:gd name="T83" fmla="*/ 2147483647 h 659"/>
                <a:gd name="T84" fmla="*/ 2147483647 w 490"/>
                <a:gd name="T85" fmla="*/ 2147483647 h 659"/>
                <a:gd name="T86" fmla="*/ 2147483647 w 490"/>
                <a:gd name="T87" fmla="*/ 0 h 659"/>
                <a:gd name="T88" fmla="*/ 2147483647 w 490"/>
                <a:gd name="T89" fmla="*/ 0 h 659"/>
                <a:gd name="T90" fmla="*/ 2147483647 w 490"/>
                <a:gd name="T91" fmla="*/ 0 h 659"/>
                <a:gd name="T92" fmla="*/ 2147483647 w 490"/>
                <a:gd name="T93" fmla="*/ 0 h 659"/>
                <a:gd name="T94" fmla="*/ 2147483647 w 490"/>
                <a:gd name="T95" fmla="*/ 0 h 659"/>
                <a:gd name="T96" fmla="*/ 2147483647 w 490"/>
                <a:gd name="T97" fmla="*/ 0 h 659"/>
                <a:gd name="T98" fmla="*/ 2147483647 w 490"/>
                <a:gd name="T99" fmla="*/ 0 h 659"/>
                <a:gd name="T100" fmla="*/ 2147483647 w 490"/>
                <a:gd name="T101" fmla="*/ 0 h 659"/>
                <a:gd name="T102" fmla="*/ 2147483647 w 490"/>
                <a:gd name="T103" fmla="*/ 0 h 659"/>
                <a:gd name="T104" fmla="*/ 0 w 490"/>
                <a:gd name="T105" fmla="*/ 0 h 659"/>
                <a:gd name="T106" fmla="*/ 0 w 490"/>
                <a:gd name="T107" fmla="*/ 0 h 65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0"/>
                <a:gd name="T163" fmla="*/ 0 h 659"/>
                <a:gd name="T164" fmla="*/ 490 w 490"/>
                <a:gd name="T165" fmla="*/ 659 h 65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5" name="Freeform 185">
              <a:extLst>
                <a:ext uri="{FF2B5EF4-FFF2-40B4-BE49-F238E27FC236}">
                  <a16:creationId xmlns:a16="http://schemas.microsoft.com/office/drawing/2014/main" id="{A653204C-0380-4FCA-85E0-22E71F5C2596}"/>
                </a:ext>
              </a:extLst>
            </p:cNvPr>
            <p:cNvSpPr>
              <a:spLocks noChangeAspect="1"/>
            </p:cNvSpPr>
            <p:nvPr userDrawn="1"/>
          </p:nvSpPr>
          <p:spPr bwMode="gray">
            <a:xfrm>
              <a:off x="6022779" y="2861601"/>
              <a:ext cx="29350" cy="68156"/>
            </a:xfrm>
            <a:custGeom>
              <a:avLst/>
              <a:gdLst>
                <a:gd name="T0" fmla="*/ 0 w 52"/>
                <a:gd name="T1" fmla="*/ 0 h 121"/>
                <a:gd name="T2" fmla="*/ 0 w 52"/>
                <a:gd name="T3" fmla="*/ 0 h 121"/>
                <a:gd name="T4" fmla="*/ 0 w 52"/>
                <a:gd name="T5" fmla="*/ 0 h 121"/>
                <a:gd name="T6" fmla="*/ 0 w 52"/>
                <a:gd name="T7" fmla="*/ 0 h 121"/>
                <a:gd name="T8" fmla="*/ 0 w 52"/>
                <a:gd name="T9" fmla="*/ 0 h 121"/>
                <a:gd name="T10" fmla="*/ 0 w 52"/>
                <a:gd name="T11" fmla="*/ 0 h 121"/>
                <a:gd name="T12" fmla="*/ 0 w 52"/>
                <a:gd name="T13" fmla="*/ 0 h 121"/>
                <a:gd name="T14" fmla="*/ 0 w 52"/>
                <a:gd name="T15" fmla="*/ 0 h 121"/>
                <a:gd name="T16" fmla="*/ 0 w 52"/>
                <a:gd name="T17" fmla="*/ 0 h 121"/>
                <a:gd name="T18" fmla="*/ 0 w 52"/>
                <a:gd name="T19" fmla="*/ 0 h 121"/>
                <a:gd name="T20" fmla="*/ 0 w 52"/>
                <a:gd name="T21" fmla="*/ 0 h 121"/>
                <a:gd name="T22" fmla="*/ 0 w 52"/>
                <a:gd name="T23" fmla="*/ 0 h 121"/>
                <a:gd name="T24" fmla="*/ 0 w 52"/>
                <a:gd name="T25" fmla="*/ 0 h 121"/>
                <a:gd name="T26" fmla="*/ 0 w 52"/>
                <a:gd name="T27" fmla="*/ 0 h 121"/>
                <a:gd name="T28" fmla="*/ 0 w 52"/>
                <a:gd name="T29" fmla="*/ 0 h 121"/>
                <a:gd name="T30" fmla="*/ 0 w 52"/>
                <a:gd name="T31" fmla="*/ 0 h 121"/>
                <a:gd name="T32" fmla="*/ 0 w 52"/>
                <a:gd name="T33" fmla="*/ 0 h 121"/>
                <a:gd name="T34" fmla="*/ 0 w 52"/>
                <a:gd name="T35" fmla="*/ 0 h 121"/>
                <a:gd name="T36" fmla="*/ 0 w 52"/>
                <a:gd name="T37" fmla="*/ 0 h 121"/>
                <a:gd name="T38" fmla="*/ 0 w 52"/>
                <a:gd name="T39" fmla="*/ 0 h 121"/>
                <a:gd name="T40" fmla="*/ 0 w 52"/>
                <a:gd name="T41" fmla="*/ 0 h 121"/>
                <a:gd name="T42" fmla="*/ 0 w 52"/>
                <a:gd name="T43" fmla="*/ 0 h 121"/>
                <a:gd name="T44" fmla="*/ 0 w 52"/>
                <a:gd name="T45" fmla="*/ 0 h 121"/>
                <a:gd name="T46" fmla="*/ 0 w 52"/>
                <a:gd name="T47" fmla="*/ 0 h 121"/>
                <a:gd name="T48" fmla="*/ 0 w 52"/>
                <a:gd name="T49" fmla="*/ 0 h 121"/>
                <a:gd name="T50" fmla="*/ 0 w 52"/>
                <a:gd name="T51" fmla="*/ 0 h 121"/>
                <a:gd name="T52" fmla="*/ 0 w 52"/>
                <a:gd name="T53" fmla="*/ 0 h 12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2"/>
                <a:gd name="T82" fmla="*/ 0 h 121"/>
                <a:gd name="T83" fmla="*/ 52 w 52"/>
                <a:gd name="T84" fmla="*/ 121 h 12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6" name="Freeform 186">
              <a:extLst>
                <a:ext uri="{FF2B5EF4-FFF2-40B4-BE49-F238E27FC236}">
                  <a16:creationId xmlns:a16="http://schemas.microsoft.com/office/drawing/2014/main" id="{E893C561-4EE2-0E92-C237-A03DEBA20077}"/>
                </a:ext>
              </a:extLst>
            </p:cNvPr>
            <p:cNvSpPr>
              <a:spLocks noChangeAspect="1"/>
            </p:cNvSpPr>
            <p:nvPr userDrawn="1"/>
          </p:nvSpPr>
          <p:spPr bwMode="gray">
            <a:xfrm>
              <a:off x="5635891" y="2492422"/>
              <a:ext cx="370879" cy="397577"/>
            </a:xfrm>
            <a:custGeom>
              <a:avLst/>
              <a:gdLst>
                <a:gd name="T0" fmla="*/ 0 w 694"/>
                <a:gd name="T1" fmla="*/ 0 h 700"/>
                <a:gd name="T2" fmla="*/ 0 w 694"/>
                <a:gd name="T3" fmla="*/ 0 h 700"/>
                <a:gd name="T4" fmla="*/ 0 w 694"/>
                <a:gd name="T5" fmla="*/ 0 h 700"/>
                <a:gd name="T6" fmla="*/ 0 w 694"/>
                <a:gd name="T7" fmla="*/ 0 h 700"/>
                <a:gd name="T8" fmla="*/ 0 w 694"/>
                <a:gd name="T9" fmla="*/ 0 h 700"/>
                <a:gd name="T10" fmla="*/ 0 w 694"/>
                <a:gd name="T11" fmla="*/ 0 h 700"/>
                <a:gd name="T12" fmla="*/ 0 w 694"/>
                <a:gd name="T13" fmla="*/ 0 h 700"/>
                <a:gd name="T14" fmla="*/ 0 w 694"/>
                <a:gd name="T15" fmla="*/ 0 h 700"/>
                <a:gd name="T16" fmla="*/ 0 w 694"/>
                <a:gd name="T17" fmla="*/ 0 h 700"/>
                <a:gd name="T18" fmla="*/ 0 w 694"/>
                <a:gd name="T19" fmla="*/ 0 h 700"/>
                <a:gd name="T20" fmla="*/ 0 w 694"/>
                <a:gd name="T21" fmla="*/ 0 h 700"/>
                <a:gd name="T22" fmla="*/ 0 w 694"/>
                <a:gd name="T23" fmla="*/ 0 h 700"/>
                <a:gd name="T24" fmla="*/ 0 w 694"/>
                <a:gd name="T25" fmla="*/ 0 h 700"/>
                <a:gd name="T26" fmla="*/ 0 w 694"/>
                <a:gd name="T27" fmla="*/ 0 h 700"/>
                <a:gd name="T28" fmla="*/ 0 w 694"/>
                <a:gd name="T29" fmla="*/ 0 h 700"/>
                <a:gd name="T30" fmla="*/ 0 w 694"/>
                <a:gd name="T31" fmla="*/ 0 h 700"/>
                <a:gd name="T32" fmla="*/ 0 w 694"/>
                <a:gd name="T33" fmla="*/ 0 h 700"/>
                <a:gd name="T34" fmla="*/ 0 w 694"/>
                <a:gd name="T35" fmla="*/ 0 h 700"/>
                <a:gd name="T36" fmla="*/ 0 w 694"/>
                <a:gd name="T37" fmla="*/ 0 h 700"/>
                <a:gd name="T38" fmla="*/ 0 w 694"/>
                <a:gd name="T39" fmla="*/ 0 h 700"/>
                <a:gd name="T40" fmla="*/ 0 w 694"/>
                <a:gd name="T41" fmla="*/ 0 h 700"/>
                <a:gd name="T42" fmla="*/ 0 w 694"/>
                <a:gd name="T43" fmla="*/ 0 h 700"/>
                <a:gd name="T44" fmla="*/ 0 w 694"/>
                <a:gd name="T45" fmla="*/ 0 h 700"/>
                <a:gd name="T46" fmla="*/ 0 w 694"/>
                <a:gd name="T47" fmla="*/ 0 h 700"/>
                <a:gd name="T48" fmla="*/ 0 w 694"/>
                <a:gd name="T49" fmla="*/ 0 h 700"/>
                <a:gd name="T50" fmla="*/ 0 w 694"/>
                <a:gd name="T51" fmla="*/ 0 h 700"/>
                <a:gd name="T52" fmla="*/ 0 w 694"/>
                <a:gd name="T53" fmla="*/ 0 h 700"/>
                <a:gd name="T54" fmla="*/ 0 w 694"/>
                <a:gd name="T55" fmla="*/ 0 h 700"/>
                <a:gd name="T56" fmla="*/ 0 w 694"/>
                <a:gd name="T57" fmla="*/ 0 h 700"/>
                <a:gd name="T58" fmla="*/ 0 w 694"/>
                <a:gd name="T59" fmla="*/ 0 h 700"/>
                <a:gd name="T60" fmla="*/ 0 w 694"/>
                <a:gd name="T61" fmla="*/ 0 h 700"/>
                <a:gd name="T62" fmla="*/ 0 w 694"/>
                <a:gd name="T63" fmla="*/ 0 h 700"/>
                <a:gd name="T64" fmla="*/ 0 w 694"/>
                <a:gd name="T65" fmla="*/ 0 h 700"/>
                <a:gd name="T66" fmla="*/ 0 w 694"/>
                <a:gd name="T67" fmla="*/ 0 h 700"/>
                <a:gd name="T68" fmla="*/ 0 w 694"/>
                <a:gd name="T69" fmla="*/ 0 h 700"/>
                <a:gd name="T70" fmla="*/ 0 w 694"/>
                <a:gd name="T71" fmla="*/ 0 h 700"/>
                <a:gd name="T72" fmla="*/ 0 w 694"/>
                <a:gd name="T73" fmla="*/ 0 h 700"/>
                <a:gd name="T74" fmla="*/ 0 w 694"/>
                <a:gd name="T75" fmla="*/ 0 h 700"/>
                <a:gd name="T76" fmla="*/ 0 w 694"/>
                <a:gd name="T77" fmla="*/ 0 h 700"/>
                <a:gd name="T78" fmla="*/ 0 w 694"/>
                <a:gd name="T79" fmla="*/ 0 h 700"/>
                <a:gd name="T80" fmla="*/ 0 w 694"/>
                <a:gd name="T81" fmla="*/ 0 h 700"/>
                <a:gd name="T82" fmla="*/ 0 w 694"/>
                <a:gd name="T83" fmla="*/ 0 h 700"/>
                <a:gd name="T84" fmla="*/ 0 w 694"/>
                <a:gd name="T85" fmla="*/ 0 h 700"/>
                <a:gd name="T86" fmla="*/ 0 w 694"/>
                <a:gd name="T87" fmla="*/ 0 h 700"/>
                <a:gd name="T88" fmla="*/ 0 w 694"/>
                <a:gd name="T89" fmla="*/ 0 h 700"/>
                <a:gd name="T90" fmla="*/ 0 w 694"/>
                <a:gd name="T91" fmla="*/ 0 h 700"/>
                <a:gd name="T92" fmla="*/ 0 w 694"/>
                <a:gd name="T93" fmla="*/ 0 h 700"/>
                <a:gd name="T94" fmla="*/ 0 w 694"/>
                <a:gd name="T95" fmla="*/ 0 h 700"/>
                <a:gd name="T96" fmla="*/ 0 w 694"/>
                <a:gd name="T97" fmla="*/ 0 h 700"/>
                <a:gd name="T98" fmla="*/ 0 w 694"/>
                <a:gd name="T99" fmla="*/ 0 h 700"/>
                <a:gd name="T100" fmla="*/ 0 w 694"/>
                <a:gd name="T101" fmla="*/ 0 h 7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4"/>
                <a:gd name="T154" fmla="*/ 0 h 700"/>
                <a:gd name="T155" fmla="*/ 694 w 694"/>
                <a:gd name="T156" fmla="*/ 700 h 7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7" name="Freeform 188">
              <a:extLst>
                <a:ext uri="{FF2B5EF4-FFF2-40B4-BE49-F238E27FC236}">
                  <a16:creationId xmlns:a16="http://schemas.microsoft.com/office/drawing/2014/main" id="{5CF7BEC8-AFB2-CE9F-3040-35F96C722F5C}"/>
                </a:ext>
              </a:extLst>
            </p:cNvPr>
            <p:cNvSpPr>
              <a:spLocks noChangeAspect="1"/>
            </p:cNvSpPr>
            <p:nvPr userDrawn="1"/>
          </p:nvSpPr>
          <p:spPr bwMode="gray">
            <a:xfrm>
              <a:off x="5594988" y="2082182"/>
              <a:ext cx="229785" cy="464427"/>
            </a:xfrm>
            <a:custGeom>
              <a:avLst/>
              <a:gdLst>
                <a:gd name="T0" fmla="*/ 0 w 430"/>
                <a:gd name="T1" fmla="*/ 0 h 814"/>
                <a:gd name="T2" fmla="*/ 0 w 430"/>
                <a:gd name="T3" fmla="*/ 0 h 814"/>
                <a:gd name="T4" fmla="*/ 0 w 430"/>
                <a:gd name="T5" fmla="*/ 0 h 814"/>
                <a:gd name="T6" fmla="*/ 0 w 430"/>
                <a:gd name="T7" fmla="*/ 0 h 814"/>
                <a:gd name="T8" fmla="*/ 0 w 430"/>
                <a:gd name="T9" fmla="*/ 0 h 814"/>
                <a:gd name="T10" fmla="*/ 0 w 430"/>
                <a:gd name="T11" fmla="*/ 0 h 814"/>
                <a:gd name="T12" fmla="*/ 0 w 430"/>
                <a:gd name="T13" fmla="*/ 0 h 814"/>
                <a:gd name="T14" fmla="*/ 0 w 430"/>
                <a:gd name="T15" fmla="*/ 0 h 814"/>
                <a:gd name="T16" fmla="*/ 0 w 430"/>
                <a:gd name="T17" fmla="*/ 0 h 814"/>
                <a:gd name="T18" fmla="*/ 0 w 430"/>
                <a:gd name="T19" fmla="*/ 0 h 814"/>
                <a:gd name="T20" fmla="*/ 0 w 430"/>
                <a:gd name="T21" fmla="*/ 0 h 814"/>
                <a:gd name="T22" fmla="*/ 0 w 430"/>
                <a:gd name="T23" fmla="*/ 0 h 814"/>
                <a:gd name="T24" fmla="*/ 0 w 430"/>
                <a:gd name="T25" fmla="*/ 0 h 814"/>
                <a:gd name="T26" fmla="*/ 0 w 430"/>
                <a:gd name="T27" fmla="*/ 0 h 814"/>
                <a:gd name="T28" fmla="*/ 0 w 430"/>
                <a:gd name="T29" fmla="*/ 0 h 814"/>
                <a:gd name="T30" fmla="*/ 0 w 430"/>
                <a:gd name="T31" fmla="*/ 0 h 814"/>
                <a:gd name="T32" fmla="*/ 0 w 430"/>
                <a:gd name="T33" fmla="*/ 0 h 814"/>
                <a:gd name="T34" fmla="*/ 0 w 430"/>
                <a:gd name="T35" fmla="*/ 0 h 814"/>
                <a:gd name="T36" fmla="*/ 0 w 430"/>
                <a:gd name="T37" fmla="*/ 0 h 814"/>
                <a:gd name="T38" fmla="*/ 0 w 430"/>
                <a:gd name="T39" fmla="*/ 0 h 814"/>
                <a:gd name="T40" fmla="*/ 0 w 430"/>
                <a:gd name="T41" fmla="*/ 0 h 814"/>
                <a:gd name="T42" fmla="*/ 0 w 430"/>
                <a:gd name="T43" fmla="*/ 0 h 814"/>
                <a:gd name="T44" fmla="*/ 0 w 430"/>
                <a:gd name="T45" fmla="*/ 0 h 814"/>
                <a:gd name="T46" fmla="*/ 0 w 430"/>
                <a:gd name="T47" fmla="*/ 0 h 814"/>
                <a:gd name="T48" fmla="*/ 0 w 430"/>
                <a:gd name="T49" fmla="*/ 0 h 814"/>
                <a:gd name="T50" fmla="*/ 0 w 430"/>
                <a:gd name="T51" fmla="*/ 0 h 814"/>
                <a:gd name="T52" fmla="*/ 0 w 430"/>
                <a:gd name="T53" fmla="*/ 0 h 814"/>
                <a:gd name="T54" fmla="*/ 0 w 430"/>
                <a:gd name="T55" fmla="*/ 0 h 814"/>
                <a:gd name="T56" fmla="*/ 0 w 430"/>
                <a:gd name="T57" fmla="*/ 0 h 814"/>
                <a:gd name="T58" fmla="*/ 0 w 430"/>
                <a:gd name="T59" fmla="*/ 0 h 814"/>
                <a:gd name="T60" fmla="*/ 0 w 430"/>
                <a:gd name="T61" fmla="*/ 0 h 814"/>
                <a:gd name="T62" fmla="*/ 0 w 430"/>
                <a:gd name="T63" fmla="*/ 0 h 814"/>
                <a:gd name="T64" fmla="*/ 0 w 430"/>
                <a:gd name="T65" fmla="*/ 0 h 814"/>
                <a:gd name="T66" fmla="*/ 0 w 430"/>
                <a:gd name="T67" fmla="*/ 0 h 814"/>
                <a:gd name="T68" fmla="*/ 0 w 430"/>
                <a:gd name="T69" fmla="*/ 0 h 814"/>
                <a:gd name="T70" fmla="*/ 0 w 430"/>
                <a:gd name="T71" fmla="*/ 0 h 814"/>
                <a:gd name="T72" fmla="*/ 0 w 430"/>
                <a:gd name="T73" fmla="*/ 0 h 814"/>
                <a:gd name="T74" fmla="*/ 0 w 430"/>
                <a:gd name="T75" fmla="*/ 0 h 814"/>
                <a:gd name="T76" fmla="*/ 0 w 430"/>
                <a:gd name="T77" fmla="*/ 0 h 814"/>
                <a:gd name="T78" fmla="*/ 0 w 430"/>
                <a:gd name="T79" fmla="*/ 0 h 814"/>
                <a:gd name="T80" fmla="*/ 0 w 430"/>
                <a:gd name="T81" fmla="*/ 0 h 814"/>
                <a:gd name="T82" fmla="*/ 0 w 430"/>
                <a:gd name="T83" fmla="*/ 0 h 814"/>
                <a:gd name="T84" fmla="*/ 0 w 430"/>
                <a:gd name="T85" fmla="*/ 0 h 814"/>
                <a:gd name="T86" fmla="*/ 0 w 430"/>
                <a:gd name="T87" fmla="*/ 0 h 814"/>
                <a:gd name="T88" fmla="*/ 0 w 430"/>
                <a:gd name="T89" fmla="*/ 0 h 814"/>
                <a:gd name="T90" fmla="*/ 0 w 430"/>
                <a:gd name="T91" fmla="*/ 0 h 814"/>
                <a:gd name="T92" fmla="*/ 0 w 430"/>
                <a:gd name="T93" fmla="*/ 0 h 814"/>
                <a:gd name="T94" fmla="*/ 0 w 430"/>
                <a:gd name="T95" fmla="*/ 0 h 814"/>
                <a:gd name="T96" fmla="*/ 0 w 430"/>
                <a:gd name="T97" fmla="*/ 0 h 814"/>
                <a:gd name="T98" fmla="*/ 0 w 430"/>
                <a:gd name="T99" fmla="*/ 0 h 814"/>
                <a:gd name="T100" fmla="*/ 0 w 430"/>
                <a:gd name="T101" fmla="*/ 0 h 814"/>
                <a:gd name="T102" fmla="*/ 0 w 430"/>
                <a:gd name="T103" fmla="*/ 0 h 814"/>
                <a:gd name="T104" fmla="*/ 0 w 430"/>
                <a:gd name="T105" fmla="*/ 0 h 814"/>
                <a:gd name="T106" fmla="*/ 0 w 430"/>
                <a:gd name="T107" fmla="*/ 0 h 814"/>
                <a:gd name="T108" fmla="*/ 0 w 430"/>
                <a:gd name="T109" fmla="*/ 0 h 8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0"/>
                <a:gd name="T166" fmla="*/ 0 h 814"/>
                <a:gd name="T167" fmla="*/ 430 w 430"/>
                <a:gd name="T168" fmla="*/ 814 h 8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8" name="Freeform 189">
              <a:extLst>
                <a:ext uri="{FF2B5EF4-FFF2-40B4-BE49-F238E27FC236}">
                  <a16:creationId xmlns:a16="http://schemas.microsoft.com/office/drawing/2014/main" id="{0E9F9749-3647-6F57-53D1-509F1D59B193}"/>
                </a:ext>
              </a:extLst>
            </p:cNvPr>
            <p:cNvSpPr>
              <a:spLocks noChangeAspect="1"/>
            </p:cNvSpPr>
            <p:nvPr userDrawn="1"/>
          </p:nvSpPr>
          <p:spPr bwMode="gray">
            <a:xfrm>
              <a:off x="5536205" y="2273081"/>
              <a:ext cx="74814" cy="71231"/>
            </a:xfrm>
            <a:custGeom>
              <a:avLst/>
              <a:gdLst>
                <a:gd name="T0" fmla="*/ 0 w 140"/>
                <a:gd name="T1" fmla="*/ 0 h 126"/>
                <a:gd name="T2" fmla="*/ 0 w 140"/>
                <a:gd name="T3" fmla="*/ 0 h 126"/>
                <a:gd name="T4" fmla="*/ 0 w 140"/>
                <a:gd name="T5" fmla="*/ 0 h 126"/>
                <a:gd name="T6" fmla="*/ 0 w 140"/>
                <a:gd name="T7" fmla="*/ 0 h 126"/>
                <a:gd name="T8" fmla="*/ 0 w 140"/>
                <a:gd name="T9" fmla="*/ 0 h 126"/>
                <a:gd name="T10" fmla="*/ 0 w 140"/>
                <a:gd name="T11" fmla="*/ 0 h 126"/>
                <a:gd name="T12" fmla="*/ 0 w 140"/>
                <a:gd name="T13" fmla="*/ 0 h 126"/>
                <a:gd name="T14" fmla="*/ 0 w 140"/>
                <a:gd name="T15" fmla="*/ 0 h 126"/>
                <a:gd name="T16" fmla="*/ 0 w 140"/>
                <a:gd name="T17" fmla="*/ 0 h 126"/>
                <a:gd name="T18" fmla="*/ 0 w 140"/>
                <a:gd name="T19" fmla="*/ 0 h 126"/>
                <a:gd name="T20" fmla="*/ 0 w 140"/>
                <a:gd name="T21" fmla="*/ 0 h 126"/>
                <a:gd name="T22" fmla="*/ 0 w 140"/>
                <a:gd name="T23" fmla="*/ 0 h 126"/>
                <a:gd name="T24" fmla="*/ 0 w 140"/>
                <a:gd name="T25" fmla="*/ 0 h 126"/>
                <a:gd name="T26" fmla="*/ 0 w 140"/>
                <a:gd name="T27" fmla="*/ 0 h 126"/>
                <a:gd name="T28" fmla="*/ 0 w 140"/>
                <a:gd name="T29" fmla="*/ 0 h 126"/>
                <a:gd name="T30" fmla="*/ 0 w 140"/>
                <a:gd name="T31" fmla="*/ 0 h 126"/>
                <a:gd name="T32" fmla="*/ 0 w 140"/>
                <a:gd name="T33" fmla="*/ 0 h 126"/>
                <a:gd name="T34" fmla="*/ 0 w 140"/>
                <a:gd name="T35" fmla="*/ 0 h 126"/>
                <a:gd name="T36" fmla="*/ 0 w 140"/>
                <a:gd name="T37" fmla="*/ 0 h 126"/>
                <a:gd name="T38" fmla="*/ 0 w 140"/>
                <a:gd name="T39" fmla="*/ 0 h 126"/>
                <a:gd name="T40" fmla="*/ 0 w 140"/>
                <a:gd name="T41" fmla="*/ 0 h 126"/>
                <a:gd name="T42" fmla="*/ 0 w 140"/>
                <a:gd name="T43" fmla="*/ 0 h 126"/>
                <a:gd name="T44" fmla="*/ 0 w 140"/>
                <a:gd name="T45" fmla="*/ 0 h 126"/>
                <a:gd name="T46" fmla="*/ 0 w 140"/>
                <a:gd name="T47" fmla="*/ 0 h 126"/>
                <a:gd name="T48" fmla="*/ 0 w 140"/>
                <a:gd name="T49" fmla="*/ 0 h 126"/>
                <a:gd name="T50" fmla="*/ 0 w 140"/>
                <a:gd name="T51" fmla="*/ 0 h 126"/>
                <a:gd name="T52" fmla="*/ 0 w 140"/>
                <a:gd name="T53" fmla="*/ 0 h 126"/>
                <a:gd name="T54" fmla="*/ 0 w 140"/>
                <a:gd name="T55" fmla="*/ 0 h 126"/>
                <a:gd name="T56" fmla="*/ 0 w 140"/>
                <a:gd name="T57" fmla="*/ 0 h 126"/>
                <a:gd name="T58" fmla="*/ 0 w 140"/>
                <a:gd name="T59" fmla="*/ 0 h 126"/>
                <a:gd name="T60" fmla="*/ 0 w 140"/>
                <a:gd name="T61" fmla="*/ 0 h 126"/>
                <a:gd name="T62" fmla="*/ 0 w 140"/>
                <a:gd name="T63" fmla="*/ 0 h 126"/>
                <a:gd name="T64" fmla="*/ 0 w 140"/>
                <a:gd name="T65" fmla="*/ 0 h 126"/>
                <a:gd name="T66" fmla="*/ 0 w 140"/>
                <a:gd name="T67" fmla="*/ 0 h 126"/>
                <a:gd name="T68" fmla="*/ 0 w 140"/>
                <a:gd name="T69" fmla="*/ 0 h 126"/>
                <a:gd name="T70" fmla="*/ 0 w 140"/>
                <a:gd name="T71" fmla="*/ 0 h 126"/>
                <a:gd name="T72" fmla="*/ 0 w 140"/>
                <a:gd name="T73" fmla="*/ 0 h 126"/>
                <a:gd name="T74" fmla="*/ 0 w 140"/>
                <a:gd name="T75" fmla="*/ 0 h 126"/>
                <a:gd name="T76" fmla="*/ 0 w 140"/>
                <a:gd name="T77" fmla="*/ 0 h 126"/>
                <a:gd name="T78" fmla="*/ 0 w 140"/>
                <a:gd name="T79" fmla="*/ 0 h 126"/>
                <a:gd name="T80" fmla="*/ 0 w 140"/>
                <a:gd name="T81" fmla="*/ 0 h 126"/>
                <a:gd name="T82" fmla="*/ 0 w 140"/>
                <a:gd name="T83" fmla="*/ 0 h 126"/>
                <a:gd name="T84" fmla="*/ 0 w 140"/>
                <a:gd name="T85" fmla="*/ 0 h 126"/>
                <a:gd name="T86" fmla="*/ 0 w 140"/>
                <a:gd name="T87" fmla="*/ 0 h 126"/>
                <a:gd name="T88" fmla="*/ 0 w 140"/>
                <a:gd name="T89" fmla="*/ 0 h 126"/>
                <a:gd name="T90" fmla="*/ 0 w 140"/>
                <a:gd name="T91" fmla="*/ 0 h 126"/>
                <a:gd name="T92" fmla="*/ 0 w 140"/>
                <a:gd name="T93" fmla="*/ 0 h 126"/>
                <a:gd name="T94" fmla="*/ 0 w 140"/>
                <a:gd name="T95" fmla="*/ 0 h 1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0"/>
                <a:gd name="T145" fmla="*/ 0 h 126"/>
                <a:gd name="T146" fmla="*/ 140 w 140"/>
                <a:gd name="T147" fmla="*/ 126 h 12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79" name="Freeform 190">
              <a:extLst>
                <a:ext uri="{FF2B5EF4-FFF2-40B4-BE49-F238E27FC236}">
                  <a16:creationId xmlns:a16="http://schemas.microsoft.com/office/drawing/2014/main" id="{E4BE0305-A7B1-C146-8AF0-6CB5E1BA8A4D}"/>
                </a:ext>
              </a:extLst>
            </p:cNvPr>
            <p:cNvSpPr>
              <a:spLocks noChangeAspect="1"/>
            </p:cNvSpPr>
            <p:nvPr userDrawn="1"/>
          </p:nvSpPr>
          <p:spPr bwMode="gray">
            <a:xfrm>
              <a:off x="5470227" y="2277205"/>
              <a:ext cx="125357" cy="198148"/>
            </a:xfrm>
            <a:custGeom>
              <a:avLst/>
              <a:gdLst>
                <a:gd name="T0" fmla="*/ 0 w 233"/>
                <a:gd name="T1" fmla="*/ 0 h 345"/>
                <a:gd name="T2" fmla="*/ 0 w 233"/>
                <a:gd name="T3" fmla="*/ 0 h 345"/>
                <a:gd name="T4" fmla="*/ 0 w 233"/>
                <a:gd name="T5" fmla="*/ 0 h 345"/>
                <a:gd name="T6" fmla="*/ 0 w 233"/>
                <a:gd name="T7" fmla="*/ 0 h 345"/>
                <a:gd name="T8" fmla="*/ 0 w 233"/>
                <a:gd name="T9" fmla="*/ 0 h 345"/>
                <a:gd name="T10" fmla="*/ 0 w 233"/>
                <a:gd name="T11" fmla="*/ 0 h 345"/>
                <a:gd name="T12" fmla="*/ 0 w 233"/>
                <a:gd name="T13" fmla="*/ 0 h 345"/>
                <a:gd name="T14" fmla="*/ 0 w 233"/>
                <a:gd name="T15" fmla="*/ 0 h 345"/>
                <a:gd name="T16" fmla="*/ 0 w 233"/>
                <a:gd name="T17" fmla="*/ 0 h 345"/>
                <a:gd name="T18" fmla="*/ 0 w 233"/>
                <a:gd name="T19" fmla="*/ 0 h 345"/>
                <a:gd name="T20" fmla="*/ 0 w 233"/>
                <a:gd name="T21" fmla="*/ 0 h 345"/>
                <a:gd name="T22" fmla="*/ 0 w 233"/>
                <a:gd name="T23" fmla="*/ 0 h 345"/>
                <a:gd name="T24" fmla="*/ 0 w 233"/>
                <a:gd name="T25" fmla="*/ 0 h 345"/>
                <a:gd name="T26" fmla="*/ 0 w 233"/>
                <a:gd name="T27" fmla="*/ 0 h 345"/>
                <a:gd name="T28" fmla="*/ 0 w 233"/>
                <a:gd name="T29" fmla="*/ 0 h 345"/>
                <a:gd name="T30" fmla="*/ 0 w 233"/>
                <a:gd name="T31" fmla="*/ 0 h 345"/>
                <a:gd name="T32" fmla="*/ 0 w 233"/>
                <a:gd name="T33" fmla="*/ 0 h 345"/>
                <a:gd name="T34" fmla="*/ 0 w 233"/>
                <a:gd name="T35" fmla="*/ 0 h 345"/>
                <a:gd name="T36" fmla="*/ 0 w 233"/>
                <a:gd name="T37" fmla="*/ 0 h 345"/>
                <a:gd name="T38" fmla="*/ 0 w 233"/>
                <a:gd name="T39" fmla="*/ 0 h 345"/>
                <a:gd name="T40" fmla="*/ 0 w 233"/>
                <a:gd name="T41" fmla="*/ 0 h 345"/>
                <a:gd name="T42" fmla="*/ 0 w 233"/>
                <a:gd name="T43" fmla="*/ 0 h 345"/>
                <a:gd name="T44" fmla="*/ 0 w 233"/>
                <a:gd name="T45" fmla="*/ 0 h 345"/>
                <a:gd name="T46" fmla="*/ 0 w 233"/>
                <a:gd name="T47" fmla="*/ 0 h 345"/>
                <a:gd name="T48" fmla="*/ 0 w 233"/>
                <a:gd name="T49" fmla="*/ 0 h 345"/>
                <a:gd name="T50" fmla="*/ 0 w 233"/>
                <a:gd name="T51" fmla="*/ 0 h 345"/>
                <a:gd name="T52" fmla="*/ 0 w 233"/>
                <a:gd name="T53" fmla="*/ 0 h 345"/>
                <a:gd name="T54" fmla="*/ 0 w 233"/>
                <a:gd name="T55" fmla="*/ 0 h 345"/>
                <a:gd name="T56" fmla="*/ 0 w 233"/>
                <a:gd name="T57" fmla="*/ 0 h 345"/>
                <a:gd name="T58" fmla="*/ 0 w 233"/>
                <a:gd name="T59" fmla="*/ 2147483647 h 345"/>
                <a:gd name="T60" fmla="*/ 0 w 233"/>
                <a:gd name="T61" fmla="*/ 0 h 345"/>
                <a:gd name="T62" fmla="*/ 0 w 233"/>
                <a:gd name="T63" fmla="*/ 2147483647 h 345"/>
                <a:gd name="T64" fmla="*/ 0 w 233"/>
                <a:gd name="T65" fmla="*/ 2147483647 h 345"/>
                <a:gd name="T66" fmla="*/ 0 w 233"/>
                <a:gd name="T67" fmla="*/ 2147483647 h 345"/>
                <a:gd name="T68" fmla="*/ 0 w 233"/>
                <a:gd name="T69" fmla="*/ 2147483647 h 345"/>
                <a:gd name="T70" fmla="*/ 0 w 233"/>
                <a:gd name="T71" fmla="*/ 2147483647 h 345"/>
                <a:gd name="T72" fmla="*/ 0 w 233"/>
                <a:gd name="T73" fmla="*/ 2147483647 h 345"/>
                <a:gd name="T74" fmla="*/ 0 w 233"/>
                <a:gd name="T75" fmla="*/ 0 h 345"/>
                <a:gd name="T76" fmla="*/ 0 w 233"/>
                <a:gd name="T77" fmla="*/ 2147483647 h 345"/>
                <a:gd name="T78" fmla="*/ 0 w 233"/>
                <a:gd name="T79" fmla="*/ 0 h 345"/>
                <a:gd name="T80" fmla="*/ 0 w 233"/>
                <a:gd name="T81" fmla="*/ 0 h 345"/>
                <a:gd name="T82" fmla="*/ 0 w 233"/>
                <a:gd name="T83" fmla="*/ 0 h 345"/>
                <a:gd name="T84" fmla="*/ 0 w 233"/>
                <a:gd name="T85" fmla="*/ 0 h 345"/>
                <a:gd name="T86" fmla="*/ 0 w 233"/>
                <a:gd name="T87" fmla="*/ 0 h 345"/>
                <a:gd name="T88" fmla="*/ 0 w 233"/>
                <a:gd name="T89" fmla="*/ 0 h 345"/>
                <a:gd name="T90" fmla="*/ 0 w 233"/>
                <a:gd name="T91" fmla="*/ 0 h 345"/>
                <a:gd name="T92" fmla="*/ 0 w 233"/>
                <a:gd name="T93" fmla="*/ 0 h 34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3"/>
                <a:gd name="T142" fmla="*/ 0 h 345"/>
                <a:gd name="T143" fmla="*/ 233 w 233"/>
                <a:gd name="T144" fmla="*/ 345 h 34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0" name="Freeform 191">
              <a:extLst>
                <a:ext uri="{FF2B5EF4-FFF2-40B4-BE49-F238E27FC236}">
                  <a16:creationId xmlns:a16="http://schemas.microsoft.com/office/drawing/2014/main" id="{C155122E-03C9-B54B-C7FA-635D569E533C}"/>
                </a:ext>
              </a:extLst>
            </p:cNvPr>
            <p:cNvSpPr>
              <a:spLocks noChangeAspect="1"/>
            </p:cNvSpPr>
            <p:nvPr userDrawn="1"/>
          </p:nvSpPr>
          <p:spPr bwMode="gray">
            <a:xfrm>
              <a:off x="6416372" y="2426578"/>
              <a:ext cx="531274" cy="374957"/>
            </a:xfrm>
            <a:custGeom>
              <a:avLst/>
              <a:gdLst>
                <a:gd name="T0" fmla="*/ 0 w 995"/>
                <a:gd name="T1" fmla="*/ 2147483647 h 658"/>
                <a:gd name="T2" fmla="*/ 0 w 995"/>
                <a:gd name="T3" fmla="*/ 2147483647 h 658"/>
                <a:gd name="T4" fmla="*/ 0 w 995"/>
                <a:gd name="T5" fmla="*/ 0 h 658"/>
                <a:gd name="T6" fmla="*/ 0 w 995"/>
                <a:gd name="T7" fmla="*/ 0 h 658"/>
                <a:gd name="T8" fmla="*/ 0 w 995"/>
                <a:gd name="T9" fmla="*/ 0 h 658"/>
                <a:gd name="T10" fmla="*/ 0 w 995"/>
                <a:gd name="T11" fmla="*/ 0 h 658"/>
                <a:gd name="T12" fmla="*/ 0 w 995"/>
                <a:gd name="T13" fmla="*/ 0 h 658"/>
                <a:gd name="T14" fmla="*/ 0 w 995"/>
                <a:gd name="T15" fmla="*/ 0 h 658"/>
                <a:gd name="T16" fmla="*/ 2147483647 w 995"/>
                <a:gd name="T17" fmla="*/ 0 h 658"/>
                <a:gd name="T18" fmla="*/ 2147483647 w 995"/>
                <a:gd name="T19" fmla="*/ 0 h 658"/>
                <a:gd name="T20" fmla="*/ 2147483647 w 995"/>
                <a:gd name="T21" fmla="*/ 0 h 658"/>
                <a:gd name="T22" fmla="*/ 2147483647 w 995"/>
                <a:gd name="T23" fmla="*/ 0 h 658"/>
                <a:gd name="T24" fmla="*/ 2147483647 w 995"/>
                <a:gd name="T25" fmla="*/ 0 h 658"/>
                <a:gd name="T26" fmla="*/ 2147483647 w 995"/>
                <a:gd name="T27" fmla="*/ 0 h 658"/>
                <a:gd name="T28" fmla="*/ 2147483647 w 995"/>
                <a:gd name="T29" fmla="*/ 0 h 658"/>
                <a:gd name="T30" fmla="*/ 2147483647 w 995"/>
                <a:gd name="T31" fmla="*/ 0 h 658"/>
                <a:gd name="T32" fmla="*/ 2147483647 w 995"/>
                <a:gd name="T33" fmla="*/ 0 h 658"/>
                <a:gd name="T34" fmla="*/ 2147483647 w 995"/>
                <a:gd name="T35" fmla="*/ 0 h 658"/>
                <a:gd name="T36" fmla="*/ 2147483647 w 995"/>
                <a:gd name="T37" fmla="*/ 0 h 658"/>
                <a:gd name="T38" fmla="*/ 2147483647 w 995"/>
                <a:gd name="T39" fmla="*/ 0 h 658"/>
                <a:gd name="T40" fmla="*/ 2147483647 w 995"/>
                <a:gd name="T41" fmla="*/ 0 h 658"/>
                <a:gd name="T42" fmla="*/ 2147483647 w 995"/>
                <a:gd name="T43" fmla="*/ 0 h 658"/>
                <a:gd name="T44" fmla="*/ 2147483647 w 995"/>
                <a:gd name="T45" fmla="*/ 2147483647 h 658"/>
                <a:gd name="T46" fmla="*/ 2147483647 w 995"/>
                <a:gd name="T47" fmla="*/ 2147483647 h 658"/>
                <a:gd name="T48" fmla="*/ 2147483647 w 995"/>
                <a:gd name="T49" fmla="*/ 2147483647 h 658"/>
                <a:gd name="T50" fmla="*/ 2147483647 w 995"/>
                <a:gd name="T51" fmla="*/ 2147483647 h 658"/>
                <a:gd name="T52" fmla="*/ 2147483647 w 995"/>
                <a:gd name="T53" fmla="*/ 2147483647 h 658"/>
                <a:gd name="T54" fmla="*/ 2147483647 w 995"/>
                <a:gd name="T55" fmla="*/ 2147483647 h 658"/>
                <a:gd name="T56" fmla="*/ 2147483647 w 995"/>
                <a:gd name="T57" fmla="*/ 2147483647 h 658"/>
                <a:gd name="T58" fmla="*/ 2147483647 w 995"/>
                <a:gd name="T59" fmla="*/ 2147483647 h 658"/>
                <a:gd name="T60" fmla="*/ 2147483647 w 995"/>
                <a:gd name="T61" fmla="*/ 2147483647 h 658"/>
                <a:gd name="T62" fmla="*/ 2147483647 w 995"/>
                <a:gd name="T63" fmla="*/ 2147483647 h 658"/>
                <a:gd name="T64" fmla="*/ 2147483647 w 995"/>
                <a:gd name="T65" fmla="*/ 2147483647 h 658"/>
                <a:gd name="T66" fmla="*/ 2147483647 w 995"/>
                <a:gd name="T67" fmla="*/ 2147483647 h 658"/>
                <a:gd name="T68" fmla="*/ 2147483647 w 995"/>
                <a:gd name="T69" fmla="*/ 2147483647 h 658"/>
                <a:gd name="T70" fmla="*/ 2147483647 w 995"/>
                <a:gd name="T71" fmla="*/ 2147483647 h 658"/>
                <a:gd name="T72" fmla="*/ 2147483647 w 995"/>
                <a:gd name="T73" fmla="*/ 2147483647 h 658"/>
                <a:gd name="T74" fmla="*/ 2147483647 w 995"/>
                <a:gd name="T75" fmla="*/ 2147483647 h 658"/>
                <a:gd name="T76" fmla="*/ 2147483647 w 995"/>
                <a:gd name="T77" fmla="*/ 2147483647 h 658"/>
                <a:gd name="T78" fmla="*/ 2147483647 w 995"/>
                <a:gd name="T79" fmla="*/ 2147483647 h 658"/>
                <a:gd name="T80" fmla="*/ 2147483647 w 995"/>
                <a:gd name="T81" fmla="*/ 2147483647 h 658"/>
                <a:gd name="T82" fmla="*/ 2147483647 w 995"/>
                <a:gd name="T83" fmla="*/ 2147483647 h 658"/>
                <a:gd name="T84" fmla="*/ 2147483647 w 995"/>
                <a:gd name="T85" fmla="*/ 2147483647 h 658"/>
                <a:gd name="T86" fmla="*/ 2147483647 w 995"/>
                <a:gd name="T87" fmla="*/ 2147483647 h 658"/>
                <a:gd name="T88" fmla="*/ 2147483647 w 995"/>
                <a:gd name="T89" fmla="*/ 2147483647 h 658"/>
                <a:gd name="T90" fmla="*/ 2147483647 w 995"/>
                <a:gd name="T91" fmla="*/ 2147483647 h 658"/>
                <a:gd name="T92" fmla="*/ 2147483647 w 995"/>
                <a:gd name="T93" fmla="*/ 2147483647 h 658"/>
                <a:gd name="T94" fmla="*/ 2147483647 w 995"/>
                <a:gd name="T95" fmla="*/ 2147483647 h 658"/>
                <a:gd name="T96" fmla="*/ 2147483647 w 995"/>
                <a:gd name="T97" fmla="*/ 2147483647 h 658"/>
                <a:gd name="T98" fmla="*/ 2147483647 w 995"/>
                <a:gd name="T99" fmla="*/ 2147483647 h 658"/>
                <a:gd name="T100" fmla="*/ 2147483647 w 995"/>
                <a:gd name="T101" fmla="*/ 2147483647 h 658"/>
                <a:gd name="T102" fmla="*/ 2147483647 w 995"/>
                <a:gd name="T103" fmla="*/ 2147483647 h 658"/>
                <a:gd name="T104" fmla="*/ 2147483647 w 995"/>
                <a:gd name="T105" fmla="*/ 2147483647 h 658"/>
                <a:gd name="T106" fmla="*/ 2147483647 w 995"/>
                <a:gd name="T107" fmla="*/ 2147483647 h 658"/>
                <a:gd name="T108" fmla="*/ 2147483647 w 995"/>
                <a:gd name="T109" fmla="*/ 2147483647 h 658"/>
                <a:gd name="T110" fmla="*/ 0 w 995"/>
                <a:gd name="T111" fmla="*/ 2147483647 h 6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95"/>
                <a:gd name="T169" fmla="*/ 0 h 658"/>
                <a:gd name="T170" fmla="*/ 995 w 995"/>
                <a:gd name="T171" fmla="*/ 658 h 6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1" name="Freeform 192">
              <a:extLst>
                <a:ext uri="{FF2B5EF4-FFF2-40B4-BE49-F238E27FC236}">
                  <a16:creationId xmlns:a16="http://schemas.microsoft.com/office/drawing/2014/main" id="{1F222E62-A05E-C791-BB03-8ED9CC6A46F7}"/>
                </a:ext>
              </a:extLst>
            </p:cNvPr>
            <p:cNvSpPr>
              <a:spLocks noChangeAspect="1"/>
            </p:cNvSpPr>
            <p:nvPr userDrawn="1"/>
          </p:nvSpPr>
          <p:spPr bwMode="gray">
            <a:xfrm>
              <a:off x="6547698" y="2615582"/>
              <a:ext cx="101479" cy="138704"/>
            </a:xfrm>
            <a:custGeom>
              <a:avLst/>
              <a:gdLst>
                <a:gd name="T0" fmla="*/ 0 w 187"/>
                <a:gd name="T1" fmla="*/ 0 h 239"/>
                <a:gd name="T2" fmla="*/ 0 w 187"/>
                <a:gd name="T3" fmla="*/ 0 h 239"/>
                <a:gd name="T4" fmla="*/ 0 w 187"/>
                <a:gd name="T5" fmla="*/ 0 h 239"/>
                <a:gd name="T6" fmla="*/ 0 w 187"/>
                <a:gd name="T7" fmla="*/ 0 h 239"/>
                <a:gd name="T8" fmla="*/ 0 w 187"/>
                <a:gd name="T9" fmla="*/ 0 h 239"/>
                <a:gd name="T10" fmla="*/ 0 w 187"/>
                <a:gd name="T11" fmla="*/ 0 h 239"/>
                <a:gd name="T12" fmla="*/ 0 w 187"/>
                <a:gd name="T13" fmla="*/ 0 h 239"/>
                <a:gd name="T14" fmla="*/ 0 w 187"/>
                <a:gd name="T15" fmla="*/ 0 h 239"/>
                <a:gd name="T16" fmla="*/ 0 w 187"/>
                <a:gd name="T17" fmla="*/ 0 h 239"/>
                <a:gd name="T18" fmla="*/ 0 w 187"/>
                <a:gd name="T19" fmla="*/ 0 h 239"/>
                <a:gd name="T20" fmla="*/ 0 w 187"/>
                <a:gd name="T21" fmla="*/ 0 h 239"/>
                <a:gd name="T22" fmla="*/ 0 w 187"/>
                <a:gd name="T23" fmla="*/ 0 h 239"/>
                <a:gd name="T24" fmla="*/ 0 w 187"/>
                <a:gd name="T25" fmla="*/ 0 h 239"/>
                <a:gd name="T26" fmla="*/ 0 w 187"/>
                <a:gd name="T27" fmla="*/ 0 h 239"/>
                <a:gd name="T28" fmla="*/ 0 w 187"/>
                <a:gd name="T29" fmla="*/ 0 h 239"/>
                <a:gd name="T30" fmla="*/ 0 w 187"/>
                <a:gd name="T31" fmla="*/ 0 h 239"/>
                <a:gd name="T32" fmla="*/ 0 w 187"/>
                <a:gd name="T33" fmla="*/ 0 h 239"/>
                <a:gd name="T34" fmla="*/ 0 w 187"/>
                <a:gd name="T35" fmla="*/ 0 h 239"/>
                <a:gd name="T36" fmla="*/ 0 w 187"/>
                <a:gd name="T37" fmla="*/ 0 h 239"/>
                <a:gd name="T38" fmla="*/ 0 w 187"/>
                <a:gd name="T39" fmla="*/ 0 h 239"/>
                <a:gd name="T40" fmla="*/ 0 w 187"/>
                <a:gd name="T41" fmla="*/ 0 h 239"/>
                <a:gd name="T42" fmla="*/ 0 w 187"/>
                <a:gd name="T43" fmla="*/ 0 h 239"/>
                <a:gd name="T44" fmla="*/ 0 w 187"/>
                <a:gd name="T45" fmla="*/ 0 h 239"/>
                <a:gd name="T46" fmla="*/ 0 w 187"/>
                <a:gd name="T47" fmla="*/ 0 h 239"/>
                <a:gd name="T48" fmla="*/ 0 w 187"/>
                <a:gd name="T49" fmla="*/ 0 h 239"/>
                <a:gd name="T50" fmla="*/ 0 w 187"/>
                <a:gd name="T51" fmla="*/ 0 h 239"/>
                <a:gd name="T52" fmla="*/ 0 w 187"/>
                <a:gd name="T53" fmla="*/ 0 h 239"/>
                <a:gd name="T54" fmla="*/ 0 w 187"/>
                <a:gd name="T55" fmla="*/ 0 h 239"/>
                <a:gd name="T56" fmla="*/ 0 w 187"/>
                <a:gd name="T57" fmla="*/ 0 h 239"/>
                <a:gd name="T58" fmla="*/ 0 w 187"/>
                <a:gd name="T59" fmla="*/ 0 h 239"/>
                <a:gd name="T60" fmla="*/ 0 w 187"/>
                <a:gd name="T61" fmla="*/ 0 h 239"/>
                <a:gd name="T62" fmla="*/ 0 w 187"/>
                <a:gd name="T63" fmla="*/ 0 h 239"/>
                <a:gd name="T64" fmla="*/ 0 w 187"/>
                <a:gd name="T65" fmla="*/ 0 h 239"/>
                <a:gd name="T66" fmla="*/ 0 w 187"/>
                <a:gd name="T67" fmla="*/ 0 h 239"/>
                <a:gd name="T68" fmla="*/ 0 w 187"/>
                <a:gd name="T69" fmla="*/ 0 h 239"/>
                <a:gd name="T70" fmla="*/ 0 w 187"/>
                <a:gd name="T71" fmla="*/ 0 h 239"/>
                <a:gd name="T72" fmla="*/ 0 w 187"/>
                <a:gd name="T73" fmla="*/ 0 h 239"/>
                <a:gd name="T74" fmla="*/ 0 w 187"/>
                <a:gd name="T75" fmla="*/ 0 h 239"/>
                <a:gd name="T76" fmla="*/ 0 w 187"/>
                <a:gd name="T77" fmla="*/ 0 h 239"/>
                <a:gd name="T78" fmla="*/ 0 w 187"/>
                <a:gd name="T79" fmla="*/ 0 h 239"/>
                <a:gd name="T80" fmla="*/ 0 w 187"/>
                <a:gd name="T81" fmla="*/ 0 h 239"/>
                <a:gd name="T82" fmla="*/ 0 w 187"/>
                <a:gd name="T83" fmla="*/ 0 h 239"/>
                <a:gd name="T84" fmla="*/ 0 w 187"/>
                <a:gd name="T85" fmla="*/ 0 h 239"/>
                <a:gd name="T86" fmla="*/ 0 w 187"/>
                <a:gd name="T87" fmla="*/ 0 h 239"/>
                <a:gd name="T88" fmla="*/ 0 w 187"/>
                <a:gd name="T89" fmla="*/ 0 h 239"/>
                <a:gd name="T90" fmla="*/ 0 w 187"/>
                <a:gd name="T91" fmla="*/ 0 h 239"/>
                <a:gd name="T92" fmla="*/ 0 w 187"/>
                <a:gd name="T93" fmla="*/ 0 h 239"/>
                <a:gd name="T94" fmla="*/ 0 w 187"/>
                <a:gd name="T95" fmla="*/ 0 h 239"/>
                <a:gd name="T96" fmla="*/ 0 w 187"/>
                <a:gd name="T97" fmla="*/ 0 h 239"/>
                <a:gd name="T98" fmla="*/ 0 w 187"/>
                <a:gd name="T99" fmla="*/ 0 h 239"/>
                <a:gd name="T100" fmla="*/ 0 w 187"/>
                <a:gd name="T101" fmla="*/ 0 h 239"/>
                <a:gd name="T102" fmla="*/ 0 w 187"/>
                <a:gd name="T103" fmla="*/ 0 h 239"/>
                <a:gd name="T104" fmla="*/ 0 w 187"/>
                <a:gd name="T105" fmla="*/ 0 h 239"/>
                <a:gd name="T106" fmla="*/ 0 w 187"/>
                <a:gd name="T107" fmla="*/ 0 h 239"/>
                <a:gd name="T108" fmla="*/ 0 w 187"/>
                <a:gd name="T109" fmla="*/ 0 h 239"/>
                <a:gd name="T110" fmla="*/ 0 w 187"/>
                <a:gd name="T111" fmla="*/ 0 h 239"/>
                <a:gd name="T112" fmla="*/ 0 w 187"/>
                <a:gd name="T113" fmla="*/ 0 h 239"/>
                <a:gd name="T114" fmla="*/ 0 w 187"/>
                <a:gd name="T115" fmla="*/ 0 h 239"/>
                <a:gd name="T116" fmla="*/ 0 w 187"/>
                <a:gd name="T117" fmla="*/ 0 h 23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87"/>
                <a:gd name="T178" fmla="*/ 0 h 239"/>
                <a:gd name="T179" fmla="*/ 187 w 187"/>
                <a:gd name="T180" fmla="*/ 239 h 23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2" name="Freeform 193">
              <a:extLst>
                <a:ext uri="{FF2B5EF4-FFF2-40B4-BE49-F238E27FC236}">
                  <a16:creationId xmlns:a16="http://schemas.microsoft.com/office/drawing/2014/main" id="{CE78F8F7-7973-AF27-0897-CBD2FBCD15C7}"/>
                </a:ext>
              </a:extLst>
            </p:cNvPr>
            <p:cNvSpPr>
              <a:spLocks noChangeAspect="1"/>
            </p:cNvSpPr>
            <p:nvPr userDrawn="1"/>
          </p:nvSpPr>
          <p:spPr bwMode="gray">
            <a:xfrm>
              <a:off x="6446219" y="2223858"/>
              <a:ext cx="285038" cy="257593"/>
            </a:xfrm>
            <a:custGeom>
              <a:avLst/>
              <a:gdLst>
                <a:gd name="T0" fmla="*/ 0 w 532"/>
                <a:gd name="T1" fmla="*/ 2147483647 h 452"/>
                <a:gd name="T2" fmla="*/ 0 w 532"/>
                <a:gd name="T3" fmla="*/ 2147483647 h 452"/>
                <a:gd name="T4" fmla="*/ 0 w 532"/>
                <a:gd name="T5" fmla="*/ 0 h 452"/>
                <a:gd name="T6" fmla="*/ 0 w 532"/>
                <a:gd name="T7" fmla="*/ 0 h 452"/>
                <a:gd name="T8" fmla="*/ 0 w 532"/>
                <a:gd name="T9" fmla="*/ 0 h 452"/>
                <a:gd name="T10" fmla="*/ 0 w 532"/>
                <a:gd name="T11" fmla="*/ 0 h 452"/>
                <a:gd name="T12" fmla="*/ 0 w 532"/>
                <a:gd name="T13" fmla="*/ 0 h 452"/>
                <a:gd name="T14" fmla="*/ 0 w 532"/>
                <a:gd name="T15" fmla="*/ 0 h 452"/>
                <a:gd name="T16" fmla="*/ 0 w 532"/>
                <a:gd name="T17" fmla="*/ 0 h 452"/>
                <a:gd name="T18" fmla="*/ 0 w 532"/>
                <a:gd name="T19" fmla="*/ 0 h 452"/>
                <a:gd name="T20" fmla="*/ 0 w 532"/>
                <a:gd name="T21" fmla="*/ 0 h 452"/>
                <a:gd name="T22" fmla="*/ 0 w 532"/>
                <a:gd name="T23" fmla="*/ 0 h 452"/>
                <a:gd name="T24" fmla="*/ 0 w 532"/>
                <a:gd name="T25" fmla="*/ 0 h 452"/>
                <a:gd name="T26" fmla="*/ 0 w 532"/>
                <a:gd name="T27" fmla="*/ 0 h 452"/>
                <a:gd name="T28" fmla="*/ 0 w 532"/>
                <a:gd name="T29" fmla="*/ 0 h 452"/>
                <a:gd name="T30" fmla="*/ 0 w 532"/>
                <a:gd name="T31" fmla="*/ 0 h 452"/>
                <a:gd name="T32" fmla="*/ 0 w 532"/>
                <a:gd name="T33" fmla="*/ 0 h 452"/>
                <a:gd name="T34" fmla="*/ 0 w 532"/>
                <a:gd name="T35" fmla="*/ 0 h 452"/>
                <a:gd name="T36" fmla="*/ 0 w 532"/>
                <a:gd name="T37" fmla="*/ 0 h 452"/>
                <a:gd name="T38" fmla="*/ 0 w 532"/>
                <a:gd name="T39" fmla="*/ 0 h 452"/>
                <a:gd name="T40" fmla="*/ 0 w 532"/>
                <a:gd name="T41" fmla="*/ 0 h 452"/>
                <a:gd name="T42" fmla="*/ 2147483647 w 532"/>
                <a:gd name="T43" fmla="*/ 0 h 452"/>
                <a:gd name="T44" fmla="*/ 2147483647 w 532"/>
                <a:gd name="T45" fmla="*/ 0 h 452"/>
                <a:gd name="T46" fmla="*/ 2147483647 w 532"/>
                <a:gd name="T47" fmla="*/ 0 h 452"/>
                <a:gd name="T48" fmla="*/ 2147483647 w 532"/>
                <a:gd name="T49" fmla="*/ 0 h 452"/>
                <a:gd name="T50" fmla="*/ 2147483647 w 532"/>
                <a:gd name="T51" fmla="*/ 0 h 452"/>
                <a:gd name="T52" fmla="*/ 2147483647 w 532"/>
                <a:gd name="T53" fmla="*/ 0 h 452"/>
                <a:gd name="T54" fmla="*/ 2147483647 w 532"/>
                <a:gd name="T55" fmla="*/ 0 h 452"/>
                <a:gd name="T56" fmla="*/ 2147483647 w 532"/>
                <a:gd name="T57" fmla="*/ 0 h 452"/>
                <a:gd name="T58" fmla="*/ 2147483647 w 532"/>
                <a:gd name="T59" fmla="*/ 0 h 452"/>
                <a:gd name="T60" fmla="*/ 2147483647 w 532"/>
                <a:gd name="T61" fmla="*/ 0 h 452"/>
                <a:gd name="T62" fmla="*/ 2147483647 w 532"/>
                <a:gd name="T63" fmla="*/ 0 h 452"/>
                <a:gd name="T64" fmla="*/ 2147483647 w 532"/>
                <a:gd name="T65" fmla="*/ 0 h 452"/>
                <a:gd name="T66" fmla="*/ 2147483647 w 532"/>
                <a:gd name="T67" fmla="*/ 0 h 452"/>
                <a:gd name="T68" fmla="*/ 2147483647 w 532"/>
                <a:gd name="T69" fmla="*/ 0 h 452"/>
                <a:gd name="T70" fmla="*/ 2147483647 w 532"/>
                <a:gd name="T71" fmla="*/ 0 h 452"/>
                <a:gd name="T72" fmla="*/ 2147483647 w 532"/>
                <a:gd name="T73" fmla="*/ 0 h 452"/>
                <a:gd name="T74" fmla="*/ 2147483647 w 532"/>
                <a:gd name="T75" fmla="*/ 0 h 452"/>
                <a:gd name="T76" fmla="*/ 2147483647 w 532"/>
                <a:gd name="T77" fmla="*/ 0 h 452"/>
                <a:gd name="T78" fmla="*/ 2147483647 w 532"/>
                <a:gd name="T79" fmla="*/ 2147483647 h 452"/>
                <a:gd name="T80" fmla="*/ 2147483647 w 532"/>
                <a:gd name="T81" fmla="*/ 2147483647 h 452"/>
                <a:gd name="T82" fmla="*/ 2147483647 w 532"/>
                <a:gd name="T83" fmla="*/ 2147483647 h 452"/>
                <a:gd name="T84" fmla="*/ 2147483647 w 532"/>
                <a:gd name="T85" fmla="*/ 2147483647 h 452"/>
                <a:gd name="T86" fmla="*/ 2147483647 w 532"/>
                <a:gd name="T87" fmla="*/ 2147483647 h 452"/>
                <a:gd name="T88" fmla="*/ 2147483647 w 532"/>
                <a:gd name="T89" fmla="*/ 2147483647 h 452"/>
                <a:gd name="T90" fmla="*/ 2147483647 w 532"/>
                <a:gd name="T91" fmla="*/ 2147483647 h 452"/>
                <a:gd name="T92" fmla="*/ 2147483647 w 532"/>
                <a:gd name="T93" fmla="*/ 2147483647 h 452"/>
                <a:gd name="T94" fmla="*/ 2147483647 w 532"/>
                <a:gd name="T95" fmla="*/ 2147483647 h 452"/>
                <a:gd name="T96" fmla="*/ 0 w 532"/>
                <a:gd name="T97" fmla="*/ 2147483647 h 452"/>
                <a:gd name="T98" fmla="*/ 0 w 532"/>
                <a:gd name="T99" fmla="*/ 2147483647 h 452"/>
                <a:gd name="T100" fmla="*/ 0 w 532"/>
                <a:gd name="T101" fmla="*/ 2147483647 h 452"/>
                <a:gd name="T102" fmla="*/ 0 w 532"/>
                <a:gd name="T103" fmla="*/ 2147483647 h 452"/>
                <a:gd name="T104" fmla="*/ 0 w 532"/>
                <a:gd name="T105" fmla="*/ 2147483647 h 452"/>
                <a:gd name="T106" fmla="*/ 0 w 532"/>
                <a:gd name="T107" fmla="*/ 2147483647 h 452"/>
                <a:gd name="T108" fmla="*/ 0 w 532"/>
                <a:gd name="T109" fmla="*/ 2147483647 h 452"/>
                <a:gd name="T110" fmla="*/ 0 w 532"/>
                <a:gd name="T111" fmla="*/ 2147483647 h 452"/>
                <a:gd name="T112" fmla="*/ 0 w 532"/>
                <a:gd name="T113" fmla="*/ 2147483647 h 452"/>
                <a:gd name="T114" fmla="*/ 0 w 532"/>
                <a:gd name="T115" fmla="*/ 2147483647 h 452"/>
                <a:gd name="T116" fmla="*/ 0 w 532"/>
                <a:gd name="T117" fmla="*/ 2147483647 h 4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32"/>
                <a:gd name="T178" fmla="*/ 0 h 452"/>
                <a:gd name="T179" fmla="*/ 532 w 532"/>
                <a:gd name="T180" fmla="*/ 452 h 45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3" name="Freeform 195">
              <a:extLst>
                <a:ext uri="{FF2B5EF4-FFF2-40B4-BE49-F238E27FC236}">
                  <a16:creationId xmlns:a16="http://schemas.microsoft.com/office/drawing/2014/main" id="{03A02134-EB20-51DA-C0D4-215673CC393B}"/>
                </a:ext>
              </a:extLst>
            </p:cNvPr>
            <p:cNvSpPr>
              <a:spLocks noChangeAspect="1"/>
            </p:cNvSpPr>
            <p:nvPr userDrawn="1"/>
          </p:nvSpPr>
          <p:spPr bwMode="gray">
            <a:xfrm>
              <a:off x="6230517" y="2759471"/>
              <a:ext cx="113679" cy="121911"/>
            </a:xfrm>
            <a:custGeom>
              <a:avLst/>
              <a:gdLst>
                <a:gd name="T0" fmla="*/ 0 w 215"/>
                <a:gd name="T1" fmla="*/ 0 h 216"/>
                <a:gd name="T2" fmla="*/ 0 w 215"/>
                <a:gd name="T3" fmla="*/ 0 h 216"/>
                <a:gd name="T4" fmla="*/ 0 w 215"/>
                <a:gd name="T5" fmla="*/ 0 h 216"/>
                <a:gd name="T6" fmla="*/ 0 w 215"/>
                <a:gd name="T7" fmla="*/ 0 h 216"/>
                <a:gd name="T8" fmla="*/ 0 w 215"/>
                <a:gd name="T9" fmla="*/ 0 h 216"/>
                <a:gd name="T10" fmla="*/ 0 w 215"/>
                <a:gd name="T11" fmla="*/ 0 h 216"/>
                <a:gd name="T12" fmla="*/ 0 w 215"/>
                <a:gd name="T13" fmla="*/ 0 h 216"/>
                <a:gd name="T14" fmla="*/ 0 w 215"/>
                <a:gd name="T15" fmla="*/ 0 h 216"/>
                <a:gd name="T16" fmla="*/ 0 w 215"/>
                <a:gd name="T17" fmla="*/ 0 h 216"/>
                <a:gd name="T18" fmla="*/ 0 w 215"/>
                <a:gd name="T19" fmla="*/ 0 h 216"/>
                <a:gd name="T20" fmla="*/ 0 w 215"/>
                <a:gd name="T21" fmla="*/ 0 h 216"/>
                <a:gd name="T22" fmla="*/ 0 w 215"/>
                <a:gd name="T23" fmla="*/ 0 h 216"/>
                <a:gd name="T24" fmla="*/ 0 w 215"/>
                <a:gd name="T25" fmla="*/ 0 h 216"/>
                <a:gd name="T26" fmla="*/ 0 w 215"/>
                <a:gd name="T27" fmla="*/ 0 h 216"/>
                <a:gd name="T28" fmla="*/ 0 w 215"/>
                <a:gd name="T29" fmla="*/ 0 h 216"/>
                <a:gd name="T30" fmla="*/ 0 w 215"/>
                <a:gd name="T31" fmla="*/ 0 h 216"/>
                <a:gd name="T32" fmla="*/ 0 w 215"/>
                <a:gd name="T33" fmla="*/ 0 h 216"/>
                <a:gd name="T34" fmla="*/ 0 w 215"/>
                <a:gd name="T35" fmla="*/ 0 h 216"/>
                <a:gd name="T36" fmla="*/ 0 w 215"/>
                <a:gd name="T37" fmla="*/ 0 h 216"/>
                <a:gd name="T38" fmla="*/ 0 w 215"/>
                <a:gd name="T39" fmla="*/ 0 h 216"/>
                <a:gd name="T40" fmla="*/ 0 w 215"/>
                <a:gd name="T41" fmla="*/ 0 h 216"/>
                <a:gd name="T42" fmla="*/ 0 w 215"/>
                <a:gd name="T43" fmla="*/ 0 h 216"/>
                <a:gd name="T44" fmla="*/ 0 w 215"/>
                <a:gd name="T45" fmla="*/ 0 h 216"/>
                <a:gd name="T46" fmla="*/ 0 w 215"/>
                <a:gd name="T47" fmla="*/ 0 h 216"/>
                <a:gd name="T48" fmla="*/ 0 w 215"/>
                <a:gd name="T49" fmla="*/ 0 h 216"/>
                <a:gd name="T50" fmla="*/ 0 w 215"/>
                <a:gd name="T51" fmla="*/ 0 h 216"/>
                <a:gd name="T52" fmla="*/ 0 w 215"/>
                <a:gd name="T53" fmla="*/ 0 h 216"/>
                <a:gd name="T54" fmla="*/ 0 w 215"/>
                <a:gd name="T55" fmla="*/ 0 h 216"/>
                <a:gd name="T56" fmla="*/ 0 w 215"/>
                <a:gd name="T57" fmla="*/ 0 h 216"/>
                <a:gd name="T58" fmla="*/ 0 w 215"/>
                <a:gd name="T59" fmla="*/ 0 h 216"/>
                <a:gd name="T60" fmla="*/ 0 w 215"/>
                <a:gd name="T61" fmla="*/ 0 h 216"/>
                <a:gd name="T62" fmla="*/ 0 w 215"/>
                <a:gd name="T63" fmla="*/ 0 h 216"/>
                <a:gd name="T64" fmla="*/ 0 w 215"/>
                <a:gd name="T65" fmla="*/ 0 h 216"/>
                <a:gd name="T66" fmla="*/ 0 w 215"/>
                <a:gd name="T67" fmla="*/ 0 h 216"/>
                <a:gd name="T68" fmla="*/ 0 w 215"/>
                <a:gd name="T69" fmla="*/ 0 h 216"/>
                <a:gd name="T70" fmla="*/ 0 w 215"/>
                <a:gd name="T71" fmla="*/ 0 h 216"/>
                <a:gd name="T72" fmla="*/ 0 w 215"/>
                <a:gd name="T73" fmla="*/ 0 h 216"/>
                <a:gd name="T74" fmla="*/ 0 w 215"/>
                <a:gd name="T75" fmla="*/ 0 h 216"/>
                <a:gd name="T76" fmla="*/ 0 w 215"/>
                <a:gd name="T77" fmla="*/ 0 h 216"/>
                <a:gd name="T78" fmla="*/ 0 w 215"/>
                <a:gd name="T79" fmla="*/ 0 h 216"/>
                <a:gd name="T80" fmla="*/ 0 w 215"/>
                <a:gd name="T81" fmla="*/ 0 h 216"/>
                <a:gd name="T82" fmla="*/ 0 w 215"/>
                <a:gd name="T83" fmla="*/ 0 h 216"/>
                <a:gd name="T84" fmla="*/ 0 w 215"/>
                <a:gd name="T85" fmla="*/ 0 h 216"/>
                <a:gd name="T86" fmla="*/ 0 w 215"/>
                <a:gd name="T87" fmla="*/ 0 h 216"/>
                <a:gd name="T88" fmla="*/ 0 w 215"/>
                <a:gd name="T89" fmla="*/ 0 h 216"/>
                <a:gd name="T90" fmla="*/ 0 w 215"/>
                <a:gd name="T91" fmla="*/ 0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5"/>
                <a:gd name="T139" fmla="*/ 0 h 216"/>
                <a:gd name="T140" fmla="*/ 215 w 215"/>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4" name="Freeform 196">
              <a:extLst>
                <a:ext uri="{FF2B5EF4-FFF2-40B4-BE49-F238E27FC236}">
                  <a16:creationId xmlns:a16="http://schemas.microsoft.com/office/drawing/2014/main" id="{359C8204-6B16-24FA-9C5C-7995545BBDD9}"/>
                </a:ext>
              </a:extLst>
            </p:cNvPr>
            <p:cNvSpPr>
              <a:spLocks noChangeAspect="1"/>
            </p:cNvSpPr>
            <p:nvPr userDrawn="1"/>
          </p:nvSpPr>
          <p:spPr bwMode="gray">
            <a:xfrm>
              <a:off x="6270172" y="2858702"/>
              <a:ext cx="39655" cy="22681"/>
            </a:xfrm>
            <a:custGeom>
              <a:avLst/>
              <a:gdLst>
                <a:gd name="T0" fmla="*/ 0 w 75"/>
                <a:gd name="T1" fmla="*/ 0 h 42"/>
                <a:gd name="T2" fmla="*/ 0 w 75"/>
                <a:gd name="T3" fmla="*/ 0 h 42"/>
                <a:gd name="T4" fmla="*/ 0 w 75"/>
                <a:gd name="T5" fmla="*/ 0 h 42"/>
                <a:gd name="T6" fmla="*/ 0 w 75"/>
                <a:gd name="T7" fmla="*/ 0 h 42"/>
                <a:gd name="T8" fmla="*/ 0 w 75"/>
                <a:gd name="T9" fmla="*/ 0 h 42"/>
                <a:gd name="T10" fmla="*/ 0 w 75"/>
                <a:gd name="T11" fmla="*/ 0 h 42"/>
                <a:gd name="T12" fmla="*/ 0 w 75"/>
                <a:gd name="T13" fmla="*/ 0 h 42"/>
                <a:gd name="T14" fmla="*/ 0 w 75"/>
                <a:gd name="T15" fmla="*/ 0 h 42"/>
                <a:gd name="T16" fmla="*/ 0 w 75"/>
                <a:gd name="T17" fmla="*/ 0 h 42"/>
                <a:gd name="T18" fmla="*/ 0 w 75"/>
                <a:gd name="T19" fmla="*/ 0 h 42"/>
                <a:gd name="T20" fmla="*/ 0 w 75"/>
                <a:gd name="T21" fmla="*/ 0 h 42"/>
                <a:gd name="T22" fmla="*/ 0 w 75"/>
                <a:gd name="T23" fmla="*/ 0 h 42"/>
                <a:gd name="T24" fmla="*/ 0 w 75"/>
                <a:gd name="T25" fmla="*/ 0 h 42"/>
                <a:gd name="T26" fmla="*/ 0 w 75"/>
                <a:gd name="T27" fmla="*/ 0 h 42"/>
                <a:gd name="T28" fmla="*/ 0 w 75"/>
                <a:gd name="T29" fmla="*/ 0 h 42"/>
                <a:gd name="T30" fmla="*/ 0 w 75"/>
                <a:gd name="T31" fmla="*/ 0 h 42"/>
                <a:gd name="T32" fmla="*/ 0 w 75"/>
                <a:gd name="T33" fmla="*/ 0 h 42"/>
                <a:gd name="T34" fmla="*/ 0 w 75"/>
                <a:gd name="T35" fmla="*/ 0 h 42"/>
                <a:gd name="T36" fmla="*/ 0 w 75"/>
                <a:gd name="T37" fmla="*/ 0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5"/>
                <a:gd name="T58" fmla="*/ 0 h 42"/>
                <a:gd name="T59" fmla="*/ 75 w 75"/>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5" name="Freeform 197">
              <a:extLst>
                <a:ext uri="{FF2B5EF4-FFF2-40B4-BE49-F238E27FC236}">
                  <a16:creationId xmlns:a16="http://schemas.microsoft.com/office/drawing/2014/main" id="{FCEAB7B7-F508-E9B6-6176-FE0ED90E60BB}"/>
                </a:ext>
              </a:extLst>
            </p:cNvPr>
            <p:cNvSpPr>
              <a:spLocks noChangeAspect="1"/>
            </p:cNvSpPr>
            <p:nvPr userDrawn="1"/>
          </p:nvSpPr>
          <p:spPr bwMode="gray">
            <a:xfrm>
              <a:off x="6389510" y="3056080"/>
              <a:ext cx="67156" cy="73163"/>
            </a:xfrm>
            <a:custGeom>
              <a:avLst/>
              <a:gdLst>
                <a:gd name="T0" fmla="*/ 0 w 128"/>
                <a:gd name="T1" fmla="*/ 0 h 131"/>
                <a:gd name="T2" fmla="*/ 0 w 128"/>
                <a:gd name="T3" fmla="*/ 0 h 131"/>
                <a:gd name="T4" fmla="*/ 0 w 128"/>
                <a:gd name="T5" fmla="*/ 0 h 131"/>
                <a:gd name="T6" fmla="*/ 0 w 128"/>
                <a:gd name="T7" fmla="*/ 0 h 131"/>
                <a:gd name="T8" fmla="*/ 0 w 128"/>
                <a:gd name="T9" fmla="*/ 0 h 131"/>
                <a:gd name="T10" fmla="*/ 0 w 128"/>
                <a:gd name="T11" fmla="*/ 0 h 131"/>
                <a:gd name="T12" fmla="*/ 0 w 128"/>
                <a:gd name="T13" fmla="*/ 0 h 131"/>
                <a:gd name="T14" fmla="*/ 0 w 128"/>
                <a:gd name="T15" fmla="*/ 0 h 131"/>
                <a:gd name="T16" fmla="*/ 0 w 128"/>
                <a:gd name="T17" fmla="*/ 0 h 131"/>
                <a:gd name="T18" fmla="*/ 0 w 128"/>
                <a:gd name="T19" fmla="*/ 0 h 131"/>
                <a:gd name="T20" fmla="*/ 0 w 128"/>
                <a:gd name="T21" fmla="*/ 0 h 131"/>
                <a:gd name="T22" fmla="*/ 0 w 128"/>
                <a:gd name="T23" fmla="*/ 0 h 131"/>
                <a:gd name="T24" fmla="*/ 0 w 128"/>
                <a:gd name="T25" fmla="*/ 0 h 131"/>
                <a:gd name="T26" fmla="*/ 0 w 128"/>
                <a:gd name="T27" fmla="*/ 0 h 131"/>
                <a:gd name="T28" fmla="*/ 0 w 128"/>
                <a:gd name="T29" fmla="*/ 0 h 131"/>
                <a:gd name="T30" fmla="*/ 0 w 128"/>
                <a:gd name="T31" fmla="*/ 0 h 131"/>
                <a:gd name="T32" fmla="*/ 0 w 128"/>
                <a:gd name="T33" fmla="*/ 0 h 131"/>
                <a:gd name="T34" fmla="*/ 0 w 128"/>
                <a:gd name="T35" fmla="*/ 0 h 131"/>
                <a:gd name="T36" fmla="*/ 0 w 128"/>
                <a:gd name="T37" fmla="*/ 0 h 131"/>
                <a:gd name="T38" fmla="*/ 0 w 128"/>
                <a:gd name="T39" fmla="*/ 0 h 131"/>
                <a:gd name="T40" fmla="*/ 0 w 128"/>
                <a:gd name="T41" fmla="*/ 0 h 131"/>
                <a:gd name="T42" fmla="*/ 0 w 128"/>
                <a:gd name="T43" fmla="*/ 0 h 131"/>
                <a:gd name="T44" fmla="*/ 0 w 128"/>
                <a:gd name="T45" fmla="*/ 0 h 131"/>
                <a:gd name="T46" fmla="*/ 0 w 128"/>
                <a:gd name="T47" fmla="*/ 0 h 131"/>
                <a:gd name="T48" fmla="*/ 0 w 128"/>
                <a:gd name="T49" fmla="*/ 0 h 131"/>
                <a:gd name="T50" fmla="*/ 0 w 128"/>
                <a:gd name="T51" fmla="*/ 0 h 131"/>
                <a:gd name="T52" fmla="*/ 0 w 128"/>
                <a:gd name="T53" fmla="*/ 0 h 131"/>
                <a:gd name="T54" fmla="*/ 0 w 128"/>
                <a:gd name="T55" fmla="*/ 0 h 131"/>
                <a:gd name="T56" fmla="*/ 0 w 128"/>
                <a:gd name="T57" fmla="*/ 0 h 131"/>
                <a:gd name="T58" fmla="*/ 0 w 128"/>
                <a:gd name="T59" fmla="*/ 0 h 131"/>
                <a:gd name="T60" fmla="*/ 0 w 128"/>
                <a:gd name="T61" fmla="*/ 0 h 131"/>
                <a:gd name="T62" fmla="*/ 0 w 128"/>
                <a:gd name="T63" fmla="*/ 0 h 131"/>
                <a:gd name="T64" fmla="*/ 0 w 128"/>
                <a:gd name="T65" fmla="*/ 0 h 131"/>
                <a:gd name="T66" fmla="*/ 0 w 128"/>
                <a:gd name="T67" fmla="*/ 0 h 131"/>
                <a:gd name="T68" fmla="*/ 0 w 128"/>
                <a:gd name="T69" fmla="*/ 0 h 131"/>
                <a:gd name="T70" fmla="*/ 0 w 128"/>
                <a:gd name="T71" fmla="*/ 0 h 131"/>
                <a:gd name="T72" fmla="*/ 0 w 128"/>
                <a:gd name="T73" fmla="*/ 0 h 131"/>
                <a:gd name="T74" fmla="*/ 0 w 128"/>
                <a:gd name="T75" fmla="*/ 0 h 131"/>
                <a:gd name="T76" fmla="*/ 0 w 128"/>
                <a:gd name="T77" fmla="*/ 0 h 131"/>
                <a:gd name="T78" fmla="*/ 0 w 128"/>
                <a:gd name="T79" fmla="*/ 0 h 131"/>
                <a:gd name="T80" fmla="*/ 0 w 128"/>
                <a:gd name="T81" fmla="*/ 0 h 131"/>
                <a:gd name="T82" fmla="*/ 0 w 128"/>
                <a:gd name="T83" fmla="*/ 0 h 131"/>
                <a:gd name="T84" fmla="*/ 0 w 128"/>
                <a:gd name="T85" fmla="*/ 0 h 1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8"/>
                <a:gd name="T130" fmla="*/ 0 h 131"/>
                <a:gd name="T131" fmla="*/ 128 w 128"/>
                <a:gd name="T132" fmla="*/ 131 h 13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6" name="Freeform 198">
              <a:extLst>
                <a:ext uri="{FF2B5EF4-FFF2-40B4-BE49-F238E27FC236}">
                  <a16:creationId xmlns:a16="http://schemas.microsoft.com/office/drawing/2014/main" id="{95B284F3-E283-79A6-41B3-4637B044642E}"/>
                </a:ext>
              </a:extLst>
            </p:cNvPr>
            <p:cNvSpPr>
              <a:spLocks noChangeAspect="1"/>
            </p:cNvSpPr>
            <p:nvPr userDrawn="1"/>
          </p:nvSpPr>
          <p:spPr bwMode="gray">
            <a:xfrm>
              <a:off x="6359663" y="2912804"/>
              <a:ext cx="188035" cy="167664"/>
            </a:xfrm>
            <a:custGeom>
              <a:avLst/>
              <a:gdLst>
                <a:gd name="T0" fmla="*/ 0 w 352"/>
                <a:gd name="T1" fmla="*/ 0 h 293"/>
                <a:gd name="T2" fmla="*/ 0 w 352"/>
                <a:gd name="T3" fmla="*/ 0 h 293"/>
                <a:gd name="T4" fmla="*/ 0 w 352"/>
                <a:gd name="T5" fmla="*/ 0 h 293"/>
                <a:gd name="T6" fmla="*/ 0 w 352"/>
                <a:gd name="T7" fmla="*/ 0 h 293"/>
                <a:gd name="T8" fmla="*/ 0 w 352"/>
                <a:gd name="T9" fmla="*/ 0 h 293"/>
                <a:gd name="T10" fmla="*/ 0 w 352"/>
                <a:gd name="T11" fmla="*/ 0 h 293"/>
                <a:gd name="T12" fmla="*/ 0 w 352"/>
                <a:gd name="T13" fmla="*/ 0 h 293"/>
                <a:gd name="T14" fmla="*/ 0 w 352"/>
                <a:gd name="T15" fmla="*/ 0 h 293"/>
                <a:gd name="T16" fmla="*/ 0 w 352"/>
                <a:gd name="T17" fmla="*/ 0 h 293"/>
                <a:gd name="T18" fmla="*/ 0 w 352"/>
                <a:gd name="T19" fmla="*/ 0 h 293"/>
                <a:gd name="T20" fmla="*/ 0 w 352"/>
                <a:gd name="T21" fmla="*/ 0 h 293"/>
                <a:gd name="T22" fmla="*/ 0 w 352"/>
                <a:gd name="T23" fmla="*/ 0 h 293"/>
                <a:gd name="T24" fmla="*/ 0 w 352"/>
                <a:gd name="T25" fmla="*/ 0 h 293"/>
                <a:gd name="T26" fmla="*/ 0 w 352"/>
                <a:gd name="T27" fmla="*/ 0 h 293"/>
                <a:gd name="T28" fmla="*/ 0 w 352"/>
                <a:gd name="T29" fmla="*/ 0 h 293"/>
                <a:gd name="T30" fmla="*/ 0 w 352"/>
                <a:gd name="T31" fmla="*/ 0 h 293"/>
                <a:gd name="T32" fmla="*/ 0 w 352"/>
                <a:gd name="T33" fmla="*/ 0 h 293"/>
                <a:gd name="T34" fmla="*/ 0 w 352"/>
                <a:gd name="T35" fmla="*/ 0 h 293"/>
                <a:gd name="T36" fmla="*/ 0 w 352"/>
                <a:gd name="T37" fmla="*/ 0 h 293"/>
                <a:gd name="T38" fmla="*/ 0 w 352"/>
                <a:gd name="T39" fmla="*/ 0 h 293"/>
                <a:gd name="T40" fmla="*/ 0 w 352"/>
                <a:gd name="T41" fmla="*/ 0 h 293"/>
                <a:gd name="T42" fmla="*/ 0 w 352"/>
                <a:gd name="T43" fmla="*/ 0 h 293"/>
                <a:gd name="T44" fmla="*/ 0 w 352"/>
                <a:gd name="T45" fmla="*/ 0 h 293"/>
                <a:gd name="T46" fmla="*/ 0 w 352"/>
                <a:gd name="T47" fmla="*/ 0 h 293"/>
                <a:gd name="T48" fmla="*/ 0 w 352"/>
                <a:gd name="T49" fmla="*/ 0 h 293"/>
                <a:gd name="T50" fmla="*/ 0 w 352"/>
                <a:gd name="T51" fmla="*/ 0 h 293"/>
                <a:gd name="T52" fmla="*/ 0 w 352"/>
                <a:gd name="T53" fmla="*/ 0 h 293"/>
                <a:gd name="T54" fmla="*/ 0 w 352"/>
                <a:gd name="T55" fmla="*/ 0 h 293"/>
                <a:gd name="T56" fmla="*/ 0 w 352"/>
                <a:gd name="T57" fmla="*/ 0 h 293"/>
                <a:gd name="T58" fmla="*/ 0 w 352"/>
                <a:gd name="T59" fmla="*/ 0 h 293"/>
                <a:gd name="T60" fmla="*/ 0 w 352"/>
                <a:gd name="T61" fmla="*/ 0 h 293"/>
                <a:gd name="T62" fmla="*/ 0 w 352"/>
                <a:gd name="T63" fmla="*/ 0 h 293"/>
                <a:gd name="T64" fmla="*/ 0 w 352"/>
                <a:gd name="T65" fmla="*/ 0 h 293"/>
                <a:gd name="T66" fmla="*/ 0 w 352"/>
                <a:gd name="T67" fmla="*/ 0 h 293"/>
                <a:gd name="T68" fmla="*/ 0 w 352"/>
                <a:gd name="T69" fmla="*/ 0 h 293"/>
                <a:gd name="T70" fmla="*/ 0 w 352"/>
                <a:gd name="T71" fmla="*/ 0 h 293"/>
                <a:gd name="T72" fmla="*/ 0 w 352"/>
                <a:gd name="T73" fmla="*/ 0 h 293"/>
                <a:gd name="T74" fmla="*/ 0 w 352"/>
                <a:gd name="T75" fmla="*/ 0 h 293"/>
                <a:gd name="T76" fmla="*/ 0 w 352"/>
                <a:gd name="T77" fmla="*/ 0 h 293"/>
                <a:gd name="T78" fmla="*/ 0 w 352"/>
                <a:gd name="T79" fmla="*/ 0 h 293"/>
                <a:gd name="T80" fmla="*/ 0 w 352"/>
                <a:gd name="T81" fmla="*/ 0 h 293"/>
                <a:gd name="T82" fmla="*/ 0 w 352"/>
                <a:gd name="T83" fmla="*/ 0 h 293"/>
                <a:gd name="T84" fmla="*/ 0 w 352"/>
                <a:gd name="T85" fmla="*/ 0 h 293"/>
                <a:gd name="T86" fmla="*/ 0 w 352"/>
                <a:gd name="T87" fmla="*/ 0 h 293"/>
                <a:gd name="T88" fmla="*/ 0 w 352"/>
                <a:gd name="T89" fmla="*/ 0 h 293"/>
                <a:gd name="T90" fmla="*/ 0 w 352"/>
                <a:gd name="T91" fmla="*/ 0 h 293"/>
                <a:gd name="T92" fmla="*/ 0 w 352"/>
                <a:gd name="T93" fmla="*/ 0 h 293"/>
                <a:gd name="T94" fmla="*/ 0 w 352"/>
                <a:gd name="T95" fmla="*/ 0 h 293"/>
                <a:gd name="T96" fmla="*/ 0 w 352"/>
                <a:gd name="T97" fmla="*/ 0 h 293"/>
                <a:gd name="T98" fmla="*/ 0 w 352"/>
                <a:gd name="T99" fmla="*/ 0 h 293"/>
                <a:gd name="T100" fmla="*/ 0 w 352"/>
                <a:gd name="T101" fmla="*/ 0 h 293"/>
                <a:gd name="T102" fmla="*/ 0 w 352"/>
                <a:gd name="T103" fmla="*/ 0 h 293"/>
                <a:gd name="T104" fmla="*/ 0 w 352"/>
                <a:gd name="T105" fmla="*/ 0 h 293"/>
                <a:gd name="T106" fmla="*/ 0 w 352"/>
                <a:gd name="T107" fmla="*/ 0 h 293"/>
                <a:gd name="T108" fmla="*/ 0 w 352"/>
                <a:gd name="T109" fmla="*/ 0 h 293"/>
                <a:gd name="T110" fmla="*/ 0 w 352"/>
                <a:gd name="T111" fmla="*/ 0 h 293"/>
                <a:gd name="T112" fmla="*/ 0 w 352"/>
                <a:gd name="T113" fmla="*/ 0 h 293"/>
                <a:gd name="T114" fmla="*/ 0 w 352"/>
                <a:gd name="T115" fmla="*/ 0 h 293"/>
                <a:gd name="T116" fmla="*/ 2147483647 w 352"/>
                <a:gd name="T117" fmla="*/ 0 h 293"/>
                <a:gd name="T118" fmla="*/ 2147483647 w 352"/>
                <a:gd name="T119" fmla="*/ 0 h 293"/>
                <a:gd name="T120" fmla="*/ 2147483647 w 352"/>
                <a:gd name="T121" fmla="*/ 0 h 293"/>
                <a:gd name="T122" fmla="*/ 2147483647 w 352"/>
                <a:gd name="T123" fmla="*/ 0 h 293"/>
                <a:gd name="T124" fmla="*/ 2147483647 w 352"/>
                <a:gd name="T125" fmla="*/ 0 h 2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52"/>
                <a:gd name="T190" fmla="*/ 0 h 293"/>
                <a:gd name="T191" fmla="*/ 352 w 352"/>
                <a:gd name="T192" fmla="*/ 293 h 2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7" name="Freeform 199">
              <a:extLst>
                <a:ext uri="{FF2B5EF4-FFF2-40B4-BE49-F238E27FC236}">
                  <a16:creationId xmlns:a16="http://schemas.microsoft.com/office/drawing/2014/main" id="{1BA1FDB6-6FC8-8958-1E50-494197233AE4}"/>
                </a:ext>
              </a:extLst>
            </p:cNvPr>
            <p:cNvSpPr>
              <a:spLocks noChangeAspect="1"/>
            </p:cNvSpPr>
            <p:nvPr userDrawn="1"/>
          </p:nvSpPr>
          <p:spPr bwMode="gray">
            <a:xfrm>
              <a:off x="6240275" y="2614057"/>
              <a:ext cx="198482" cy="126510"/>
            </a:xfrm>
            <a:custGeom>
              <a:avLst/>
              <a:gdLst>
                <a:gd name="T0" fmla="*/ 0 w 369"/>
                <a:gd name="T1" fmla="*/ 0 h 223"/>
                <a:gd name="T2" fmla="*/ 0 w 369"/>
                <a:gd name="T3" fmla="*/ 0 h 223"/>
                <a:gd name="T4" fmla="*/ 0 w 369"/>
                <a:gd name="T5" fmla="*/ 0 h 223"/>
                <a:gd name="T6" fmla="*/ 0 w 369"/>
                <a:gd name="T7" fmla="*/ 0 h 223"/>
                <a:gd name="T8" fmla="*/ 0 w 369"/>
                <a:gd name="T9" fmla="*/ 0 h 223"/>
                <a:gd name="T10" fmla="*/ 0 w 369"/>
                <a:gd name="T11" fmla="*/ 0 h 223"/>
                <a:gd name="T12" fmla="*/ 0 w 369"/>
                <a:gd name="T13" fmla="*/ 0 h 223"/>
                <a:gd name="T14" fmla="*/ 0 w 369"/>
                <a:gd name="T15" fmla="*/ 0 h 223"/>
                <a:gd name="T16" fmla="*/ 2147483647 w 369"/>
                <a:gd name="T17" fmla="*/ 0 h 223"/>
                <a:gd name="T18" fmla="*/ 2147483647 w 369"/>
                <a:gd name="T19" fmla="*/ 0 h 223"/>
                <a:gd name="T20" fmla="*/ 2147483647 w 369"/>
                <a:gd name="T21" fmla="*/ 0 h 223"/>
                <a:gd name="T22" fmla="*/ 2147483647 w 369"/>
                <a:gd name="T23" fmla="*/ 0 h 223"/>
                <a:gd name="T24" fmla="*/ 2147483647 w 369"/>
                <a:gd name="T25" fmla="*/ 0 h 223"/>
                <a:gd name="T26" fmla="*/ 2147483647 w 369"/>
                <a:gd name="T27" fmla="*/ 0 h 223"/>
                <a:gd name="T28" fmla="*/ 2147483647 w 369"/>
                <a:gd name="T29" fmla="*/ 0 h 223"/>
                <a:gd name="T30" fmla="*/ 0 w 369"/>
                <a:gd name="T31" fmla="*/ 0 h 223"/>
                <a:gd name="T32" fmla="*/ 0 w 369"/>
                <a:gd name="T33" fmla="*/ 0 h 223"/>
                <a:gd name="T34" fmla="*/ 0 w 369"/>
                <a:gd name="T35" fmla="*/ 0 h 223"/>
                <a:gd name="T36" fmla="*/ 0 w 369"/>
                <a:gd name="T37" fmla="*/ 0 h 223"/>
                <a:gd name="T38" fmla="*/ 0 w 369"/>
                <a:gd name="T39" fmla="*/ 0 h 223"/>
                <a:gd name="T40" fmla="*/ 0 w 369"/>
                <a:gd name="T41" fmla="*/ 0 h 223"/>
                <a:gd name="T42" fmla="*/ 0 w 369"/>
                <a:gd name="T43" fmla="*/ 0 h 223"/>
                <a:gd name="T44" fmla="*/ 0 w 369"/>
                <a:gd name="T45" fmla="*/ 0 h 223"/>
                <a:gd name="T46" fmla="*/ 0 w 369"/>
                <a:gd name="T47" fmla="*/ 0 h 223"/>
                <a:gd name="T48" fmla="*/ 0 w 369"/>
                <a:gd name="T49" fmla="*/ 0 h 223"/>
                <a:gd name="T50" fmla="*/ 0 w 369"/>
                <a:gd name="T51" fmla="*/ 0 h 223"/>
                <a:gd name="T52" fmla="*/ 0 w 369"/>
                <a:gd name="T53" fmla="*/ 0 h 223"/>
                <a:gd name="T54" fmla="*/ 0 w 369"/>
                <a:gd name="T55" fmla="*/ 0 h 223"/>
                <a:gd name="T56" fmla="*/ 0 w 369"/>
                <a:gd name="T57" fmla="*/ 0 h 223"/>
                <a:gd name="T58" fmla="*/ 0 w 369"/>
                <a:gd name="T59" fmla="*/ 0 h 223"/>
                <a:gd name="T60" fmla="*/ 0 w 369"/>
                <a:gd name="T61" fmla="*/ 0 h 223"/>
                <a:gd name="T62" fmla="*/ 0 w 369"/>
                <a:gd name="T63" fmla="*/ 0 h 223"/>
                <a:gd name="T64" fmla="*/ 0 w 369"/>
                <a:gd name="T65" fmla="*/ 0 h 223"/>
                <a:gd name="T66" fmla="*/ 0 w 369"/>
                <a:gd name="T67" fmla="*/ 0 h 22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9"/>
                <a:gd name="T103" fmla="*/ 0 h 223"/>
                <a:gd name="T104" fmla="*/ 369 w 369"/>
                <a:gd name="T105" fmla="*/ 223 h 22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8" name="Freeform 200">
              <a:extLst>
                <a:ext uri="{FF2B5EF4-FFF2-40B4-BE49-F238E27FC236}">
                  <a16:creationId xmlns:a16="http://schemas.microsoft.com/office/drawing/2014/main" id="{EEC8D1E6-BBA9-8846-C0E8-D6F5B8CFD083}"/>
                </a:ext>
              </a:extLst>
            </p:cNvPr>
            <p:cNvSpPr>
              <a:spLocks noChangeAspect="1"/>
            </p:cNvSpPr>
            <p:nvPr userDrawn="1"/>
          </p:nvSpPr>
          <p:spPr bwMode="gray">
            <a:xfrm>
              <a:off x="6182075" y="2295496"/>
              <a:ext cx="291006" cy="294173"/>
            </a:xfrm>
            <a:custGeom>
              <a:avLst/>
              <a:gdLst>
                <a:gd name="T0" fmla="*/ 2147483647 w 545"/>
                <a:gd name="T1" fmla="*/ 2147483647 h 511"/>
                <a:gd name="T2" fmla="*/ 2147483647 w 545"/>
                <a:gd name="T3" fmla="*/ 2147483647 h 511"/>
                <a:gd name="T4" fmla="*/ 2147483647 w 545"/>
                <a:gd name="T5" fmla="*/ 2147483647 h 511"/>
                <a:gd name="T6" fmla="*/ 2147483647 w 545"/>
                <a:gd name="T7" fmla="*/ 2147483647 h 511"/>
                <a:gd name="T8" fmla="*/ 2147483647 w 545"/>
                <a:gd name="T9" fmla="*/ 2147483647 h 511"/>
                <a:gd name="T10" fmla="*/ 2147483647 w 545"/>
                <a:gd name="T11" fmla="*/ 2147483647 h 511"/>
                <a:gd name="T12" fmla="*/ 2147483647 w 545"/>
                <a:gd name="T13" fmla="*/ 2147483647 h 511"/>
                <a:gd name="T14" fmla="*/ 2147483647 w 545"/>
                <a:gd name="T15" fmla="*/ 2147483647 h 511"/>
                <a:gd name="T16" fmla="*/ 2147483647 w 545"/>
                <a:gd name="T17" fmla="*/ 2147483647 h 511"/>
                <a:gd name="T18" fmla="*/ 2147483647 w 545"/>
                <a:gd name="T19" fmla="*/ 2147483647 h 511"/>
                <a:gd name="T20" fmla="*/ 0 w 545"/>
                <a:gd name="T21" fmla="*/ 2147483647 h 511"/>
                <a:gd name="T22" fmla="*/ 0 w 545"/>
                <a:gd name="T23" fmla="*/ 2147483647 h 511"/>
                <a:gd name="T24" fmla="*/ 0 w 545"/>
                <a:gd name="T25" fmla="*/ 2147483647 h 511"/>
                <a:gd name="T26" fmla="*/ 0 w 545"/>
                <a:gd name="T27" fmla="*/ 2147483647 h 511"/>
                <a:gd name="T28" fmla="*/ 0 w 545"/>
                <a:gd name="T29" fmla="*/ 2147483647 h 511"/>
                <a:gd name="T30" fmla="*/ 0 w 545"/>
                <a:gd name="T31" fmla="*/ 2147483647 h 511"/>
                <a:gd name="T32" fmla="*/ 0 w 545"/>
                <a:gd name="T33" fmla="*/ 2147483647 h 511"/>
                <a:gd name="T34" fmla="*/ 0 w 545"/>
                <a:gd name="T35" fmla="*/ 2147483647 h 511"/>
                <a:gd name="T36" fmla="*/ 0 w 545"/>
                <a:gd name="T37" fmla="*/ 2147483647 h 511"/>
                <a:gd name="T38" fmla="*/ 0 w 545"/>
                <a:gd name="T39" fmla="*/ 2147483647 h 511"/>
                <a:gd name="T40" fmla="*/ 0 w 545"/>
                <a:gd name="T41" fmla="*/ 2147483647 h 511"/>
                <a:gd name="T42" fmla="*/ 0 w 545"/>
                <a:gd name="T43" fmla="*/ 0 h 511"/>
                <a:gd name="T44" fmla="*/ 0 w 545"/>
                <a:gd name="T45" fmla="*/ 0 h 511"/>
                <a:gd name="T46" fmla="*/ 0 w 545"/>
                <a:gd name="T47" fmla="*/ 0 h 511"/>
                <a:gd name="T48" fmla="*/ 0 w 545"/>
                <a:gd name="T49" fmla="*/ 0 h 511"/>
                <a:gd name="T50" fmla="*/ 0 w 545"/>
                <a:gd name="T51" fmla="*/ 0 h 511"/>
                <a:gd name="T52" fmla="*/ 0 w 545"/>
                <a:gd name="T53" fmla="*/ 0 h 511"/>
                <a:gd name="T54" fmla="*/ 0 w 545"/>
                <a:gd name="T55" fmla="*/ 0 h 511"/>
                <a:gd name="T56" fmla="*/ 0 w 545"/>
                <a:gd name="T57" fmla="*/ 0 h 511"/>
                <a:gd name="T58" fmla="*/ 0 w 545"/>
                <a:gd name="T59" fmla="*/ 0 h 511"/>
                <a:gd name="T60" fmla="*/ 0 w 545"/>
                <a:gd name="T61" fmla="*/ 0 h 511"/>
                <a:gd name="T62" fmla="*/ 0 w 545"/>
                <a:gd name="T63" fmla="*/ 0 h 511"/>
                <a:gd name="T64" fmla="*/ 0 w 545"/>
                <a:gd name="T65" fmla="*/ 0 h 511"/>
                <a:gd name="T66" fmla="*/ 0 w 545"/>
                <a:gd name="T67" fmla="*/ 0 h 511"/>
                <a:gd name="T68" fmla="*/ 0 w 545"/>
                <a:gd name="T69" fmla="*/ 0 h 511"/>
                <a:gd name="T70" fmla="*/ 0 w 545"/>
                <a:gd name="T71" fmla="*/ 0 h 511"/>
                <a:gd name="T72" fmla="*/ 2147483647 w 545"/>
                <a:gd name="T73" fmla="*/ 0 h 511"/>
                <a:gd name="T74" fmla="*/ 2147483647 w 545"/>
                <a:gd name="T75" fmla="*/ 0 h 511"/>
                <a:gd name="T76" fmla="*/ 2147483647 w 545"/>
                <a:gd name="T77" fmla="*/ 0 h 511"/>
                <a:gd name="T78" fmla="*/ 2147483647 w 545"/>
                <a:gd name="T79" fmla="*/ 0 h 511"/>
                <a:gd name="T80" fmla="*/ 2147483647 w 545"/>
                <a:gd name="T81" fmla="*/ 0 h 511"/>
                <a:gd name="T82" fmla="*/ 2147483647 w 545"/>
                <a:gd name="T83" fmla="*/ 0 h 5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45"/>
                <a:gd name="T127" fmla="*/ 0 h 511"/>
                <a:gd name="T128" fmla="*/ 545 w 545"/>
                <a:gd name="T129" fmla="*/ 511 h 5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89" name="Freeform 201">
              <a:extLst>
                <a:ext uri="{FF2B5EF4-FFF2-40B4-BE49-F238E27FC236}">
                  <a16:creationId xmlns:a16="http://schemas.microsoft.com/office/drawing/2014/main" id="{9948F56E-DFBE-65E9-AA8C-54AB56A89EE7}"/>
                </a:ext>
              </a:extLst>
            </p:cNvPr>
            <p:cNvSpPr>
              <a:spLocks noChangeAspect="1"/>
            </p:cNvSpPr>
            <p:nvPr userDrawn="1"/>
          </p:nvSpPr>
          <p:spPr bwMode="gray">
            <a:xfrm>
              <a:off x="6382048" y="2117162"/>
              <a:ext cx="216389" cy="135656"/>
            </a:xfrm>
            <a:custGeom>
              <a:avLst/>
              <a:gdLst>
                <a:gd name="T0" fmla="*/ 0 w 406"/>
                <a:gd name="T1" fmla="*/ 0 h 240"/>
                <a:gd name="T2" fmla="*/ 0 w 406"/>
                <a:gd name="T3" fmla="*/ 0 h 240"/>
                <a:gd name="T4" fmla="*/ 0 w 406"/>
                <a:gd name="T5" fmla="*/ 0 h 240"/>
                <a:gd name="T6" fmla="*/ 0 w 406"/>
                <a:gd name="T7" fmla="*/ 0 h 240"/>
                <a:gd name="T8" fmla="*/ 0 w 406"/>
                <a:gd name="T9" fmla="*/ 0 h 240"/>
                <a:gd name="T10" fmla="*/ 0 w 406"/>
                <a:gd name="T11" fmla="*/ 0 h 240"/>
                <a:gd name="T12" fmla="*/ 0 w 406"/>
                <a:gd name="T13" fmla="*/ 0 h 240"/>
                <a:gd name="T14" fmla="*/ 0 w 406"/>
                <a:gd name="T15" fmla="*/ 0 h 240"/>
                <a:gd name="T16" fmla="*/ 0 w 406"/>
                <a:gd name="T17" fmla="*/ 0 h 240"/>
                <a:gd name="T18" fmla="*/ 0 w 406"/>
                <a:gd name="T19" fmla="*/ 0 h 240"/>
                <a:gd name="T20" fmla="*/ 0 w 406"/>
                <a:gd name="T21" fmla="*/ 0 h 240"/>
                <a:gd name="T22" fmla="*/ 0 w 406"/>
                <a:gd name="T23" fmla="*/ 0 h 240"/>
                <a:gd name="T24" fmla="*/ 0 w 406"/>
                <a:gd name="T25" fmla="*/ 0 h 240"/>
                <a:gd name="T26" fmla="*/ 0 w 406"/>
                <a:gd name="T27" fmla="*/ 0 h 240"/>
                <a:gd name="T28" fmla="*/ 0 w 406"/>
                <a:gd name="T29" fmla="*/ 0 h 240"/>
                <a:gd name="T30" fmla="*/ 0 w 406"/>
                <a:gd name="T31" fmla="*/ 0 h 240"/>
                <a:gd name="T32" fmla="*/ 0 w 406"/>
                <a:gd name="T33" fmla="*/ 0 h 240"/>
                <a:gd name="T34" fmla="*/ 0 w 406"/>
                <a:gd name="T35" fmla="*/ 0 h 240"/>
                <a:gd name="T36" fmla="*/ 2147483647 w 406"/>
                <a:gd name="T37" fmla="*/ 0 h 240"/>
                <a:gd name="T38" fmla="*/ 2147483647 w 406"/>
                <a:gd name="T39" fmla="*/ 0 h 240"/>
                <a:gd name="T40" fmla="*/ 2147483647 w 406"/>
                <a:gd name="T41" fmla="*/ 0 h 240"/>
                <a:gd name="T42" fmla="*/ 2147483647 w 406"/>
                <a:gd name="T43" fmla="*/ 0 h 240"/>
                <a:gd name="T44" fmla="*/ 2147483647 w 406"/>
                <a:gd name="T45" fmla="*/ 0 h 240"/>
                <a:gd name="T46" fmla="*/ 2147483647 w 406"/>
                <a:gd name="T47" fmla="*/ 0 h 240"/>
                <a:gd name="T48" fmla="*/ 2147483647 w 406"/>
                <a:gd name="T49" fmla="*/ 0 h 240"/>
                <a:gd name="T50" fmla="*/ 2147483647 w 406"/>
                <a:gd name="T51" fmla="*/ 0 h 240"/>
                <a:gd name="T52" fmla="*/ 2147483647 w 406"/>
                <a:gd name="T53" fmla="*/ 0 h 240"/>
                <a:gd name="T54" fmla="*/ 2147483647 w 406"/>
                <a:gd name="T55" fmla="*/ 0 h 240"/>
                <a:gd name="T56" fmla="*/ 2147483647 w 406"/>
                <a:gd name="T57" fmla="*/ 0 h 240"/>
                <a:gd name="T58" fmla="*/ 2147483647 w 406"/>
                <a:gd name="T59" fmla="*/ 0 h 240"/>
                <a:gd name="T60" fmla="*/ 2147483647 w 406"/>
                <a:gd name="T61" fmla="*/ 0 h 240"/>
                <a:gd name="T62" fmla="*/ 2147483647 w 406"/>
                <a:gd name="T63" fmla="*/ 0 h 240"/>
                <a:gd name="T64" fmla="*/ 2147483647 w 406"/>
                <a:gd name="T65" fmla="*/ 0 h 240"/>
                <a:gd name="T66" fmla="*/ 2147483647 w 406"/>
                <a:gd name="T67" fmla="*/ 0 h 240"/>
                <a:gd name="T68" fmla="*/ 0 w 406"/>
                <a:gd name="T69" fmla="*/ 0 h 240"/>
                <a:gd name="T70" fmla="*/ 0 w 406"/>
                <a:gd name="T71" fmla="*/ 0 h 240"/>
                <a:gd name="T72" fmla="*/ 0 w 406"/>
                <a:gd name="T73" fmla="*/ 0 h 240"/>
                <a:gd name="T74" fmla="*/ 0 w 406"/>
                <a:gd name="T75" fmla="*/ 0 h 240"/>
                <a:gd name="T76" fmla="*/ 0 w 406"/>
                <a:gd name="T77" fmla="*/ 0 h 240"/>
                <a:gd name="T78" fmla="*/ 0 w 406"/>
                <a:gd name="T79" fmla="*/ 0 h 240"/>
                <a:gd name="T80" fmla="*/ 0 w 406"/>
                <a:gd name="T81" fmla="*/ 0 h 240"/>
                <a:gd name="T82" fmla="*/ 0 w 406"/>
                <a:gd name="T83" fmla="*/ 0 h 240"/>
                <a:gd name="T84" fmla="*/ 0 w 406"/>
                <a:gd name="T85" fmla="*/ 0 h 240"/>
                <a:gd name="T86" fmla="*/ 0 w 406"/>
                <a:gd name="T87" fmla="*/ 0 h 240"/>
                <a:gd name="T88" fmla="*/ 0 w 406"/>
                <a:gd name="T89" fmla="*/ 0 h 240"/>
                <a:gd name="T90" fmla="*/ 0 w 406"/>
                <a:gd name="T91" fmla="*/ 0 h 240"/>
                <a:gd name="T92" fmla="*/ 0 w 406"/>
                <a:gd name="T93" fmla="*/ 0 h 24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6"/>
                <a:gd name="T142" fmla="*/ 0 h 240"/>
                <a:gd name="T143" fmla="*/ 406 w 406"/>
                <a:gd name="T144" fmla="*/ 240 h 24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0" name="Freeform 202">
              <a:extLst>
                <a:ext uri="{FF2B5EF4-FFF2-40B4-BE49-F238E27FC236}">
                  <a16:creationId xmlns:a16="http://schemas.microsoft.com/office/drawing/2014/main" id="{493F6C7E-F2BB-D24B-E8E9-183A0A27C7BA}"/>
                </a:ext>
              </a:extLst>
            </p:cNvPr>
            <p:cNvSpPr>
              <a:spLocks noChangeAspect="1"/>
            </p:cNvSpPr>
            <p:nvPr userDrawn="1"/>
          </p:nvSpPr>
          <p:spPr bwMode="gray">
            <a:xfrm>
              <a:off x="6117903" y="2489072"/>
              <a:ext cx="202958" cy="126510"/>
            </a:xfrm>
            <a:custGeom>
              <a:avLst/>
              <a:gdLst>
                <a:gd name="T0" fmla="*/ 2147483647 w 378"/>
                <a:gd name="T1" fmla="*/ 0 h 222"/>
                <a:gd name="T2" fmla="*/ 2147483647 w 378"/>
                <a:gd name="T3" fmla="*/ 0 h 222"/>
                <a:gd name="T4" fmla="*/ 2147483647 w 378"/>
                <a:gd name="T5" fmla="*/ 0 h 222"/>
                <a:gd name="T6" fmla="*/ 2147483647 w 378"/>
                <a:gd name="T7" fmla="*/ 0 h 222"/>
                <a:gd name="T8" fmla="*/ 2147483647 w 378"/>
                <a:gd name="T9" fmla="*/ 0 h 222"/>
                <a:gd name="T10" fmla="*/ 2147483647 w 378"/>
                <a:gd name="T11" fmla="*/ 0 h 222"/>
                <a:gd name="T12" fmla="*/ 0 w 378"/>
                <a:gd name="T13" fmla="*/ 0 h 222"/>
                <a:gd name="T14" fmla="*/ 0 w 378"/>
                <a:gd name="T15" fmla="*/ 0 h 222"/>
                <a:gd name="T16" fmla="*/ 0 w 378"/>
                <a:gd name="T17" fmla="*/ 0 h 222"/>
                <a:gd name="T18" fmla="*/ 0 w 378"/>
                <a:gd name="T19" fmla="*/ 0 h 222"/>
                <a:gd name="T20" fmla="*/ 0 w 378"/>
                <a:gd name="T21" fmla="*/ 0 h 222"/>
                <a:gd name="T22" fmla="*/ 0 w 378"/>
                <a:gd name="T23" fmla="*/ 0 h 222"/>
                <a:gd name="T24" fmla="*/ 0 w 378"/>
                <a:gd name="T25" fmla="*/ 0 h 222"/>
                <a:gd name="T26" fmla="*/ 0 w 378"/>
                <a:gd name="T27" fmla="*/ 0 h 222"/>
                <a:gd name="T28" fmla="*/ 0 w 378"/>
                <a:gd name="T29" fmla="*/ 0 h 222"/>
                <a:gd name="T30" fmla="*/ 0 w 378"/>
                <a:gd name="T31" fmla="*/ 0 h 222"/>
                <a:gd name="T32" fmla="*/ 0 w 378"/>
                <a:gd name="T33" fmla="*/ 0 h 222"/>
                <a:gd name="T34" fmla="*/ 0 w 378"/>
                <a:gd name="T35" fmla="*/ 0 h 222"/>
                <a:gd name="T36" fmla="*/ 0 w 378"/>
                <a:gd name="T37" fmla="*/ 0 h 222"/>
                <a:gd name="T38" fmla="*/ 0 w 378"/>
                <a:gd name="T39" fmla="*/ 0 h 222"/>
                <a:gd name="T40" fmla="*/ 0 w 378"/>
                <a:gd name="T41" fmla="*/ 0 h 222"/>
                <a:gd name="T42" fmla="*/ 0 w 378"/>
                <a:gd name="T43" fmla="*/ 0 h 222"/>
                <a:gd name="T44" fmla="*/ 0 w 378"/>
                <a:gd name="T45" fmla="*/ 0 h 222"/>
                <a:gd name="T46" fmla="*/ 0 w 378"/>
                <a:gd name="T47" fmla="*/ 0 h 222"/>
                <a:gd name="T48" fmla="*/ 0 w 378"/>
                <a:gd name="T49" fmla="*/ 0 h 222"/>
                <a:gd name="T50" fmla="*/ 0 w 378"/>
                <a:gd name="T51" fmla="*/ 0 h 222"/>
                <a:gd name="T52" fmla="*/ 0 w 378"/>
                <a:gd name="T53" fmla="*/ 0 h 222"/>
                <a:gd name="T54" fmla="*/ 0 w 378"/>
                <a:gd name="T55" fmla="*/ 0 h 222"/>
                <a:gd name="T56" fmla="*/ 0 w 378"/>
                <a:gd name="T57" fmla="*/ 0 h 222"/>
                <a:gd name="T58" fmla="*/ 0 w 378"/>
                <a:gd name="T59" fmla="*/ 0 h 222"/>
                <a:gd name="T60" fmla="*/ 0 w 378"/>
                <a:gd name="T61" fmla="*/ 0 h 222"/>
                <a:gd name="T62" fmla="*/ 0 w 378"/>
                <a:gd name="T63" fmla="*/ 0 h 222"/>
                <a:gd name="T64" fmla="*/ 0 w 378"/>
                <a:gd name="T65" fmla="*/ 0 h 222"/>
                <a:gd name="T66" fmla="*/ 0 w 378"/>
                <a:gd name="T67" fmla="*/ 0 h 222"/>
                <a:gd name="T68" fmla="*/ 0 w 378"/>
                <a:gd name="T69" fmla="*/ 0 h 222"/>
                <a:gd name="T70" fmla="*/ 0 w 378"/>
                <a:gd name="T71" fmla="*/ 0 h 222"/>
                <a:gd name="T72" fmla="*/ 2147483647 w 378"/>
                <a:gd name="T73" fmla="*/ 0 h 222"/>
                <a:gd name="T74" fmla="*/ 2147483647 w 378"/>
                <a:gd name="T75" fmla="*/ 0 h 222"/>
                <a:gd name="T76" fmla="*/ 2147483647 w 378"/>
                <a:gd name="T77" fmla="*/ 0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8"/>
                <a:gd name="T118" fmla="*/ 0 h 222"/>
                <a:gd name="T119" fmla="*/ 378 w 378"/>
                <a:gd name="T120" fmla="*/ 222 h 22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1" name="Freeform 203">
              <a:extLst>
                <a:ext uri="{FF2B5EF4-FFF2-40B4-BE49-F238E27FC236}">
                  <a16:creationId xmlns:a16="http://schemas.microsoft.com/office/drawing/2014/main" id="{07CBA598-8CCB-DAA2-48C6-DE5E456F0016}"/>
                </a:ext>
              </a:extLst>
            </p:cNvPr>
            <p:cNvSpPr>
              <a:spLocks noChangeAspect="1"/>
            </p:cNvSpPr>
            <p:nvPr userDrawn="1"/>
          </p:nvSpPr>
          <p:spPr bwMode="gray">
            <a:xfrm>
              <a:off x="6425326" y="2809157"/>
              <a:ext cx="183559" cy="124985"/>
            </a:xfrm>
            <a:custGeom>
              <a:avLst/>
              <a:gdLst>
                <a:gd name="T0" fmla="*/ 0 w 346"/>
                <a:gd name="T1" fmla="*/ 0 h 215"/>
                <a:gd name="T2" fmla="*/ 0 w 346"/>
                <a:gd name="T3" fmla="*/ 0 h 215"/>
                <a:gd name="T4" fmla="*/ 0 w 346"/>
                <a:gd name="T5" fmla="*/ 0 h 215"/>
                <a:gd name="T6" fmla="*/ 0 w 346"/>
                <a:gd name="T7" fmla="*/ 0 h 215"/>
                <a:gd name="T8" fmla="*/ 0 w 346"/>
                <a:gd name="T9" fmla="*/ 0 h 215"/>
                <a:gd name="T10" fmla="*/ 0 w 346"/>
                <a:gd name="T11" fmla="*/ 0 h 215"/>
                <a:gd name="T12" fmla="*/ 0 w 346"/>
                <a:gd name="T13" fmla="*/ 0 h 215"/>
                <a:gd name="T14" fmla="*/ 0 w 346"/>
                <a:gd name="T15" fmla="*/ 0 h 215"/>
                <a:gd name="T16" fmla="*/ 0 w 346"/>
                <a:gd name="T17" fmla="*/ 0 h 215"/>
                <a:gd name="T18" fmla="*/ 0 w 346"/>
                <a:gd name="T19" fmla="*/ 0 h 215"/>
                <a:gd name="T20" fmla="*/ 0 w 346"/>
                <a:gd name="T21" fmla="*/ 0 h 215"/>
                <a:gd name="T22" fmla="*/ 0 w 346"/>
                <a:gd name="T23" fmla="*/ 0 h 215"/>
                <a:gd name="T24" fmla="*/ 0 w 346"/>
                <a:gd name="T25" fmla="*/ 0 h 215"/>
                <a:gd name="T26" fmla="*/ 0 w 346"/>
                <a:gd name="T27" fmla="*/ 0 h 215"/>
                <a:gd name="T28" fmla="*/ 0 w 346"/>
                <a:gd name="T29" fmla="*/ 0 h 215"/>
                <a:gd name="T30" fmla="*/ 0 w 346"/>
                <a:gd name="T31" fmla="*/ 0 h 215"/>
                <a:gd name="T32" fmla="*/ 0 w 346"/>
                <a:gd name="T33" fmla="*/ 0 h 215"/>
                <a:gd name="T34" fmla="*/ 0 w 346"/>
                <a:gd name="T35" fmla="*/ 0 h 215"/>
                <a:gd name="T36" fmla="*/ 0 w 346"/>
                <a:gd name="T37" fmla="*/ 0 h 215"/>
                <a:gd name="T38" fmla="*/ 0 w 346"/>
                <a:gd name="T39" fmla="*/ 0 h 215"/>
                <a:gd name="T40" fmla="*/ 0 w 346"/>
                <a:gd name="T41" fmla="*/ 0 h 215"/>
                <a:gd name="T42" fmla="*/ 0 w 346"/>
                <a:gd name="T43" fmla="*/ 0 h 215"/>
                <a:gd name="T44" fmla="*/ 0 w 346"/>
                <a:gd name="T45" fmla="*/ 0 h 215"/>
                <a:gd name="T46" fmla="*/ 0 w 346"/>
                <a:gd name="T47" fmla="*/ 0 h 215"/>
                <a:gd name="T48" fmla="*/ 0 w 346"/>
                <a:gd name="T49" fmla="*/ 0 h 215"/>
                <a:gd name="T50" fmla="*/ 0 w 346"/>
                <a:gd name="T51" fmla="*/ 0 h 215"/>
                <a:gd name="T52" fmla="*/ 2147483647 w 346"/>
                <a:gd name="T53" fmla="*/ 0 h 215"/>
                <a:gd name="T54" fmla="*/ 2147483647 w 346"/>
                <a:gd name="T55" fmla="*/ 0 h 215"/>
                <a:gd name="T56" fmla="*/ 2147483647 w 346"/>
                <a:gd name="T57" fmla="*/ 0 h 215"/>
                <a:gd name="T58" fmla="*/ 2147483647 w 346"/>
                <a:gd name="T59" fmla="*/ 0 h 215"/>
                <a:gd name="T60" fmla="*/ 2147483647 w 346"/>
                <a:gd name="T61" fmla="*/ 0 h 215"/>
                <a:gd name="T62" fmla="*/ 0 w 346"/>
                <a:gd name="T63" fmla="*/ 0 h 215"/>
                <a:gd name="T64" fmla="*/ 0 w 346"/>
                <a:gd name="T65" fmla="*/ 0 h 215"/>
                <a:gd name="T66" fmla="*/ 0 w 346"/>
                <a:gd name="T67" fmla="*/ 0 h 215"/>
                <a:gd name="T68" fmla="*/ 0 w 346"/>
                <a:gd name="T69" fmla="*/ 0 h 215"/>
                <a:gd name="T70" fmla="*/ 0 w 346"/>
                <a:gd name="T71" fmla="*/ 0 h 215"/>
                <a:gd name="T72" fmla="*/ 0 w 346"/>
                <a:gd name="T73" fmla="*/ 0 h 215"/>
                <a:gd name="T74" fmla="*/ 0 w 346"/>
                <a:gd name="T75" fmla="*/ 0 h 215"/>
                <a:gd name="T76" fmla="*/ 0 w 346"/>
                <a:gd name="T77" fmla="*/ 0 h 215"/>
                <a:gd name="T78" fmla="*/ 0 w 346"/>
                <a:gd name="T79" fmla="*/ 0 h 215"/>
                <a:gd name="T80" fmla="*/ 0 w 346"/>
                <a:gd name="T81" fmla="*/ 0 h 215"/>
                <a:gd name="T82" fmla="*/ 0 w 346"/>
                <a:gd name="T83" fmla="*/ 0 h 215"/>
                <a:gd name="T84" fmla="*/ 0 w 346"/>
                <a:gd name="T85" fmla="*/ 0 h 215"/>
                <a:gd name="T86" fmla="*/ 0 w 346"/>
                <a:gd name="T87" fmla="*/ 0 h 215"/>
                <a:gd name="T88" fmla="*/ 0 w 346"/>
                <a:gd name="T89" fmla="*/ 0 h 215"/>
                <a:gd name="T90" fmla="*/ 0 w 346"/>
                <a:gd name="T91" fmla="*/ 0 h 215"/>
                <a:gd name="T92" fmla="*/ 0 w 346"/>
                <a:gd name="T93" fmla="*/ 0 h 215"/>
                <a:gd name="T94" fmla="*/ 0 w 346"/>
                <a:gd name="T95" fmla="*/ 0 h 215"/>
                <a:gd name="T96" fmla="*/ 0 w 346"/>
                <a:gd name="T97" fmla="*/ 0 h 215"/>
                <a:gd name="T98" fmla="*/ 0 w 346"/>
                <a:gd name="T99" fmla="*/ 0 h 215"/>
                <a:gd name="T100" fmla="*/ 0 w 346"/>
                <a:gd name="T101" fmla="*/ 0 h 215"/>
                <a:gd name="T102" fmla="*/ 0 w 346"/>
                <a:gd name="T103" fmla="*/ 0 h 215"/>
                <a:gd name="T104" fmla="*/ 0 w 346"/>
                <a:gd name="T105" fmla="*/ 0 h 215"/>
                <a:gd name="T106" fmla="*/ 0 w 346"/>
                <a:gd name="T107" fmla="*/ 0 h 215"/>
                <a:gd name="T108" fmla="*/ 0 w 346"/>
                <a:gd name="T109" fmla="*/ 0 h 215"/>
                <a:gd name="T110" fmla="*/ 0 w 346"/>
                <a:gd name="T111" fmla="*/ 0 h 215"/>
                <a:gd name="T112" fmla="*/ 0 w 346"/>
                <a:gd name="T113" fmla="*/ 0 h 215"/>
                <a:gd name="T114" fmla="*/ 0 w 346"/>
                <a:gd name="T115" fmla="*/ 0 h 215"/>
                <a:gd name="T116" fmla="*/ 0 w 346"/>
                <a:gd name="T117" fmla="*/ 0 h 21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6"/>
                <a:gd name="T178" fmla="*/ 0 h 215"/>
                <a:gd name="T179" fmla="*/ 346 w 346"/>
                <a:gd name="T180" fmla="*/ 215 h 21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2" name="Freeform 204">
              <a:extLst>
                <a:ext uri="{FF2B5EF4-FFF2-40B4-BE49-F238E27FC236}">
                  <a16:creationId xmlns:a16="http://schemas.microsoft.com/office/drawing/2014/main" id="{92620554-D96B-BA14-5A01-B124F62673EB}"/>
                </a:ext>
              </a:extLst>
            </p:cNvPr>
            <p:cNvSpPr>
              <a:spLocks noChangeAspect="1"/>
            </p:cNvSpPr>
            <p:nvPr userDrawn="1"/>
          </p:nvSpPr>
          <p:spPr bwMode="gray">
            <a:xfrm>
              <a:off x="6165658" y="2705510"/>
              <a:ext cx="171620" cy="156995"/>
            </a:xfrm>
            <a:custGeom>
              <a:avLst/>
              <a:gdLst>
                <a:gd name="T0" fmla="*/ 0 w 322"/>
                <a:gd name="T1" fmla="*/ 0 h 276"/>
                <a:gd name="T2" fmla="*/ 0 w 322"/>
                <a:gd name="T3" fmla="*/ 0 h 276"/>
                <a:gd name="T4" fmla="*/ 0 w 322"/>
                <a:gd name="T5" fmla="*/ 0 h 276"/>
                <a:gd name="T6" fmla="*/ 0 w 322"/>
                <a:gd name="T7" fmla="*/ 0 h 276"/>
                <a:gd name="T8" fmla="*/ 0 w 322"/>
                <a:gd name="T9" fmla="*/ 0 h 276"/>
                <a:gd name="T10" fmla="*/ 0 w 322"/>
                <a:gd name="T11" fmla="*/ 0 h 276"/>
                <a:gd name="T12" fmla="*/ 0 w 322"/>
                <a:gd name="T13" fmla="*/ 0 h 276"/>
                <a:gd name="T14" fmla="*/ 0 w 322"/>
                <a:gd name="T15" fmla="*/ 0 h 276"/>
                <a:gd name="T16" fmla="*/ 0 w 322"/>
                <a:gd name="T17" fmla="*/ 0 h 276"/>
                <a:gd name="T18" fmla="*/ 0 w 322"/>
                <a:gd name="T19" fmla="*/ 0 h 276"/>
                <a:gd name="T20" fmla="*/ 0 w 322"/>
                <a:gd name="T21" fmla="*/ 0 h 276"/>
                <a:gd name="T22" fmla="*/ 0 w 322"/>
                <a:gd name="T23" fmla="*/ 0 h 276"/>
                <a:gd name="T24" fmla="*/ 0 w 322"/>
                <a:gd name="T25" fmla="*/ 0 h 276"/>
                <a:gd name="T26" fmla="*/ 0 w 322"/>
                <a:gd name="T27" fmla="*/ 0 h 276"/>
                <a:gd name="T28" fmla="*/ 0 w 322"/>
                <a:gd name="T29" fmla="*/ 0 h 276"/>
                <a:gd name="T30" fmla="*/ 0 w 322"/>
                <a:gd name="T31" fmla="*/ 0 h 276"/>
                <a:gd name="T32" fmla="*/ 0 w 322"/>
                <a:gd name="T33" fmla="*/ 0 h 276"/>
                <a:gd name="T34" fmla="*/ 0 w 322"/>
                <a:gd name="T35" fmla="*/ 0 h 276"/>
                <a:gd name="T36" fmla="*/ 0 w 322"/>
                <a:gd name="T37" fmla="*/ 0 h 276"/>
                <a:gd name="T38" fmla="*/ 0 w 322"/>
                <a:gd name="T39" fmla="*/ 0 h 276"/>
                <a:gd name="T40" fmla="*/ 0 w 322"/>
                <a:gd name="T41" fmla="*/ 0 h 276"/>
                <a:gd name="T42" fmla="*/ 0 w 322"/>
                <a:gd name="T43" fmla="*/ 0 h 276"/>
                <a:gd name="T44" fmla="*/ 0 w 322"/>
                <a:gd name="T45" fmla="*/ 0 h 276"/>
                <a:gd name="T46" fmla="*/ 0 w 322"/>
                <a:gd name="T47" fmla="*/ 0 h 276"/>
                <a:gd name="T48" fmla="*/ 0 w 322"/>
                <a:gd name="T49" fmla="*/ 0 h 276"/>
                <a:gd name="T50" fmla="*/ 0 w 322"/>
                <a:gd name="T51" fmla="*/ 0 h 276"/>
                <a:gd name="T52" fmla="*/ 0 w 322"/>
                <a:gd name="T53" fmla="*/ 0 h 276"/>
                <a:gd name="T54" fmla="*/ 0 w 322"/>
                <a:gd name="T55" fmla="*/ 0 h 276"/>
                <a:gd name="T56" fmla="*/ 0 w 322"/>
                <a:gd name="T57" fmla="*/ 0 h 276"/>
                <a:gd name="T58" fmla="*/ 0 w 322"/>
                <a:gd name="T59" fmla="*/ 0 h 276"/>
                <a:gd name="T60" fmla="*/ 0 w 322"/>
                <a:gd name="T61" fmla="*/ 0 h 276"/>
                <a:gd name="T62" fmla="*/ 0 w 322"/>
                <a:gd name="T63" fmla="*/ 0 h 276"/>
                <a:gd name="T64" fmla="*/ 0 w 322"/>
                <a:gd name="T65" fmla="*/ 0 h 276"/>
                <a:gd name="T66" fmla="*/ 0 w 322"/>
                <a:gd name="T67" fmla="*/ 0 h 276"/>
                <a:gd name="T68" fmla="*/ 0 w 322"/>
                <a:gd name="T69" fmla="*/ 0 h 276"/>
                <a:gd name="T70" fmla="*/ 0 w 322"/>
                <a:gd name="T71" fmla="*/ 0 h 276"/>
                <a:gd name="T72" fmla="*/ 0 w 322"/>
                <a:gd name="T73" fmla="*/ 0 h 276"/>
                <a:gd name="T74" fmla="*/ 0 w 322"/>
                <a:gd name="T75" fmla="*/ 0 h 276"/>
                <a:gd name="T76" fmla="*/ 0 w 322"/>
                <a:gd name="T77" fmla="*/ 0 h 276"/>
                <a:gd name="T78" fmla="*/ 0 w 322"/>
                <a:gd name="T79" fmla="*/ 0 h 276"/>
                <a:gd name="T80" fmla="*/ 0 w 322"/>
                <a:gd name="T81" fmla="*/ 0 h 276"/>
                <a:gd name="T82" fmla="*/ 0 w 322"/>
                <a:gd name="T83" fmla="*/ 0 h 276"/>
                <a:gd name="T84" fmla="*/ 0 w 322"/>
                <a:gd name="T85" fmla="*/ 0 h 276"/>
                <a:gd name="T86" fmla="*/ 0 w 322"/>
                <a:gd name="T87" fmla="*/ 0 h 276"/>
                <a:gd name="T88" fmla="*/ 0 w 322"/>
                <a:gd name="T89" fmla="*/ 0 h 276"/>
                <a:gd name="T90" fmla="*/ 0 w 322"/>
                <a:gd name="T91" fmla="*/ 0 h 276"/>
                <a:gd name="T92" fmla="*/ 0 w 322"/>
                <a:gd name="T93" fmla="*/ 0 h 276"/>
                <a:gd name="T94" fmla="*/ 2147483647 w 322"/>
                <a:gd name="T95" fmla="*/ 0 h 276"/>
                <a:gd name="T96" fmla="*/ 2147483647 w 322"/>
                <a:gd name="T97" fmla="*/ 0 h 276"/>
                <a:gd name="T98" fmla="*/ 0 w 322"/>
                <a:gd name="T99" fmla="*/ 0 h 276"/>
                <a:gd name="T100" fmla="*/ 0 w 322"/>
                <a:gd name="T101" fmla="*/ 0 h 276"/>
                <a:gd name="T102" fmla="*/ 0 w 322"/>
                <a:gd name="T103" fmla="*/ 0 h 276"/>
                <a:gd name="T104" fmla="*/ 0 w 322"/>
                <a:gd name="T105" fmla="*/ 0 h 276"/>
                <a:gd name="T106" fmla="*/ 0 w 322"/>
                <a:gd name="T107" fmla="*/ 0 h 276"/>
                <a:gd name="T108" fmla="*/ 0 w 322"/>
                <a:gd name="T109" fmla="*/ 0 h 276"/>
                <a:gd name="T110" fmla="*/ 0 w 322"/>
                <a:gd name="T111" fmla="*/ 0 h 276"/>
                <a:gd name="T112" fmla="*/ 0 w 322"/>
                <a:gd name="T113" fmla="*/ 0 h 27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22"/>
                <a:gd name="T172" fmla="*/ 0 h 276"/>
                <a:gd name="T173" fmla="*/ 322 w 322"/>
                <a:gd name="T174" fmla="*/ 276 h 27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3" name="Freeform 205">
              <a:extLst>
                <a:ext uri="{FF2B5EF4-FFF2-40B4-BE49-F238E27FC236}">
                  <a16:creationId xmlns:a16="http://schemas.microsoft.com/office/drawing/2014/main" id="{46ADF0E5-48EF-7657-EC42-932C2EEA8B43}"/>
                </a:ext>
              </a:extLst>
            </p:cNvPr>
            <p:cNvSpPr>
              <a:spLocks noChangeAspect="1"/>
            </p:cNvSpPr>
            <p:nvPr userDrawn="1"/>
          </p:nvSpPr>
          <p:spPr bwMode="gray">
            <a:xfrm>
              <a:off x="6334293" y="2876222"/>
              <a:ext cx="53724" cy="121938"/>
            </a:xfrm>
            <a:custGeom>
              <a:avLst/>
              <a:gdLst>
                <a:gd name="T0" fmla="*/ 0 w 97"/>
                <a:gd name="T1" fmla="*/ 0 h 215"/>
                <a:gd name="T2" fmla="*/ 0 w 97"/>
                <a:gd name="T3" fmla="*/ 0 h 215"/>
                <a:gd name="T4" fmla="*/ 0 w 97"/>
                <a:gd name="T5" fmla="*/ 0 h 215"/>
                <a:gd name="T6" fmla="*/ 0 w 97"/>
                <a:gd name="T7" fmla="*/ 0 h 215"/>
                <a:gd name="T8" fmla="*/ 0 w 97"/>
                <a:gd name="T9" fmla="*/ 0 h 215"/>
                <a:gd name="T10" fmla="*/ 0 w 97"/>
                <a:gd name="T11" fmla="*/ 0 h 215"/>
                <a:gd name="T12" fmla="*/ 0 w 97"/>
                <a:gd name="T13" fmla="*/ 0 h 215"/>
                <a:gd name="T14" fmla="*/ 0 w 97"/>
                <a:gd name="T15" fmla="*/ 0 h 215"/>
                <a:gd name="T16" fmla="*/ 0 w 97"/>
                <a:gd name="T17" fmla="*/ 0 h 215"/>
                <a:gd name="T18" fmla="*/ 0 w 97"/>
                <a:gd name="T19" fmla="*/ 0 h 215"/>
                <a:gd name="T20" fmla="*/ 0 w 97"/>
                <a:gd name="T21" fmla="*/ 0 h 215"/>
                <a:gd name="T22" fmla="*/ 0 w 97"/>
                <a:gd name="T23" fmla="*/ 0 h 215"/>
                <a:gd name="T24" fmla="*/ 0 w 97"/>
                <a:gd name="T25" fmla="*/ 0 h 215"/>
                <a:gd name="T26" fmla="*/ 0 w 97"/>
                <a:gd name="T27" fmla="*/ 0 h 215"/>
                <a:gd name="T28" fmla="*/ 0 w 97"/>
                <a:gd name="T29" fmla="*/ 0 h 215"/>
                <a:gd name="T30" fmla="*/ 0 w 97"/>
                <a:gd name="T31" fmla="*/ 0 h 215"/>
                <a:gd name="T32" fmla="*/ 0 w 97"/>
                <a:gd name="T33" fmla="*/ 0 h 215"/>
                <a:gd name="T34" fmla="*/ 0 w 97"/>
                <a:gd name="T35" fmla="*/ 0 h 215"/>
                <a:gd name="T36" fmla="*/ 0 w 97"/>
                <a:gd name="T37" fmla="*/ 0 h 215"/>
                <a:gd name="T38" fmla="*/ 0 w 97"/>
                <a:gd name="T39" fmla="*/ 0 h 215"/>
                <a:gd name="T40" fmla="*/ 0 w 97"/>
                <a:gd name="T41" fmla="*/ 0 h 215"/>
                <a:gd name="T42" fmla="*/ 0 w 97"/>
                <a:gd name="T43" fmla="*/ 0 h 215"/>
                <a:gd name="T44" fmla="*/ 0 w 97"/>
                <a:gd name="T45" fmla="*/ 0 h 215"/>
                <a:gd name="T46" fmla="*/ 0 w 97"/>
                <a:gd name="T47" fmla="*/ 0 h 215"/>
                <a:gd name="T48" fmla="*/ 0 w 97"/>
                <a:gd name="T49" fmla="*/ 0 h 215"/>
                <a:gd name="T50" fmla="*/ 0 w 97"/>
                <a:gd name="T51" fmla="*/ 0 h 215"/>
                <a:gd name="T52" fmla="*/ 0 w 97"/>
                <a:gd name="T53" fmla="*/ 0 h 215"/>
                <a:gd name="T54" fmla="*/ 0 w 97"/>
                <a:gd name="T55" fmla="*/ 0 h 215"/>
                <a:gd name="T56" fmla="*/ 0 w 97"/>
                <a:gd name="T57" fmla="*/ 0 h 215"/>
                <a:gd name="T58" fmla="*/ 0 w 97"/>
                <a:gd name="T59" fmla="*/ 0 h 215"/>
                <a:gd name="T60" fmla="*/ 0 w 97"/>
                <a:gd name="T61" fmla="*/ 0 h 215"/>
                <a:gd name="T62" fmla="*/ 0 w 97"/>
                <a:gd name="T63" fmla="*/ 0 h 215"/>
                <a:gd name="T64" fmla="*/ 0 w 97"/>
                <a:gd name="T65" fmla="*/ 0 h 215"/>
                <a:gd name="T66" fmla="*/ 0 w 97"/>
                <a:gd name="T67" fmla="*/ 0 h 215"/>
                <a:gd name="T68" fmla="*/ 0 w 97"/>
                <a:gd name="T69" fmla="*/ 0 h 215"/>
                <a:gd name="T70" fmla="*/ 0 w 97"/>
                <a:gd name="T71" fmla="*/ 0 h 215"/>
                <a:gd name="T72" fmla="*/ 0 w 97"/>
                <a:gd name="T73" fmla="*/ 0 h 215"/>
                <a:gd name="T74" fmla="*/ 0 w 97"/>
                <a:gd name="T75" fmla="*/ 0 h 215"/>
                <a:gd name="T76" fmla="*/ 0 w 97"/>
                <a:gd name="T77" fmla="*/ 0 h 215"/>
                <a:gd name="T78" fmla="*/ 0 w 97"/>
                <a:gd name="T79" fmla="*/ 0 h 215"/>
                <a:gd name="T80" fmla="*/ 0 w 97"/>
                <a:gd name="T81" fmla="*/ 0 h 2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7"/>
                <a:gd name="T124" fmla="*/ 0 h 215"/>
                <a:gd name="T125" fmla="*/ 97 w 97"/>
                <a:gd name="T126" fmla="*/ 215 h 2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4" name="Freeform 206">
              <a:extLst>
                <a:ext uri="{FF2B5EF4-FFF2-40B4-BE49-F238E27FC236}">
                  <a16:creationId xmlns:a16="http://schemas.microsoft.com/office/drawing/2014/main" id="{B413B9EB-DB9B-21B6-D924-09927D596432}"/>
                </a:ext>
              </a:extLst>
            </p:cNvPr>
            <p:cNvSpPr>
              <a:spLocks noChangeAspect="1"/>
            </p:cNvSpPr>
            <p:nvPr userDrawn="1"/>
          </p:nvSpPr>
          <p:spPr bwMode="gray">
            <a:xfrm>
              <a:off x="6385033" y="2208615"/>
              <a:ext cx="167142" cy="134131"/>
            </a:xfrm>
            <a:custGeom>
              <a:avLst/>
              <a:gdLst>
                <a:gd name="T0" fmla="*/ 0 w 317"/>
                <a:gd name="T1" fmla="*/ 0 h 244"/>
                <a:gd name="T2" fmla="*/ 0 w 317"/>
                <a:gd name="T3" fmla="*/ 0 h 244"/>
                <a:gd name="T4" fmla="*/ 0 w 317"/>
                <a:gd name="T5" fmla="*/ 0 h 244"/>
                <a:gd name="T6" fmla="*/ 0 w 317"/>
                <a:gd name="T7" fmla="*/ 0 h 244"/>
                <a:gd name="T8" fmla="*/ 0 w 317"/>
                <a:gd name="T9" fmla="*/ 0 h 244"/>
                <a:gd name="T10" fmla="*/ 0 w 317"/>
                <a:gd name="T11" fmla="*/ 0 h 244"/>
                <a:gd name="T12" fmla="*/ 0 w 317"/>
                <a:gd name="T13" fmla="*/ 0 h 244"/>
                <a:gd name="T14" fmla="*/ 0 w 317"/>
                <a:gd name="T15" fmla="*/ 0 h 244"/>
                <a:gd name="T16" fmla="*/ 0 w 317"/>
                <a:gd name="T17" fmla="*/ 0 h 244"/>
                <a:gd name="T18" fmla="*/ 0 w 317"/>
                <a:gd name="T19" fmla="*/ 0 h 244"/>
                <a:gd name="T20" fmla="*/ 0 w 317"/>
                <a:gd name="T21" fmla="*/ 0 h 244"/>
                <a:gd name="T22" fmla="*/ 0 w 317"/>
                <a:gd name="T23" fmla="*/ 0 h 244"/>
                <a:gd name="T24" fmla="*/ 0 w 317"/>
                <a:gd name="T25" fmla="*/ 0 h 244"/>
                <a:gd name="T26" fmla="*/ 0 w 317"/>
                <a:gd name="T27" fmla="*/ 0 h 244"/>
                <a:gd name="T28" fmla="*/ 0 w 317"/>
                <a:gd name="T29" fmla="*/ 0 h 244"/>
                <a:gd name="T30" fmla="*/ 0 w 317"/>
                <a:gd name="T31" fmla="*/ 0 h 244"/>
                <a:gd name="T32" fmla="*/ 0 w 317"/>
                <a:gd name="T33" fmla="*/ 0 h 244"/>
                <a:gd name="T34" fmla="*/ 0 w 317"/>
                <a:gd name="T35" fmla="*/ 0 h 244"/>
                <a:gd name="T36" fmla="*/ 0 w 317"/>
                <a:gd name="T37" fmla="*/ 0 h 244"/>
                <a:gd name="T38" fmla="*/ 0 w 317"/>
                <a:gd name="T39" fmla="*/ 0 h 244"/>
                <a:gd name="T40" fmla="*/ 0 w 317"/>
                <a:gd name="T41" fmla="*/ 0 h 244"/>
                <a:gd name="T42" fmla="*/ 0 w 317"/>
                <a:gd name="T43" fmla="*/ 0 h 244"/>
                <a:gd name="T44" fmla="*/ 0 w 317"/>
                <a:gd name="T45" fmla="*/ 0 h 244"/>
                <a:gd name="T46" fmla="*/ 0 w 317"/>
                <a:gd name="T47" fmla="*/ 0 h 244"/>
                <a:gd name="T48" fmla="*/ 0 w 317"/>
                <a:gd name="T49" fmla="*/ 0 h 244"/>
                <a:gd name="T50" fmla="*/ 0 w 317"/>
                <a:gd name="T51" fmla="*/ 0 h 244"/>
                <a:gd name="T52" fmla="*/ 0 w 317"/>
                <a:gd name="T53" fmla="*/ 0 h 244"/>
                <a:gd name="T54" fmla="*/ 0 w 317"/>
                <a:gd name="T55" fmla="*/ 0 h 244"/>
                <a:gd name="T56" fmla="*/ 0 w 317"/>
                <a:gd name="T57" fmla="*/ 0 h 244"/>
                <a:gd name="T58" fmla="*/ 0 w 317"/>
                <a:gd name="T59" fmla="*/ 0 h 244"/>
                <a:gd name="T60" fmla="*/ 0 w 317"/>
                <a:gd name="T61" fmla="*/ 0 h 244"/>
                <a:gd name="T62" fmla="*/ 0 w 317"/>
                <a:gd name="T63" fmla="*/ 0 h 244"/>
                <a:gd name="T64" fmla="*/ 0 w 317"/>
                <a:gd name="T65" fmla="*/ 0 h 244"/>
                <a:gd name="T66" fmla="*/ 0 w 317"/>
                <a:gd name="T67" fmla="*/ 0 h 244"/>
                <a:gd name="T68" fmla="*/ 0 w 317"/>
                <a:gd name="T69" fmla="*/ 0 h 244"/>
                <a:gd name="T70" fmla="*/ 0 w 317"/>
                <a:gd name="T71" fmla="*/ 0 h 244"/>
                <a:gd name="T72" fmla="*/ 0 w 317"/>
                <a:gd name="T73" fmla="*/ 0 h 244"/>
                <a:gd name="T74" fmla="*/ 0 w 317"/>
                <a:gd name="T75" fmla="*/ 0 h 244"/>
                <a:gd name="T76" fmla="*/ 0 w 317"/>
                <a:gd name="T77" fmla="*/ 0 h 244"/>
                <a:gd name="T78" fmla="*/ 0 w 317"/>
                <a:gd name="T79" fmla="*/ 0 h 244"/>
                <a:gd name="T80" fmla="*/ 0 w 317"/>
                <a:gd name="T81" fmla="*/ 0 h 244"/>
                <a:gd name="T82" fmla="*/ 0 w 317"/>
                <a:gd name="T83" fmla="*/ 0 h 244"/>
                <a:gd name="T84" fmla="*/ 0 w 317"/>
                <a:gd name="T85" fmla="*/ 0 h 244"/>
                <a:gd name="T86" fmla="*/ 0 w 317"/>
                <a:gd name="T87" fmla="*/ 0 h 244"/>
                <a:gd name="T88" fmla="*/ 0 w 317"/>
                <a:gd name="T89" fmla="*/ 0 h 244"/>
                <a:gd name="T90" fmla="*/ 0 w 317"/>
                <a:gd name="T91" fmla="*/ 0 h 2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17"/>
                <a:gd name="T139" fmla="*/ 0 h 244"/>
                <a:gd name="T140" fmla="*/ 317 w 317"/>
                <a:gd name="T141" fmla="*/ 244 h 2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5" name="Freeform 207">
              <a:extLst>
                <a:ext uri="{FF2B5EF4-FFF2-40B4-BE49-F238E27FC236}">
                  <a16:creationId xmlns:a16="http://schemas.microsoft.com/office/drawing/2014/main" id="{00EFD95F-B0AA-C62D-7A03-BB78246157EA}"/>
                </a:ext>
              </a:extLst>
            </p:cNvPr>
            <p:cNvSpPr>
              <a:spLocks noChangeAspect="1"/>
            </p:cNvSpPr>
            <p:nvPr userDrawn="1"/>
          </p:nvSpPr>
          <p:spPr bwMode="gray">
            <a:xfrm>
              <a:off x="6308923" y="2719229"/>
              <a:ext cx="129834" cy="190527"/>
            </a:xfrm>
            <a:custGeom>
              <a:avLst/>
              <a:gdLst>
                <a:gd name="T0" fmla="*/ 0 w 241"/>
                <a:gd name="T1" fmla="*/ 0 h 331"/>
                <a:gd name="T2" fmla="*/ 0 w 241"/>
                <a:gd name="T3" fmla="*/ 0 h 331"/>
                <a:gd name="T4" fmla="*/ 0 w 241"/>
                <a:gd name="T5" fmla="*/ 0 h 331"/>
                <a:gd name="T6" fmla="*/ 0 w 241"/>
                <a:gd name="T7" fmla="*/ 0 h 331"/>
                <a:gd name="T8" fmla="*/ 0 w 241"/>
                <a:gd name="T9" fmla="*/ 0 h 331"/>
                <a:gd name="T10" fmla="*/ 0 w 241"/>
                <a:gd name="T11" fmla="*/ 0 h 331"/>
                <a:gd name="T12" fmla="*/ 0 w 241"/>
                <a:gd name="T13" fmla="*/ 0 h 331"/>
                <a:gd name="T14" fmla="*/ 0 w 241"/>
                <a:gd name="T15" fmla="*/ 0 h 331"/>
                <a:gd name="T16" fmla="*/ 0 w 241"/>
                <a:gd name="T17" fmla="*/ 0 h 331"/>
                <a:gd name="T18" fmla="*/ 0 w 241"/>
                <a:gd name="T19" fmla="*/ 0 h 331"/>
                <a:gd name="T20" fmla="*/ 0 w 241"/>
                <a:gd name="T21" fmla="*/ 0 h 331"/>
                <a:gd name="T22" fmla="*/ 0 w 241"/>
                <a:gd name="T23" fmla="*/ 0 h 331"/>
                <a:gd name="T24" fmla="*/ 0 w 241"/>
                <a:gd name="T25" fmla="*/ 0 h 331"/>
                <a:gd name="T26" fmla="*/ 0 w 241"/>
                <a:gd name="T27" fmla="*/ 0 h 331"/>
                <a:gd name="T28" fmla="*/ 0 w 241"/>
                <a:gd name="T29" fmla="*/ 0 h 331"/>
                <a:gd name="T30" fmla="*/ 0 w 241"/>
                <a:gd name="T31" fmla="*/ 0 h 331"/>
                <a:gd name="T32" fmla="*/ 0 w 241"/>
                <a:gd name="T33" fmla="*/ 0 h 331"/>
                <a:gd name="T34" fmla="*/ 0 w 241"/>
                <a:gd name="T35" fmla="*/ 0 h 331"/>
                <a:gd name="T36" fmla="*/ 0 w 241"/>
                <a:gd name="T37" fmla="*/ 0 h 331"/>
                <a:gd name="T38" fmla="*/ 0 w 241"/>
                <a:gd name="T39" fmla="*/ 0 h 331"/>
                <a:gd name="T40" fmla="*/ 0 w 241"/>
                <a:gd name="T41" fmla="*/ 0 h 331"/>
                <a:gd name="T42" fmla="*/ 0 w 241"/>
                <a:gd name="T43" fmla="*/ 0 h 331"/>
                <a:gd name="T44" fmla="*/ 0 w 241"/>
                <a:gd name="T45" fmla="*/ 0 h 331"/>
                <a:gd name="T46" fmla="*/ 0 w 241"/>
                <a:gd name="T47" fmla="*/ 0 h 331"/>
                <a:gd name="T48" fmla="*/ 0 w 241"/>
                <a:gd name="T49" fmla="*/ 0 h 331"/>
                <a:gd name="T50" fmla="*/ 0 w 241"/>
                <a:gd name="T51" fmla="*/ 0 h 331"/>
                <a:gd name="T52" fmla="*/ 0 w 241"/>
                <a:gd name="T53" fmla="*/ 0 h 331"/>
                <a:gd name="T54" fmla="*/ 0 w 241"/>
                <a:gd name="T55" fmla="*/ 0 h 331"/>
                <a:gd name="T56" fmla="*/ 0 w 241"/>
                <a:gd name="T57" fmla="*/ 0 h 331"/>
                <a:gd name="T58" fmla="*/ 0 w 241"/>
                <a:gd name="T59" fmla="*/ 0 h 331"/>
                <a:gd name="T60" fmla="*/ 0 w 241"/>
                <a:gd name="T61" fmla="*/ 0 h 331"/>
                <a:gd name="T62" fmla="*/ 0 w 241"/>
                <a:gd name="T63" fmla="*/ 0 h 331"/>
                <a:gd name="T64" fmla="*/ 0 w 241"/>
                <a:gd name="T65" fmla="*/ 0 h 331"/>
                <a:gd name="T66" fmla="*/ 0 w 241"/>
                <a:gd name="T67" fmla="*/ 0 h 331"/>
                <a:gd name="T68" fmla="*/ 0 w 241"/>
                <a:gd name="T69" fmla="*/ 0 h 331"/>
                <a:gd name="T70" fmla="*/ 0 w 241"/>
                <a:gd name="T71" fmla="*/ 0 h 331"/>
                <a:gd name="T72" fmla="*/ 0 w 241"/>
                <a:gd name="T73" fmla="*/ 2147483647 h 331"/>
                <a:gd name="T74" fmla="*/ 0 w 241"/>
                <a:gd name="T75" fmla="*/ 2147483647 h 331"/>
                <a:gd name="T76" fmla="*/ 0 w 241"/>
                <a:gd name="T77" fmla="*/ 0 h 331"/>
                <a:gd name="T78" fmla="*/ 0 w 241"/>
                <a:gd name="T79" fmla="*/ 0 h 331"/>
                <a:gd name="T80" fmla="*/ 0 w 241"/>
                <a:gd name="T81" fmla="*/ 2147483647 h 331"/>
                <a:gd name="T82" fmla="*/ 0 w 241"/>
                <a:gd name="T83" fmla="*/ 2147483647 h 331"/>
                <a:gd name="T84" fmla="*/ 0 w 241"/>
                <a:gd name="T85" fmla="*/ 0 h 331"/>
                <a:gd name="T86" fmla="*/ 0 w 241"/>
                <a:gd name="T87" fmla="*/ 0 h 331"/>
                <a:gd name="T88" fmla="*/ 0 w 241"/>
                <a:gd name="T89" fmla="*/ 0 h 331"/>
                <a:gd name="T90" fmla="*/ 0 w 241"/>
                <a:gd name="T91" fmla="*/ 0 h 331"/>
                <a:gd name="T92" fmla="*/ 0 w 241"/>
                <a:gd name="T93" fmla="*/ 0 h 331"/>
                <a:gd name="T94" fmla="*/ 0 w 241"/>
                <a:gd name="T95" fmla="*/ 0 h 331"/>
                <a:gd name="T96" fmla="*/ 0 w 241"/>
                <a:gd name="T97" fmla="*/ 0 h 331"/>
                <a:gd name="T98" fmla="*/ 0 w 241"/>
                <a:gd name="T99" fmla="*/ 0 h 331"/>
                <a:gd name="T100" fmla="*/ 0 w 241"/>
                <a:gd name="T101" fmla="*/ 0 h 331"/>
                <a:gd name="T102" fmla="*/ 0 w 241"/>
                <a:gd name="T103" fmla="*/ 0 h 331"/>
                <a:gd name="T104" fmla="*/ 0 w 241"/>
                <a:gd name="T105" fmla="*/ 0 h 331"/>
                <a:gd name="T106" fmla="*/ 0 w 241"/>
                <a:gd name="T107" fmla="*/ 0 h 331"/>
                <a:gd name="T108" fmla="*/ 0 w 241"/>
                <a:gd name="T109" fmla="*/ 0 h 331"/>
                <a:gd name="T110" fmla="*/ 0 w 241"/>
                <a:gd name="T111" fmla="*/ 0 h 3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1"/>
                <a:gd name="T169" fmla="*/ 0 h 331"/>
                <a:gd name="T170" fmla="*/ 241 w 241"/>
                <a:gd name="T171" fmla="*/ 331 h 33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1" h="331">
                  <a:moveTo>
                    <a:pt x="14" y="22"/>
                  </a:moveTo>
                  <a:lnTo>
                    <a:pt x="23" y="29"/>
                  </a:lnTo>
                  <a:lnTo>
                    <a:pt x="23" y="33"/>
                  </a:lnTo>
                  <a:lnTo>
                    <a:pt x="21" y="35"/>
                  </a:lnTo>
                  <a:lnTo>
                    <a:pt x="24" y="38"/>
                  </a:lnTo>
                  <a:lnTo>
                    <a:pt x="24" y="42"/>
                  </a:lnTo>
                  <a:lnTo>
                    <a:pt x="21" y="45"/>
                  </a:lnTo>
                  <a:lnTo>
                    <a:pt x="21" y="48"/>
                  </a:lnTo>
                  <a:lnTo>
                    <a:pt x="25" y="49"/>
                  </a:lnTo>
                  <a:lnTo>
                    <a:pt x="27" y="46"/>
                  </a:lnTo>
                  <a:lnTo>
                    <a:pt x="29" y="46"/>
                  </a:lnTo>
                  <a:lnTo>
                    <a:pt x="32" y="49"/>
                  </a:lnTo>
                  <a:lnTo>
                    <a:pt x="32" y="51"/>
                  </a:lnTo>
                  <a:lnTo>
                    <a:pt x="30" y="53"/>
                  </a:lnTo>
                  <a:lnTo>
                    <a:pt x="29" y="53"/>
                  </a:lnTo>
                  <a:lnTo>
                    <a:pt x="27" y="55"/>
                  </a:lnTo>
                  <a:lnTo>
                    <a:pt x="29" y="56"/>
                  </a:lnTo>
                  <a:lnTo>
                    <a:pt x="27" y="60"/>
                  </a:lnTo>
                  <a:lnTo>
                    <a:pt x="27" y="61"/>
                  </a:lnTo>
                  <a:lnTo>
                    <a:pt x="29" y="64"/>
                  </a:lnTo>
                  <a:lnTo>
                    <a:pt x="32" y="64"/>
                  </a:lnTo>
                  <a:lnTo>
                    <a:pt x="34" y="65"/>
                  </a:lnTo>
                  <a:lnTo>
                    <a:pt x="37" y="67"/>
                  </a:lnTo>
                  <a:lnTo>
                    <a:pt x="42" y="67"/>
                  </a:lnTo>
                  <a:lnTo>
                    <a:pt x="46" y="70"/>
                  </a:lnTo>
                  <a:lnTo>
                    <a:pt x="50" y="69"/>
                  </a:lnTo>
                  <a:lnTo>
                    <a:pt x="52" y="70"/>
                  </a:lnTo>
                  <a:lnTo>
                    <a:pt x="52" y="72"/>
                  </a:lnTo>
                  <a:lnTo>
                    <a:pt x="48" y="75"/>
                  </a:lnTo>
                  <a:lnTo>
                    <a:pt x="45" y="73"/>
                  </a:lnTo>
                  <a:lnTo>
                    <a:pt x="41" y="72"/>
                  </a:lnTo>
                  <a:lnTo>
                    <a:pt x="39" y="73"/>
                  </a:lnTo>
                  <a:lnTo>
                    <a:pt x="37" y="78"/>
                  </a:lnTo>
                  <a:lnTo>
                    <a:pt x="35" y="81"/>
                  </a:lnTo>
                  <a:lnTo>
                    <a:pt x="37" y="91"/>
                  </a:lnTo>
                  <a:lnTo>
                    <a:pt x="39" y="92"/>
                  </a:lnTo>
                  <a:lnTo>
                    <a:pt x="37" y="97"/>
                  </a:lnTo>
                  <a:lnTo>
                    <a:pt x="50" y="97"/>
                  </a:lnTo>
                  <a:lnTo>
                    <a:pt x="52" y="100"/>
                  </a:lnTo>
                  <a:lnTo>
                    <a:pt x="51" y="104"/>
                  </a:lnTo>
                  <a:lnTo>
                    <a:pt x="51" y="108"/>
                  </a:lnTo>
                  <a:lnTo>
                    <a:pt x="46" y="115"/>
                  </a:lnTo>
                  <a:lnTo>
                    <a:pt x="41" y="126"/>
                  </a:lnTo>
                  <a:lnTo>
                    <a:pt x="39" y="128"/>
                  </a:lnTo>
                  <a:lnTo>
                    <a:pt x="39" y="130"/>
                  </a:lnTo>
                  <a:lnTo>
                    <a:pt x="40" y="132"/>
                  </a:lnTo>
                  <a:lnTo>
                    <a:pt x="36" y="137"/>
                  </a:lnTo>
                  <a:lnTo>
                    <a:pt x="39" y="145"/>
                  </a:lnTo>
                  <a:lnTo>
                    <a:pt x="42" y="145"/>
                  </a:lnTo>
                  <a:lnTo>
                    <a:pt x="45" y="147"/>
                  </a:lnTo>
                  <a:lnTo>
                    <a:pt x="48" y="146"/>
                  </a:lnTo>
                  <a:lnTo>
                    <a:pt x="50" y="148"/>
                  </a:lnTo>
                  <a:lnTo>
                    <a:pt x="51" y="152"/>
                  </a:lnTo>
                  <a:lnTo>
                    <a:pt x="54" y="156"/>
                  </a:lnTo>
                  <a:lnTo>
                    <a:pt x="58" y="156"/>
                  </a:lnTo>
                  <a:lnTo>
                    <a:pt x="58" y="157"/>
                  </a:lnTo>
                  <a:lnTo>
                    <a:pt x="58" y="159"/>
                  </a:lnTo>
                  <a:lnTo>
                    <a:pt x="63" y="162"/>
                  </a:lnTo>
                  <a:lnTo>
                    <a:pt x="66" y="163"/>
                  </a:lnTo>
                  <a:lnTo>
                    <a:pt x="66" y="166"/>
                  </a:lnTo>
                  <a:lnTo>
                    <a:pt x="62" y="171"/>
                  </a:lnTo>
                  <a:lnTo>
                    <a:pt x="53" y="171"/>
                  </a:lnTo>
                  <a:lnTo>
                    <a:pt x="48" y="167"/>
                  </a:lnTo>
                  <a:lnTo>
                    <a:pt x="46" y="167"/>
                  </a:lnTo>
                  <a:lnTo>
                    <a:pt x="45" y="169"/>
                  </a:lnTo>
                  <a:lnTo>
                    <a:pt x="46" y="171"/>
                  </a:lnTo>
                  <a:lnTo>
                    <a:pt x="52" y="178"/>
                  </a:lnTo>
                  <a:lnTo>
                    <a:pt x="58" y="186"/>
                  </a:lnTo>
                  <a:lnTo>
                    <a:pt x="61" y="188"/>
                  </a:lnTo>
                  <a:lnTo>
                    <a:pt x="59" y="195"/>
                  </a:lnTo>
                  <a:lnTo>
                    <a:pt x="58" y="198"/>
                  </a:lnTo>
                  <a:lnTo>
                    <a:pt x="56" y="199"/>
                  </a:lnTo>
                  <a:lnTo>
                    <a:pt x="53" y="198"/>
                  </a:lnTo>
                  <a:lnTo>
                    <a:pt x="51" y="198"/>
                  </a:lnTo>
                  <a:lnTo>
                    <a:pt x="48" y="201"/>
                  </a:lnTo>
                  <a:lnTo>
                    <a:pt x="43" y="204"/>
                  </a:lnTo>
                  <a:lnTo>
                    <a:pt x="40" y="204"/>
                  </a:lnTo>
                  <a:lnTo>
                    <a:pt x="37" y="205"/>
                  </a:lnTo>
                  <a:lnTo>
                    <a:pt x="35" y="205"/>
                  </a:lnTo>
                  <a:lnTo>
                    <a:pt x="34" y="202"/>
                  </a:lnTo>
                  <a:lnTo>
                    <a:pt x="31" y="202"/>
                  </a:lnTo>
                  <a:lnTo>
                    <a:pt x="27" y="206"/>
                  </a:lnTo>
                  <a:lnTo>
                    <a:pt x="29" y="209"/>
                  </a:lnTo>
                  <a:lnTo>
                    <a:pt x="32" y="210"/>
                  </a:lnTo>
                  <a:lnTo>
                    <a:pt x="34" y="215"/>
                  </a:lnTo>
                  <a:lnTo>
                    <a:pt x="35" y="218"/>
                  </a:lnTo>
                  <a:lnTo>
                    <a:pt x="35" y="223"/>
                  </a:lnTo>
                  <a:lnTo>
                    <a:pt x="34" y="226"/>
                  </a:lnTo>
                  <a:lnTo>
                    <a:pt x="31" y="226"/>
                  </a:lnTo>
                  <a:lnTo>
                    <a:pt x="30" y="223"/>
                  </a:lnTo>
                  <a:lnTo>
                    <a:pt x="29" y="218"/>
                  </a:lnTo>
                  <a:lnTo>
                    <a:pt x="26" y="217"/>
                  </a:lnTo>
                  <a:lnTo>
                    <a:pt x="23" y="217"/>
                  </a:lnTo>
                  <a:lnTo>
                    <a:pt x="14" y="225"/>
                  </a:lnTo>
                  <a:lnTo>
                    <a:pt x="13" y="229"/>
                  </a:lnTo>
                  <a:lnTo>
                    <a:pt x="11" y="232"/>
                  </a:lnTo>
                  <a:lnTo>
                    <a:pt x="11" y="239"/>
                  </a:lnTo>
                  <a:lnTo>
                    <a:pt x="9" y="242"/>
                  </a:lnTo>
                  <a:lnTo>
                    <a:pt x="4" y="242"/>
                  </a:lnTo>
                  <a:lnTo>
                    <a:pt x="2" y="244"/>
                  </a:lnTo>
                  <a:lnTo>
                    <a:pt x="2" y="253"/>
                  </a:lnTo>
                  <a:lnTo>
                    <a:pt x="0" y="254"/>
                  </a:lnTo>
                  <a:lnTo>
                    <a:pt x="0" y="258"/>
                  </a:lnTo>
                  <a:lnTo>
                    <a:pt x="3" y="263"/>
                  </a:lnTo>
                  <a:lnTo>
                    <a:pt x="5" y="265"/>
                  </a:lnTo>
                  <a:lnTo>
                    <a:pt x="5" y="270"/>
                  </a:lnTo>
                  <a:lnTo>
                    <a:pt x="0" y="277"/>
                  </a:lnTo>
                  <a:lnTo>
                    <a:pt x="0" y="285"/>
                  </a:lnTo>
                  <a:lnTo>
                    <a:pt x="16" y="297"/>
                  </a:lnTo>
                  <a:lnTo>
                    <a:pt x="27" y="308"/>
                  </a:lnTo>
                  <a:lnTo>
                    <a:pt x="36" y="314"/>
                  </a:lnTo>
                  <a:lnTo>
                    <a:pt x="42" y="326"/>
                  </a:lnTo>
                  <a:lnTo>
                    <a:pt x="48" y="331"/>
                  </a:lnTo>
                  <a:lnTo>
                    <a:pt x="53" y="315"/>
                  </a:lnTo>
                  <a:lnTo>
                    <a:pt x="51" y="304"/>
                  </a:lnTo>
                  <a:lnTo>
                    <a:pt x="56" y="290"/>
                  </a:lnTo>
                  <a:lnTo>
                    <a:pt x="63" y="285"/>
                  </a:lnTo>
                  <a:lnTo>
                    <a:pt x="69" y="275"/>
                  </a:lnTo>
                  <a:lnTo>
                    <a:pt x="77" y="282"/>
                  </a:lnTo>
                  <a:lnTo>
                    <a:pt x="91" y="284"/>
                  </a:lnTo>
                  <a:lnTo>
                    <a:pt x="97" y="295"/>
                  </a:lnTo>
                  <a:lnTo>
                    <a:pt x="107" y="299"/>
                  </a:lnTo>
                  <a:lnTo>
                    <a:pt x="120" y="315"/>
                  </a:lnTo>
                  <a:lnTo>
                    <a:pt x="121" y="317"/>
                  </a:lnTo>
                  <a:lnTo>
                    <a:pt x="126" y="317"/>
                  </a:lnTo>
                  <a:lnTo>
                    <a:pt x="129" y="314"/>
                  </a:lnTo>
                  <a:lnTo>
                    <a:pt x="129" y="306"/>
                  </a:lnTo>
                  <a:lnTo>
                    <a:pt x="147" y="299"/>
                  </a:lnTo>
                  <a:lnTo>
                    <a:pt x="150" y="301"/>
                  </a:lnTo>
                  <a:lnTo>
                    <a:pt x="156" y="308"/>
                  </a:lnTo>
                  <a:lnTo>
                    <a:pt x="159" y="308"/>
                  </a:lnTo>
                  <a:lnTo>
                    <a:pt x="159" y="303"/>
                  </a:lnTo>
                  <a:lnTo>
                    <a:pt x="166" y="298"/>
                  </a:lnTo>
                  <a:lnTo>
                    <a:pt x="182" y="302"/>
                  </a:lnTo>
                  <a:lnTo>
                    <a:pt x="186" y="298"/>
                  </a:lnTo>
                  <a:lnTo>
                    <a:pt x="201" y="301"/>
                  </a:lnTo>
                  <a:lnTo>
                    <a:pt x="212" y="299"/>
                  </a:lnTo>
                  <a:lnTo>
                    <a:pt x="218" y="302"/>
                  </a:lnTo>
                  <a:lnTo>
                    <a:pt x="218" y="277"/>
                  </a:lnTo>
                  <a:lnTo>
                    <a:pt x="230" y="253"/>
                  </a:lnTo>
                  <a:lnTo>
                    <a:pt x="241" y="241"/>
                  </a:lnTo>
                  <a:lnTo>
                    <a:pt x="226" y="225"/>
                  </a:lnTo>
                  <a:lnTo>
                    <a:pt x="218" y="210"/>
                  </a:lnTo>
                  <a:lnTo>
                    <a:pt x="215" y="188"/>
                  </a:lnTo>
                  <a:lnTo>
                    <a:pt x="218" y="167"/>
                  </a:lnTo>
                  <a:lnTo>
                    <a:pt x="235" y="159"/>
                  </a:lnTo>
                  <a:lnTo>
                    <a:pt x="225" y="157"/>
                  </a:lnTo>
                  <a:lnTo>
                    <a:pt x="218" y="141"/>
                  </a:lnTo>
                  <a:lnTo>
                    <a:pt x="228" y="130"/>
                  </a:lnTo>
                  <a:lnTo>
                    <a:pt x="220" y="119"/>
                  </a:lnTo>
                  <a:lnTo>
                    <a:pt x="209" y="128"/>
                  </a:lnTo>
                  <a:lnTo>
                    <a:pt x="181" y="118"/>
                  </a:lnTo>
                  <a:lnTo>
                    <a:pt x="166" y="105"/>
                  </a:lnTo>
                  <a:lnTo>
                    <a:pt x="165" y="91"/>
                  </a:lnTo>
                  <a:lnTo>
                    <a:pt x="163" y="81"/>
                  </a:lnTo>
                  <a:lnTo>
                    <a:pt x="154" y="76"/>
                  </a:lnTo>
                  <a:lnTo>
                    <a:pt x="143" y="73"/>
                  </a:lnTo>
                  <a:lnTo>
                    <a:pt x="134" y="60"/>
                  </a:lnTo>
                  <a:lnTo>
                    <a:pt x="129" y="42"/>
                  </a:lnTo>
                  <a:lnTo>
                    <a:pt x="124" y="29"/>
                  </a:lnTo>
                  <a:lnTo>
                    <a:pt x="113" y="17"/>
                  </a:lnTo>
                  <a:lnTo>
                    <a:pt x="99" y="11"/>
                  </a:lnTo>
                  <a:lnTo>
                    <a:pt x="94" y="7"/>
                  </a:lnTo>
                  <a:lnTo>
                    <a:pt x="90" y="0"/>
                  </a:lnTo>
                  <a:lnTo>
                    <a:pt x="78" y="5"/>
                  </a:lnTo>
                  <a:lnTo>
                    <a:pt x="66" y="5"/>
                  </a:lnTo>
                  <a:lnTo>
                    <a:pt x="50" y="16"/>
                  </a:lnTo>
                  <a:lnTo>
                    <a:pt x="35" y="16"/>
                  </a:lnTo>
                  <a:lnTo>
                    <a:pt x="29" y="21"/>
                  </a:lnTo>
                  <a:lnTo>
                    <a:pt x="14" y="2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6" name="Freeform 208">
              <a:extLst>
                <a:ext uri="{FF2B5EF4-FFF2-40B4-BE49-F238E27FC236}">
                  <a16:creationId xmlns:a16="http://schemas.microsoft.com/office/drawing/2014/main" id="{463BD7AF-7A56-EB53-C320-7CA4026CA032}"/>
                </a:ext>
              </a:extLst>
            </p:cNvPr>
            <p:cNvSpPr>
              <a:spLocks noChangeAspect="1"/>
            </p:cNvSpPr>
            <p:nvPr userDrawn="1"/>
          </p:nvSpPr>
          <p:spPr bwMode="gray">
            <a:xfrm>
              <a:off x="6265646" y="2565282"/>
              <a:ext cx="159680" cy="85356"/>
            </a:xfrm>
            <a:custGeom>
              <a:avLst/>
              <a:gdLst>
                <a:gd name="T0" fmla="*/ 0 w 304"/>
                <a:gd name="T1" fmla="*/ 0 h 149"/>
                <a:gd name="T2" fmla="*/ 0 w 304"/>
                <a:gd name="T3" fmla="*/ 0 h 149"/>
                <a:gd name="T4" fmla="*/ 0 w 304"/>
                <a:gd name="T5" fmla="*/ 0 h 149"/>
                <a:gd name="T6" fmla="*/ 0 w 304"/>
                <a:gd name="T7" fmla="*/ 0 h 149"/>
                <a:gd name="T8" fmla="*/ 0 w 304"/>
                <a:gd name="T9" fmla="*/ 0 h 149"/>
                <a:gd name="T10" fmla="*/ 0 w 304"/>
                <a:gd name="T11" fmla="*/ 0 h 149"/>
                <a:gd name="T12" fmla="*/ 0 w 304"/>
                <a:gd name="T13" fmla="*/ 0 h 149"/>
                <a:gd name="T14" fmla="*/ 0 w 304"/>
                <a:gd name="T15" fmla="*/ 0 h 149"/>
                <a:gd name="T16" fmla="*/ 0 w 304"/>
                <a:gd name="T17" fmla="*/ 0 h 149"/>
                <a:gd name="T18" fmla="*/ 0 w 304"/>
                <a:gd name="T19" fmla="*/ 0 h 149"/>
                <a:gd name="T20" fmla="*/ 0 w 304"/>
                <a:gd name="T21" fmla="*/ 0 h 149"/>
                <a:gd name="T22" fmla="*/ 0 w 304"/>
                <a:gd name="T23" fmla="*/ 0 h 149"/>
                <a:gd name="T24" fmla="*/ 0 w 304"/>
                <a:gd name="T25" fmla="*/ 0 h 149"/>
                <a:gd name="T26" fmla="*/ 0 w 304"/>
                <a:gd name="T27" fmla="*/ 0 h 149"/>
                <a:gd name="T28" fmla="*/ 0 w 304"/>
                <a:gd name="T29" fmla="*/ 0 h 149"/>
                <a:gd name="T30" fmla="*/ 0 w 304"/>
                <a:gd name="T31" fmla="*/ 0 h 149"/>
                <a:gd name="T32" fmla="*/ 0 w 304"/>
                <a:gd name="T33" fmla="*/ 0 h 149"/>
                <a:gd name="T34" fmla="*/ 0 w 304"/>
                <a:gd name="T35" fmla="*/ 0 h 149"/>
                <a:gd name="T36" fmla="*/ 0 w 304"/>
                <a:gd name="T37" fmla="*/ 0 h 149"/>
                <a:gd name="T38" fmla="*/ 0 w 304"/>
                <a:gd name="T39" fmla="*/ 0 h 149"/>
                <a:gd name="T40" fmla="*/ 0 w 304"/>
                <a:gd name="T41" fmla="*/ 0 h 149"/>
                <a:gd name="T42" fmla="*/ 0 w 304"/>
                <a:gd name="T43" fmla="*/ 0 h 149"/>
                <a:gd name="T44" fmla="*/ 0 w 304"/>
                <a:gd name="T45" fmla="*/ 0 h 149"/>
                <a:gd name="T46" fmla="*/ 0 w 304"/>
                <a:gd name="T47" fmla="*/ 0 h 149"/>
                <a:gd name="T48" fmla="*/ 0 w 304"/>
                <a:gd name="T49" fmla="*/ 0 h 149"/>
                <a:gd name="T50" fmla="*/ 0 w 304"/>
                <a:gd name="T51" fmla="*/ 0 h 149"/>
                <a:gd name="T52" fmla="*/ 0 w 304"/>
                <a:gd name="T53" fmla="*/ 0 h 149"/>
                <a:gd name="T54" fmla="*/ 0 w 304"/>
                <a:gd name="T55" fmla="*/ 0 h 149"/>
                <a:gd name="T56" fmla="*/ 0 w 304"/>
                <a:gd name="T57" fmla="*/ 0 h 149"/>
                <a:gd name="T58" fmla="*/ 0 w 304"/>
                <a:gd name="T59" fmla="*/ 0 h 149"/>
                <a:gd name="T60" fmla="*/ 0 w 304"/>
                <a:gd name="T61" fmla="*/ 0 h 149"/>
                <a:gd name="T62" fmla="*/ 0 w 304"/>
                <a:gd name="T63" fmla="*/ 0 h 149"/>
                <a:gd name="T64" fmla="*/ 0 w 304"/>
                <a:gd name="T65" fmla="*/ 0 h 149"/>
                <a:gd name="T66" fmla="*/ 0 w 304"/>
                <a:gd name="T67" fmla="*/ 0 h 149"/>
                <a:gd name="T68" fmla="*/ 0 w 304"/>
                <a:gd name="T69" fmla="*/ 0 h 149"/>
                <a:gd name="T70" fmla="*/ 0 w 304"/>
                <a:gd name="T71" fmla="*/ 0 h 149"/>
                <a:gd name="T72" fmla="*/ 0 w 304"/>
                <a:gd name="T73" fmla="*/ 0 h 149"/>
                <a:gd name="T74" fmla="*/ 0 w 304"/>
                <a:gd name="T75" fmla="*/ 0 h 149"/>
                <a:gd name="T76" fmla="*/ 0 w 304"/>
                <a:gd name="T77" fmla="*/ 0 h 149"/>
                <a:gd name="T78" fmla="*/ 0 w 304"/>
                <a:gd name="T79" fmla="*/ 0 h 149"/>
                <a:gd name="T80" fmla="*/ 0 w 304"/>
                <a:gd name="T81" fmla="*/ 0 h 149"/>
                <a:gd name="T82" fmla="*/ 0 w 304"/>
                <a:gd name="T83" fmla="*/ 0 h 149"/>
                <a:gd name="T84" fmla="*/ 0 w 304"/>
                <a:gd name="T85" fmla="*/ 0 h 149"/>
                <a:gd name="T86" fmla="*/ 0 w 304"/>
                <a:gd name="T87" fmla="*/ 0 h 149"/>
                <a:gd name="T88" fmla="*/ 0 w 304"/>
                <a:gd name="T89" fmla="*/ 0 h 149"/>
                <a:gd name="T90" fmla="*/ 0 w 304"/>
                <a:gd name="T91" fmla="*/ 0 h 149"/>
                <a:gd name="T92" fmla="*/ 0 w 304"/>
                <a:gd name="T93" fmla="*/ 0 h 149"/>
                <a:gd name="T94" fmla="*/ 0 w 304"/>
                <a:gd name="T95" fmla="*/ 0 h 149"/>
                <a:gd name="T96" fmla="*/ 0 w 304"/>
                <a:gd name="T97" fmla="*/ 0 h 149"/>
                <a:gd name="T98" fmla="*/ 0 w 304"/>
                <a:gd name="T99" fmla="*/ 0 h 149"/>
                <a:gd name="T100" fmla="*/ 0 w 304"/>
                <a:gd name="T101" fmla="*/ 0 h 149"/>
                <a:gd name="T102" fmla="*/ 0 w 304"/>
                <a:gd name="T103" fmla="*/ 0 h 149"/>
                <a:gd name="T104" fmla="*/ 0 w 304"/>
                <a:gd name="T105" fmla="*/ 0 h 149"/>
                <a:gd name="T106" fmla="*/ 0 w 304"/>
                <a:gd name="T107" fmla="*/ 0 h 149"/>
                <a:gd name="T108" fmla="*/ 0 w 304"/>
                <a:gd name="T109" fmla="*/ 0 h 149"/>
                <a:gd name="T110" fmla="*/ 0 w 304"/>
                <a:gd name="T111" fmla="*/ 0 h 149"/>
                <a:gd name="T112" fmla="*/ 0 w 304"/>
                <a:gd name="T113" fmla="*/ 0 h 149"/>
                <a:gd name="T114" fmla="*/ 0 w 304"/>
                <a:gd name="T115" fmla="*/ 0 h 14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4"/>
                <a:gd name="T175" fmla="*/ 0 h 149"/>
                <a:gd name="T176" fmla="*/ 304 w 304"/>
                <a:gd name="T177" fmla="*/ 149 h 14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7" name="Freeform 209">
              <a:extLst>
                <a:ext uri="{FF2B5EF4-FFF2-40B4-BE49-F238E27FC236}">
                  <a16:creationId xmlns:a16="http://schemas.microsoft.com/office/drawing/2014/main" id="{509C3577-EF0F-0FCD-EF7E-2438189A0545}"/>
                </a:ext>
              </a:extLst>
            </p:cNvPr>
            <p:cNvSpPr>
              <a:spLocks noChangeAspect="1"/>
            </p:cNvSpPr>
            <p:nvPr userDrawn="1"/>
          </p:nvSpPr>
          <p:spPr bwMode="gray">
            <a:xfrm>
              <a:off x="6164166" y="2691792"/>
              <a:ext cx="89541" cy="70114"/>
            </a:xfrm>
            <a:custGeom>
              <a:avLst/>
              <a:gdLst>
                <a:gd name="T0" fmla="*/ 0 w 173"/>
                <a:gd name="T1" fmla="*/ 0 h 123"/>
                <a:gd name="T2" fmla="*/ 0 w 173"/>
                <a:gd name="T3" fmla="*/ 0 h 123"/>
                <a:gd name="T4" fmla="*/ 0 w 173"/>
                <a:gd name="T5" fmla="*/ 0 h 123"/>
                <a:gd name="T6" fmla="*/ 0 w 173"/>
                <a:gd name="T7" fmla="*/ 0 h 123"/>
                <a:gd name="T8" fmla="*/ 0 w 173"/>
                <a:gd name="T9" fmla="*/ 0 h 123"/>
                <a:gd name="T10" fmla="*/ 0 w 173"/>
                <a:gd name="T11" fmla="*/ 0 h 123"/>
                <a:gd name="T12" fmla="*/ 0 w 173"/>
                <a:gd name="T13" fmla="*/ 0 h 123"/>
                <a:gd name="T14" fmla="*/ 0 w 173"/>
                <a:gd name="T15" fmla="*/ 0 h 123"/>
                <a:gd name="T16" fmla="*/ 0 w 173"/>
                <a:gd name="T17" fmla="*/ 0 h 123"/>
                <a:gd name="T18" fmla="*/ 0 w 173"/>
                <a:gd name="T19" fmla="*/ 0 h 123"/>
                <a:gd name="T20" fmla="*/ 0 w 173"/>
                <a:gd name="T21" fmla="*/ 0 h 123"/>
                <a:gd name="T22" fmla="*/ 0 w 173"/>
                <a:gd name="T23" fmla="*/ 0 h 123"/>
                <a:gd name="T24" fmla="*/ 0 w 173"/>
                <a:gd name="T25" fmla="*/ 0 h 123"/>
                <a:gd name="T26" fmla="*/ 0 w 173"/>
                <a:gd name="T27" fmla="*/ 0 h 123"/>
                <a:gd name="T28" fmla="*/ 0 w 173"/>
                <a:gd name="T29" fmla="*/ 0 h 123"/>
                <a:gd name="T30" fmla="*/ 0 w 173"/>
                <a:gd name="T31" fmla="*/ 0 h 123"/>
                <a:gd name="T32" fmla="*/ 0 w 173"/>
                <a:gd name="T33" fmla="*/ 0 h 123"/>
                <a:gd name="T34" fmla="*/ 0 w 173"/>
                <a:gd name="T35" fmla="*/ 0 h 123"/>
                <a:gd name="T36" fmla="*/ 0 w 173"/>
                <a:gd name="T37" fmla="*/ 0 h 123"/>
                <a:gd name="T38" fmla="*/ 0 w 173"/>
                <a:gd name="T39" fmla="*/ 0 h 123"/>
                <a:gd name="T40" fmla="*/ 0 w 173"/>
                <a:gd name="T41" fmla="*/ 0 h 123"/>
                <a:gd name="T42" fmla="*/ 0 w 173"/>
                <a:gd name="T43" fmla="*/ 0 h 123"/>
                <a:gd name="T44" fmla="*/ 0 w 173"/>
                <a:gd name="T45" fmla="*/ 0 h 123"/>
                <a:gd name="T46" fmla="*/ 0 w 173"/>
                <a:gd name="T47" fmla="*/ 0 h 123"/>
                <a:gd name="T48" fmla="*/ 0 w 173"/>
                <a:gd name="T49" fmla="*/ 0 h 123"/>
                <a:gd name="T50" fmla="*/ 0 w 173"/>
                <a:gd name="T51" fmla="*/ 0 h 123"/>
                <a:gd name="T52" fmla="*/ 0 w 173"/>
                <a:gd name="T53" fmla="*/ 0 h 123"/>
                <a:gd name="T54" fmla="*/ 0 w 173"/>
                <a:gd name="T55" fmla="*/ 0 h 123"/>
                <a:gd name="T56" fmla="*/ 0 w 173"/>
                <a:gd name="T57" fmla="*/ 0 h 123"/>
                <a:gd name="T58" fmla="*/ 0 w 173"/>
                <a:gd name="T59" fmla="*/ 0 h 123"/>
                <a:gd name="T60" fmla="*/ 0 w 173"/>
                <a:gd name="T61" fmla="*/ 0 h 123"/>
                <a:gd name="T62" fmla="*/ 0 w 173"/>
                <a:gd name="T63" fmla="*/ 0 h 123"/>
                <a:gd name="T64" fmla="*/ 0 w 173"/>
                <a:gd name="T65" fmla="*/ 0 h 123"/>
                <a:gd name="T66" fmla="*/ 0 w 173"/>
                <a:gd name="T67" fmla="*/ 0 h 123"/>
                <a:gd name="T68" fmla="*/ 0 w 173"/>
                <a:gd name="T69" fmla="*/ 0 h 123"/>
                <a:gd name="T70" fmla="*/ 0 w 173"/>
                <a:gd name="T71" fmla="*/ 0 h 123"/>
                <a:gd name="T72" fmla="*/ 0 w 173"/>
                <a:gd name="T73" fmla="*/ 0 h 1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3"/>
                <a:gd name="T112" fmla="*/ 0 h 123"/>
                <a:gd name="T113" fmla="*/ 173 w 173"/>
                <a:gd name="T114" fmla="*/ 123 h 12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8" name="Freeform 210">
              <a:extLst>
                <a:ext uri="{FF2B5EF4-FFF2-40B4-BE49-F238E27FC236}">
                  <a16:creationId xmlns:a16="http://schemas.microsoft.com/office/drawing/2014/main" id="{030D21D6-3A7F-34B5-ADD1-AD9BF3FC487C}"/>
                </a:ext>
              </a:extLst>
            </p:cNvPr>
            <p:cNvSpPr>
              <a:spLocks noChangeAspect="1"/>
            </p:cNvSpPr>
            <p:nvPr userDrawn="1"/>
          </p:nvSpPr>
          <p:spPr bwMode="gray">
            <a:xfrm>
              <a:off x="6371601" y="2891464"/>
              <a:ext cx="68648" cy="57921"/>
            </a:xfrm>
            <a:custGeom>
              <a:avLst/>
              <a:gdLst>
                <a:gd name="T0" fmla="*/ 0 w 132"/>
                <a:gd name="T1" fmla="*/ 0 h 107"/>
                <a:gd name="T2" fmla="*/ 0 w 132"/>
                <a:gd name="T3" fmla="*/ 0 h 107"/>
                <a:gd name="T4" fmla="*/ 0 w 132"/>
                <a:gd name="T5" fmla="*/ 0 h 107"/>
                <a:gd name="T6" fmla="*/ 0 w 132"/>
                <a:gd name="T7" fmla="*/ 0 h 107"/>
                <a:gd name="T8" fmla="*/ 0 w 132"/>
                <a:gd name="T9" fmla="*/ 0 h 107"/>
                <a:gd name="T10" fmla="*/ 0 w 132"/>
                <a:gd name="T11" fmla="*/ 0 h 107"/>
                <a:gd name="T12" fmla="*/ 0 w 132"/>
                <a:gd name="T13" fmla="*/ 0 h 107"/>
                <a:gd name="T14" fmla="*/ 0 w 132"/>
                <a:gd name="T15" fmla="*/ 0 h 107"/>
                <a:gd name="T16" fmla="*/ 0 w 132"/>
                <a:gd name="T17" fmla="*/ 0 h 107"/>
                <a:gd name="T18" fmla="*/ 0 w 132"/>
                <a:gd name="T19" fmla="*/ 0 h 107"/>
                <a:gd name="T20" fmla="*/ 0 w 132"/>
                <a:gd name="T21" fmla="*/ 0 h 107"/>
                <a:gd name="T22" fmla="*/ 0 w 132"/>
                <a:gd name="T23" fmla="*/ 0 h 107"/>
                <a:gd name="T24" fmla="*/ 0 w 132"/>
                <a:gd name="T25" fmla="*/ 0 h 107"/>
                <a:gd name="T26" fmla="*/ 0 w 132"/>
                <a:gd name="T27" fmla="*/ 0 h 107"/>
                <a:gd name="T28" fmla="*/ 0 w 132"/>
                <a:gd name="T29" fmla="*/ 0 h 107"/>
                <a:gd name="T30" fmla="*/ 0 w 132"/>
                <a:gd name="T31" fmla="*/ 0 h 107"/>
                <a:gd name="T32" fmla="*/ 0 w 132"/>
                <a:gd name="T33" fmla="*/ 0 h 107"/>
                <a:gd name="T34" fmla="*/ 0 w 132"/>
                <a:gd name="T35" fmla="*/ 0 h 107"/>
                <a:gd name="T36" fmla="*/ 0 w 132"/>
                <a:gd name="T37" fmla="*/ 0 h 107"/>
                <a:gd name="T38" fmla="*/ 0 w 132"/>
                <a:gd name="T39" fmla="*/ 0 h 107"/>
                <a:gd name="T40" fmla="*/ 0 w 132"/>
                <a:gd name="T41" fmla="*/ 0 h 107"/>
                <a:gd name="T42" fmla="*/ 0 w 132"/>
                <a:gd name="T43" fmla="*/ 0 h 107"/>
                <a:gd name="T44" fmla="*/ 0 w 132"/>
                <a:gd name="T45" fmla="*/ 0 h 107"/>
                <a:gd name="T46" fmla="*/ 0 w 132"/>
                <a:gd name="T47" fmla="*/ 0 h 107"/>
                <a:gd name="T48" fmla="*/ 0 w 132"/>
                <a:gd name="T49" fmla="*/ 0 h 107"/>
                <a:gd name="T50" fmla="*/ 0 w 132"/>
                <a:gd name="T51" fmla="*/ 0 h 107"/>
                <a:gd name="T52" fmla="*/ 0 w 132"/>
                <a:gd name="T53" fmla="*/ 0 h 107"/>
                <a:gd name="T54" fmla="*/ 0 w 132"/>
                <a:gd name="T55" fmla="*/ 0 h 107"/>
                <a:gd name="T56" fmla="*/ 0 w 132"/>
                <a:gd name="T57" fmla="*/ 0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2"/>
                <a:gd name="T88" fmla="*/ 0 h 107"/>
                <a:gd name="T89" fmla="*/ 132 w 132"/>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199" name="Freeform 211">
              <a:extLst>
                <a:ext uri="{FF2B5EF4-FFF2-40B4-BE49-F238E27FC236}">
                  <a16:creationId xmlns:a16="http://schemas.microsoft.com/office/drawing/2014/main" id="{3F44EA9E-5345-351E-606C-A60CD506E932}"/>
                </a:ext>
              </a:extLst>
            </p:cNvPr>
            <p:cNvSpPr>
              <a:spLocks noChangeAspect="1"/>
            </p:cNvSpPr>
            <p:nvPr userDrawn="1"/>
          </p:nvSpPr>
          <p:spPr bwMode="gray">
            <a:xfrm>
              <a:off x="6359663" y="2626251"/>
              <a:ext cx="279068" cy="207294"/>
            </a:xfrm>
            <a:custGeom>
              <a:avLst/>
              <a:gdLst>
                <a:gd name="T0" fmla="*/ 2147483647 w 523"/>
                <a:gd name="T1" fmla="*/ 2147483647 h 364"/>
                <a:gd name="T2" fmla="*/ 2147483647 w 523"/>
                <a:gd name="T3" fmla="*/ 2147483647 h 364"/>
                <a:gd name="T4" fmla="*/ 2147483647 w 523"/>
                <a:gd name="T5" fmla="*/ 2147483647 h 364"/>
                <a:gd name="T6" fmla="*/ 2147483647 w 523"/>
                <a:gd name="T7" fmla="*/ 2147483647 h 364"/>
                <a:gd name="T8" fmla="*/ 0 w 523"/>
                <a:gd name="T9" fmla="*/ 2147483647 h 364"/>
                <a:gd name="T10" fmla="*/ 0 w 523"/>
                <a:gd name="T11" fmla="*/ 2147483647 h 364"/>
                <a:gd name="T12" fmla="*/ 0 w 523"/>
                <a:gd name="T13" fmla="*/ 2147483647 h 364"/>
                <a:gd name="T14" fmla="*/ 0 w 523"/>
                <a:gd name="T15" fmla="*/ 2147483647 h 364"/>
                <a:gd name="T16" fmla="*/ 0 w 523"/>
                <a:gd name="T17" fmla="*/ 2147483647 h 364"/>
                <a:gd name="T18" fmla="*/ 0 w 523"/>
                <a:gd name="T19" fmla="*/ 0 h 364"/>
                <a:gd name="T20" fmla="*/ 0 w 523"/>
                <a:gd name="T21" fmla="*/ 0 h 364"/>
                <a:gd name="T22" fmla="*/ 0 w 523"/>
                <a:gd name="T23" fmla="*/ 0 h 364"/>
                <a:gd name="T24" fmla="*/ 0 w 523"/>
                <a:gd name="T25" fmla="*/ 0 h 364"/>
                <a:gd name="T26" fmla="*/ 0 w 523"/>
                <a:gd name="T27" fmla="*/ 0 h 364"/>
                <a:gd name="T28" fmla="*/ 0 w 523"/>
                <a:gd name="T29" fmla="*/ 0 h 364"/>
                <a:gd name="T30" fmla="*/ 0 w 523"/>
                <a:gd name="T31" fmla="*/ 0 h 364"/>
                <a:gd name="T32" fmla="*/ 0 w 523"/>
                <a:gd name="T33" fmla="*/ 0 h 364"/>
                <a:gd name="T34" fmla="*/ 0 w 523"/>
                <a:gd name="T35" fmla="*/ 0 h 364"/>
                <a:gd name="T36" fmla="*/ 0 w 523"/>
                <a:gd name="T37" fmla="*/ 0 h 364"/>
                <a:gd name="T38" fmla="*/ 0 w 523"/>
                <a:gd name="T39" fmla="*/ 0 h 364"/>
                <a:gd name="T40" fmla="*/ 0 w 523"/>
                <a:gd name="T41" fmla="*/ 0 h 364"/>
                <a:gd name="T42" fmla="*/ 0 w 523"/>
                <a:gd name="T43" fmla="*/ 0 h 364"/>
                <a:gd name="T44" fmla="*/ 0 w 523"/>
                <a:gd name="T45" fmla="*/ 0 h 364"/>
                <a:gd name="T46" fmla="*/ 0 w 523"/>
                <a:gd name="T47" fmla="*/ 0 h 364"/>
                <a:gd name="T48" fmla="*/ 0 w 523"/>
                <a:gd name="T49" fmla="*/ 0 h 364"/>
                <a:gd name="T50" fmla="*/ 0 w 523"/>
                <a:gd name="T51" fmla="*/ 0 h 364"/>
                <a:gd name="T52" fmla="*/ 0 w 523"/>
                <a:gd name="T53" fmla="*/ 0 h 364"/>
                <a:gd name="T54" fmla="*/ 0 w 523"/>
                <a:gd name="T55" fmla="*/ 0 h 364"/>
                <a:gd name="T56" fmla="*/ 0 w 523"/>
                <a:gd name="T57" fmla="*/ 0 h 364"/>
                <a:gd name="T58" fmla="*/ 0 w 523"/>
                <a:gd name="T59" fmla="*/ 0 h 364"/>
                <a:gd name="T60" fmla="*/ 2147483647 w 523"/>
                <a:gd name="T61" fmla="*/ 0 h 364"/>
                <a:gd name="T62" fmla="*/ 2147483647 w 523"/>
                <a:gd name="T63" fmla="*/ 0 h 364"/>
                <a:gd name="T64" fmla="*/ 2147483647 w 523"/>
                <a:gd name="T65" fmla="*/ 0 h 364"/>
                <a:gd name="T66" fmla="*/ 2147483647 w 523"/>
                <a:gd name="T67" fmla="*/ 0 h 364"/>
                <a:gd name="T68" fmla="*/ 2147483647 w 523"/>
                <a:gd name="T69" fmla="*/ 0 h 364"/>
                <a:gd name="T70" fmla="*/ 2147483647 w 523"/>
                <a:gd name="T71" fmla="*/ 0 h 364"/>
                <a:gd name="T72" fmla="*/ 2147483647 w 523"/>
                <a:gd name="T73" fmla="*/ 0 h 364"/>
                <a:gd name="T74" fmla="*/ 2147483647 w 523"/>
                <a:gd name="T75" fmla="*/ 0 h 364"/>
                <a:gd name="T76" fmla="*/ 2147483647 w 523"/>
                <a:gd name="T77" fmla="*/ 0 h 364"/>
                <a:gd name="T78" fmla="*/ 2147483647 w 523"/>
                <a:gd name="T79" fmla="*/ 0 h 364"/>
                <a:gd name="T80" fmla="*/ 2147483647 w 523"/>
                <a:gd name="T81" fmla="*/ 0 h 364"/>
                <a:gd name="T82" fmla="*/ 2147483647 w 523"/>
                <a:gd name="T83" fmla="*/ 0 h 364"/>
                <a:gd name="T84" fmla="*/ 2147483647 w 523"/>
                <a:gd name="T85" fmla="*/ 0 h 364"/>
                <a:gd name="T86" fmla="*/ 2147483647 w 523"/>
                <a:gd name="T87" fmla="*/ 0 h 364"/>
                <a:gd name="T88" fmla="*/ 2147483647 w 523"/>
                <a:gd name="T89" fmla="*/ 0 h 364"/>
                <a:gd name="T90" fmla="*/ 2147483647 w 523"/>
                <a:gd name="T91" fmla="*/ 0 h 364"/>
                <a:gd name="T92" fmla="*/ 2147483647 w 523"/>
                <a:gd name="T93" fmla="*/ 0 h 364"/>
                <a:gd name="T94" fmla="*/ 2147483647 w 523"/>
                <a:gd name="T95" fmla="*/ 0 h 364"/>
                <a:gd name="T96" fmla="*/ 2147483647 w 523"/>
                <a:gd name="T97" fmla="*/ 0 h 364"/>
                <a:gd name="T98" fmla="*/ 2147483647 w 523"/>
                <a:gd name="T99" fmla="*/ 0 h 364"/>
                <a:gd name="T100" fmla="*/ 2147483647 w 523"/>
                <a:gd name="T101" fmla="*/ 0 h 364"/>
                <a:gd name="T102" fmla="*/ 2147483647 w 523"/>
                <a:gd name="T103" fmla="*/ 2147483647 h 364"/>
                <a:gd name="T104" fmla="*/ 2147483647 w 523"/>
                <a:gd name="T105" fmla="*/ 2147483647 h 3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3"/>
                <a:gd name="T160" fmla="*/ 0 h 364"/>
                <a:gd name="T161" fmla="*/ 523 w 523"/>
                <a:gd name="T162" fmla="*/ 364 h 3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0" name="Freeform 212">
              <a:extLst>
                <a:ext uri="{FF2B5EF4-FFF2-40B4-BE49-F238E27FC236}">
                  <a16:creationId xmlns:a16="http://schemas.microsoft.com/office/drawing/2014/main" id="{6B75D195-A6EC-03E6-FE1B-56D19C6246B9}"/>
                </a:ext>
              </a:extLst>
            </p:cNvPr>
            <p:cNvSpPr>
              <a:spLocks noChangeAspect="1"/>
            </p:cNvSpPr>
            <p:nvPr userDrawn="1"/>
          </p:nvSpPr>
          <p:spPr bwMode="gray">
            <a:xfrm>
              <a:off x="6453681" y="2022661"/>
              <a:ext cx="144757" cy="124985"/>
            </a:xfrm>
            <a:custGeom>
              <a:avLst/>
              <a:gdLst>
                <a:gd name="T0" fmla="*/ 0 w 267"/>
                <a:gd name="T1" fmla="*/ 0 h 220"/>
                <a:gd name="T2" fmla="*/ 0 w 267"/>
                <a:gd name="T3" fmla="*/ 0 h 220"/>
                <a:gd name="T4" fmla="*/ 0 w 267"/>
                <a:gd name="T5" fmla="*/ 0 h 220"/>
                <a:gd name="T6" fmla="*/ 0 w 267"/>
                <a:gd name="T7" fmla="*/ 0 h 220"/>
                <a:gd name="T8" fmla="*/ 0 w 267"/>
                <a:gd name="T9" fmla="*/ 0 h 220"/>
                <a:gd name="T10" fmla="*/ 0 w 267"/>
                <a:gd name="T11" fmla="*/ 0 h 220"/>
                <a:gd name="T12" fmla="*/ 0 w 267"/>
                <a:gd name="T13" fmla="*/ 0 h 220"/>
                <a:gd name="T14" fmla="*/ 0 w 267"/>
                <a:gd name="T15" fmla="*/ 0 h 220"/>
                <a:gd name="T16" fmla="*/ 0 w 267"/>
                <a:gd name="T17" fmla="*/ 0 h 220"/>
                <a:gd name="T18" fmla="*/ 0 w 267"/>
                <a:gd name="T19" fmla="*/ 0 h 220"/>
                <a:gd name="T20" fmla="*/ 0 w 267"/>
                <a:gd name="T21" fmla="*/ 0 h 220"/>
                <a:gd name="T22" fmla="*/ 0 w 267"/>
                <a:gd name="T23" fmla="*/ 0 h 220"/>
                <a:gd name="T24" fmla="*/ 0 w 267"/>
                <a:gd name="T25" fmla="*/ 0 h 220"/>
                <a:gd name="T26" fmla="*/ 0 w 267"/>
                <a:gd name="T27" fmla="*/ 0 h 220"/>
                <a:gd name="T28" fmla="*/ 0 w 267"/>
                <a:gd name="T29" fmla="*/ 0 h 220"/>
                <a:gd name="T30" fmla="*/ 0 w 267"/>
                <a:gd name="T31" fmla="*/ 0 h 220"/>
                <a:gd name="T32" fmla="*/ 0 w 267"/>
                <a:gd name="T33" fmla="*/ 0 h 220"/>
                <a:gd name="T34" fmla="*/ 0 w 267"/>
                <a:gd name="T35" fmla="*/ 0 h 220"/>
                <a:gd name="T36" fmla="*/ 0 w 267"/>
                <a:gd name="T37" fmla="*/ 0 h 220"/>
                <a:gd name="T38" fmla="*/ 0 w 267"/>
                <a:gd name="T39" fmla="*/ 0 h 220"/>
                <a:gd name="T40" fmla="*/ 0 w 267"/>
                <a:gd name="T41" fmla="*/ 0 h 220"/>
                <a:gd name="T42" fmla="*/ 0 w 267"/>
                <a:gd name="T43" fmla="*/ 0 h 220"/>
                <a:gd name="T44" fmla="*/ 0 w 267"/>
                <a:gd name="T45" fmla="*/ 0 h 220"/>
                <a:gd name="T46" fmla="*/ 0 w 267"/>
                <a:gd name="T47" fmla="*/ 0 h 220"/>
                <a:gd name="T48" fmla="*/ 0 w 267"/>
                <a:gd name="T49" fmla="*/ 0 h 220"/>
                <a:gd name="T50" fmla="*/ 0 w 267"/>
                <a:gd name="T51" fmla="*/ 0 h 220"/>
                <a:gd name="T52" fmla="*/ 0 w 267"/>
                <a:gd name="T53" fmla="*/ 0 h 220"/>
                <a:gd name="T54" fmla="*/ 0 w 267"/>
                <a:gd name="T55" fmla="*/ 0 h 220"/>
                <a:gd name="T56" fmla="*/ 0 w 267"/>
                <a:gd name="T57" fmla="*/ 0 h 220"/>
                <a:gd name="T58" fmla="*/ 0 w 267"/>
                <a:gd name="T59" fmla="*/ 0 h 220"/>
                <a:gd name="T60" fmla="*/ 0 w 267"/>
                <a:gd name="T61" fmla="*/ 0 h 220"/>
                <a:gd name="T62" fmla="*/ 0 w 267"/>
                <a:gd name="T63" fmla="*/ 0 h 220"/>
                <a:gd name="T64" fmla="*/ 0 w 267"/>
                <a:gd name="T65" fmla="*/ 0 h 220"/>
                <a:gd name="T66" fmla="*/ 0 w 267"/>
                <a:gd name="T67" fmla="*/ 0 h 220"/>
                <a:gd name="T68" fmla="*/ 0 w 267"/>
                <a:gd name="T69" fmla="*/ 0 h 220"/>
                <a:gd name="T70" fmla="*/ 0 w 267"/>
                <a:gd name="T71" fmla="*/ 0 h 220"/>
                <a:gd name="T72" fmla="*/ 0 w 267"/>
                <a:gd name="T73" fmla="*/ 0 h 220"/>
                <a:gd name="T74" fmla="*/ 0 w 267"/>
                <a:gd name="T75" fmla="*/ 0 h 220"/>
                <a:gd name="T76" fmla="*/ 0 w 267"/>
                <a:gd name="T77" fmla="*/ 0 h 220"/>
                <a:gd name="T78" fmla="*/ 0 w 267"/>
                <a:gd name="T79" fmla="*/ 0 h 220"/>
                <a:gd name="T80" fmla="*/ 0 w 267"/>
                <a:gd name="T81" fmla="*/ 0 h 220"/>
                <a:gd name="T82" fmla="*/ 0 w 267"/>
                <a:gd name="T83" fmla="*/ 0 h 220"/>
                <a:gd name="T84" fmla="*/ 0 w 267"/>
                <a:gd name="T85" fmla="*/ 0 h 220"/>
                <a:gd name="T86" fmla="*/ 0 w 267"/>
                <a:gd name="T87" fmla="*/ 0 h 2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7"/>
                <a:gd name="T133" fmla="*/ 0 h 220"/>
                <a:gd name="T134" fmla="*/ 267 w 267"/>
                <a:gd name="T135" fmla="*/ 220 h 2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1" name="Freeform 213">
              <a:extLst>
                <a:ext uri="{FF2B5EF4-FFF2-40B4-BE49-F238E27FC236}">
                  <a16:creationId xmlns:a16="http://schemas.microsoft.com/office/drawing/2014/main" id="{3CB0D17A-59D9-3E31-3EBC-D188A4677558}"/>
                </a:ext>
              </a:extLst>
            </p:cNvPr>
            <p:cNvSpPr>
              <a:spLocks noChangeAspect="1"/>
            </p:cNvSpPr>
            <p:nvPr userDrawn="1"/>
          </p:nvSpPr>
          <p:spPr bwMode="gray">
            <a:xfrm>
              <a:off x="6371601" y="1246834"/>
              <a:ext cx="317869" cy="762109"/>
            </a:xfrm>
            <a:custGeom>
              <a:avLst/>
              <a:gdLst>
                <a:gd name="T0" fmla="*/ 0 w 593"/>
                <a:gd name="T1" fmla="*/ 0 h 1339"/>
                <a:gd name="T2" fmla="*/ 0 w 593"/>
                <a:gd name="T3" fmla="*/ 2147483647 h 1339"/>
                <a:gd name="T4" fmla="*/ 0 w 593"/>
                <a:gd name="T5" fmla="*/ 2147483647 h 1339"/>
                <a:gd name="T6" fmla="*/ 0 w 593"/>
                <a:gd name="T7" fmla="*/ 2147483647 h 1339"/>
                <a:gd name="T8" fmla="*/ 0 w 593"/>
                <a:gd name="T9" fmla="*/ 2147483647 h 1339"/>
                <a:gd name="T10" fmla="*/ 0 w 593"/>
                <a:gd name="T11" fmla="*/ 2147483647 h 1339"/>
                <a:gd name="T12" fmla="*/ 0 w 593"/>
                <a:gd name="T13" fmla="*/ 2147483647 h 1339"/>
                <a:gd name="T14" fmla="*/ 0 w 593"/>
                <a:gd name="T15" fmla="*/ 2147483647 h 1339"/>
                <a:gd name="T16" fmla="*/ 0 w 593"/>
                <a:gd name="T17" fmla="*/ 2147483647 h 1339"/>
                <a:gd name="T18" fmla="*/ 0 w 593"/>
                <a:gd name="T19" fmla="*/ 2147483647 h 1339"/>
                <a:gd name="T20" fmla="*/ 0 w 593"/>
                <a:gd name="T21" fmla="*/ 2147483647 h 1339"/>
                <a:gd name="T22" fmla="*/ 0 w 593"/>
                <a:gd name="T23" fmla="*/ 2147483647 h 1339"/>
                <a:gd name="T24" fmla="*/ 0 w 593"/>
                <a:gd name="T25" fmla="*/ 2147483647 h 1339"/>
                <a:gd name="T26" fmla="*/ 0 w 593"/>
                <a:gd name="T27" fmla="*/ 2147483647 h 1339"/>
                <a:gd name="T28" fmla="*/ 0 w 593"/>
                <a:gd name="T29" fmla="*/ 2147483647 h 1339"/>
                <a:gd name="T30" fmla="*/ 0 w 593"/>
                <a:gd name="T31" fmla="*/ 2147483647 h 1339"/>
                <a:gd name="T32" fmla="*/ 0 w 593"/>
                <a:gd name="T33" fmla="*/ 2147483647 h 1339"/>
                <a:gd name="T34" fmla="*/ 0 w 593"/>
                <a:gd name="T35" fmla="*/ 2147483647 h 1339"/>
                <a:gd name="T36" fmla="*/ 0 w 593"/>
                <a:gd name="T37" fmla="*/ 2147483647 h 1339"/>
                <a:gd name="T38" fmla="*/ 0 w 593"/>
                <a:gd name="T39" fmla="*/ 2147483647 h 1339"/>
                <a:gd name="T40" fmla="*/ 0 w 593"/>
                <a:gd name="T41" fmla="*/ 2147483647 h 1339"/>
                <a:gd name="T42" fmla="*/ 0 w 593"/>
                <a:gd name="T43" fmla="*/ 2147483647 h 1339"/>
                <a:gd name="T44" fmla="*/ 0 w 593"/>
                <a:gd name="T45" fmla="*/ 2147483647 h 1339"/>
                <a:gd name="T46" fmla="*/ 0 w 593"/>
                <a:gd name="T47" fmla="*/ 2147483647 h 1339"/>
                <a:gd name="T48" fmla="*/ 0 w 593"/>
                <a:gd name="T49" fmla="*/ 2147483647 h 1339"/>
                <a:gd name="T50" fmla="*/ 0 w 593"/>
                <a:gd name="T51" fmla="*/ 2147483647 h 1339"/>
                <a:gd name="T52" fmla="*/ 0 w 593"/>
                <a:gd name="T53" fmla="*/ 2147483647 h 1339"/>
                <a:gd name="T54" fmla="*/ 0 w 593"/>
                <a:gd name="T55" fmla="*/ 2147483647 h 1339"/>
                <a:gd name="T56" fmla="*/ 0 w 593"/>
                <a:gd name="T57" fmla="*/ 2147483647 h 1339"/>
                <a:gd name="T58" fmla="*/ 0 w 593"/>
                <a:gd name="T59" fmla="*/ 2147483647 h 1339"/>
                <a:gd name="T60" fmla="*/ 0 w 593"/>
                <a:gd name="T61" fmla="*/ 2147483647 h 1339"/>
                <a:gd name="T62" fmla="*/ 0 w 593"/>
                <a:gd name="T63" fmla="*/ 2147483647 h 1339"/>
                <a:gd name="T64" fmla="*/ 0 w 593"/>
                <a:gd name="T65" fmla="*/ 2147483647 h 1339"/>
                <a:gd name="T66" fmla="*/ 2147483647 w 593"/>
                <a:gd name="T67" fmla="*/ 2147483647 h 1339"/>
                <a:gd name="T68" fmla="*/ 2147483647 w 593"/>
                <a:gd name="T69" fmla="*/ 2147483647 h 1339"/>
                <a:gd name="T70" fmla="*/ 2147483647 w 593"/>
                <a:gd name="T71" fmla="*/ 2147483647 h 1339"/>
                <a:gd name="T72" fmla="*/ 2147483647 w 593"/>
                <a:gd name="T73" fmla="*/ 2147483647 h 1339"/>
                <a:gd name="T74" fmla="*/ 2147483647 w 593"/>
                <a:gd name="T75" fmla="*/ 2147483647 h 1339"/>
                <a:gd name="T76" fmla="*/ 2147483647 w 593"/>
                <a:gd name="T77" fmla="*/ 2147483647 h 1339"/>
                <a:gd name="T78" fmla="*/ 2147483647 w 593"/>
                <a:gd name="T79" fmla="*/ 2147483647 h 1339"/>
                <a:gd name="T80" fmla="*/ 2147483647 w 593"/>
                <a:gd name="T81" fmla="*/ 2147483647 h 1339"/>
                <a:gd name="T82" fmla="*/ 2147483647 w 593"/>
                <a:gd name="T83" fmla="*/ 2147483647 h 1339"/>
                <a:gd name="T84" fmla="*/ 2147483647 w 593"/>
                <a:gd name="T85" fmla="*/ 2147483647 h 1339"/>
                <a:gd name="T86" fmla="*/ 2147483647 w 593"/>
                <a:gd name="T87" fmla="*/ 2147483647 h 1339"/>
                <a:gd name="T88" fmla="*/ 2147483647 w 593"/>
                <a:gd name="T89" fmla="*/ 2147483647 h 1339"/>
                <a:gd name="T90" fmla="*/ 2147483647 w 593"/>
                <a:gd name="T91" fmla="*/ 2147483647 h 1339"/>
                <a:gd name="T92" fmla="*/ 2147483647 w 593"/>
                <a:gd name="T93" fmla="*/ 0 h 1339"/>
                <a:gd name="T94" fmla="*/ 2147483647 w 593"/>
                <a:gd name="T95" fmla="*/ 0 h 1339"/>
                <a:gd name="T96" fmla="*/ 2147483647 w 593"/>
                <a:gd name="T97" fmla="*/ 0 h 1339"/>
                <a:gd name="T98" fmla="*/ 2147483647 w 593"/>
                <a:gd name="T99" fmla="*/ 0 h 1339"/>
                <a:gd name="T100" fmla="*/ 2147483647 w 593"/>
                <a:gd name="T101" fmla="*/ 0 h 1339"/>
                <a:gd name="T102" fmla="*/ 2147483647 w 593"/>
                <a:gd name="T103" fmla="*/ 0 h 1339"/>
                <a:gd name="T104" fmla="*/ 0 w 593"/>
                <a:gd name="T105" fmla="*/ 0 h 1339"/>
                <a:gd name="T106" fmla="*/ 0 w 593"/>
                <a:gd name="T107" fmla="*/ 0 h 1339"/>
                <a:gd name="T108" fmla="*/ 0 w 593"/>
                <a:gd name="T109" fmla="*/ 0 h 1339"/>
                <a:gd name="T110" fmla="*/ 0 w 593"/>
                <a:gd name="T111" fmla="*/ 0 h 1339"/>
                <a:gd name="T112" fmla="*/ 0 w 593"/>
                <a:gd name="T113" fmla="*/ 0 h 1339"/>
                <a:gd name="T114" fmla="*/ 0 w 593"/>
                <a:gd name="T115" fmla="*/ 0 h 1339"/>
                <a:gd name="T116" fmla="*/ 0 w 593"/>
                <a:gd name="T117" fmla="*/ 0 h 1339"/>
                <a:gd name="T118" fmla="*/ 0 w 593"/>
                <a:gd name="T119" fmla="*/ 0 h 13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3"/>
                <a:gd name="T181" fmla="*/ 0 h 1339"/>
                <a:gd name="T182" fmla="*/ 593 w 593"/>
                <a:gd name="T183" fmla="*/ 1339 h 133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2" name="Freeform 214">
              <a:extLst>
                <a:ext uri="{FF2B5EF4-FFF2-40B4-BE49-F238E27FC236}">
                  <a16:creationId xmlns:a16="http://schemas.microsoft.com/office/drawing/2014/main" id="{BF6A2995-F176-B6A9-8964-1925ECD750CA}"/>
                </a:ext>
              </a:extLst>
            </p:cNvPr>
            <p:cNvSpPr>
              <a:spLocks noChangeAspect="1"/>
            </p:cNvSpPr>
            <p:nvPr userDrawn="1"/>
          </p:nvSpPr>
          <p:spPr bwMode="gray">
            <a:xfrm>
              <a:off x="6005978" y="2136978"/>
              <a:ext cx="83571" cy="161567"/>
            </a:xfrm>
            <a:custGeom>
              <a:avLst/>
              <a:gdLst>
                <a:gd name="T0" fmla="*/ 0 w 154"/>
                <a:gd name="T1" fmla="*/ 0 h 284"/>
                <a:gd name="T2" fmla="*/ 0 w 154"/>
                <a:gd name="T3" fmla="*/ 0 h 284"/>
                <a:gd name="T4" fmla="*/ 0 w 154"/>
                <a:gd name="T5" fmla="*/ 0 h 284"/>
                <a:gd name="T6" fmla="*/ 0 w 154"/>
                <a:gd name="T7" fmla="*/ 0 h 284"/>
                <a:gd name="T8" fmla="*/ 0 w 154"/>
                <a:gd name="T9" fmla="*/ 0 h 284"/>
                <a:gd name="T10" fmla="*/ 0 w 154"/>
                <a:gd name="T11" fmla="*/ 0 h 284"/>
                <a:gd name="T12" fmla="*/ 0 w 154"/>
                <a:gd name="T13" fmla="*/ 0 h 284"/>
                <a:gd name="T14" fmla="*/ 0 w 154"/>
                <a:gd name="T15" fmla="*/ 0 h 284"/>
                <a:gd name="T16" fmla="*/ 0 w 154"/>
                <a:gd name="T17" fmla="*/ 0 h 284"/>
                <a:gd name="T18" fmla="*/ 0 w 154"/>
                <a:gd name="T19" fmla="*/ 0 h 284"/>
                <a:gd name="T20" fmla="*/ 0 w 154"/>
                <a:gd name="T21" fmla="*/ 0 h 284"/>
                <a:gd name="T22" fmla="*/ 0 w 154"/>
                <a:gd name="T23" fmla="*/ 0 h 284"/>
                <a:gd name="T24" fmla="*/ 0 w 154"/>
                <a:gd name="T25" fmla="*/ 0 h 284"/>
                <a:gd name="T26" fmla="*/ 0 w 154"/>
                <a:gd name="T27" fmla="*/ 0 h 284"/>
                <a:gd name="T28" fmla="*/ 0 w 154"/>
                <a:gd name="T29" fmla="*/ 0 h 284"/>
                <a:gd name="T30" fmla="*/ 0 w 154"/>
                <a:gd name="T31" fmla="*/ 0 h 284"/>
                <a:gd name="T32" fmla="*/ 0 w 154"/>
                <a:gd name="T33" fmla="*/ 0 h 284"/>
                <a:gd name="T34" fmla="*/ 0 w 154"/>
                <a:gd name="T35" fmla="*/ 0 h 284"/>
                <a:gd name="T36" fmla="*/ 0 w 154"/>
                <a:gd name="T37" fmla="*/ 0 h 284"/>
                <a:gd name="T38" fmla="*/ 0 w 154"/>
                <a:gd name="T39" fmla="*/ 0 h 284"/>
                <a:gd name="T40" fmla="*/ 0 w 154"/>
                <a:gd name="T41" fmla="*/ 0 h 284"/>
                <a:gd name="T42" fmla="*/ 0 w 154"/>
                <a:gd name="T43" fmla="*/ 0 h 284"/>
                <a:gd name="T44" fmla="*/ 0 w 154"/>
                <a:gd name="T45" fmla="*/ 0 h 284"/>
                <a:gd name="T46" fmla="*/ 0 w 154"/>
                <a:gd name="T47" fmla="*/ 0 h 284"/>
                <a:gd name="T48" fmla="*/ 0 w 154"/>
                <a:gd name="T49" fmla="*/ 0 h 284"/>
                <a:gd name="T50" fmla="*/ 0 w 154"/>
                <a:gd name="T51" fmla="*/ 0 h 284"/>
                <a:gd name="T52" fmla="*/ 0 w 154"/>
                <a:gd name="T53" fmla="*/ 0 h 284"/>
                <a:gd name="T54" fmla="*/ 0 w 154"/>
                <a:gd name="T55" fmla="*/ 0 h 284"/>
                <a:gd name="T56" fmla="*/ 0 w 154"/>
                <a:gd name="T57" fmla="*/ 0 h 284"/>
                <a:gd name="T58" fmla="*/ 0 w 154"/>
                <a:gd name="T59" fmla="*/ 0 h 284"/>
                <a:gd name="T60" fmla="*/ 0 w 154"/>
                <a:gd name="T61" fmla="*/ 0 h 284"/>
                <a:gd name="T62" fmla="*/ 0 w 154"/>
                <a:gd name="T63" fmla="*/ 0 h 284"/>
                <a:gd name="T64" fmla="*/ 0 w 154"/>
                <a:gd name="T65" fmla="*/ 0 h 284"/>
                <a:gd name="T66" fmla="*/ 0 w 154"/>
                <a:gd name="T67" fmla="*/ 0 h 284"/>
                <a:gd name="T68" fmla="*/ 0 w 154"/>
                <a:gd name="T69" fmla="*/ 0 h 284"/>
                <a:gd name="T70" fmla="*/ 0 w 154"/>
                <a:gd name="T71" fmla="*/ 0 h 284"/>
                <a:gd name="T72" fmla="*/ 0 w 154"/>
                <a:gd name="T73" fmla="*/ 0 h 284"/>
                <a:gd name="T74" fmla="*/ 0 w 154"/>
                <a:gd name="T75" fmla="*/ 0 h 284"/>
                <a:gd name="T76" fmla="*/ 0 w 154"/>
                <a:gd name="T77" fmla="*/ 0 h 284"/>
                <a:gd name="T78" fmla="*/ 0 w 154"/>
                <a:gd name="T79" fmla="*/ 0 h 284"/>
                <a:gd name="T80" fmla="*/ 0 w 154"/>
                <a:gd name="T81" fmla="*/ 0 h 284"/>
                <a:gd name="T82" fmla="*/ 0 w 154"/>
                <a:gd name="T83" fmla="*/ 0 h 284"/>
                <a:gd name="T84" fmla="*/ 0 w 154"/>
                <a:gd name="T85" fmla="*/ 0 h 2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4"/>
                <a:gd name="T130" fmla="*/ 0 h 284"/>
                <a:gd name="T131" fmla="*/ 154 w 154"/>
                <a:gd name="T132" fmla="*/ 284 h 2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3" name="Freeform 215">
              <a:extLst>
                <a:ext uri="{FF2B5EF4-FFF2-40B4-BE49-F238E27FC236}">
                  <a16:creationId xmlns:a16="http://schemas.microsoft.com/office/drawing/2014/main" id="{E84C0845-D41C-2998-0DA6-6D93E92AD5D1}"/>
                </a:ext>
              </a:extLst>
            </p:cNvPr>
            <p:cNvSpPr>
              <a:spLocks noChangeAspect="1"/>
            </p:cNvSpPr>
            <p:nvPr userDrawn="1"/>
          </p:nvSpPr>
          <p:spPr bwMode="gray">
            <a:xfrm>
              <a:off x="5917930" y="1150808"/>
              <a:ext cx="759602" cy="967879"/>
            </a:xfrm>
            <a:custGeom>
              <a:avLst/>
              <a:gdLst>
                <a:gd name="T0" fmla="*/ 2147483647 w 1427"/>
                <a:gd name="T1" fmla="*/ 0 h 1701"/>
                <a:gd name="T2" fmla="*/ 2147483647 w 1427"/>
                <a:gd name="T3" fmla="*/ 0 h 1701"/>
                <a:gd name="T4" fmla="*/ 2147483647 w 1427"/>
                <a:gd name="T5" fmla="*/ 0 h 1701"/>
                <a:gd name="T6" fmla="*/ 2147483647 w 1427"/>
                <a:gd name="T7" fmla="*/ 0 h 1701"/>
                <a:gd name="T8" fmla="*/ 2147483647 w 1427"/>
                <a:gd name="T9" fmla="*/ 0 h 1701"/>
                <a:gd name="T10" fmla="*/ 2147483647 w 1427"/>
                <a:gd name="T11" fmla="*/ 0 h 1701"/>
                <a:gd name="T12" fmla="*/ 2147483647 w 1427"/>
                <a:gd name="T13" fmla="*/ 0 h 1701"/>
                <a:gd name="T14" fmla="*/ 2147483647 w 1427"/>
                <a:gd name="T15" fmla="*/ 0 h 1701"/>
                <a:gd name="T16" fmla="*/ 2147483647 w 1427"/>
                <a:gd name="T17" fmla="*/ 0 h 1701"/>
                <a:gd name="T18" fmla="*/ 2147483647 w 1427"/>
                <a:gd name="T19" fmla="*/ 0 h 1701"/>
                <a:gd name="T20" fmla="*/ 2147483647 w 1427"/>
                <a:gd name="T21" fmla="*/ 0 h 1701"/>
                <a:gd name="T22" fmla="*/ 2147483647 w 1427"/>
                <a:gd name="T23" fmla="*/ 0 h 1701"/>
                <a:gd name="T24" fmla="*/ 2147483647 w 1427"/>
                <a:gd name="T25" fmla="*/ 0 h 1701"/>
                <a:gd name="T26" fmla="*/ 2147483647 w 1427"/>
                <a:gd name="T27" fmla="*/ 0 h 1701"/>
                <a:gd name="T28" fmla="*/ 2147483647 w 1427"/>
                <a:gd name="T29" fmla="*/ 0 h 1701"/>
                <a:gd name="T30" fmla="*/ 2147483647 w 1427"/>
                <a:gd name="T31" fmla="*/ 0 h 1701"/>
                <a:gd name="T32" fmla="*/ 2147483647 w 1427"/>
                <a:gd name="T33" fmla="*/ 2147483647 h 1701"/>
                <a:gd name="T34" fmla="*/ 2147483647 w 1427"/>
                <a:gd name="T35" fmla="*/ 2147483647 h 1701"/>
                <a:gd name="T36" fmla="*/ 2147483647 w 1427"/>
                <a:gd name="T37" fmla="*/ 2147483647 h 1701"/>
                <a:gd name="T38" fmla="*/ 2147483647 w 1427"/>
                <a:gd name="T39" fmla="*/ 2147483647 h 1701"/>
                <a:gd name="T40" fmla="*/ 2147483647 w 1427"/>
                <a:gd name="T41" fmla="*/ 2147483647 h 1701"/>
                <a:gd name="T42" fmla="*/ 2147483647 w 1427"/>
                <a:gd name="T43" fmla="*/ 2147483647 h 1701"/>
                <a:gd name="T44" fmla="*/ 2147483647 w 1427"/>
                <a:gd name="T45" fmla="*/ 2147483647 h 1701"/>
                <a:gd name="T46" fmla="*/ 2147483647 w 1427"/>
                <a:gd name="T47" fmla="*/ 2147483647 h 1701"/>
                <a:gd name="T48" fmla="*/ 2147483647 w 1427"/>
                <a:gd name="T49" fmla="*/ 2147483647 h 1701"/>
                <a:gd name="T50" fmla="*/ 2147483647 w 1427"/>
                <a:gd name="T51" fmla="*/ 2147483647 h 1701"/>
                <a:gd name="T52" fmla="*/ 2147483647 w 1427"/>
                <a:gd name="T53" fmla="*/ 2147483647 h 1701"/>
                <a:gd name="T54" fmla="*/ 0 w 1427"/>
                <a:gd name="T55" fmla="*/ 2147483647 h 1701"/>
                <a:gd name="T56" fmla="*/ 2147483647 w 1427"/>
                <a:gd name="T57" fmla="*/ 2147483647 h 1701"/>
                <a:gd name="T58" fmla="*/ 0 w 1427"/>
                <a:gd name="T59" fmla="*/ 2147483647 h 1701"/>
                <a:gd name="T60" fmla="*/ 0 w 1427"/>
                <a:gd name="T61" fmla="*/ 2147483647 h 1701"/>
                <a:gd name="T62" fmla="*/ 0 w 1427"/>
                <a:gd name="T63" fmla="*/ 2147483647 h 1701"/>
                <a:gd name="T64" fmla="*/ 0 w 1427"/>
                <a:gd name="T65" fmla="*/ 2147483647 h 1701"/>
                <a:gd name="T66" fmla="*/ 0 w 1427"/>
                <a:gd name="T67" fmla="*/ 2147483647 h 1701"/>
                <a:gd name="T68" fmla="*/ 0 w 1427"/>
                <a:gd name="T69" fmla="*/ 2147483647 h 1701"/>
                <a:gd name="T70" fmla="*/ 0 w 1427"/>
                <a:gd name="T71" fmla="*/ 2147483647 h 1701"/>
                <a:gd name="T72" fmla="*/ 0 w 1427"/>
                <a:gd name="T73" fmla="*/ 2147483647 h 1701"/>
                <a:gd name="T74" fmla="*/ 0 w 1427"/>
                <a:gd name="T75" fmla="*/ 2147483647 h 1701"/>
                <a:gd name="T76" fmla="*/ 0 w 1427"/>
                <a:gd name="T77" fmla="*/ 2147483647 h 1701"/>
                <a:gd name="T78" fmla="*/ 0 w 1427"/>
                <a:gd name="T79" fmla="*/ 2147483647 h 1701"/>
                <a:gd name="T80" fmla="*/ 0 w 1427"/>
                <a:gd name="T81" fmla="*/ 2147483647 h 1701"/>
                <a:gd name="T82" fmla="*/ 0 w 1427"/>
                <a:gd name="T83" fmla="*/ 2147483647 h 1701"/>
                <a:gd name="T84" fmla="*/ 0 w 1427"/>
                <a:gd name="T85" fmla="*/ 2147483647 h 1701"/>
                <a:gd name="T86" fmla="*/ 0 w 1427"/>
                <a:gd name="T87" fmla="*/ 2147483647 h 1701"/>
                <a:gd name="T88" fmla="*/ 0 w 1427"/>
                <a:gd name="T89" fmla="*/ 2147483647 h 1701"/>
                <a:gd name="T90" fmla="*/ 0 w 1427"/>
                <a:gd name="T91" fmla="*/ 2147483647 h 1701"/>
                <a:gd name="T92" fmla="*/ 0 w 1427"/>
                <a:gd name="T93" fmla="*/ 2147483647 h 1701"/>
                <a:gd name="T94" fmla="*/ 0 w 1427"/>
                <a:gd name="T95" fmla="*/ 2147483647 h 1701"/>
                <a:gd name="T96" fmla="*/ 0 w 1427"/>
                <a:gd name="T97" fmla="*/ 2147483647 h 1701"/>
                <a:gd name="T98" fmla="*/ 0 w 1427"/>
                <a:gd name="T99" fmla="*/ 2147483647 h 1701"/>
                <a:gd name="T100" fmla="*/ 2147483647 w 1427"/>
                <a:gd name="T101" fmla="*/ 2147483647 h 1701"/>
                <a:gd name="T102" fmla="*/ 2147483647 w 1427"/>
                <a:gd name="T103" fmla="*/ 2147483647 h 1701"/>
                <a:gd name="T104" fmla="*/ 2147483647 w 1427"/>
                <a:gd name="T105" fmla="*/ 2147483647 h 1701"/>
                <a:gd name="T106" fmla="*/ 2147483647 w 1427"/>
                <a:gd name="T107" fmla="*/ 2147483647 h 1701"/>
                <a:gd name="T108" fmla="*/ 2147483647 w 1427"/>
                <a:gd name="T109" fmla="*/ 2147483647 h 1701"/>
                <a:gd name="T110" fmla="*/ 2147483647 w 1427"/>
                <a:gd name="T111" fmla="*/ 2147483647 h 1701"/>
                <a:gd name="T112" fmla="*/ 2147483647 w 1427"/>
                <a:gd name="T113" fmla="*/ 2147483647 h 1701"/>
                <a:gd name="T114" fmla="*/ 2147483647 w 1427"/>
                <a:gd name="T115" fmla="*/ 2147483647 h 1701"/>
                <a:gd name="T116" fmla="*/ 2147483647 w 1427"/>
                <a:gd name="T117" fmla="*/ 2147483647 h 1701"/>
                <a:gd name="T118" fmla="*/ 2147483647 w 1427"/>
                <a:gd name="T119" fmla="*/ 2147483647 h 1701"/>
                <a:gd name="T120" fmla="*/ 2147483647 w 1427"/>
                <a:gd name="T121" fmla="*/ 0 h 1701"/>
                <a:gd name="T122" fmla="*/ 2147483647 w 1427"/>
                <a:gd name="T123" fmla="*/ 0 h 17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27"/>
                <a:gd name="T187" fmla="*/ 0 h 1701"/>
                <a:gd name="T188" fmla="*/ 1427 w 1427"/>
                <a:gd name="T189" fmla="*/ 1701 h 17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4" name="Freeform 216">
              <a:extLst>
                <a:ext uri="{FF2B5EF4-FFF2-40B4-BE49-F238E27FC236}">
                  <a16:creationId xmlns:a16="http://schemas.microsoft.com/office/drawing/2014/main" id="{60DEA708-12ED-E200-9714-BC00D6F5162C}"/>
                </a:ext>
              </a:extLst>
            </p:cNvPr>
            <p:cNvSpPr>
              <a:spLocks noChangeAspect="1"/>
            </p:cNvSpPr>
            <p:nvPr userDrawn="1"/>
          </p:nvSpPr>
          <p:spPr bwMode="gray">
            <a:xfrm>
              <a:off x="6094026" y="1333714"/>
              <a:ext cx="382040" cy="934346"/>
            </a:xfrm>
            <a:custGeom>
              <a:avLst/>
              <a:gdLst>
                <a:gd name="T0" fmla="*/ 0 w 715"/>
                <a:gd name="T1" fmla="*/ 2147483647 h 1640"/>
                <a:gd name="T2" fmla="*/ 0 w 715"/>
                <a:gd name="T3" fmla="*/ 2147483647 h 1640"/>
                <a:gd name="T4" fmla="*/ 0 w 715"/>
                <a:gd name="T5" fmla="*/ 2147483647 h 1640"/>
                <a:gd name="T6" fmla="*/ 0 w 715"/>
                <a:gd name="T7" fmla="*/ 2147483647 h 1640"/>
                <a:gd name="T8" fmla="*/ 0 w 715"/>
                <a:gd name="T9" fmla="*/ 2147483647 h 1640"/>
                <a:gd name="T10" fmla="*/ 0 w 715"/>
                <a:gd name="T11" fmla="*/ 2147483647 h 1640"/>
                <a:gd name="T12" fmla="*/ 0 w 715"/>
                <a:gd name="T13" fmla="*/ 2147483647 h 1640"/>
                <a:gd name="T14" fmla="*/ 0 w 715"/>
                <a:gd name="T15" fmla="*/ 2147483647 h 1640"/>
                <a:gd name="T16" fmla="*/ 0 w 715"/>
                <a:gd name="T17" fmla="*/ 2147483647 h 1640"/>
                <a:gd name="T18" fmla="*/ 0 w 715"/>
                <a:gd name="T19" fmla="*/ 2147483647 h 1640"/>
                <a:gd name="T20" fmla="*/ 0 w 715"/>
                <a:gd name="T21" fmla="*/ 2147483647 h 1640"/>
                <a:gd name="T22" fmla="*/ 0 w 715"/>
                <a:gd name="T23" fmla="*/ 2147483647 h 1640"/>
                <a:gd name="T24" fmla="*/ 0 w 715"/>
                <a:gd name="T25" fmla="*/ 2147483647 h 1640"/>
                <a:gd name="T26" fmla="*/ 0 w 715"/>
                <a:gd name="T27" fmla="*/ 2147483647 h 1640"/>
                <a:gd name="T28" fmla="*/ 2147483647 w 715"/>
                <a:gd name="T29" fmla="*/ 2147483647 h 1640"/>
                <a:gd name="T30" fmla="*/ 2147483647 w 715"/>
                <a:gd name="T31" fmla="*/ 2147483647 h 1640"/>
                <a:gd name="T32" fmla="*/ 2147483647 w 715"/>
                <a:gd name="T33" fmla="*/ 2147483647 h 1640"/>
                <a:gd name="T34" fmla="*/ 0 w 715"/>
                <a:gd name="T35" fmla="*/ 2147483647 h 1640"/>
                <a:gd name="T36" fmla="*/ 2147483647 w 715"/>
                <a:gd name="T37" fmla="*/ 2147483647 h 1640"/>
                <a:gd name="T38" fmla="*/ 2147483647 w 715"/>
                <a:gd name="T39" fmla="*/ 2147483647 h 1640"/>
                <a:gd name="T40" fmla="*/ 2147483647 w 715"/>
                <a:gd name="T41" fmla="*/ 2147483647 h 1640"/>
                <a:gd name="T42" fmla="*/ 2147483647 w 715"/>
                <a:gd name="T43" fmla="*/ 2147483647 h 1640"/>
                <a:gd name="T44" fmla="*/ 0 w 715"/>
                <a:gd name="T45" fmla="*/ 2147483647 h 1640"/>
                <a:gd name="T46" fmla="*/ 2147483647 w 715"/>
                <a:gd name="T47" fmla="*/ 2147483647 h 1640"/>
                <a:gd name="T48" fmla="*/ 2147483647 w 715"/>
                <a:gd name="T49" fmla="*/ 2147483647 h 1640"/>
                <a:gd name="T50" fmla="*/ 2147483647 w 715"/>
                <a:gd name="T51" fmla="*/ 2147483647 h 1640"/>
                <a:gd name="T52" fmla="*/ 2147483647 w 715"/>
                <a:gd name="T53" fmla="*/ 2147483647 h 1640"/>
                <a:gd name="T54" fmla="*/ 2147483647 w 715"/>
                <a:gd name="T55" fmla="*/ 2147483647 h 1640"/>
                <a:gd name="T56" fmla="*/ 2147483647 w 715"/>
                <a:gd name="T57" fmla="*/ 2147483647 h 1640"/>
                <a:gd name="T58" fmla="*/ 2147483647 w 715"/>
                <a:gd name="T59" fmla="*/ 2147483647 h 1640"/>
                <a:gd name="T60" fmla="*/ 2147483647 w 715"/>
                <a:gd name="T61" fmla="*/ 2147483647 h 1640"/>
                <a:gd name="T62" fmla="*/ 2147483647 w 715"/>
                <a:gd name="T63" fmla="*/ 2147483647 h 1640"/>
                <a:gd name="T64" fmla="*/ 2147483647 w 715"/>
                <a:gd name="T65" fmla="*/ 2147483647 h 1640"/>
                <a:gd name="T66" fmla="*/ 2147483647 w 715"/>
                <a:gd name="T67" fmla="*/ 2147483647 h 1640"/>
                <a:gd name="T68" fmla="*/ 2147483647 w 715"/>
                <a:gd name="T69" fmla="*/ 2147483647 h 1640"/>
                <a:gd name="T70" fmla="*/ 2147483647 w 715"/>
                <a:gd name="T71" fmla="*/ 2147483647 h 1640"/>
                <a:gd name="T72" fmla="*/ 2147483647 w 715"/>
                <a:gd name="T73" fmla="*/ 2147483647 h 1640"/>
                <a:gd name="T74" fmla="*/ 2147483647 w 715"/>
                <a:gd name="T75" fmla="*/ 2147483647 h 1640"/>
                <a:gd name="T76" fmla="*/ 2147483647 w 715"/>
                <a:gd name="T77" fmla="*/ 2147483647 h 1640"/>
                <a:gd name="T78" fmla="*/ 2147483647 w 715"/>
                <a:gd name="T79" fmla="*/ 2147483647 h 1640"/>
                <a:gd name="T80" fmla="*/ 2147483647 w 715"/>
                <a:gd name="T81" fmla="*/ 2147483647 h 1640"/>
                <a:gd name="T82" fmla="*/ 2147483647 w 715"/>
                <a:gd name="T83" fmla="*/ 0 h 1640"/>
                <a:gd name="T84" fmla="*/ 2147483647 w 715"/>
                <a:gd name="T85" fmla="*/ 0 h 1640"/>
                <a:gd name="T86" fmla="*/ 2147483647 w 715"/>
                <a:gd name="T87" fmla="*/ 0 h 1640"/>
                <a:gd name="T88" fmla="*/ 2147483647 w 715"/>
                <a:gd name="T89" fmla="*/ 0 h 1640"/>
                <a:gd name="T90" fmla="*/ 2147483647 w 715"/>
                <a:gd name="T91" fmla="*/ 0 h 1640"/>
                <a:gd name="T92" fmla="*/ 2147483647 w 715"/>
                <a:gd name="T93" fmla="*/ 0 h 1640"/>
                <a:gd name="T94" fmla="*/ 2147483647 w 715"/>
                <a:gd name="T95" fmla="*/ 0 h 1640"/>
                <a:gd name="T96" fmla="*/ 0 w 715"/>
                <a:gd name="T97" fmla="*/ 0 h 1640"/>
                <a:gd name="T98" fmla="*/ 0 w 715"/>
                <a:gd name="T99" fmla="*/ 2147483647 h 1640"/>
                <a:gd name="T100" fmla="*/ 0 w 715"/>
                <a:gd name="T101" fmla="*/ 2147483647 h 1640"/>
                <a:gd name="T102" fmla="*/ 0 w 715"/>
                <a:gd name="T103" fmla="*/ 2147483647 h 1640"/>
                <a:gd name="T104" fmla="*/ 0 w 715"/>
                <a:gd name="T105" fmla="*/ 2147483647 h 1640"/>
                <a:gd name="T106" fmla="*/ 0 w 715"/>
                <a:gd name="T107" fmla="*/ 2147483647 h 1640"/>
                <a:gd name="T108" fmla="*/ 0 w 715"/>
                <a:gd name="T109" fmla="*/ 2147483647 h 1640"/>
                <a:gd name="T110" fmla="*/ 0 w 715"/>
                <a:gd name="T111" fmla="*/ 2147483647 h 1640"/>
                <a:gd name="T112" fmla="*/ 0 w 715"/>
                <a:gd name="T113" fmla="*/ 2147483647 h 1640"/>
                <a:gd name="T114" fmla="*/ 0 w 715"/>
                <a:gd name="T115" fmla="*/ 2147483647 h 164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5"/>
                <a:gd name="T175" fmla="*/ 0 h 1640"/>
                <a:gd name="T176" fmla="*/ 715 w 715"/>
                <a:gd name="T177" fmla="*/ 1640 h 164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5" name="Freeform 218">
              <a:extLst>
                <a:ext uri="{FF2B5EF4-FFF2-40B4-BE49-F238E27FC236}">
                  <a16:creationId xmlns:a16="http://schemas.microsoft.com/office/drawing/2014/main" id="{AB01C7B5-3F51-E0E0-CEBE-BAFA9C478153}"/>
                </a:ext>
              </a:extLst>
            </p:cNvPr>
            <p:cNvSpPr>
              <a:spLocks noChangeAspect="1"/>
            </p:cNvSpPr>
            <p:nvPr userDrawn="1"/>
          </p:nvSpPr>
          <p:spPr bwMode="gray">
            <a:xfrm>
              <a:off x="6083580" y="24"/>
              <a:ext cx="314884" cy="531952"/>
            </a:xfrm>
            <a:custGeom>
              <a:avLst/>
              <a:gdLst>
                <a:gd name="T0" fmla="*/ 0 w 591"/>
                <a:gd name="T1" fmla="*/ 0 h 937"/>
                <a:gd name="T2" fmla="*/ 0 w 591"/>
                <a:gd name="T3" fmla="*/ 0 h 937"/>
                <a:gd name="T4" fmla="*/ 0 w 591"/>
                <a:gd name="T5" fmla="*/ 0 h 937"/>
                <a:gd name="T6" fmla="*/ 0 w 591"/>
                <a:gd name="T7" fmla="*/ 0 h 937"/>
                <a:gd name="T8" fmla="*/ 0 w 591"/>
                <a:gd name="T9" fmla="*/ 0 h 937"/>
                <a:gd name="T10" fmla="*/ 0 w 591"/>
                <a:gd name="T11" fmla="*/ 0 h 937"/>
                <a:gd name="T12" fmla="*/ 0 w 591"/>
                <a:gd name="T13" fmla="*/ 0 h 937"/>
                <a:gd name="T14" fmla="*/ 0 w 591"/>
                <a:gd name="T15" fmla="*/ 0 h 937"/>
                <a:gd name="T16" fmla="*/ 0 w 591"/>
                <a:gd name="T17" fmla="*/ 0 h 937"/>
                <a:gd name="T18" fmla="*/ 0 w 591"/>
                <a:gd name="T19" fmla="*/ 0 h 937"/>
                <a:gd name="T20" fmla="*/ 0 w 591"/>
                <a:gd name="T21" fmla="*/ 0 h 937"/>
                <a:gd name="T22" fmla="*/ 0 w 591"/>
                <a:gd name="T23" fmla="*/ 0 h 937"/>
                <a:gd name="T24" fmla="*/ 0 w 591"/>
                <a:gd name="T25" fmla="*/ 0 h 937"/>
                <a:gd name="T26" fmla="*/ 0 w 591"/>
                <a:gd name="T27" fmla="*/ 0 h 937"/>
                <a:gd name="T28" fmla="*/ 0 w 591"/>
                <a:gd name="T29" fmla="*/ 0 h 937"/>
                <a:gd name="T30" fmla="*/ 0 w 591"/>
                <a:gd name="T31" fmla="*/ 0 h 937"/>
                <a:gd name="T32" fmla="*/ 0 w 591"/>
                <a:gd name="T33" fmla="*/ 0 h 937"/>
                <a:gd name="T34" fmla="*/ 0 w 591"/>
                <a:gd name="T35" fmla="*/ 2147483647 h 937"/>
                <a:gd name="T36" fmla="*/ 0 w 591"/>
                <a:gd name="T37" fmla="*/ 2147483647 h 937"/>
                <a:gd name="T38" fmla="*/ 0 w 591"/>
                <a:gd name="T39" fmla="*/ 2147483647 h 937"/>
                <a:gd name="T40" fmla="*/ 0 w 591"/>
                <a:gd name="T41" fmla="*/ 2147483647 h 937"/>
                <a:gd name="T42" fmla="*/ 0 w 591"/>
                <a:gd name="T43" fmla="*/ 2147483647 h 937"/>
                <a:gd name="T44" fmla="*/ 0 w 591"/>
                <a:gd name="T45" fmla="*/ 2147483647 h 937"/>
                <a:gd name="T46" fmla="*/ 0 w 591"/>
                <a:gd name="T47" fmla="*/ 2147483647 h 937"/>
                <a:gd name="T48" fmla="*/ 0 w 591"/>
                <a:gd name="T49" fmla="*/ 2147483647 h 937"/>
                <a:gd name="T50" fmla="*/ 0 w 591"/>
                <a:gd name="T51" fmla="*/ 2147483647 h 937"/>
                <a:gd name="T52" fmla="*/ 2147483647 w 591"/>
                <a:gd name="T53" fmla="*/ 2147483647 h 937"/>
                <a:gd name="T54" fmla="*/ 2147483647 w 591"/>
                <a:gd name="T55" fmla="*/ 2147483647 h 937"/>
                <a:gd name="T56" fmla="*/ 2147483647 w 591"/>
                <a:gd name="T57" fmla="*/ 2147483647 h 937"/>
                <a:gd name="T58" fmla="*/ 0 w 591"/>
                <a:gd name="T59" fmla="*/ 2147483647 h 937"/>
                <a:gd name="T60" fmla="*/ 0 w 591"/>
                <a:gd name="T61" fmla="*/ 2147483647 h 937"/>
                <a:gd name="T62" fmla="*/ 0 w 591"/>
                <a:gd name="T63" fmla="*/ 2147483647 h 937"/>
                <a:gd name="T64" fmla="*/ 0 w 591"/>
                <a:gd name="T65" fmla="*/ 2147483647 h 937"/>
                <a:gd name="T66" fmla="*/ 0 w 591"/>
                <a:gd name="T67" fmla="*/ 2147483647 h 937"/>
                <a:gd name="T68" fmla="*/ 2147483647 w 591"/>
                <a:gd name="T69" fmla="*/ 2147483647 h 937"/>
                <a:gd name="T70" fmla="*/ 2147483647 w 591"/>
                <a:gd name="T71" fmla="*/ 2147483647 h 937"/>
                <a:gd name="T72" fmla="*/ 0 w 591"/>
                <a:gd name="T73" fmla="*/ 2147483647 h 937"/>
                <a:gd name="T74" fmla="*/ 0 w 591"/>
                <a:gd name="T75" fmla="*/ 2147483647 h 937"/>
                <a:gd name="T76" fmla="*/ 0 w 591"/>
                <a:gd name="T77" fmla="*/ 2147483647 h 937"/>
                <a:gd name="T78" fmla="*/ 0 w 591"/>
                <a:gd name="T79" fmla="*/ 2147483647 h 937"/>
                <a:gd name="T80" fmla="*/ 0 w 591"/>
                <a:gd name="T81" fmla="*/ 2147483647 h 937"/>
                <a:gd name="T82" fmla="*/ 0 w 591"/>
                <a:gd name="T83" fmla="*/ 2147483647 h 937"/>
                <a:gd name="T84" fmla="*/ 2147483647 w 591"/>
                <a:gd name="T85" fmla="*/ 2147483647 h 937"/>
                <a:gd name="T86" fmla="*/ 2147483647 w 591"/>
                <a:gd name="T87" fmla="*/ 2147483647 h 937"/>
                <a:gd name="T88" fmla="*/ 2147483647 w 591"/>
                <a:gd name="T89" fmla="*/ 2147483647 h 937"/>
                <a:gd name="T90" fmla="*/ 2147483647 w 591"/>
                <a:gd name="T91" fmla="*/ 2147483647 h 937"/>
                <a:gd name="T92" fmla="*/ 2147483647 w 591"/>
                <a:gd name="T93" fmla="*/ 2147483647 h 937"/>
                <a:gd name="T94" fmla="*/ 2147483647 w 591"/>
                <a:gd name="T95" fmla="*/ 2147483647 h 937"/>
                <a:gd name="T96" fmla="*/ 2147483647 w 591"/>
                <a:gd name="T97" fmla="*/ 2147483647 h 937"/>
                <a:gd name="T98" fmla="*/ 2147483647 w 591"/>
                <a:gd name="T99" fmla="*/ 2147483647 h 937"/>
                <a:gd name="T100" fmla="*/ 2147483647 w 591"/>
                <a:gd name="T101" fmla="*/ 2147483647 h 937"/>
                <a:gd name="T102" fmla="*/ 2147483647 w 591"/>
                <a:gd name="T103" fmla="*/ 2147483647 h 937"/>
                <a:gd name="T104" fmla="*/ 2147483647 w 591"/>
                <a:gd name="T105" fmla="*/ 0 h 937"/>
                <a:gd name="T106" fmla="*/ 2147483647 w 591"/>
                <a:gd name="T107" fmla="*/ 0 h 937"/>
                <a:gd name="T108" fmla="*/ 2147483647 w 591"/>
                <a:gd name="T109" fmla="*/ 0 h 937"/>
                <a:gd name="T110" fmla="*/ 2147483647 w 591"/>
                <a:gd name="T111" fmla="*/ 0 h 937"/>
                <a:gd name="T112" fmla="*/ 2147483647 w 591"/>
                <a:gd name="T113" fmla="*/ 0 h 937"/>
                <a:gd name="T114" fmla="*/ 0 w 591"/>
                <a:gd name="T115" fmla="*/ 0 h 9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91"/>
                <a:gd name="T175" fmla="*/ 0 h 937"/>
                <a:gd name="T176" fmla="*/ 591 w 591"/>
                <a:gd name="T177" fmla="*/ 937 h 9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0" y="2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6" name="Freeform 219">
              <a:extLst>
                <a:ext uri="{FF2B5EF4-FFF2-40B4-BE49-F238E27FC236}">
                  <a16:creationId xmlns:a16="http://schemas.microsoft.com/office/drawing/2014/main" id="{116F2E4A-E92F-35CE-89E7-B48E38758C74}"/>
                </a:ext>
              </a:extLst>
            </p:cNvPr>
            <p:cNvSpPr>
              <a:spLocks noChangeAspect="1"/>
            </p:cNvSpPr>
            <p:nvPr userDrawn="1"/>
          </p:nvSpPr>
          <p:spPr bwMode="gray">
            <a:xfrm>
              <a:off x="6361156" y="234753"/>
              <a:ext cx="67155" cy="62492"/>
            </a:xfrm>
            <a:custGeom>
              <a:avLst/>
              <a:gdLst>
                <a:gd name="T0" fmla="*/ 0 w 126"/>
                <a:gd name="T1" fmla="*/ 0 h 117"/>
                <a:gd name="T2" fmla="*/ 0 w 126"/>
                <a:gd name="T3" fmla="*/ 0 h 117"/>
                <a:gd name="T4" fmla="*/ 0 w 126"/>
                <a:gd name="T5" fmla="*/ 0 h 117"/>
                <a:gd name="T6" fmla="*/ 0 w 126"/>
                <a:gd name="T7" fmla="*/ 0 h 117"/>
                <a:gd name="T8" fmla="*/ 0 w 126"/>
                <a:gd name="T9" fmla="*/ 0 h 117"/>
                <a:gd name="T10" fmla="*/ 0 w 126"/>
                <a:gd name="T11" fmla="*/ 0 h 117"/>
                <a:gd name="T12" fmla="*/ 0 w 126"/>
                <a:gd name="T13" fmla="*/ 0 h 117"/>
                <a:gd name="T14" fmla="*/ 0 w 126"/>
                <a:gd name="T15" fmla="*/ 0 h 117"/>
                <a:gd name="T16" fmla="*/ 0 w 126"/>
                <a:gd name="T17" fmla="*/ 0 h 117"/>
                <a:gd name="T18" fmla="*/ 0 w 126"/>
                <a:gd name="T19" fmla="*/ 0 h 117"/>
                <a:gd name="T20" fmla="*/ 0 w 126"/>
                <a:gd name="T21" fmla="*/ 0 h 117"/>
                <a:gd name="T22" fmla="*/ 0 w 126"/>
                <a:gd name="T23" fmla="*/ 0 h 117"/>
                <a:gd name="T24" fmla="*/ 0 w 126"/>
                <a:gd name="T25" fmla="*/ 0 h 117"/>
                <a:gd name="T26" fmla="*/ 0 w 126"/>
                <a:gd name="T27" fmla="*/ 0 h 117"/>
                <a:gd name="T28" fmla="*/ 0 w 126"/>
                <a:gd name="T29" fmla="*/ 0 h 117"/>
                <a:gd name="T30" fmla="*/ 0 w 126"/>
                <a:gd name="T31" fmla="*/ 0 h 117"/>
                <a:gd name="T32" fmla="*/ 0 w 126"/>
                <a:gd name="T33" fmla="*/ 0 h 117"/>
                <a:gd name="T34" fmla="*/ 0 w 126"/>
                <a:gd name="T35" fmla="*/ 0 h 117"/>
                <a:gd name="T36" fmla="*/ 0 w 126"/>
                <a:gd name="T37" fmla="*/ 0 h 117"/>
                <a:gd name="T38" fmla="*/ 0 w 126"/>
                <a:gd name="T39" fmla="*/ 0 h 117"/>
                <a:gd name="T40" fmla="*/ 0 w 126"/>
                <a:gd name="T41" fmla="*/ 0 h 117"/>
                <a:gd name="T42" fmla="*/ 0 w 126"/>
                <a:gd name="T43" fmla="*/ 0 h 117"/>
                <a:gd name="T44" fmla="*/ 0 w 126"/>
                <a:gd name="T45" fmla="*/ 0 h 117"/>
                <a:gd name="T46" fmla="*/ 0 w 126"/>
                <a:gd name="T47" fmla="*/ 0 h 117"/>
                <a:gd name="T48" fmla="*/ 0 w 126"/>
                <a:gd name="T49" fmla="*/ 0 h 117"/>
                <a:gd name="T50" fmla="*/ 0 w 126"/>
                <a:gd name="T51" fmla="*/ 0 h 117"/>
                <a:gd name="T52" fmla="*/ 0 w 126"/>
                <a:gd name="T53" fmla="*/ 0 h 117"/>
                <a:gd name="T54" fmla="*/ 0 w 126"/>
                <a:gd name="T55" fmla="*/ 0 h 117"/>
                <a:gd name="T56" fmla="*/ 0 w 126"/>
                <a:gd name="T57" fmla="*/ 0 h 117"/>
                <a:gd name="T58" fmla="*/ 0 w 126"/>
                <a:gd name="T59" fmla="*/ 0 h 117"/>
                <a:gd name="T60" fmla="*/ 0 w 126"/>
                <a:gd name="T61" fmla="*/ 0 h 117"/>
                <a:gd name="T62" fmla="*/ 0 w 126"/>
                <a:gd name="T63" fmla="*/ 0 h 1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6"/>
                <a:gd name="T97" fmla="*/ 0 h 117"/>
                <a:gd name="T98" fmla="*/ 126 w 126"/>
                <a:gd name="T99" fmla="*/ 117 h 1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7" name="Freeform 220">
              <a:extLst>
                <a:ext uri="{FF2B5EF4-FFF2-40B4-BE49-F238E27FC236}">
                  <a16:creationId xmlns:a16="http://schemas.microsoft.com/office/drawing/2014/main" id="{41064A17-1367-8867-EEFC-AC41A5F7005A}"/>
                </a:ext>
              </a:extLst>
            </p:cNvPr>
            <p:cNvSpPr>
              <a:spLocks noChangeAspect="1"/>
            </p:cNvSpPr>
            <p:nvPr userDrawn="1"/>
          </p:nvSpPr>
          <p:spPr bwMode="gray">
            <a:xfrm>
              <a:off x="6450696" y="314013"/>
              <a:ext cx="2985" cy="1524"/>
            </a:xfrm>
            <a:custGeom>
              <a:avLst/>
              <a:gdLst>
                <a:gd name="T0" fmla="*/ 0 w 1"/>
                <a:gd name="T1" fmla="*/ 0 h 2"/>
                <a:gd name="T2" fmla="*/ 0 w 1"/>
                <a:gd name="T3" fmla="*/ 2147483647 h 2"/>
                <a:gd name="T4" fmla="*/ 2147483647 w 1"/>
                <a:gd name="T5" fmla="*/ 2147483647 h 2"/>
                <a:gd name="T6" fmla="*/ 0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lnTo>
                    <a:pt x="0" y="2"/>
                  </a:lnTo>
                  <a:lnTo>
                    <a:pt x="1" y="2"/>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8" name="Freeform 221">
              <a:extLst>
                <a:ext uri="{FF2B5EF4-FFF2-40B4-BE49-F238E27FC236}">
                  <a16:creationId xmlns:a16="http://schemas.microsoft.com/office/drawing/2014/main" id="{F8E50B57-9692-BF58-9FF2-4902535EBBD8}"/>
                </a:ext>
              </a:extLst>
            </p:cNvPr>
            <p:cNvSpPr>
              <a:spLocks noChangeAspect="1"/>
            </p:cNvSpPr>
            <p:nvPr userDrawn="1"/>
          </p:nvSpPr>
          <p:spPr bwMode="gray">
            <a:xfrm>
              <a:off x="6450696" y="315537"/>
              <a:ext cx="2985" cy="3049"/>
            </a:xfrm>
            <a:custGeom>
              <a:avLst/>
              <a:gdLst>
                <a:gd name="T0" fmla="*/ 0 w 1"/>
                <a:gd name="T1" fmla="*/ 0 h 1"/>
                <a:gd name="T2" fmla="*/ 0 w 1"/>
                <a:gd name="T3" fmla="*/ 0 h 1"/>
                <a:gd name="T4" fmla="*/ 0 w 1"/>
                <a:gd name="T5" fmla="*/ 2147483647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lnTo>
                    <a:pt x="0" y="0"/>
                  </a:lnTo>
                  <a:lnTo>
                    <a:pt x="0" y="1"/>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09" name="Freeform 222">
              <a:extLst>
                <a:ext uri="{FF2B5EF4-FFF2-40B4-BE49-F238E27FC236}">
                  <a16:creationId xmlns:a16="http://schemas.microsoft.com/office/drawing/2014/main" id="{BB30E426-B465-BE11-B225-15D7C0681C58}"/>
                </a:ext>
              </a:extLst>
            </p:cNvPr>
            <p:cNvSpPr>
              <a:spLocks noChangeAspect="1"/>
            </p:cNvSpPr>
            <p:nvPr userDrawn="1"/>
          </p:nvSpPr>
          <p:spPr bwMode="gray">
            <a:xfrm>
              <a:off x="6379064" y="285052"/>
              <a:ext cx="120879" cy="152422"/>
            </a:xfrm>
            <a:custGeom>
              <a:avLst/>
              <a:gdLst>
                <a:gd name="T0" fmla="*/ 0 w 222"/>
                <a:gd name="T1" fmla="*/ 0 h 268"/>
                <a:gd name="T2" fmla="*/ 0 w 222"/>
                <a:gd name="T3" fmla="*/ 0 h 268"/>
                <a:gd name="T4" fmla="*/ 0 w 222"/>
                <a:gd name="T5" fmla="*/ 0 h 268"/>
                <a:gd name="T6" fmla="*/ 0 w 222"/>
                <a:gd name="T7" fmla="*/ 0 h 268"/>
                <a:gd name="T8" fmla="*/ 0 w 222"/>
                <a:gd name="T9" fmla="*/ 0 h 268"/>
                <a:gd name="T10" fmla="*/ 0 w 222"/>
                <a:gd name="T11" fmla="*/ 0 h 268"/>
                <a:gd name="T12" fmla="*/ 0 w 222"/>
                <a:gd name="T13" fmla="*/ 0 h 268"/>
                <a:gd name="T14" fmla="*/ 0 w 222"/>
                <a:gd name="T15" fmla="*/ 0 h 268"/>
                <a:gd name="T16" fmla="*/ 0 w 222"/>
                <a:gd name="T17" fmla="*/ 0 h 268"/>
                <a:gd name="T18" fmla="*/ 0 w 222"/>
                <a:gd name="T19" fmla="*/ 0 h 268"/>
                <a:gd name="T20" fmla="*/ 0 w 222"/>
                <a:gd name="T21" fmla="*/ 0 h 268"/>
                <a:gd name="T22" fmla="*/ 0 w 222"/>
                <a:gd name="T23" fmla="*/ 0 h 268"/>
                <a:gd name="T24" fmla="*/ 0 w 222"/>
                <a:gd name="T25" fmla="*/ 0 h 268"/>
                <a:gd name="T26" fmla="*/ 0 w 222"/>
                <a:gd name="T27" fmla="*/ 0 h 268"/>
                <a:gd name="T28" fmla="*/ 0 w 222"/>
                <a:gd name="T29" fmla="*/ 0 h 268"/>
                <a:gd name="T30" fmla="*/ 0 w 222"/>
                <a:gd name="T31" fmla="*/ 0 h 268"/>
                <a:gd name="T32" fmla="*/ 0 w 222"/>
                <a:gd name="T33" fmla="*/ 0 h 268"/>
                <a:gd name="T34" fmla="*/ 0 w 222"/>
                <a:gd name="T35" fmla="*/ 0 h 268"/>
                <a:gd name="T36" fmla="*/ 0 w 222"/>
                <a:gd name="T37" fmla="*/ 0 h 268"/>
                <a:gd name="T38" fmla="*/ 0 w 222"/>
                <a:gd name="T39" fmla="*/ 0 h 268"/>
                <a:gd name="T40" fmla="*/ 0 w 222"/>
                <a:gd name="T41" fmla="*/ 0 h 268"/>
                <a:gd name="T42" fmla="*/ 0 w 222"/>
                <a:gd name="T43" fmla="*/ 0 h 268"/>
                <a:gd name="T44" fmla="*/ 0 w 222"/>
                <a:gd name="T45" fmla="*/ 0 h 268"/>
                <a:gd name="T46" fmla="*/ 0 w 222"/>
                <a:gd name="T47" fmla="*/ 0 h 268"/>
                <a:gd name="T48" fmla="*/ 0 w 222"/>
                <a:gd name="T49" fmla="*/ 0 h 268"/>
                <a:gd name="T50" fmla="*/ 0 w 222"/>
                <a:gd name="T51" fmla="*/ 0 h 268"/>
                <a:gd name="T52" fmla="*/ 0 w 222"/>
                <a:gd name="T53" fmla="*/ 0 h 268"/>
                <a:gd name="T54" fmla="*/ 0 w 222"/>
                <a:gd name="T55" fmla="*/ 0 h 268"/>
                <a:gd name="T56" fmla="*/ 0 w 222"/>
                <a:gd name="T57" fmla="*/ 0 h 268"/>
                <a:gd name="T58" fmla="*/ 0 w 222"/>
                <a:gd name="T59" fmla="*/ 0 h 268"/>
                <a:gd name="T60" fmla="*/ 0 w 222"/>
                <a:gd name="T61" fmla="*/ 0 h 268"/>
                <a:gd name="T62" fmla="*/ 0 w 222"/>
                <a:gd name="T63" fmla="*/ 0 h 268"/>
                <a:gd name="T64" fmla="*/ 0 w 222"/>
                <a:gd name="T65" fmla="*/ 0 h 268"/>
                <a:gd name="T66" fmla="*/ 0 w 222"/>
                <a:gd name="T67" fmla="*/ 0 h 268"/>
                <a:gd name="T68" fmla="*/ 0 w 222"/>
                <a:gd name="T69" fmla="*/ 0 h 268"/>
                <a:gd name="T70" fmla="*/ 0 w 222"/>
                <a:gd name="T71" fmla="*/ 0 h 268"/>
                <a:gd name="T72" fmla="*/ 0 w 222"/>
                <a:gd name="T73" fmla="*/ 0 h 268"/>
                <a:gd name="T74" fmla="*/ 0 w 222"/>
                <a:gd name="T75" fmla="*/ 0 h 268"/>
                <a:gd name="T76" fmla="*/ 0 w 222"/>
                <a:gd name="T77" fmla="*/ 0 h 268"/>
                <a:gd name="T78" fmla="*/ 0 w 222"/>
                <a:gd name="T79" fmla="*/ 0 h 268"/>
                <a:gd name="T80" fmla="*/ 0 w 222"/>
                <a:gd name="T81" fmla="*/ 0 h 268"/>
                <a:gd name="T82" fmla="*/ 0 w 222"/>
                <a:gd name="T83" fmla="*/ 0 h 268"/>
                <a:gd name="T84" fmla="*/ 0 w 222"/>
                <a:gd name="T85" fmla="*/ 0 h 268"/>
                <a:gd name="T86" fmla="*/ 0 w 222"/>
                <a:gd name="T87" fmla="*/ 0 h 268"/>
                <a:gd name="T88" fmla="*/ 0 w 222"/>
                <a:gd name="T89" fmla="*/ 0 h 268"/>
                <a:gd name="T90" fmla="*/ 0 w 222"/>
                <a:gd name="T91" fmla="*/ 0 h 268"/>
                <a:gd name="T92" fmla="*/ 0 w 222"/>
                <a:gd name="T93" fmla="*/ 0 h 268"/>
                <a:gd name="T94" fmla="*/ 0 w 222"/>
                <a:gd name="T95" fmla="*/ 0 h 268"/>
                <a:gd name="T96" fmla="*/ 0 w 222"/>
                <a:gd name="T97" fmla="*/ 0 h 268"/>
                <a:gd name="T98" fmla="*/ 0 w 222"/>
                <a:gd name="T99" fmla="*/ 0 h 268"/>
                <a:gd name="T100" fmla="*/ 0 w 222"/>
                <a:gd name="T101" fmla="*/ 0 h 268"/>
                <a:gd name="T102" fmla="*/ 0 w 222"/>
                <a:gd name="T103" fmla="*/ 0 h 268"/>
                <a:gd name="T104" fmla="*/ 0 w 222"/>
                <a:gd name="T105" fmla="*/ 0 h 2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268"/>
                <a:gd name="T161" fmla="*/ 222 w 222"/>
                <a:gd name="T162" fmla="*/ 268 h 2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0" name="Freeform 223">
              <a:extLst>
                <a:ext uri="{FF2B5EF4-FFF2-40B4-BE49-F238E27FC236}">
                  <a16:creationId xmlns:a16="http://schemas.microsoft.com/office/drawing/2014/main" id="{C8EB72B1-A9AA-BC83-D44B-FD3C9983E1AA}"/>
                </a:ext>
              </a:extLst>
            </p:cNvPr>
            <p:cNvSpPr>
              <a:spLocks noChangeAspect="1"/>
            </p:cNvSpPr>
            <p:nvPr userDrawn="1"/>
          </p:nvSpPr>
          <p:spPr bwMode="gray">
            <a:xfrm>
              <a:off x="6302954" y="24"/>
              <a:ext cx="262652" cy="146325"/>
            </a:xfrm>
            <a:custGeom>
              <a:avLst/>
              <a:gdLst>
                <a:gd name="T0" fmla="*/ 0 w 496"/>
                <a:gd name="T1" fmla="*/ 0 h 260"/>
                <a:gd name="T2" fmla="*/ 0 w 496"/>
                <a:gd name="T3" fmla="*/ 0 h 260"/>
                <a:gd name="T4" fmla="*/ 0 w 496"/>
                <a:gd name="T5" fmla="*/ 0 h 260"/>
                <a:gd name="T6" fmla="*/ 0 w 496"/>
                <a:gd name="T7" fmla="*/ 0 h 260"/>
                <a:gd name="T8" fmla="*/ 0 w 496"/>
                <a:gd name="T9" fmla="*/ 0 h 260"/>
                <a:gd name="T10" fmla="*/ 0 w 496"/>
                <a:gd name="T11" fmla="*/ 0 h 260"/>
                <a:gd name="T12" fmla="*/ 0 w 496"/>
                <a:gd name="T13" fmla="*/ 0 h 260"/>
                <a:gd name="T14" fmla="*/ 0 w 496"/>
                <a:gd name="T15" fmla="*/ 0 h 260"/>
                <a:gd name="T16" fmla="*/ 0 w 496"/>
                <a:gd name="T17" fmla="*/ 0 h 260"/>
                <a:gd name="T18" fmla="*/ 0 w 496"/>
                <a:gd name="T19" fmla="*/ 0 h 260"/>
                <a:gd name="T20" fmla="*/ 0 w 496"/>
                <a:gd name="T21" fmla="*/ 0 h 260"/>
                <a:gd name="T22" fmla="*/ 0 w 496"/>
                <a:gd name="T23" fmla="*/ 0 h 260"/>
                <a:gd name="T24" fmla="*/ 0 w 496"/>
                <a:gd name="T25" fmla="*/ 0 h 260"/>
                <a:gd name="T26" fmla="*/ 0 w 496"/>
                <a:gd name="T27" fmla="*/ 0 h 260"/>
                <a:gd name="T28" fmla="*/ 0 w 496"/>
                <a:gd name="T29" fmla="*/ 0 h 260"/>
                <a:gd name="T30" fmla="*/ 0 w 496"/>
                <a:gd name="T31" fmla="*/ 0 h 260"/>
                <a:gd name="T32" fmla="*/ 0 w 496"/>
                <a:gd name="T33" fmla="*/ 0 h 260"/>
                <a:gd name="T34" fmla="*/ 0 w 496"/>
                <a:gd name="T35" fmla="*/ 0 h 260"/>
                <a:gd name="T36" fmla="*/ 0 w 496"/>
                <a:gd name="T37" fmla="*/ 0 h 260"/>
                <a:gd name="T38" fmla="*/ 0 w 496"/>
                <a:gd name="T39" fmla="*/ 0 h 260"/>
                <a:gd name="T40" fmla="*/ 0 w 496"/>
                <a:gd name="T41" fmla="*/ 0 h 260"/>
                <a:gd name="T42" fmla="*/ 0 w 496"/>
                <a:gd name="T43" fmla="*/ 0 h 260"/>
                <a:gd name="T44" fmla="*/ 0 w 496"/>
                <a:gd name="T45" fmla="*/ 0 h 260"/>
                <a:gd name="T46" fmla="*/ 0 w 496"/>
                <a:gd name="T47" fmla="*/ 0 h 260"/>
                <a:gd name="T48" fmla="*/ 0 w 496"/>
                <a:gd name="T49" fmla="*/ 0 h 260"/>
                <a:gd name="T50" fmla="*/ 0 w 496"/>
                <a:gd name="T51" fmla="*/ 0 h 260"/>
                <a:gd name="T52" fmla="*/ 0 w 496"/>
                <a:gd name="T53" fmla="*/ 0 h 260"/>
                <a:gd name="T54" fmla="*/ 0 w 496"/>
                <a:gd name="T55" fmla="*/ 0 h 260"/>
                <a:gd name="T56" fmla="*/ 0 w 496"/>
                <a:gd name="T57" fmla="*/ 0 h 260"/>
                <a:gd name="T58" fmla="*/ 0 w 496"/>
                <a:gd name="T59" fmla="*/ 0 h 260"/>
                <a:gd name="T60" fmla="*/ 0 w 496"/>
                <a:gd name="T61" fmla="*/ 0 h 260"/>
                <a:gd name="T62" fmla="*/ 0 w 496"/>
                <a:gd name="T63" fmla="*/ 0 h 260"/>
                <a:gd name="T64" fmla="*/ 0 w 496"/>
                <a:gd name="T65" fmla="*/ 0 h 260"/>
                <a:gd name="T66" fmla="*/ 0 w 496"/>
                <a:gd name="T67" fmla="*/ 0 h 260"/>
                <a:gd name="T68" fmla="*/ 0 w 496"/>
                <a:gd name="T69" fmla="*/ 0 h 260"/>
                <a:gd name="T70" fmla="*/ 2147483647 w 496"/>
                <a:gd name="T71" fmla="*/ 0 h 260"/>
                <a:gd name="T72" fmla="*/ 2147483647 w 496"/>
                <a:gd name="T73" fmla="*/ 0 h 260"/>
                <a:gd name="T74" fmla="*/ 2147483647 w 496"/>
                <a:gd name="T75" fmla="*/ 0 h 260"/>
                <a:gd name="T76" fmla="*/ 2147483647 w 496"/>
                <a:gd name="T77" fmla="*/ 0 h 260"/>
                <a:gd name="T78" fmla="*/ 2147483647 w 496"/>
                <a:gd name="T79" fmla="*/ 0 h 260"/>
                <a:gd name="T80" fmla="*/ 2147483647 w 496"/>
                <a:gd name="T81" fmla="*/ 0 h 260"/>
                <a:gd name="T82" fmla="*/ 2147483647 w 496"/>
                <a:gd name="T83" fmla="*/ 0 h 260"/>
                <a:gd name="T84" fmla="*/ 2147483647 w 496"/>
                <a:gd name="T85" fmla="*/ 0 h 260"/>
                <a:gd name="T86" fmla="*/ 2147483647 w 496"/>
                <a:gd name="T87" fmla="*/ 0 h 260"/>
                <a:gd name="T88" fmla="*/ 2147483647 w 496"/>
                <a:gd name="T89" fmla="*/ 0 h 260"/>
                <a:gd name="T90" fmla="*/ 2147483647 w 496"/>
                <a:gd name="T91" fmla="*/ 0 h 260"/>
                <a:gd name="T92" fmla="*/ 2147483647 w 496"/>
                <a:gd name="T93" fmla="*/ 0 h 260"/>
                <a:gd name="T94" fmla="*/ 2147483647 w 496"/>
                <a:gd name="T95" fmla="*/ 0 h 260"/>
                <a:gd name="T96" fmla="*/ 2147483647 w 496"/>
                <a:gd name="T97" fmla="*/ 0 h 260"/>
                <a:gd name="T98" fmla="*/ 0 w 496"/>
                <a:gd name="T99" fmla="*/ 0 h 260"/>
                <a:gd name="T100" fmla="*/ 0 w 496"/>
                <a:gd name="T101" fmla="*/ 0 h 260"/>
                <a:gd name="T102" fmla="*/ 0 w 496"/>
                <a:gd name="T103" fmla="*/ 0 h 260"/>
                <a:gd name="T104" fmla="*/ 0 w 496"/>
                <a:gd name="T105" fmla="*/ 0 h 2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6"/>
                <a:gd name="T160" fmla="*/ 0 h 260"/>
                <a:gd name="T161" fmla="*/ 496 w 496"/>
                <a:gd name="T162" fmla="*/ 260 h 26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6" y="0"/>
                  </a:lnTo>
                  <a:lnTo>
                    <a:pt x="35" y="0"/>
                  </a:lnTo>
                  <a:lnTo>
                    <a:pt x="31" y="6"/>
                  </a:lnTo>
                  <a:lnTo>
                    <a:pt x="32" y="1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1" name="Freeform 224">
              <a:extLst>
                <a:ext uri="{FF2B5EF4-FFF2-40B4-BE49-F238E27FC236}">
                  <a16:creationId xmlns:a16="http://schemas.microsoft.com/office/drawing/2014/main" id="{7B371079-35B6-4793-E913-799BD098AAE7}"/>
                </a:ext>
              </a:extLst>
            </p:cNvPr>
            <p:cNvSpPr>
              <a:spLocks noChangeAspect="1"/>
            </p:cNvSpPr>
            <p:nvPr userDrawn="1"/>
          </p:nvSpPr>
          <p:spPr bwMode="gray">
            <a:xfrm>
              <a:off x="4483789" y="2002846"/>
              <a:ext cx="10446" cy="9145"/>
            </a:xfrm>
            <a:custGeom>
              <a:avLst/>
              <a:gdLst>
                <a:gd name="T0" fmla="*/ 0 w 19"/>
                <a:gd name="T1" fmla="*/ 0 h 22"/>
                <a:gd name="T2" fmla="*/ 0 w 19"/>
                <a:gd name="T3" fmla="*/ 0 h 22"/>
                <a:gd name="T4" fmla="*/ 0 w 19"/>
                <a:gd name="T5" fmla="*/ 0 h 22"/>
                <a:gd name="T6" fmla="*/ 0 w 19"/>
                <a:gd name="T7" fmla="*/ 0 h 22"/>
                <a:gd name="T8" fmla="*/ 0 w 19"/>
                <a:gd name="T9" fmla="*/ 0 h 22"/>
                <a:gd name="T10" fmla="*/ 0 w 19"/>
                <a:gd name="T11" fmla="*/ 0 h 22"/>
                <a:gd name="T12" fmla="*/ 0 w 19"/>
                <a:gd name="T13" fmla="*/ 0 h 22"/>
                <a:gd name="T14" fmla="*/ 0 w 19"/>
                <a:gd name="T15" fmla="*/ 0 h 22"/>
                <a:gd name="T16" fmla="*/ 0 w 19"/>
                <a:gd name="T17" fmla="*/ 0 h 22"/>
                <a:gd name="T18" fmla="*/ 0 w 19"/>
                <a:gd name="T19" fmla="*/ 0 h 22"/>
                <a:gd name="T20" fmla="*/ 0 w 19"/>
                <a:gd name="T21" fmla="*/ 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22"/>
                <a:gd name="T35" fmla="*/ 19 w 19"/>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2" name="Freeform 227">
              <a:extLst>
                <a:ext uri="{FF2B5EF4-FFF2-40B4-BE49-F238E27FC236}">
                  <a16:creationId xmlns:a16="http://schemas.microsoft.com/office/drawing/2014/main" id="{158FEDD7-C490-C2B5-C0A8-04AA0B7A4175}"/>
                </a:ext>
              </a:extLst>
            </p:cNvPr>
            <p:cNvSpPr>
              <a:spLocks noChangeAspect="1"/>
            </p:cNvSpPr>
            <p:nvPr userDrawn="1"/>
          </p:nvSpPr>
          <p:spPr bwMode="gray">
            <a:xfrm>
              <a:off x="4485281" y="1993701"/>
              <a:ext cx="23877" cy="9145"/>
            </a:xfrm>
            <a:custGeom>
              <a:avLst/>
              <a:gdLst>
                <a:gd name="T0" fmla="*/ 0 w 44"/>
                <a:gd name="T1" fmla="*/ 0 h 15"/>
                <a:gd name="T2" fmla="*/ 0 w 44"/>
                <a:gd name="T3" fmla="*/ 0 h 15"/>
                <a:gd name="T4" fmla="*/ 0 w 44"/>
                <a:gd name="T5" fmla="*/ 0 h 15"/>
                <a:gd name="T6" fmla="*/ 0 w 44"/>
                <a:gd name="T7" fmla="*/ 0 h 15"/>
                <a:gd name="T8" fmla="*/ 0 w 44"/>
                <a:gd name="T9" fmla="*/ 0 h 15"/>
                <a:gd name="T10" fmla="*/ 0 w 44"/>
                <a:gd name="T11" fmla="*/ 0 h 15"/>
                <a:gd name="T12" fmla="*/ 0 w 44"/>
                <a:gd name="T13" fmla="*/ 0 h 15"/>
                <a:gd name="T14" fmla="*/ 0 w 44"/>
                <a:gd name="T15" fmla="*/ 0 h 15"/>
                <a:gd name="T16" fmla="*/ 0 w 44"/>
                <a:gd name="T17" fmla="*/ 0 h 15"/>
                <a:gd name="T18" fmla="*/ 0 w 44"/>
                <a:gd name="T19" fmla="*/ 0 h 15"/>
                <a:gd name="T20" fmla="*/ 0 w 44"/>
                <a:gd name="T21" fmla="*/ 0 h 15"/>
                <a:gd name="T22" fmla="*/ 0 w 44"/>
                <a:gd name="T23" fmla="*/ 0 h 15"/>
                <a:gd name="T24" fmla="*/ 0 w 44"/>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
                <a:gd name="T40" fmla="*/ 0 h 15"/>
                <a:gd name="T41" fmla="*/ 44 w 44"/>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3" name="Freeform 230">
              <a:extLst>
                <a:ext uri="{FF2B5EF4-FFF2-40B4-BE49-F238E27FC236}">
                  <a16:creationId xmlns:a16="http://schemas.microsoft.com/office/drawing/2014/main" id="{CA5CE919-3781-5635-EF54-91C30F5A8A79}"/>
                </a:ext>
              </a:extLst>
            </p:cNvPr>
            <p:cNvSpPr>
              <a:spLocks noChangeAspect="1"/>
            </p:cNvSpPr>
            <p:nvPr userDrawn="1"/>
          </p:nvSpPr>
          <p:spPr bwMode="gray">
            <a:xfrm>
              <a:off x="3754034" y="414612"/>
              <a:ext cx="88049" cy="35057"/>
            </a:xfrm>
            <a:custGeom>
              <a:avLst/>
              <a:gdLst>
                <a:gd name="T0" fmla="*/ 0 w 167"/>
                <a:gd name="T1" fmla="*/ 0 h 61"/>
                <a:gd name="T2" fmla="*/ 0 w 167"/>
                <a:gd name="T3" fmla="*/ 0 h 61"/>
                <a:gd name="T4" fmla="*/ 0 w 167"/>
                <a:gd name="T5" fmla="*/ 0 h 61"/>
                <a:gd name="T6" fmla="*/ 0 w 167"/>
                <a:gd name="T7" fmla="*/ 0 h 61"/>
                <a:gd name="T8" fmla="*/ 2147483647 w 167"/>
                <a:gd name="T9" fmla="*/ 0 h 61"/>
                <a:gd name="T10" fmla="*/ 2147483647 w 167"/>
                <a:gd name="T11" fmla="*/ 0 h 61"/>
                <a:gd name="T12" fmla="*/ 2147483647 w 167"/>
                <a:gd name="T13" fmla="*/ 0 h 61"/>
                <a:gd name="T14" fmla="*/ 2147483647 w 167"/>
                <a:gd name="T15" fmla="*/ 0 h 61"/>
                <a:gd name="T16" fmla="*/ 2147483647 w 167"/>
                <a:gd name="T17" fmla="*/ 0 h 61"/>
                <a:gd name="T18" fmla="*/ 2147483647 w 167"/>
                <a:gd name="T19" fmla="*/ 0 h 61"/>
                <a:gd name="T20" fmla="*/ 2147483647 w 167"/>
                <a:gd name="T21" fmla="*/ 0 h 61"/>
                <a:gd name="T22" fmla="*/ 2147483647 w 167"/>
                <a:gd name="T23" fmla="*/ 0 h 61"/>
                <a:gd name="T24" fmla="*/ 2147483647 w 167"/>
                <a:gd name="T25" fmla="*/ 0 h 61"/>
                <a:gd name="T26" fmla="*/ 0 w 167"/>
                <a:gd name="T27" fmla="*/ 0 h 61"/>
                <a:gd name="T28" fmla="*/ 0 w 167"/>
                <a:gd name="T29" fmla="*/ 0 h 61"/>
                <a:gd name="T30" fmla="*/ 0 w 167"/>
                <a:gd name="T31" fmla="*/ 0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7"/>
                <a:gd name="T49" fmla="*/ 0 h 61"/>
                <a:gd name="T50" fmla="*/ 167 w 167"/>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4" name="Freeform 232">
              <a:extLst>
                <a:ext uri="{FF2B5EF4-FFF2-40B4-BE49-F238E27FC236}">
                  <a16:creationId xmlns:a16="http://schemas.microsoft.com/office/drawing/2014/main" id="{90973DD5-2569-0B21-5220-2FB8E346E9AA}"/>
                </a:ext>
              </a:extLst>
            </p:cNvPr>
            <p:cNvSpPr>
              <a:spLocks noChangeAspect="1"/>
            </p:cNvSpPr>
            <p:nvPr userDrawn="1"/>
          </p:nvSpPr>
          <p:spPr bwMode="gray">
            <a:xfrm>
              <a:off x="3619723" y="6238647"/>
              <a:ext cx="61186" cy="76211"/>
            </a:xfrm>
            <a:custGeom>
              <a:avLst/>
              <a:gdLst>
                <a:gd name="T0" fmla="*/ 0 w 115"/>
                <a:gd name="T1" fmla="*/ 0 h 134"/>
                <a:gd name="T2" fmla="*/ 0 w 115"/>
                <a:gd name="T3" fmla="*/ 0 h 134"/>
                <a:gd name="T4" fmla="*/ 0 w 115"/>
                <a:gd name="T5" fmla="*/ 0 h 134"/>
                <a:gd name="T6" fmla="*/ 0 w 115"/>
                <a:gd name="T7" fmla="*/ 0 h 134"/>
                <a:gd name="T8" fmla="*/ 0 w 115"/>
                <a:gd name="T9" fmla="*/ 0 h 134"/>
                <a:gd name="T10" fmla="*/ 0 w 115"/>
                <a:gd name="T11" fmla="*/ 0 h 134"/>
                <a:gd name="T12" fmla="*/ 0 w 115"/>
                <a:gd name="T13" fmla="*/ 0 h 134"/>
                <a:gd name="T14" fmla="*/ 0 w 115"/>
                <a:gd name="T15" fmla="*/ 0 h 134"/>
                <a:gd name="T16" fmla="*/ 0 w 115"/>
                <a:gd name="T17" fmla="*/ 0 h 134"/>
                <a:gd name="T18" fmla="*/ 0 w 115"/>
                <a:gd name="T19" fmla="*/ 0 h 134"/>
                <a:gd name="T20" fmla="*/ 0 w 115"/>
                <a:gd name="T21" fmla="*/ 0 h 134"/>
                <a:gd name="T22" fmla="*/ 0 w 115"/>
                <a:gd name="T23" fmla="*/ 0 h 134"/>
                <a:gd name="T24" fmla="*/ 0 w 115"/>
                <a:gd name="T25" fmla="*/ 0 h 134"/>
                <a:gd name="T26" fmla="*/ 0 w 115"/>
                <a:gd name="T27" fmla="*/ 0 h 134"/>
                <a:gd name="T28" fmla="*/ 0 w 115"/>
                <a:gd name="T29" fmla="*/ 0 h 134"/>
                <a:gd name="T30" fmla="*/ 0 w 115"/>
                <a:gd name="T31" fmla="*/ 0 h 134"/>
                <a:gd name="T32" fmla="*/ 0 w 115"/>
                <a:gd name="T33" fmla="*/ 0 h 134"/>
                <a:gd name="T34" fmla="*/ 0 w 115"/>
                <a:gd name="T35" fmla="*/ 0 h 134"/>
                <a:gd name="T36" fmla="*/ 0 w 115"/>
                <a:gd name="T37" fmla="*/ 0 h 134"/>
                <a:gd name="T38" fmla="*/ 0 w 115"/>
                <a:gd name="T39" fmla="*/ 0 h 134"/>
                <a:gd name="T40" fmla="*/ 0 w 115"/>
                <a:gd name="T41" fmla="*/ 0 h 134"/>
                <a:gd name="T42" fmla="*/ 0 w 115"/>
                <a:gd name="T43" fmla="*/ 0 h 134"/>
                <a:gd name="T44" fmla="*/ 0 w 115"/>
                <a:gd name="T45" fmla="*/ 0 h 134"/>
                <a:gd name="T46" fmla="*/ 0 w 115"/>
                <a:gd name="T47" fmla="*/ 0 h 134"/>
                <a:gd name="T48" fmla="*/ 0 w 115"/>
                <a:gd name="T49" fmla="*/ 0 h 134"/>
                <a:gd name="T50" fmla="*/ 0 w 115"/>
                <a:gd name="T51" fmla="*/ 0 h 134"/>
                <a:gd name="T52" fmla="*/ 0 w 115"/>
                <a:gd name="T53" fmla="*/ 0 h 134"/>
                <a:gd name="T54" fmla="*/ 0 w 115"/>
                <a:gd name="T55" fmla="*/ 0 h 134"/>
                <a:gd name="T56" fmla="*/ 0 w 115"/>
                <a:gd name="T57" fmla="*/ 0 h 134"/>
                <a:gd name="T58" fmla="*/ 0 w 115"/>
                <a:gd name="T59" fmla="*/ 0 h 134"/>
                <a:gd name="T60" fmla="*/ 0 w 115"/>
                <a:gd name="T61" fmla="*/ 0 h 134"/>
                <a:gd name="T62" fmla="*/ 0 w 115"/>
                <a:gd name="T63" fmla="*/ 0 h 134"/>
                <a:gd name="T64" fmla="*/ 0 w 115"/>
                <a:gd name="T65" fmla="*/ 0 h 13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5"/>
                <a:gd name="T100" fmla="*/ 0 h 134"/>
                <a:gd name="T101" fmla="*/ 115 w 115"/>
                <a:gd name="T102" fmla="*/ 134 h 13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5" name="Freeform 233">
              <a:extLst>
                <a:ext uri="{FF2B5EF4-FFF2-40B4-BE49-F238E27FC236}">
                  <a16:creationId xmlns:a16="http://schemas.microsoft.com/office/drawing/2014/main" id="{98C44210-F8DF-3FDF-8707-CAE3930DDA35}"/>
                </a:ext>
              </a:extLst>
            </p:cNvPr>
            <p:cNvSpPr>
              <a:spLocks noChangeAspect="1"/>
            </p:cNvSpPr>
            <p:nvPr userDrawn="1"/>
          </p:nvSpPr>
          <p:spPr bwMode="gray">
            <a:xfrm>
              <a:off x="3625692" y="3959942"/>
              <a:ext cx="395471" cy="359715"/>
            </a:xfrm>
            <a:custGeom>
              <a:avLst/>
              <a:gdLst>
                <a:gd name="T0" fmla="*/ 0 w 743"/>
                <a:gd name="T1" fmla="*/ 0 h 631"/>
                <a:gd name="T2" fmla="*/ 0 w 743"/>
                <a:gd name="T3" fmla="*/ 0 h 631"/>
                <a:gd name="T4" fmla="*/ 0 w 743"/>
                <a:gd name="T5" fmla="*/ 0 h 631"/>
                <a:gd name="T6" fmla="*/ 0 w 743"/>
                <a:gd name="T7" fmla="*/ 0 h 631"/>
                <a:gd name="T8" fmla="*/ 0 w 743"/>
                <a:gd name="T9" fmla="*/ 0 h 631"/>
                <a:gd name="T10" fmla="*/ 0 w 743"/>
                <a:gd name="T11" fmla="*/ 0 h 631"/>
                <a:gd name="T12" fmla="*/ 0 w 743"/>
                <a:gd name="T13" fmla="*/ 0 h 631"/>
                <a:gd name="T14" fmla="*/ 0 w 743"/>
                <a:gd name="T15" fmla="*/ 0 h 631"/>
                <a:gd name="T16" fmla="*/ 0 w 743"/>
                <a:gd name="T17" fmla="*/ 0 h 631"/>
                <a:gd name="T18" fmla="*/ 0 w 743"/>
                <a:gd name="T19" fmla="*/ 0 h 631"/>
                <a:gd name="T20" fmla="*/ 0 w 743"/>
                <a:gd name="T21" fmla="*/ 0 h 631"/>
                <a:gd name="T22" fmla="*/ 2147483647 w 743"/>
                <a:gd name="T23" fmla="*/ 0 h 631"/>
                <a:gd name="T24" fmla="*/ 2147483647 w 743"/>
                <a:gd name="T25" fmla="*/ 0 h 631"/>
                <a:gd name="T26" fmla="*/ 2147483647 w 743"/>
                <a:gd name="T27" fmla="*/ 0 h 631"/>
                <a:gd name="T28" fmla="*/ 2147483647 w 743"/>
                <a:gd name="T29" fmla="*/ 0 h 631"/>
                <a:gd name="T30" fmla="*/ 2147483647 w 743"/>
                <a:gd name="T31" fmla="*/ 0 h 631"/>
                <a:gd name="T32" fmla="*/ 2147483647 w 743"/>
                <a:gd name="T33" fmla="*/ 0 h 631"/>
                <a:gd name="T34" fmla="*/ 2147483647 w 743"/>
                <a:gd name="T35" fmla="*/ 0 h 631"/>
                <a:gd name="T36" fmla="*/ 2147483647 w 743"/>
                <a:gd name="T37" fmla="*/ 0 h 631"/>
                <a:gd name="T38" fmla="*/ 2147483647 w 743"/>
                <a:gd name="T39" fmla="*/ 0 h 631"/>
                <a:gd name="T40" fmla="*/ 2147483647 w 743"/>
                <a:gd name="T41" fmla="*/ 0 h 631"/>
                <a:gd name="T42" fmla="*/ 2147483647 w 743"/>
                <a:gd name="T43" fmla="*/ 0 h 631"/>
                <a:gd name="T44" fmla="*/ 2147483647 w 743"/>
                <a:gd name="T45" fmla="*/ 0 h 631"/>
                <a:gd name="T46" fmla="*/ 2147483647 w 743"/>
                <a:gd name="T47" fmla="*/ 0 h 631"/>
                <a:gd name="T48" fmla="*/ 2147483647 w 743"/>
                <a:gd name="T49" fmla="*/ 0 h 631"/>
                <a:gd name="T50" fmla="*/ 2147483647 w 743"/>
                <a:gd name="T51" fmla="*/ 2147483647 h 631"/>
                <a:gd name="T52" fmla="*/ 2147483647 w 743"/>
                <a:gd name="T53" fmla="*/ 2147483647 h 631"/>
                <a:gd name="T54" fmla="*/ 2147483647 w 743"/>
                <a:gd name="T55" fmla="*/ 2147483647 h 631"/>
                <a:gd name="T56" fmla="*/ 2147483647 w 743"/>
                <a:gd name="T57" fmla="*/ 2147483647 h 631"/>
                <a:gd name="T58" fmla="*/ 2147483647 w 743"/>
                <a:gd name="T59" fmla="*/ 2147483647 h 631"/>
                <a:gd name="T60" fmla="*/ 2147483647 w 743"/>
                <a:gd name="T61" fmla="*/ 2147483647 h 631"/>
                <a:gd name="T62" fmla="*/ 2147483647 w 743"/>
                <a:gd name="T63" fmla="*/ 2147483647 h 631"/>
                <a:gd name="T64" fmla="*/ 2147483647 w 743"/>
                <a:gd name="T65" fmla="*/ 2147483647 h 631"/>
                <a:gd name="T66" fmla="*/ 2147483647 w 743"/>
                <a:gd name="T67" fmla="*/ 2147483647 h 631"/>
                <a:gd name="T68" fmla="*/ 2147483647 w 743"/>
                <a:gd name="T69" fmla="*/ 2147483647 h 631"/>
                <a:gd name="T70" fmla="*/ 2147483647 w 743"/>
                <a:gd name="T71" fmla="*/ 2147483647 h 631"/>
                <a:gd name="T72" fmla="*/ 2147483647 w 743"/>
                <a:gd name="T73" fmla="*/ 2147483647 h 631"/>
                <a:gd name="T74" fmla="*/ 2147483647 w 743"/>
                <a:gd name="T75" fmla="*/ 2147483647 h 631"/>
                <a:gd name="T76" fmla="*/ 2147483647 w 743"/>
                <a:gd name="T77" fmla="*/ 2147483647 h 631"/>
                <a:gd name="T78" fmla="*/ 2147483647 w 743"/>
                <a:gd name="T79" fmla="*/ 2147483647 h 631"/>
                <a:gd name="T80" fmla="*/ 2147483647 w 743"/>
                <a:gd name="T81" fmla="*/ 2147483647 h 631"/>
                <a:gd name="T82" fmla="*/ 2147483647 w 743"/>
                <a:gd name="T83" fmla="*/ 2147483647 h 631"/>
                <a:gd name="T84" fmla="*/ 0 w 743"/>
                <a:gd name="T85" fmla="*/ 2147483647 h 631"/>
                <a:gd name="T86" fmla="*/ 2147483647 w 743"/>
                <a:gd name="T87" fmla="*/ 2147483647 h 631"/>
                <a:gd name="T88" fmla="*/ 2147483647 w 743"/>
                <a:gd name="T89" fmla="*/ 2147483647 h 631"/>
                <a:gd name="T90" fmla="*/ 0 w 743"/>
                <a:gd name="T91" fmla="*/ 2147483647 h 631"/>
                <a:gd name="T92" fmla="*/ 0 w 743"/>
                <a:gd name="T93" fmla="*/ 2147483647 h 631"/>
                <a:gd name="T94" fmla="*/ 0 w 743"/>
                <a:gd name="T95" fmla="*/ 0 h 631"/>
                <a:gd name="T96" fmla="*/ 0 w 743"/>
                <a:gd name="T97" fmla="*/ 0 h 631"/>
                <a:gd name="T98" fmla="*/ 0 w 743"/>
                <a:gd name="T99" fmla="*/ 0 h 631"/>
                <a:gd name="T100" fmla="*/ 0 w 743"/>
                <a:gd name="T101" fmla="*/ 0 h 631"/>
                <a:gd name="T102" fmla="*/ 0 w 743"/>
                <a:gd name="T103" fmla="*/ 0 h 631"/>
                <a:gd name="T104" fmla="*/ 0 w 743"/>
                <a:gd name="T105" fmla="*/ 0 h 63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43"/>
                <a:gd name="T160" fmla="*/ 0 h 631"/>
                <a:gd name="T161" fmla="*/ 743 w 743"/>
                <a:gd name="T162" fmla="*/ 631 h 63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6" name="Freeform 234">
              <a:extLst>
                <a:ext uri="{FF2B5EF4-FFF2-40B4-BE49-F238E27FC236}">
                  <a16:creationId xmlns:a16="http://schemas.microsoft.com/office/drawing/2014/main" id="{643C8900-AE5E-E3ED-AA0E-0D57EA69F301}"/>
                </a:ext>
              </a:extLst>
            </p:cNvPr>
            <p:cNvSpPr>
              <a:spLocks noChangeAspect="1"/>
            </p:cNvSpPr>
            <p:nvPr userDrawn="1"/>
          </p:nvSpPr>
          <p:spPr bwMode="gray">
            <a:xfrm>
              <a:off x="3406319" y="4301366"/>
              <a:ext cx="164158" cy="195100"/>
            </a:xfrm>
            <a:custGeom>
              <a:avLst/>
              <a:gdLst>
                <a:gd name="T0" fmla="*/ 0 w 311"/>
                <a:gd name="T1" fmla="*/ 0 h 345"/>
                <a:gd name="T2" fmla="*/ 0 w 311"/>
                <a:gd name="T3" fmla="*/ 0 h 345"/>
                <a:gd name="T4" fmla="*/ 0 w 311"/>
                <a:gd name="T5" fmla="*/ 0 h 345"/>
                <a:gd name="T6" fmla="*/ 0 w 311"/>
                <a:gd name="T7" fmla="*/ 0 h 345"/>
                <a:gd name="T8" fmla="*/ 0 w 311"/>
                <a:gd name="T9" fmla="*/ 0 h 345"/>
                <a:gd name="T10" fmla="*/ 0 w 311"/>
                <a:gd name="T11" fmla="*/ 0 h 345"/>
                <a:gd name="T12" fmla="*/ 0 w 311"/>
                <a:gd name="T13" fmla="*/ 0 h 345"/>
                <a:gd name="T14" fmla="*/ 0 w 311"/>
                <a:gd name="T15" fmla="*/ 0 h 345"/>
                <a:gd name="T16" fmla="*/ 0 w 311"/>
                <a:gd name="T17" fmla="*/ 0 h 345"/>
                <a:gd name="T18" fmla="*/ 0 w 311"/>
                <a:gd name="T19" fmla="*/ 0 h 345"/>
                <a:gd name="T20" fmla="*/ 0 w 311"/>
                <a:gd name="T21" fmla="*/ 0 h 345"/>
                <a:gd name="T22" fmla="*/ 0 w 311"/>
                <a:gd name="T23" fmla="*/ 0 h 345"/>
                <a:gd name="T24" fmla="*/ 0 w 311"/>
                <a:gd name="T25" fmla="*/ 0 h 345"/>
                <a:gd name="T26" fmla="*/ 0 w 311"/>
                <a:gd name="T27" fmla="*/ 0 h 345"/>
                <a:gd name="T28" fmla="*/ 0 w 311"/>
                <a:gd name="T29" fmla="*/ 0 h 345"/>
                <a:gd name="T30" fmla="*/ 0 w 311"/>
                <a:gd name="T31" fmla="*/ 0 h 345"/>
                <a:gd name="T32" fmla="*/ 0 w 311"/>
                <a:gd name="T33" fmla="*/ 0 h 345"/>
                <a:gd name="T34" fmla="*/ 0 w 311"/>
                <a:gd name="T35" fmla="*/ 0 h 345"/>
                <a:gd name="T36" fmla="*/ 0 w 311"/>
                <a:gd name="T37" fmla="*/ 0 h 345"/>
                <a:gd name="T38" fmla="*/ 0 w 311"/>
                <a:gd name="T39" fmla="*/ 0 h 345"/>
                <a:gd name="T40" fmla="*/ 0 w 311"/>
                <a:gd name="T41" fmla="*/ 0 h 345"/>
                <a:gd name="T42" fmla="*/ 0 w 311"/>
                <a:gd name="T43" fmla="*/ 0 h 345"/>
                <a:gd name="T44" fmla="*/ 0 w 311"/>
                <a:gd name="T45" fmla="*/ 0 h 345"/>
                <a:gd name="T46" fmla="*/ 0 w 311"/>
                <a:gd name="T47" fmla="*/ 0 h 345"/>
                <a:gd name="T48" fmla="*/ 0 w 311"/>
                <a:gd name="T49" fmla="*/ 0 h 345"/>
                <a:gd name="T50" fmla="*/ 0 w 311"/>
                <a:gd name="T51" fmla="*/ 0 h 345"/>
                <a:gd name="T52" fmla="*/ 0 w 311"/>
                <a:gd name="T53" fmla="*/ 2147483647 h 345"/>
                <a:gd name="T54" fmla="*/ 0 w 311"/>
                <a:gd name="T55" fmla="*/ 2147483647 h 345"/>
                <a:gd name="T56" fmla="*/ 0 w 311"/>
                <a:gd name="T57" fmla="*/ 2147483647 h 345"/>
                <a:gd name="T58" fmla="*/ 0 w 311"/>
                <a:gd name="T59" fmla="*/ 2147483647 h 345"/>
                <a:gd name="T60" fmla="*/ 0 w 311"/>
                <a:gd name="T61" fmla="*/ 2147483647 h 345"/>
                <a:gd name="T62" fmla="*/ 0 w 311"/>
                <a:gd name="T63" fmla="*/ 2147483647 h 345"/>
                <a:gd name="T64" fmla="*/ 0 w 311"/>
                <a:gd name="T65" fmla="*/ 2147483647 h 345"/>
                <a:gd name="T66" fmla="*/ 0 w 311"/>
                <a:gd name="T67" fmla="*/ 2147483647 h 345"/>
                <a:gd name="T68" fmla="*/ 0 w 311"/>
                <a:gd name="T69" fmla="*/ 2147483647 h 345"/>
                <a:gd name="T70" fmla="*/ 0 w 311"/>
                <a:gd name="T71" fmla="*/ 0 h 345"/>
                <a:gd name="T72" fmla="*/ 0 w 311"/>
                <a:gd name="T73" fmla="*/ 0 h 345"/>
                <a:gd name="T74" fmla="*/ 0 w 311"/>
                <a:gd name="T75" fmla="*/ 0 h 345"/>
                <a:gd name="T76" fmla="*/ 0 w 311"/>
                <a:gd name="T77" fmla="*/ 0 h 345"/>
                <a:gd name="T78" fmla="*/ 0 w 311"/>
                <a:gd name="T79" fmla="*/ 0 h 345"/>
                <a:gd name="T80" fmla="*/ 0 w 311"/>
                <a:gd name="T81" fmla="*/ 0 h 345"/>
                <a:gd name="T82" fmla="*/ 0 w 311"/>
                <a:gd name="T83" fmla="*/ 0 h 345"/>
                <a:gd name="T84" fmla="*/ 0 w 311"/>
                <a:gd name="T85" fmla="*/ 0 h 345"/>
                <a:gd name="T86" fmla="*/ 0 w 311"/>
                <a:gd name="T87" fmla="*/ 0 h 345"/>
                <a:gd name="T88" fmla="*/ 0 w 311"/>
                <a:gd name="T89" fmla="*/ 0 h 345"/>
                <a:gd name="T90" fmla="*/ 0 w 311"/>
                <a:gd name="T91" fmla="*/ 0 h 345"/>
                <a:gd name="T92" fmla="*/ 0 w 311"/>
                <a:gd name="T93" fmla="*/ 0 h 345"/>
                <a:gd name="T94" fmla="*/ 0 w 311"/>
                <a:gd name="T95" fmla="*/ 0 h 345"/>
                <a:gd name="T96" fmla="*/ 0 w 311"/>
                <a:gd name="T97" fmla="*/ 0 h 345"/>
                <a:gd name="T98" fmla="*/ 0 w 311"/>
                <a:gd name="T99" fmla="*/ 0 h 345"/>
                <a:gd name="T100" fmla="*/ 0 w 311"/>
                <a:gd name="T101" fmla="*/ 0 h 345"/>
                <a:gd name="T102" fmla="*/ 0 w 311"/>
                <a:gd name="T103" fmla="*/ 0 h 345"/>
                <a:gd name="T104" fmla="*/ 0 w 311"/>
                <a:gd name="T105" fmla="*/ 0 h 345"/>
                <a:gd name="T106" fmla="*/ 0 w 311"/>
                <a:gd name="T107" fmla="*/ 0 h 345"/>
                <a:gd name="T108" fmla="*/ 0 w 311"/>
                <a:gd name="T109" fmla="*/ 0 h 345"/>
                <a:gd name="T110" fmla="*/ 0 w 311"/>
                <a:gd name="T111" fmla="*/ 0 h 345"/>
                <a:gd name="T112" fmla="*/ 0 w 311"/>
                <a:gd name="T113" fmla="*/ 0 h 345"/>
                <a:gd name="T114" fmla="*/ 0 w 311"/>
                <a:gd name="T115" fmla="*/ 0 h 345"/>
                <a:gd name="T116" fmla="*/ 0 w 311"/>
                <a:gd name="T117" fmla="*/ 0 h 345"/>
                <a:gd name="T118" fmla="*/ 0 w 311"/>
                <a:gd name="T119" fmla="*/ 0 h 345"/>
                <a:gd name="T120" fmla="*/ 0 w 311"/>
                <a:gd name="T121" fmla="*/ 0 h 3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1"/>
                <a:gd name="T184" fmla="*/ 0 h 345"/>
                <a:gd name="T185" fmla="*/ 311 w 311"/>
                <a:gd name="T186" fmla="*/ 345 h 34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7" name="Freeform 235">
              <a:extLst>
                <a:ext uri="{FF2B5EF4-FFF2-40B4-BE49-F238E27FC236}">
                  <a16:creationId xmlns:a16="http://schemas.microsoft.com/office/drawing/2014/main" id="{DA3D6D33-DD56-BCDC-4EC8-027CAAA94B64}"/>
                </a:ext>
              </a:extLst>
            </p:cNvPr>
            <p:cNvSpPr>
              <a:spLocks noChangeAspect="1"/>
            </p:cNvSpPr>
            <p:nvPr userDrawn="1"/>
          </p:nvSpPr>
          <p:spPr bwMode="gray">
            <a:xfrm>
              <a:off x="3936099" y="4950683"/>
              <a:ext cx="244744" cy="277407"/>
            </a:xfrm>
            <a:custGeom>
              <a:avLst/>
              <a:gdLst>
                <a:gd name="T0" fmla="*/ 0 w 459"/>
                <a:gd name="T1" fmla="*/ 0 h 491"/>
                <a:gd name="T2" fmla="*/ 0 w 459"/>
                <a:gd name="T3" fmla="*/ 0 h 491"/>
                <a:gd name="T4" fmla="*/ 0 w 459"/>
                <a:gd name="T5" fmla="*/ 0 h 491"/>
                <a:gd name="T6" fmla="*/ 0 w 459"/>
                <a:gd name="T7" fmla="*/ 0 h 491"/>
                <a:gd name="T8" fmla="*/ 0 w 459"/>
                <a:gd name="T9" fmla="*/ 0 h 491"/>
                <a:gd name="T10" fmla="*/ 0 w 459"/>
                <a:gd name="T11" fmla="*/ 0 h 491"/>
                <a:gd name="T12" fmla="*/ 0 w 459"/>
                <a:gd name="T13" fmla="*/ 0 h 491"/>
                <a:gd name="T14" fmla="*/ 0 w 459"/>
                <a:gd name="T15" fmla="*/ 0 h 491"/>
                <a:gd name="T16" fmla="*/ 0 w 459"/>
                <a:gd name="T17" fmla="*/ 0 h 491"/>
                <a:gd name="T18" fmla="*/ 0 w 459"/>
                <a:gd name="T19" fmla="*/ 0 h 491"/>
                <a:gd name="T20" fmla="*/ 0 w 459"/>
                <a:gd name="T21" fmla="*/ 0 h 491"/>
                <a:gd name="T22" fmla="*/ 0 w 459"/>
                <a:gd name="T23" fmla="*/ 0 h 491"/>
                <a:gd name="T24" fmla="*/ 0 w 459"/>
                <a:gd name="T25" fmla="*/ 0 h 491"/>
                <a:gd name="T26" fmla="*/ 0 w 459"/>
                <a:gd name="T27" fmla="*/ 0 h 491"/>
                <a:gd name="T28" fmla="*/ 0 w 459"/>
                <a:gd name="T29" fmla="*/ 0 h 491"/>
                <a:gd name="T30" fmla="*/ 0 w 459"/>
                <a:gd name="T31" fmla="*/ 0 h 491"/>
                <a:gd name="T32" fmla="*/ 0 w 459"/>
                <a:gd name="T33" fmla="*/ 0 h 491"/>
                <a:gd name="T34" fmla="*/ 2147483647 w 459"/>
                <a:gd name="T35" fmla="*/ 0 h 491"/>
                <a:gd name="T36" fmla="*/ 2147483647 w 459"/>
                <a:gd name="T37" fmla="*/ 0 h 491"/>
                <a:gd name="T38" fmla="*/ 2147483647 w 459"/>
                <a:gd name="T39" fmla="*/ 0 h 491"/>
                <a:gd name="T40" fmla="*/ 2147483647 w 459"/>
                <a:gd name="T41" fmla="*/ 0 h 491"/>
                <a:gd name="T42" fmla="*/ 2147483647 w 459"/>
                <a:gd name="T43" fmla="*/ 0 h 491"/>
                <a:gd name="T44" fmla="*/ 2147483647 w 459"/>
                <a:gd name="T45" fmla="*/ 0 h 491"/>
                <a:gd name="T46" fmla="*/ 2147483647 w 459"/>
                <a:gd name="T47" fmla="*/ 0 h 491"/>
                <a:gd name="T48" fmla="*/ 2147483647 w 459"/>
                <a:gd name="T49" fmla="*/ 0 h 491"/>
                <a:gd name="T50" fmla="*/ 2147483647 w 459"/>
                <a:gd name="T51" fmla="*/ 0 h 491"/>
                <a:gd name="T52" fmla="*/ 2147483647 w 459"/>
                <a:gd name="T53" fmla="*/ 0 h 491"/>
                <a:gd name="T54" fmla="*/ 2147483647 w 459"/>
                <a:gd name="T55" fmla="*/ 0 h 491"/>
                <a:gd name="T56" fmla="*/ 2147483647 w 459"/>
                <a:gd name="T57" fmla="*/ 2147483647 h 491"/>
                <a:gd name="T58" fmla="*/ 2147483647 w 459"/>
                <a:gd name="T59" fmla="*/ 2147483647 h 491"/>
                <a:gd name="T60" fmla="*/ 2147483647 w 459"/>
                <a:gd name="T61" fmla="*/ 2147483647 h 491"/>
                <a:gd name="T62" fmla="*/ 2147483647 w 459"/>
                <a:gd name="T63" fmla="*/ 2147483647 h 491"/>
                <a:gd name="T64" fmla="*/ 2147483647 w 459"/>
                <a:gd name="T65" fmla="*/ 2147483647 h 491"/>
                <a:gd name="T66" fmla="*/ 2147483647 w 459"/>
                <a:gd name="T67" fmla="*/ 2147483647 h 491"/>
                <a:gd name="T68" fmla="*/ 2147483647 w 459"/>
                <a:gd name="T69" fmla="*/ 2147483647 h 491"/>
                <a:gd name="T70" fmla="*/ 2147483647 w 459"/>
                <a:gd name="T71" fmla="*/ 2147483647 h 491"/>
                <a:gd name="T72" fmla="*/ 2147483647 w 459"/>
                <a:gd name="T73" fmla="*/ 2147483647 h 491"/>
                <a:gd name="T74" fmla="*/ 2147483647 w 459"/>
                <a:gd name="T75" fmla="*/ 2147483647 h 491"/>
                <a:gd name="T76" fmla="*/ 2147483647 w 459"/>
                <a:gd name="T77" fmla="*/ 2147483647 h 491"/>
                <a:gd name="T78" fmla="*/ 2147483647 w 459"/>
                <a:gd name="T79" fmla="*/ 2147483647 h 491"/>
                <a:gd name="T80" fmla="*/ 0 w 459"/>
                <a:gd name="T81" fmla="*/ 2147483647 h 491"/>
                <a:gd name="T82" fmla="*/ 0 w 459"/>
                <a:gd name="T83" fmla="*/ 2147483647 h 491"/>
                <a:gd name="T84" fmla="*/ 0 w 459"/>
                <a:gd name="T85" fmla="*/ 2147483647 h 491"/>
                <a:gd name="T86" fmla="*/ 0 w 459"/>
                <a:gd name="T87" fmla="*/ 2147483647 h 491"/>
                <a:gd name="T88" fmla="*/ 0 w 459"/>
                <a:gd name="T89" fmla="*/ 2147483647 h 491"/>
                <a:gd name="T90" fmla="*/ 0 w 459"/>
                <a:gd name="T91" fmla="*/ 2147483647 h 491"/>
                <a:gd name="T92" fmla="*/ 0 w 459"/>
                <a:gd name="T93" fmla="*/ 2147483647 h 491"/>
                <a:gd name="T94" fmla="*/ 0 w 459"/>
                <a:gd name="T95" fmla="*/ 2147483647 h 491"/>
                <a:gd name="T96" fmla="*/ 0 w 459"/>
                <a:gd name="T97" fmla="*/ 2147483647 h 491"/>
                <a:gd name="T98" fmla="*/ 0 w 459"/>
                <a:gd name="T99" fmla="*/ 2147483647 h 491"/>
                <a:gd name="T100" fmla="*/ 0 w 459"/>
                <a:gd name="T101" fmla="*/ 0 h 491"/>
                <a:gd name="T102" fmla="*/ 0 w 459"/>
                <a:gd name="T103" fmla="*/ 0 h 491"/>
                <a:gd name="T104" fmla="*/ 0 w 459"/>
                <a:gd name="T105" fmla="*/ 0 h 491"/>
                <a:gd name="T106" fmla="*/ 0 w 459"/>
                <a:gd name="T107" fmla="*/ 0 h 491"/>
                <a:gd name="T108" fmla="*/ 0 w 459"/>
                <a:gd name="T109" fmla="*/ 0 h 491"/>
                <a:gd name="T110" fmla="*/ 0 w 459"/>
                <a:gd name="T111" fmla="*/ 0 h 491"/>
                <a:gd name="T112" fmla="*/ 0 w 459"/>
                <a:gd name="T113" fmla="*/ 0 h 491"/>
                <a:gd name="T114" fmla="*/ 0 w 459"/>
                <a:gd name="T115" fmla="*/ 0 h 491"/>
                <a:gd name="T116" fmla="*/ 0 w 459"/>
                <a:gd name="T117" fmla="*/ 0 h 49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9"/>
                <a:gd name="T178" fmla="*/ 0 h 491"/>
                <a:gd name="T179" fmla="*/ 459 w 459"/>
                <a:gd name="T180" fmla="*/ 491 h 49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8" name="Freeform 238">
              <a:extLst>
                <a:ext uri="{FF2B5EF4-FFF2-40B4-BE49-F238E27FC236}">
                  <a16:creationId xmlns:a16="http://schemas.microsoft.com/office/drawing/2014/main" id="{8E10FE9C-E676-A769-7031-B9BA8D2F4DE1}"/>
                </a:ext>
              </a:extLst>
            </p:cNvPr>
            <p:cNvSpPr>
              <a:spLocks noChangeAspect="1"/>
            </p:cNvSpPr>
            <p:nvPr userDrawn="1"/>
          </p:nvSpPr>
          <p:spPr bwMode="gray">
            <a:xfrm>
              <a:off x="4297246" y="4327278"/>
              <a:ext cx="16416" cy="13718"/>
            </a:xfrm>
            <a:custGeom>
              <a:avLst/>
              <a:gdLst>
                <a:gd name="T0" fmla="*/ 0 w 32"/>
                <a:gd name="T1" fmla="*/ 0 h 27"/>
                <a:gd name="T2" fmla="*/ 0 w 32"/>
                <a:gd name="T3" fmla="*/ 0 h 27"/>
                <a:gd name="T4" fmla="*/ 0 w 32"/>
                <a:gd name="T5" fmla="*/ 0 h 27"/>
                <a:gd name="T6" fmla="*/ 0 w 32"/>
                <a:gd name="T7" fmla="*/ 0 h 27"/>
                <a:gd name="T8" fmla="*/ 0 w 32"/>
                <a:gd name="T9" fmla="*/ 0 h 27"/>
                <a:gd name="T10" fmla="*/ 0 w 32"/>
                <a:gd name="T11" fmla="*/ 0 h 27"/>
                <a:gd name="T12" fmla="*/ 0 w 32"/>
                <a:gd name="T13" fmla="*/ 0 h 27"/>
                <a:gd name="T14" fmla="*/ 0 w 32"/>
                <a:gd name="T15" fmla="*/ 0 h 27"/>
                <a:gd name="T16" fmla="*/ 0 w 32"/>
                <a:gd name="T17" fmla="*/ 0 h 27"/>
                <a:gd name="T18" fmla="*/ 0 w 32"/>
                <a:gd name="T19" fmla="*/ 0 h 27"/>
                <a:gd name="T20" fmla="*/ 0 w 32"/>
                <a:gd name="T21" fmla="*/ 0 h 27"/>
                <a:gd name="T22" fmla="*/ 0 w 32"/>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27"/>
                <a:gd name="T38" fmla="*/ 32 w 32"/>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19" name="Freeform 239">
              <a:extLst>
                <a:ext uri="{FF2B5EF4-FFF2-40B4-BE49-F238E27FC236}">
                  <a16:creationId xmlns:a16="http://schemas.microsoft.com/office/drawing/2014/main" id="{719BF3CA-EACB-9BDF-C275-6ABEC9E85330}"/>
                </a:ext>
              </a:extLst>
            </p:cNvPr>
            <p:cNvSpPr>
              <a:spLocks noChangeAspect="1"/>
            </p:cNvSpPr>
            <p:nvPr userDrawn="1"/>
          </p:nvSpPr>
          <p:spPr bwMode="gray">
            <a:xfrm>
              <a:off x="4316647" y="4340996"/>
              <a:ext cx="10446" cy="4572"/>
            </a:xfrm>
            <a:custGeom>
              <a:avLst/>
              <a:gdLst>
                <a:gd name="T0" fmla="*/ 0 w 18"/>
                <a:gd name="T1" fmla="*/ 0 h 12"/>
                <a:gd name="T2" fmla="*/ 0 w 18"/>
                <a:gd name="T3" fmla="*/ 0 h 12"/>
                <a:gd name="T4" fmla="*/ 0 w 18"/>
                <a:gd name="T5" fmla="*/ 0 h 12"/>
                <a:gd name="T6" fmla="*/ 0 w 18"/>
                <a:gd name="T7" fmla="*/ 0 h 12"/>
                <a:gd name="T8" fmla="*/ 0 w 18"/>
                <a:gd name="T9" fmla="*/ 0 h 12"/>
                <a:gd name="T10" fmla="*/ 0 w 18"/>
                <a:gd name="T11" fmla="*/ 0 h 12"/>
                <a:gd name="T12" fmla="*/ 0 w 18"/>
                <a:gd name="T13" fmla="*/ 0 h 12"/>
                <a:gd name="T14" fmla="*/ 0 w 18"/>
                <a:gd name="T15" fmla="*/ 0 h 12"/>
                <a:gd name="T16" fmla="*/ 0 w 18"/>
                <a:gd name="T17" fmla="*/ 0 h 12"/>
                <a:gd name="T18" fmla="*/ 0 w 18"/>
                <a:gd name="T19" fmla="*/ 0 h 12"/>
                <a:gd name="T20" fmla="*/ 0 w 18"/>
                <a:gd name="T21" fmla="*/ 0 h 12"/>
                <a:gd name="T22" fmla="*/ 0 w 18"/>
                <a:gd name="T23" fmla="*/ 0 h 12"/>
                <a:gd name="T24" fmla="*/ 0 w 18"/>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12"/>
                <a:gd name="T41" fmla="*/ 18 w 18"/>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0" name="Freeform 240">
              <a:extLst>
                <a:ext uri="{FF2B5EF4-FFF2-40B4-BE49-F238E27FC236}">
                  <a16:creationId xmlns:a16="http://schemas.microsoft.com/office/drawing/2014/main" id="{D4D4EC1E-58D8-26B1-33D6-0F49FBD18699}"/>
                </a:ext>
              </a:extLst>
            </p:cNvPr>
            <p:cNvSpPr>
              <a:spLocks noChangeAspect="1"/>
            </p:cNvSpPr>
            <p:nvPr userDrawn="1"/>
          </p:nvSpPr>
          <p:spPr bwMode="gray">
            <a:xfrm>
              <a:off x="4292770" y="4345569"/>
              <a:ext cx="61186" cy="48775"/>
            </a:xfrm>
            <a:custGeom>
              <a:avLst/>
              <a:gdLst>
                <a:gd name="T0" fmla="*/ 0 w 116"/>
                <a:gd name="T1" fmla="*/ 0 h 87"/>
                <a:gd name="T2" fmla="*/ 0 w 116"/>
                <a:gd name="T3" fmla="*/ 0 h 87"/>
                <a:gd name="T4" fmla="*/ 0 w 116"/>
                <a:gd name="T5" fmla="*/ 0 h 87"/>
                <a:gd name="T6" fmla="*/ 0 w 116"/>
                <a:gd name="T7" fmla="*/ 0 h 87"/>
                <a:gd name="T8" fmla="*/ 0 w 116"/>
                <a:gd name="T9" fmla="*/ 0 h 87"/>
                <a:gd name="T10" fmla="*/ 0 w 116"/>
                <a:gd name="T11" fmla="*/ 0 h 87"/>
                <a:gd name="T12" fmla="*/ 0 w 116"/>
                <a:gd name="T13" fmla="*/ 0 h 87"/>
                <a:gd name="T14" fmla="*/ 0 w 116"/>
                <a:gd name="T15" fmla="*/ 0 h 87"/>
                <a:gd name="T16" fmla="*/ 0 w 116"/>
                <a:gd name="T17" fmla="*/ 0 h 87"/>
                <a:gd name="T18" fmla="*/ 0 w 116"/>
                <a:gd name="T19" fmla="*/ 0 h 87"/>
                <a:gd name="T20" fmla="*/ 0 w 116"/>
                <a:gd name="T21" fmla="*/ 0 h 87"/>
                <a:gd name="T22" fmla="*/ 0 w 116"/>
                <a:gd name="T23" fmla="*/ 0 h 87"/>
                <a:gd name="T24" fmla="*/ 0 w 116"/>
                <a:gd name="T25" fmla="*/ 0 h 87"/>
                <a:gd name="T26" fmla="*/ 0 w 116"/>
                <a:gd name="T27" fmla="*/ 0 h 87"/>
                <a:gd name="T28" fmla="*/ 0 w 116"/>
                <a:gd name="T29" fmla="*/ 0 h 87"/>
                <a:gd name="T30" fmla="*/ 0 w 116"/>
                <a:gd name="T31" fmla="*/ 0 h 87"/>
                <a:gd name="T32" fmla="*/ 0 w 116"/>
                <a:gd name="T33" fmla="*/ 0 h 87"/>
                <a:gd name="T34" fmla="*/ 0 w 116"/>
                <a:gd name="T35" fmla="*/ 0 h 87"/>
                <a:gd name="T36" fmla="*/ 0 w 116"/>
                <a:gd name="T37" fmla="*/ 0 h 87"/>
                <a:gd name="T38" fmla="*/ 0 w 116"/>
                <a:gd name="T39" fmla="*/ 0 h 87"/>
                <a:gd name="T40" fmla="*/ 0 w 116"/>
                <a:gd name="T41" fmla="*/ 0 h 87"/>
                <a:gd name="T42" fmla="*/ 0 w 116"/>
                <a:gd name="T43" fmla="*/ 0 h 87"/>
                <a:gd name="T44" fmla="*/ 0 w 116"/>
                <a:gd name="T45" fmla="*/ 0 h 87"/>
                <a:gd name="T46" fmla="*/ 0 w 116"/>
                <a:gd name="T47" fmla="*/ 0 h 87"/>
                <a:gd name="T48" fmla="*/ 0 w 116"/>
                <a:gd name="T49" fmla="*/ 0 h 87"/>
                <a:gd name="T50" fmla="*/ 0 w 116"/>
                <a:gd name="T51" fmla="*/ 0 h 87"/>
                <a:gd name="T52" fmla="*/ 0 w 116"/>
                <a:gd name="T53" fmla="*/ 0 h 87"/>
                <a:gd name="T54" fmla="*/ 0 w 116"/>
                <a:gd name="T55" fmla="*/ 0 h 87"/>
                <a:gd name="T56" fmla="*/ 0 w 116"/>
                <a:gd name="T57" fmla="*/ 0 h 87"/>
                <a:gd name="T58" fmla="*/ 0 w 116"/>
                <a:gd name="T59" fmla="*/ 0 h 87"/>
                <a:gd name="T60" fmla="*/ 0 w 116"/>
                <a:gd name="T61" fmla="*/ 0 h 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6"/>
                <a:gd name="T94" fmla="*/ 0 h 87"/>
                <a:gd name="T95" fmla="*/ 116 w 116"/>
                <a:gd name="T96" fmla="*/ 87 h 8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1" name="Freeform 241">
              <a:extLst>
                <a:ext uri="{FF2B5EF4-FFF2-40B4-BE49-F238E27FC236}">
                  <a16:creationId xmlns:a16="http://schemas.microsoft.com/office/drawing/2014/main" id="{81CCC1CE-8D26-4975-7531-ECAB50810601}"/>
                </a:ext>
              </a:extLst>
            </p:cNvPr>
            <p:cNvSpPr>
              <a:spLocks noChangeAspect="1"/>
            </p:cNvSpPr>
            <p:nvPr userDrawn="1"/>
          </p:nvSpPr>
          <p:spPr bwMode="gray">
            <a:xfrm>
              <a:off x="4274862" y="4340996"/>
              <a:ext cx="17908" cy="22863"/>
            </a:xfrm>
            <a:custGeom>
              <a:avLst/>
              <a:gdLst>
                <a:gd name="T0" fmla="*/ 0 w 31"/>
                <a:gd name="T1" fmla="*/ 0 h 38"/>
                <a:gd name="T2" fmla="*/ 0 w 31"/>
                <a:gd name="T3" fmla="*/ 0 h 38"/>
                <a:gd name="T4" fmla="*/ 0 w 31"/>
                <a:gd name="T5" fmla="*/ 0 h 38"/>
                <a:gd name="T6" fmla="*/ 0 w 31"/>
                <a:gd name="T7" fmla="*/ 0 h 38"/>
                <a:gd name="T8" fmla="*/ 0 w 31"/>
                <a:gd name="T9" fmla="*/ 0 h 38"/>
                <a:gd name="T10" fmla="*/ 0 w 31"/>
                <a:gd name="T11" fmla="*/ 0 h 38"/>
                <a:gd name="T12" fmla="*/ 0 w 31"/>
                <a:gd name="T13" fmla="*/ 0 h 38"/>
                <a:gd name="T14" fmla="*/ 0 w 31"/>
                <a:gd name="T15" fmla="*/ 0 h 38"/>
                <a:gd name="T16" fmla="*/ 0 w 31"/>
                <a:gd name="T17" fmla="*/ 0 h 38"/>
                <a:gd name="T18" fmla="*/ 0 w 31"/>
                <a:gd name="T19" fmla="*/ 0 h 38"/>
                <a:gd name="T20" fmla="*/ 0 w 31"/>
                <a:gd name="T21" fmla="*/ 0 h 38"/>
                <a:gd name="T22" fmla="*/ 0 w 31"/>
                <a:gd name="T23" fmla="*/ 0 h 38"/>
                <a:gd name="T24" fmla="*/ 0 w 31"/>
                <a:gd name="T25" fmla="*/ 0 h 38"/>
                <a:gd name="T26" fmla="*/ 0 w 31"/>
                <a:gd name="T27" fmla="*/ 0 h 38"/>
                <a:gd name="T28" fmla="*/ 0 w 31"/>
                <a:gd name="T29" fmla="*/ 0 h 38"/>
                <a:gd name="T30" fmla="*/ 0 w 31"/>
                <a:gd name="T31" fmla="*/ 0 h 38"/>
                <a:gd name="T32" fmla="*/ 0 w 31"/>
                <a:gd name="T33" fmla="*/ 0 h 38"/>
                <a:gd name="T34" fmla="*/ 0 w 31"/>
                <a:gd name="T35" fmla="*/ 0 h 38"/>
                <a:gd name="T36" fmla="*/ 0 w 31"/>
                <a:gd name="T37" fmla="*/ 0 h 38"/>
                <a:gd name="T38" fmla="*/ 0 w 31"/>
                <a:gd name="T39" fmla="*/ 0 h 38"/>
                <a:gd name="T40" fmla="*/ 0 w 31"/>
                <a:gd name="T41" fmla="*/ 0 h 38"/>
                <a:gd name="T42" fmla="*/ 0 w 31"/>
                <a:gd name="T43" fmla="*/ 0 h 38"/>
                <a:gd name="T44" fmla="*/ 0 w 31"/>
                <a:gd name="T45" fmla="*/ 0 h 38"/>
                <a:gd name="T46" fmla="*/ 0 w 31"/>
                <a:gd name="T47" fmla="*/ 0 h 3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38"/>
                <a:gd name="T74" fmla="*/ 31 w 31"/>
                <a:gd name="T75" fmla="*/ 38 h 3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2" name="Freeform 242">
              <a:extLst>
                <a:ext uri="{FF2B5EF4-FFF2-40B4-BE49-F238E27FC236}">
                  <a16:creationId xmlns:a16="http://schemas.microsoft.com/office/drawing/2014/main" id="{38C58208-75DB-A905-8874-8F4E3CCF526C}"/>
                </a:ext>
              </a:extLst>
            </p:cNvPr>
            <p:cNvSpPr>
              <a:spLocks noChangeAspect="1"/>
            </p:cNvSpPr>
            <p:nvPr userDrawn="1"/>
          </p:nvSpPr>
          <p:spPr bwMode="gray">
            <a:xfrm>
              <a:off x="4306200" y="4327278"/>
              <a:ext cx="2985" cy="1525"/>
            </a:xfrm>
            <a:custGeom>
              <a:avLst/>
              <a:gdLst>
                <a:gd name="T0" fmla="*/ 0 w 6"/>
                <a:gd name="T1" fmla="*/ 0 h 7"/>
                <a:gd name="T2" fmla="*/ 0 w 6"/>
                <a:gd name="T3" fmla="*/ 0 h 7"/>
                <a:gd name="T4" fmla="*/ 0 w 6"/>
                <a:gd name="T5" fmla="*/ 0 h 7"/>
                <a:gd name="T6" fmla="*/ 0 w 6"/>
                <a:gd name="T7" fmla="*/ 0 h 7"/>
                <a:gd name="T8" fmla="*/ 0 w 6"/>
                <a:gd name="T9" fmla="*/ 0 h 7"/>
                <a:gd name="T10" fmla="*/ 0 w 6"/>
                <a:gd name="T11" fmla="*/ 0 h 7"/>
                <a:gd name="T12" fmla="*/ 0 w 6"/>
                <a:gd name="T13" fmla="*/ 0 h 7"/>
                <a:gd name="T14" fmla="*/ 0 w 6"/>
                <a:gd name="T15" fmla="*/ 0 h 7"/>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7"/>
                <a:gd name="T26" fmla="*/ 6 w 6"/>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7">
                  <a:moveTo>
                    <a:pt x="5" y="0"/>
                  </a:moveTo>
                  <a:lnTo>
                    <a:pt x="6" y="5"/>
                  </a:lnTo>
                  <a:lnTo>
                    <a:pt x="5" y="7"/>
                  </a:lnTo>
                  <a:lnTo>
                    <a:pt x="3" y="7"/>
                  </a:lnTo>
                  <a:lnTo>
                    <a:pt x="0" y="7"/>
                  </a:lnTo>
                  <a:lnTo>
                    <a:pt x="0" y="3"/>
                  </a:lnTo>
                  <a:lnTo>
                    <a:pt x="1" y="1"/>
                  </a:lnTo>
                  <a:lnTo>
                    <a:pt x="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3" name="Freeform 243">
              <a:extLst>
                <a:ext uri="{FF2B5EF4-FFF2-40B4-BE49-F238E27FC236}">
                  <a16:creationId xmlns:a16="http://schemas.microsoft.com/office/drawing/2014/main" id="{E339B67F-F4DA-8375-252D-7335AD8288D9}"/>
                </a:ext>
              </a:extLst>
            </p:cNvPr>
            <p:cNvSpPr>
              <a:spLocks noChangeAspect="1"/>
            </p:cNvSpPr>
            <p:nvPr userDrawn="1"/>
          </p:nvSpPr>
          <p:spPr bwMode="gray">
            <a:xfrm>
              <a:off x="4295754" y="4340996"/>
              <a:ext cx="5969" cy="3049"/>
            </a:xfrm>
            <a:custGeom>
              <a:avLst/>
              <a:gdLst>
                <a:gd name="T0" fmla="*/ 0 w 8"/>
                <a:gd name="T1" fmla="*/ 0 h 6"/>
                <a:gd name="T2" fmla="*/ 0 w 8"/>
                <a:gd name="T3" fmla="*/ 0 h 6"/>
                <a:gd name="T4" fmla="*/ 0 w 8"/>
                <a:gd name="T5" fmla="*/ 0 h 6"/>
                <a:gd name="T6" fmla="*/ 0 w 8"/>
                <a:gd name="T7" fmla="*/ 0 h 6"/>
                <a:gd name="T8" fmla="*/ 0 w 8"/>
                <a:gd name="T9" fmla="*/ 0 h 6"/>
                <a:gd name="T10" fmla="*/ 0 w 8"/>
                <a:gd name="T11" fmla="*/ 0 h 6"/>
                <a:gd name="T12" fmla="*/ 0 60000 65536"/>
                <a:gd name="T13" fmla="*/ 0 60000 65536"/>
                <a:gd name="T14" fmla="*/ 0 60000 65536"/>
                <a:gd name="T15" fmla="*/ 0 60000 65536"/>
                <a:gd name="T16" fmla="*/ 0 60000 65536"/>
                <a:gd name="T17" fmla="*/ 0 60000 65536"/>
                <a:gd name="T18" fmla="*/ 0 w 8"/>
                <a:gd name="T19" fmla="*/ 0 h 6"/>
                <a:gd name="T20" fmla="*/ 8 w 8"/>
                <a:gd name="T21" fmla="*/ 6 h 6"/>
              </a:gdLst>
              <a:ahLst/>
              <a:cxnLst>
                <a:cxn ang="T12">
                  <a:pos x="T0" y="T1"/>
                </a:cxn>
                <a:cxn ang="T13">
                  <a:pos x="T2" y="T3"/>
                </a:cxn>
                <a:cxn ang="T14">
                  <a:pos x="T4" y="T5"/>
                </a:cxn>
                <a:cxn ang="T15">
                  <a:pos x="T6" y="T7"/>
                </a:cxn>
                <a:cxn ang="T16">
                  <a:pos x="T8" y="T9"/>
                </a:cxn>
                <a:cxn ang="T17">
                  <a:pos x="T10" y="T11"/>
                </a:cxn>
              </a:cxnLst>
              <a:rect l="T18" t="T19" r="T20" b="T21"/>
              <a:pathLst>
                <a:path w="8" h="6">
                  <a:moveTo>
                    <a:pt x="7" y="0"/>
                  </a:moveTo>
                  <a:lnTo>
                    <a:pt x="8" y="2"/>
                  </a:lnTo>
                  <a:lnTo>
                    <a:pt x="8" y="6"/>
                  </a:lnTo>
                  <a:lnTo>
                    <a:pt x="3" y="6"/>
                  </a:lnTo>
                  <a:lnTo>
                    <a:pt x="0" y="1"/>
                  </a:lnTo>
                  <a:lnTo>
                    <a:pt x="7"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4" name="Freeform 244">
              <a:extLst>
                <a:ext uri="{FF2B5EF4-FFF2-40B4-BE49-F238E27FC236}">
                  <a16:creationId xmlns:a16="http://schemas.microsoft.com/office/drawing/2014/main" id="{FB3282E1-FAF9-0E77-D54B-BCB47F43A91E}"/>
                </a:ext>
              </a:extLst>
            </p:cNvPr>
            <p:cNvSpPr>
              <a:spLocks noChangeAspect="1"/>
            </p:cNvSpPr>
            <p:nvPr userDrawn="1"/>
          </p:nvSpPr>
          <p:spPr bwMode="gray">
            <a:xfrm>
              <a:off x="3610769" y="4179430"/>
              <a:ext cx="1138657" cy="1274246"/>
            </a:xfrm>
            <a:custGeom>
              <a:avLst/>
              <a:gdLst>
                <a:gd name="T0" fmla="*/ 2147483647 w 2135"/>
                <a:gd name="T1" fmla="*/ 0 h 2241"/>
                <a:gd name="T2" fmla="*/ 2147483647 w 2135"/>
                <a:gd name="T3" fmla="*/ 0 h 2241"/>
                <a:gd name="T4" fmla="*/ 2147483647 w 2135"/>
                <a:gd name="T5" fmla="*/ 0 h 2241"/>
                <a:gd name="T6" fmla="*/ 2147483647 w 2135"/>
                <a:gd name="T7" fmla="*/ 0 h 2241"/>
                <a:gd name="T8" fmla="*/ 2147483647 w 2135"/>
                <a:gd name="T9" fmla="*/ 0 h 2241"/>
                <a:gd name="T10" fmla="*/ 2147483647 w 2135"/>
                <a:gd name="T11" fmla="*/ 0 h 2241"/>
                <a:gd name="T12" fmla="*/ 0 w 2135"/>
                <a:gd name="T13" fmla="*/ 0 h 2241"/>
                <a:gd name="T14" fmla="*/ 0 w 2135"/>
                <a:gd name="T15" fmla="*/ 0 h 2241"/>
                <a:gd name="T16" fmla="*/ 0 w 2135"/>
                <a:gd name="T17" fmla="*/ 2147483647 h 2241"/>
                <a:gd name="T18" fmla="*/ 0 w 2135"/>
                <a:gd name="T19" fmla="*/ 2147483647 h 2241"/>
                <a:gd name="T20" fmla="*/ 0 w 2135"/>
                <a:gd name="T21" fmla="*/ 2147483647 h 2241"/>
                <a:gd name="T22" fmla="*/ 0 w 2135"/>
                <a:gd name="T23" fmla="*/ 2147483647 h 2241"/>
                <a:gd name="T24" fmla="*/ 0 w 2135"/>
                <a:gd name="T25" fmla="*/ 2147483647 h 2241"/>
                <a:gd name="T26" fmla="*/ 0 w 2135"/>
                <a:gd name="T27" fmla="*/ 2147483647 h 2241"/>
                <a:gd name="T28" fmla="*/ 2147483647 w 2135"/>
                <a:gd name="T29" fmla="*/ 2147483647 h 2241"/>
                <a:gd name="T30" fmla="*/ 2147483647 w 2135"/>
                <a:gd name="T31" fmla="*/ 2147483647 h 2241"/>
                <a:gd name="T32" fmla="*/ 2147483647 w 2135"/>
                <a:gd name="T33" fmla="*/ 2147483647 h 2241"/>
                <a:gd name="T34" fmla="*/ 2147483647 w 2135"/>
                <a:gd name="T35" fmla="*/ 2147483647 h 2241"/>
                <a:gd name="T36" fmla="*/ 2147483647 w 2135"/>
                <a:gd name="T37" fmla="*/ 2147483647 h 2241"/>
                <a:gd name="T38" fmla="*/ 2147483647 w 2135"/>
                <a:gd name="T39" fmla="*/ 2147483647 h 2241"/>
                <a:gd name="T40" fmla="*/ 2147483647 w 2135"/>
                <a:gd name="T41" fmla="*/ 2147483647 h 2241"/>
                <a:gd name="T42" fmla="*/ 2147483647 w 2135"/>
                <a:gd name="T43" fmla="*/ 2147483647 h 2241"/>
                <a:gd name="T44" fmla="*/ 2147483647 w 2135"/>
                <a:gd name="T45" fmla="*/ 2147483647 h 2241"/>
                <a:gd name="T46" fmla="*/ 2147483647 w 2135"/>
                <a:gd name="T47" fmla="*/ 2147483647 h 2241"/>
                <a:gd name="T48" fmla="*/ 2147483647 w 2135"/>
                <a:gd name="T49" fmla="*/ 2147483647 h 2241"/>
                <a:gd name="T50" fmla="*/ 2147483647 w 2135"/>
                <a:gd name="T51" fmla="*/ 2147483647 h 2241"/>
                <a:gd name="T52" fmla="*/ 2147483647 w 2135"/>
                <a:gd name="T53" fmla="*/ 2147483647 h 2241"/>
                <a:gd name="T54" fmla="*/ 2147483647 w 2135"/>
                <a:gd name="T55" fmla="*/ 2147483647 h 2241"/>
                <a:gd name="T56" fmla="*/ 2147483647 w 2135"/>
                <a:gd name="T57" fmla="*/ 2147483647 h 2241"/>
                <a:gd name="T58" fmla="*/ 2147483647 w 2135"/>
                <a:gd name="T59" fmla="*/ 2147483647 h 2241"/>
                <a:gd name="T60" fmla="*/ 2147483647 w 2135"/>
                <a:gd name="T61" fmla="*/ 2147483647 h 2241"/>
                <a:gd name="T62" fmla="*/ 2147483647 w 2135"/>
                <a:gd name="T63" fmla="*/ 2147483647 h 2241"/>
                <a:gd name="T64" fmla="*/ 2147483647 w 2135"/>
                <a:gd name="T65" fmla="*/ 2147483647 h 2241"/>
                <a:gd name="T66" fmla="*/ 2147483647 w 2135"/>
                <a:gd name="T67" fmla="*/ 2147483647 h 2241"/>
                <a:gd name="T68" fmla="*/ 2147483647 w 2135"/>
                <a:gd name="T69" fmla="*/ 2147483647 h 2241"/>
                <a:gd name="T70" fmla="*/ 2147483647 w 2135"/>
                <a:gd name="T71" fmla="*/ 2147483647 h 2241"/>
                <a:gd name="T72" fmla="*/ 2147483647 w 2135"/>
                <a:gd name="T73" fmla="*/ 2147483647 h 2241"/>
                <a:gd name="T74" fmla="*/ 2147483647 w 2135"/>
                <a:gd name="T75" fmla="*/ 2147483647 h 2241"/>
                <a:gd name="T76" fmla="*/ 2147483647 w 2135"/>
                <a:gd name="T77" fmla="*/ 2147483647 h 2241"/>
                <a:gd name="T78" fmla="*/ 2147483647 w 2135"/>
                <a:gd name="T79" fmla="*/ 2147483647 h 2241"/>
                <a:gd name="T80" fmla="*/ 2147483647 w 2135"/>
                <a:gd name="T81" fmla="*/ 2147483647 h 2241"/>
                <a:gd name="T82" fmla="*/ 2147483647 w 2135"/>
                <a:gd name="T83" fmla="*/ 2147483647 h 2241"/>
                <a:gd name="T84" fmla="*/ 2147483647 w 2135"/>
                <a:gd name="T85" fmla="*/ 2147483647 h 2241"/>
                <a:gd name="T86" fmla="*/ 2147483647 w 2135"/>
                <a:gd name="T87" fmla="*/ 2147483647 h 2241"/>
                <a:gd name="T88" fmla="*/ 2147483647 w 2135"/>
                <a:gd name="T89" fmla="*/ 2147483647 h 2241"/>
                <a:gd name="T90" fmla="*/ 2147483647 w 2135"/>
                <a:gd name="T91" fmla="*/ 2147483647 h 2241"/>
                <a:gd name="T92" fmla="*/ 2147483647 w 2135"/>
                <a:gd name="T93" fmla="*/ 2147483647 h 2241"/>
                <a:gd name="T94" fmla="*/ 2147483647 w 2135"/>
                <a:gd name="T95" fmla="*/ 2147483647 h 2241"/>
                <a:gd name="T96" fmla="*/ 2147483647 w 2135"/>
                <a:gd name="T97" fmla="*/ 2147483647 h 2241"/>
                <a:gd name="T98" fmla="*/ 2147483647 w 2135"/>
                <a:gd name="T99" fmla="*/ 2147483647 h 2241"/>
                <a:gd name="T100" fmla="*/ 2147483647 w 2135"/>
                <a:gd name="T101" fmla="*/ 0 h 2241"/>
                <a:gd name="T102" fmla="*/ 2147483647 w 2135"/>
                <a:gd name="T103" fmla="*/ 0 h 2241"/>
                <a:gd name="T104" fmla="*/ 2147483647 w 2135"/>
                <a:gd name="T105" fmla="*/ 0 h 2241"/>
                <a:gd name="T106" fmla="*/ 2147483647 w 2135"/>
                <a:gd name="T107" fmla="*/ 0 h 2241"/>
                <a:gd name="T108" fmla="*/ 2147483647 w 2135"/>
                <a:gd name="T109" fmla="*/ 0 h 2241"/>
                <a:gd name="T110" fmla="*/ 2147483647 w 2135"/>
                <a:gd name="T111" fmla="*/ 0 h 2241"/>
                <a:gd name="T112" fmla="*/ 2147483647 w 2135"/>
                <a:gd name="T113" fmla="*/ 0 h 2241"/>
                <a:gd name="T114" fmla="*/ 2147483647 w 2135"/>
                <a:gd name="T115" fmla="*/ 0 h 2241"/>
                <a:gd name="T116" fmla="*/ 2147483647 w 2135"/>
                <a:gd name="T117" fmla="*/ 0 h 224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35"/>
                <a:gd name="T178" fmla="*/ 0 h 2241"/>
                <a:gd name="T179" fmla="*/ 2135 w 2135"/>
                <a:gd name="T180" fmla="*/ 2241 h 224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5" name="Freeform 245">
              <a:extLst>
                <a:ext uri="{FF2B5EF4-FFF2-40B4-BE49-F238E27FC236}">
                  <a16:creationId xmlns:a16="http://schemas.microsoft.com/office/drawing/2014/main" id="{1BA1DD89-3056-9C17-F1AC-D071F6A73EF6}"/>
                </a:ext>
              </a:extLst>
            </p:cNvPr>
            <p:cNvSpPr>
              <a:spLocks noChangeAspect="1"/>
            </p:cNvSpPr>
            <p:nvPr userDrawn="1"/>
          </p:nvSpPr>
          <p:spPr bwMode="gray">
            <a:xfrm>
              <a:off x="3461535" y="3950796"/>
              <a:ext cx="352193" cy="516710"/>
            </a:xfrm>
            <a:custGeom>
              <a:avLst/>
              <a:gdLst>
                <a:gd name="T0" fmla="*/ 2147483647 w 663"/>
                <a:gd name="T1" fmla="*/ 0 h 909"/>
                <a:gd name="T2" fmla="*/ 2147483647 w 663"/>
                <a:gd name="T3" fmla="*/ 0 h 909"/>
                <a:gd name="T4" fmla="*/ 2147483647 w 663"/>
                <a:gd name="T5" fmla="*/ 0 h 909"/>
                <a:gd name="T6" fmla="*/ 0 w 663"/>
                <a:gd name="T7" fmla="*/ 0 h 909"/>
                <a:gd name="T8" fmla="*/ 0 w 663"/>
                <a:gd name="T9" fmla="*/ 0 h 909"/>
                <a:gd name="T10" fmla="*/ 0 w 663"/>
                <a:gd name="T11" fmla="*/ 0 h 909"/>
                <a:gd name="T12" fmla="*/ 0 w 663"/>
                <a:gd name="T13" fmla="*/ 0 h 909"/>
                <a:gd name="T14" fmla="*/ 0 w 663"/>
                <a:gd name="T15" fmla="*/ 0 h 909"/>
                <a:gd name="T16" fmla="*/ 0 w 663"/>
                <a:gd name="T17" fmla="*/ 0 h 909"/>
                <a:gd name="T18" fmla="*/ 0 w 663"/>
                <a:gd name="T19" fmla="*/ 0 h 909"/>
                <a:gd name="T20" fmla="*/ 0 w 663"/>
                <a:gd name="T21" fmla="*/ 0 h 909"/>
                <a:gd name="T22" fmla="*/ 0 w 663"/>
                <a:gd name="T23" fmla="*/ 0 h 909"/>
                <a:gd name="T24" fmla="*/ 0 w 663"/>
                <a:gd name="T25" fmla="*/ 2147483647 h 909"/>
                <a:gd name="T26" fmla="*/ 0 w 663"/>
                <a:gd name="T27" fmla="*/ 2147483647 h 909"/>
                <a:gd name="T28" fmla="*/ 0 w 663"/>
                <a:gd name="T29" fmla="*/ 2147483647 h 909"/>
                <a:gd name="T30" fmla="*/ 0 w 663"/>
                <a:gd name="T31" fmla="*/ 2147483647 h 909"/>
                <a:gd name="T32" fmla="*/ 0 w 663"/>
                <a:gd name="T33" fmla="*/ 2147483647 h 909"/>
                <a:gd name="T34" fmla="*/ 0 w 663"/>
                <a:gd name="T35" fmla="*/ 2147483647 h 909"/>
                <a:gd name="T36" fmla="*/ 0 w 663"/>
                <a:gd name="T37" fmla="*/ 2147483647 h 909"/>
                <a:gd name="T38" fmla="*/ 0 w 663"/>
                <a:gd name="T39" fmla="*/ 2147483647 h 909"/>
                <a:gd name="T40" fmla="*/ 0 w 663"/>
                <a:gd name="T41" fmla="*/ 2147483647 h 909"/>
                <a:gd name="T42" fmla="*/ 0 w 663"/>
                <a:gd name="T43" fmla="*/ 2147483647 h 909"/>
                <a:gd name="T44" fmla="*/ 0 w 663"/>
                <a:gd name="T45" fmla="*/ 2147483647 h 909"/>
                <a:gd name="T46" fmla="*/ 0 w 663"/>
                <a:gd name="T47" fmla="*/ 2147483647 h 909"/>
                <a:gd name="T48" fmla="*/ 0 w 663"/>
                <a:gd name="T49" fmla="*/ 2147483647 h 909"/>
                <a:gd name="T50" fmla="*/ 0 w 663"/>
                <a:gd name="T51" fmla="*/ 2147483647 h 909"/>
                <a:gd name="T52" fmla="*/ 2147483647 w 663"/>
                <a:gd name="T53" fmla="*/ 2147483647 h 909"/>
                <a:gd name="T54" fmla="*/ 2147483647 w 663"/>
                <a:gd name="T55" fmla="*/ 2147483647 h 909"/>
                <a:gd name="T56" fmla="*/ 2147483647 w 663"/>
                <a:gd name="T57" fmla="*/ 2147483647 h 909"/>
                <a:gd name="T58" fmla="*/ 2147483647 w 663"/>
                <a:gd name="T59" fmla="*/ 2147483647 h 909"/>
                <a:gd name="T60" fmla="*/ 2147483647 w 663"/>
                <a:gd name="T61" fmla="*/ 2147483647 h 909"/>
                <a:gd name="T62" fmla="*/ 2147483647 w 663"/>
                <a:gd name="T63" fmla="*/ 2147483647 h 909"/>
                <a:gd name="T64" fmla="*/ 2147483647 w 663"/>
                <a:gd name="T65" fmla="*/ 2147483647 h 909"/>
                <a:gd name="T66" fmla="*/ 2147483647 w 663"/>
                <a:gd name="T67" fmla="*/ 2147483647 h 909"/>
                <a:gd name="T68" fmla="*/ 2147483647 w 663"/>
                <a:gd name="T69" fmla="*/ 2147483647 h 909"/>
                <a:gd name="T70" fmla="*/ 2147483647 w 663"/>
                <a:gd name="T71" fmla="*/ 2147483647 h 909"/>
                <a:gd name="T72" fmla="*/ 2147483647 w 663"/>
                <a:gd name="T73" fmla="*/ 2147483647 h 909"/>
                <a:gd name="T74" fmla="*/ 2147483647 w 663"/>
                <a:gd name="T75" fmla="*/ 2147483647 h 909"/>
                <a:gd name="T76" fmla="*/ 2147483647 w 663"/>
                <a:gd name="T77" fmla="*/ 2147483647 h 909"/>
                <a:gd name="T78" fmla="*/ 2147483647 w 663"/>
                <a:gd name="T79" fmla="*/ 2147483647 h 909"/>
                <a:gd name="T80" fmla="*/ 2147483647 w 663"/>
                <a:gd name="T81" fmla="*/ 2147483647 h 909"/>
                <a:gd name="T82" fmla="*/ 2147483647 w 663"/>
                <a:gd name="T83" fmla="*/ 2147483647 h 909"/>
                <a:gd name="T84" fmla="*/ 2147483647 w 663"/>
                <a:gd name="T85" fmla="*/ 2147483647 h 909"/>
                <a:gd name="T86" fmla="*/ 2147483647 w 663"/>
                <a:gd name="T87" fmla="*/ 2147483647 h 909"/>
                <a:gd name="T88" fmla="*/ 2147483647 w 663"/>
                <a:gd name="T89" fmla="*/ 2147483647 h 909"/>
                <a:gd name="T90" fmla="*/ 2147483647 w 663"/>
                <a:gd name="T91" fmla="*/ 2147483647 h 909"/>
                <a:gd name="T92" fmla="*/ 2147483647 w 663"/>
                <a:gd name="T93" fmla="*/ 2147483647 h 909"/>
                <a:gd name="T94" fmla="*/ 2147483647 w 663"/>
                <a:gd name="T95" fmla="*/ 2147483647 h 909"/>
                <a:gd name="T96" fmla="*/ 2147483647 w 663"/>
                <a:gd name="T97" fmla="*/ 2147483647 h 909"/>
                <a:gd name="T98" fmla="*/ 2147483647 w 663"/>
                <a:gd name="T99" fmla="*/ 0 h 909"/>
                <a:gd name="T100" fmla="*/ 2147483647 w 663"/>
                <a:gd name="T101" fmla="*/ 0 h 909"/>
                <a:gd name="T102" fmla="*/ 2147483647 w 663"/>
                <a:gd name="T103" fmla="*/ 0 h 909"/>
                <a:gd name="T104" fmla="*/ 2147483647 w 663"/>
                <a:gd name="T105" fmla="*/ 0 h 909"/>
                <a:gd name="T106" fmla="*/ 2147483647 w 663"/>
                <a:gd name="T107" fmla="*/ 0 h 909"/>
                <a:gd name="T108" fmla="*/ 2147483647 w 663"/>
                <a:gd name="T109" fmla="*/ 0 h 9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63"/>
                <a:gd name="T166" fmla="*/ 0 h 909"/>
                <a:gd name="T167" fmla="*/ 663 w 663"/>
                <a:gd name="T168" fmla="*/ 909 h 90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6" name="Freeform 246">
              <a:extLst>
                <a:ext uri="{FF2B5EF4-FFF2-40B4-BE49-F238E27FC236}">
                  <a16:creationId xmlns:a16="http://schemas.microsoft.com/office/drawing/2014/main" id="{23B12B90-F845-46BB-6C4A-BD74C093F75A}"/>
                </a:ext>
              </a:extLst>
            </p:cNvPr>
            <p:cNvSpPr>
              <a:spLocks noChangeAspect="1"/>
            </p:cNvSpPr>
            <p:nvPr userDrawn="1"/>
          </p:nvSpPr>
          <p:spPr bwMode="gray">
            <a:xfrm>
              <a:off x="3731649" y="4639743"/>
              <a:ext cx="350700" cy="429829"/>
            </a:xfrm>
            <a:custGeom>
              <a:avLst/>
              <a:gdLst>
                <a:gd name="T0" fmla="*/ 0 w 658"/>
                <a:gd name="T1" fmla="*/ 0 h 754"/>
                <a:gd name="T2" fmla="*/ 0 w 658"/>
                <a:gd name="T3" fmla="*/ 0 h 754"/>
                <a:gd name="T4" fmla="*/ 0 w 658"/>
                <a:gd name="T5" fmla="*/ 0 h 754"/>
                <a:gd name="T6" fmla="*/ 0 w 658"/>
                <a:gd name="T7" fmla="*/ 0 h 754"/>
                <a:gd name="T8" fmla="*/ 0 w 658"/>
                <a:gd name="T9" fmla="*/ 0 h 754"/>
                <a:gd name="T10" fmla="*/ 0 w 658"/>
                <a:gd name="T11" fmla="*/ 0 h 754"/>
                <a:gd name="T12" fmla="*/ 0 w 658"/>
                <a:gd name="T13" fmla="*/ 0 h 754"/>
                <a:gd name="T14" fmla="*/ 2147483647 w 658"/>
                <a:gd name="T15" fmla="*/ 0 h 754"/>
                <a:gd name="T16" fmla="*/ 2147483647 w 658"/>
                <a:gd name="T17" fmla="*/ 0 h 754"/>
                <a:gd name="T18" fmla="*/ 2147483647 w 658"/>
                <a:gd name="T19" fmla="*/ 0 h 754"/>
                <a:gd name="T20" fmla="*/ 2147483647 w 658"/>
                <a:gd name="T21" fmla="*/ 0 h 754"/>
                <a:gd name="T22" fmla="*/ 2147483647 w 658"/>
                <a:gd name="T23" fmla="*/ 0 h 754"/>
                <a:gd name="T24" fmla="*/ 2147483647 w 658"/>
                <a:gd name="T25" fmla="*/ 0 h 754"/>
                <a:gd name="T26" fmla="*/ 2147483647 w 658"/>
                <a:gd name="T27" fmla="*/ 2147483647 h 754"/>
                <a:gd name="T28" fmla="*/ 2147483647 w 658"/>
                <a:gd name="T29" fmla="*/ 2147483647 h 754"/>
                <a:gd name="T30" fmla="*/ 2147483647 w 658"/>
                <a:gd name="T31" fmla="*/ 2147483647 h 754"/>
                <a:gd name="T32" fmla="*/ 2147483647 w 658"/>
                <a:gd name="T33" fmla="*/ 2147483647 h 754"/>
                <a:gd name="T34" fmla="*/ 2147483647 w 658"/>
                <a:gd name="T35" fmla="*/ 2147483647 h 754"/>
                <a:gd name="T36" fmla="*/ 2147483647 w 658"/>
                <a:gd name="T37" fmla="*/ 2147483647 h 754"/>
                <a:gd name="T38" fmla="*/ 2147483647 w 658"/>
                <a:gd name="T39" fmla="*/ 2147483647 h 754"/>
                <a:gd name="T40" fmla="*/ 2147483647 w 658"/>
                <a:gd name="T41" fmla="*/ 2147483647 h 754"/>
                <a:gd name="T42" fmla="*/ 2147483647 w 658"/>
                <a:gd name="T43" fmla="*/ 2147483647 h 754"/>
                <a:gd name="T44" fmla="*/ 2147483647 w 658"/>
                <a:gd name="T45" fmla="*/ 2147483647 h 754"/>
                <a:gd name="T46" fmla="*/ 2147483647 w 658"/>
                <a:gd name="T47" fmla="*/ 2147483647 h 754"/>
                <a:gd name="T48" fmla="*/ 2147483647 w 658"/>
                <a:gd name="T49" fmla="*/ 2147483647 h 754"/>
                <a:gd name="T50" fmla="*/ 2147483647 w 658"/>
                <a:gd name="T51" fmla="*/ 2147483647 h 754"/>
                <a:gd name="T52" fmla="*/ 2147483647 w 658"/>
                <a:gd name="T53" fmla="*/ 2147483647 h 754"/>
                <a:gd name="T54" fmla="*/ 2147483647 w 658"/>
                <a:gd name="T55" fmla="*/ 2147483647 h 754"/>
                <a:gd name="T56" fmla="*/ 2147483647 w 658"/>
                <a:gd name="T57" fmla="*/ 2147483647 h 754"/>
                <a:gd name="T58" fmla="*/ 0 w 658"/>
                <a:gd name="T59" fmla="*/ 2147483647 h 754"/>
                <a:gd name="T60" fmla="*/ 0 w 658"/>
                <a:gd name="T61" fmla="*/ 2147483647 h 754"/>
                <a:gd name="T62" fmla="*/ 0 w 658"/>
                <a:gd name="T63" fmla="*/ 2147483647 h 754"/>
                <a:gd name="T64" fmla="*/ 0 w 658"/>
                <a:gd name="T65" fmla="*/ 2147483647 h 754"/>
                <a:gd name="T66" fmla="*/ 0 w 658"/>
                <a:gd name="T67" fmla="*/ 2147483647 h 754"/>
                <a:gd name="T68" fmla="*/ 0 w 658"/>
                <a:gd name="T69" fmla="*/ 2147483647 h 754"/>
                <a:gd name="T70" fmla="*/ 0 w 658"/>
                <a:gd name="T71" fmla="*/ 2147483647 h 754"/>
                <a:gd name="T72" fmla="*/ 0 w 658"/>
                <a:gd name="T73" fmla="*/ 2147483647 h 754"/>
                <a:gd name="T74" fmla="*/ 0 w 658"/>
                <a:gd name="T75" fmla="*/ 2147483647 h 754"/>
                <a:gd name="T76" fmla="*/ 0 w 658"/>
                <a:gd name="T77" fmla="*/ 2147483647 h 754"/>
                <a:gd name="T78" fmla="*/ 0 w 658"/>
                <a:gd name="T79" fmla="*/ 2147483647 h 754"/>
                <a:gd name="T80" fmla="*/ 0 w 658"/>
                <a:gd name="T81" fmla="*/ 2147483647 h 754"/>
                <a:gd name="T82" fmla="*/ 0 w 658"/>
                <a:gd name="T83" fmla="*/ 2147483647 h 754"/>
                <a:gd name="T84" fmla="*/ 0 w 658"/>
                <a:gd name="T85" fmla="*/ 2147483647 h 754"/>
                <a:gd name="T86" fmla="*/ 0 w 658"/>
                <a:gd name="T87" fmla="*/ 2147483647 h 754"/>
                <a:gd name="T88" fmla="*/ 0 w 658"/>
                <a:gd name="T89" fmla="*/ 2147483647 h 754"/>
                <a:gd name="T90" fmla="*/ 0 w 658"/>
                <a:gd name="T91" fmla="*/ 2147483647 h 754"/>
                <a:gd name="T92" fmla="*/ 0 w 658"/>
                <a:gd name="T93" fmla="*/ 2147483647 h 754"/>
                <a:gd name="T94" fmla="*/ 0 w 658"/>
                <a:gd name="T95" fmla="*/ 2147483647 h 754"/>
                <a:gd name="T96" fmla="*/ 0 w 658"/>
                <a:gd name="T97" fmla="*/ 2147483647 h 754"/>
                <a:gd name="T98" fmla="*/ 0 w 658"/>
                <a:gd name="T99" fmla="*/ 2147483647 h 754"/>
                <a:gd name="T100" fmla="*/ 0 w 658"/>
                <a:gd name="T101" fmla="*/ 0 h 754"/>
                <a:gd name="T102" fmla="*/ 0 w 658"/>
                <a:gd name="T103" fmla="*/ 0 h 754"/>
                <a:gd name="T104" fmla="*/ 0 w 658"/>
                <a:gd name="T105" fmla="*/ 0 h 754"/>
                <a:gd name="T106" fmla="*/ 0 w 658"/>
                <a:gd name="T107" fmla="*/ 0 h 754"/>
                <a:gd name="T108" fmla="*/ 0 w 658"/>
                <a:gd name="T109" fmla="*/ 0 h 7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58"/>
                <a:gd name="T166" fmla="*/ 0 h 754"/>
                <a:gd name="T167" fmla="*/ 658 w 658"/>
                <a:gd name="T168" fmla="*/ 754 h 7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7" name="Freeform 247">
              <a:extLst>
                <a:ext uri="{FF2B5EF4-FFF2-40B4-BE49-F238E27FC236}">
                  <a16:creationId xmlns:a16="http://schemas.microsoft.com/office/drawing/2014/main" id="{C83E8C89-7498-8370-9707-44C205C34669}"/>
                </a:ext>
              </a:extLst>
            </p:cNvPr>
            <p:cNvSpPr>
              <a:spLocks noChangeAspect="1"/>
            </p:cNvSpPr>
            <p:nvPr userDrawn="1"/>
          </p:nvSpPr>
          <p:spPr bwMode="gray">
            <a:xfrm>
              <a:off x="4058472" y="5319544"/>
              <a:ext cx="156696" cy="179858"/>
            </a:xfrm>
            <a:custGeom>
              <a:avLst/>
              <a:gdLst>
                <a:gd name="T0" fmla="*/ 0 w 292"/>
                <a:gd name="T1" fmla="*/ 0 h 314"/>
                <a:gd name="T2" fmla="*/ 0 w 292"/>
                <a:gd name="T3" fmla="*/ 0 h 314"/>
                <a:gd name="T4" fmla="*/ 0 w 292"/>
                <a:gd name="T5" fmla="*/ 0 h 314"/>
                <a:gd name="T6" fmla="*/ 0 w 292"/>
                <a:gd name="T7" fmla="*/ 0 h 314"/>
                <a:gd name="T8" fmla="*/ 0 w 292"/>
                <a:gd name="T9" fmla="*/ 0 h 314"/>
                <a:gd name="T10" fmla="*/ 0 w 292"/>
                <a:gd name="T11" fmla="*/ 0 h 314"/>
                <a:gd name="T12" fmla="*/ 0 w 292"/>
                <a:gd name="T13" fmla="*/ 0 h 314"/>
                <a:gd name="T14" fmla="*/ 0 w 292"/>
                <a:gd name="T15" fmla="*/ 2147483647 h 314"/>
                <a:gd name="T16" fmla="*/ 0 w 292"/>
                <a:gd name="T17" fmla="*/ 0 h 314"/>
                <a:gd name="T18" fmla="*/ 0 w 292"/>
                <a:gd name="T19" fmla="*/ 0 h 314"/>
                <a:gd name="T20" fmla="*/ 0 w 292"/>
                <a:gd name="T21" fmla="*/ 0 h 314"/>
                <a:gd name="T22" fmla="*/ 0 w 292"/>
                <a:gd name="T23" fmla="*/ 0 h 314"/>
                <a:gd name="T24" fmla="*/ 0 w 292"/>
                <a:gd name="T25" fmla="*/ 0 h 314"/>
                <a:gd name="T26" fmla="*/ 0 w 292"/>
                <a:gd name="T27" fmla="*/ 0 h 314"/>
                <a:gd name="T28" fmla="*/ 0 w 292"/>
                <a:gd name="T29" fmla="*/ 0 h 314"/>
                <a:gd name="T30" fmla="*/ 0 w 292"/>
                <a:gd name="T31" fmla="*/ 0 h 314"/>
                <a:gd name="T32" fmla="*/ 0 w 292"/>
                <a:gd name="T33" fmla="*/ 0 h 314"/>
                <a:gd name="T34" fmla="*/ 0 w 292"/>
                <a:gd name="T35" fmla="*/ 0 h 314"/>
                <a:gd name="T36" fmla="*/ 0 w 292"/>
                <a:gd name="T37" fmla="*/ 0 h 314"/>
                <a:gd name="T38" fmla="*/ 0 w 292"/>
                <a:gd name="T39" fmla="*/ 0 h 314"/>
                <a:gd name="T40" fmla="*/ 0 w 292"/>
                <a:gd name="T41" fmla="*/ 0 h 314"/>
                <a:gd name="T42" fmla="*/ 0 w 292"/>
                <a:gd name="T43" fmla="*/ 0 h 314"/>
                <a:gd name="T44" fmla="*/ 0 w 292"/>
                <a:gd name="T45" fmla="*/ 0 h 314"/>
                <a:gd name="T46" fmla="*/ 0 w 292"/>
                <a:gd name="T47" fmla="*/ 0 h 314"/>
                <a:gd name="T48" fmla="*/ 0 w 292"/>
                <a:gd name="T49" fmla="*/ 0 h 314"/>
                <a:gd name="T50" fmla="*/ 0 w 292"/>
                <a:gd name="T51" fmla="*/ 0 h 314"/>
                <a:gd name="T52" fmla="*/ 0 w 292"/>
                <a:gd name="T53" fmla="*/ 0 h 314"/>
                <a:gd name="T54" fmla="*/ 0 w 292"/>
                <a:gd name="T55" fmla="*/ 0 h 314"/>
                <a:gd name="T56" fmla="*/ 0 w 292"/>
                <a:gd name="T57" fmla="*/ 0 h 314"/>
                <a:gd name="T58" fmla="*/ 0 w 292"/>
                <a:gd name="T59" fmla="*/ 0 h 314"/>
                <a:gd name="T60" fmla="*/ 0 w 292"/>
                <a:gd name="T61" fmla="*/ 0 h 314"/>
                <a:gd name="T62" fmla="*/ 0 w 292"/>
                <a:gd name="T63" fmla="*/ 0 h 314"/>
                <a:gd name="T64" fmla="*/ 0 w 292"/>
                <a:gd name="T65" fmla="*/ 0 h 314"/>
                <a:gd name="T66" fmla="*/ 0 w 292"/>
                <a:gd name="T67" fmla="*/ 0 h 314"/>
                <a:gd name="T68" fmla="*/ 0 w 292"/>
                <a:gd name="T69" fmla="*/ 0 h 314"/>
                <a:gd name="T70" fmla="*/ 0 w 292"/>
                <a:gd name="T71" fmla="*/ 0 h 314"/>
                <a:gd name="T72" fmla="*/ 0 w 292"/>
                <a:gd name="T73" fmla="*/ 0 h 314"/>
                <a:gd name="T74" fmla="*/ 0 w 292"/>
                <a:gd name="T75" fmla="*/ 0 h 314"/>
                <a:gd name="T76" fmla="*/ 0 w 292"/>
                <a:gd name="T77" fmla="*/ 0 h 314"/>
                <a:gd name="T78" fmla="*/ 0 w 292"/>
                <a:gd name="T79" fmla="*/ 0 h 314"/>
                <a:gd name="T80" fmla="*/ 0 w 292"/>
                <a:gd name="T81" fmla="*/ 0 h 314"/>
                <a:gd name="T82" fmla="*/ 0 w 292"/>
                <a:gd name="T83" fmla="*/ 0 h 314"/>
                <a:gd name="T84" fmla="*/ 0 w 292"/>
                <a:gd name="T85" fmla="*/ 0 h 3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314"/>
                <a:gd name="T131" fmla="*/ 292 w 292"/>
                <a:gd name="T132" fmla="*/ 314 h 3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8" name="Freeform 248">
              <a:extLst>
                <a:ext uri="{FF2B5EF4-FFF2-40B4-BE49-F238E27FC236}">
                  <a16:creationId xmlns:a16="http://schemas.microsoft.com/office/drawing/2014/main" id="{093D584F-322C-BE2A-A081-CCBCDB027F3A}"/>
                </a:ext>
              </a:extLst>
            </p:cNvPr>
            <p:cNvSpPr>
              <a:spLocks noChangeAspect="1"/>
            </p:cNvSpPr>
            <p:nvPr userDrawn="1"/>
          </p:nvSpPr>
          <p:spPr bwMode="gray">
            <a:xfrm>
              <a:off x="3977885" y="4083403"/>
              <a:ext cx="141773" cy="217964"/>
            </a:xfrm>
            <a:custGeom>
              <a:avLst/>
              <a:gdLst>
                <a:gd name="T0" fmla="*/ 0 w 265"/>
                <a:gd name="T1" fmla="*/ 0 h 386"/>
                <a:gd name="T2" fmla="*/ 0 w 265"/>
                <a:gd name="T3" fmla="*/ 0 h 386"/>
                <a:gd name="T4" fmla="*/ 0 w 265"/>
                <a:gd name="T5" fmla="*/ 0 h 386"/>
                <a:gd name="T6" fmla="*/ 0 w 265"/>
                <a:gd name="T7" fmla="*/ 0 h 386"/>
                <a:gd name="T8" fmla="*/ 0 w 265"/>
                <a:gd name="T9" fmla="*/ 0 h 386"/>
                <a:gd name="T10" fmla="*/ 0 w 265"/>
                <a:gd name="T11" fmla="*/ 0 h 386"/>
                <a:gd name="T12" fmla="*/ 0 w 265"/>
                <a:gd name="T13" fmla="*/ 0 h 386"/>
                <a:gd name="T14" fmla="*/ 0 w 265"/>
                <a:gd name="T15" fmla="*/ 0 h 386"/>
                <a:gd name="T16" fmla="*/ 0 w 265"/>
                <a:gd name="T17" fmla="*/ 0 h 386"/>
                <a:gd name="T18" fmla="*/ 0 w 265"/>
                <a:gd name="T19" fmla="*/ 0 h 386"/>
                <a:gd name="T20" fmla="*/ 0 w 265"/>
                <a:gd name="T21" fmla="*/ 0 h 386"/>
                <a:gd name="T22" fmla="*/ 0 w 265"/>
                <a:gd name="T23" fmla="*/ 0 h 386"/>
                <a:gd name="T24" fmla="*/ 0 w 265"/>
                <a:gd name="T25" fmla="*/ 0 h 386"/>
                <a:gd name="T26" fmla="*/ 0 w 265"/>
                <a:gd name="T27" fmla="*/ 0 h 386"/>
                <a:gd name="T28" fmla="*/ 0 w 265"/>
                <a:gd name="T29" fmla="*/ 0 h 386"/>
                <a:gd name="T30" fmla="*/ 0 w 265"/>
                <a:gd name="T31" fmla="*/ 0 h 386"/>
                <a:gd name="T32" fmla="*/ 0 w 265"/>
                <a:gd name="T33" fmla="*/ 0 h 386"/>
                <a:gd name="T34" fmla="*/ 0 w 265"/>
                <a:gd name="T35" fmla="*/ 0 h 386"/>
                <a:gd name="T36" fmla="*/ 0 w 265"/>
                <a:gd name="T37" fmla="*/ 2147483647 h 386"/>
                <a:gd name="T38" fmla="*/ 0 w 265"/>
                <a:gd name="T39" fmla="*/ 2147483647 h 386"/>
                <a:gd name="T40" fmla="*/ 0 w 265"/>
                <a:gd name="T41" fmla="*/ 2147483647 h 386"/>
                <a:gd name="T42" fmla="*/ 0 w 265"/>
                <a:gd name="T43" fmla="*/ 2147483647 h 386"/>
                <a:gd name="T44" fmla="*/ 0 w 265"/>
                <a:gd name="T45" fmla="*/ 2147483647 h 386"/>
                <a:gd name="T46" fmla="*/ 0 w 265"/>
                <a:gd name="T47" fmla="*/ 2147483647 h 386"/>
                <a:gd name="T48" fmla="*/ 0 w 265"/>
                <a:gd name="T49" fmla="*/ 2147483647 h 386"/>
                <a:gd name="T50" fmla="*/ 0 w 265"/>
                <a:gd name="T51" fmla="*/ 2147483647 h 386"/>
                <a:gd name="T52" fmla="*/ 0 w 265"/>
                <a:gd name="T53" fmla="*/ 2147483647 h 386"/>
                <a:gd name="T54" fmla="*/ 0 w 265"/>
                <a:gd name="T55" fmla="*/ 2147483647 h 386"/>
                <a:gd name="T56" fmla="*/ 0 w 265"/>
                <a:gd name="T57" fmla="*/ 0 h 386"/>
                <a:gd name="T58" fmla="*/ 0 w 265"/>
                <a:gd name="T59" fmla="*/ 0 h 386"/>
                <a:gd name="T60" fmla="*/ 0 w 265"/>
                <a:gd name="T61" fmla="*/ 0 h 386"/>
                <a:gd name="T62" fmla="*/ 0 w 265"/>
                <a:gd name="T63" fmla="*/ 0 h 386"/>
                <a:gd name="T64" fmla="*/ 0 w 265"/>
                <a:gd name="T65" fmla="*/ 0 h 386"/>
                <a:gd name="T66" fmla="*/ 0 w 265"/>
                <a:gd name="T67" fmla="*/ 0 h 386"/>
                <a:gd name="T68" fmla="*/ 0 w 265"/>
                <a:gd name="T69" fmla="*/ 0 h 386"/>
                <a:gd name="T70" fmla="*/ 0 w 265"/>
                <a:gd name="T71" fmla="*/ 0 h 386"/>
                <a:gd name="T72" fmla="*/ 0 w 265"/>
                <a:gd name="T73" fmla="*/ 0 h 386"/>
                <a:gd name="T74" fmla="*/ 0 w 265"/>
                <a:gd name="T75" fmla="*/ 0 h 386"/>
                <a:gd name="T76" fmla="*/ 0 w 265"/>
                <a:gd name="T77" fmla="*/ 0 h 386"/>
                <a:gd name="T78" fmla="*/ 0 w 265"/>
                <a:gd name="T79" fmla="*/ 0 h 386"/>
                <a:gd name="T80" fmla="*/ 0 w 265"/>
                <a:gd name="T81" fmla="*/ 0 h 386"/>
                <a:gd name="T82" fmla="*/ 0 w 265"/>
                <a:gd name="T83" fmla="*/ 0 h 386"/>
                <a:gd name="T84" fmla="*/ 0 w 265"/>
                <a:gd name="T85" fmla="*/ 0 h 386"/>
                <a:gd name="T86" fmla="*/ 0 w 265"/>
                <a:gd name="T87" fmla="*/ 0 h 386"/>
                <a:gd name="T88" fmla="*/ 0 w 265"/>
                <a:gd name="T89" fmla="*/ 0 h 386"/>
                <a:gd name="T90" fmla="*/ 0 w 265"/>
                <a:gd name="T91" fmla="*/ 0 h 3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5"/>
                <a:gd name="T139" fmla="*/ 0 h 386"/>
                <a:gd name="T140" fmla="*/ 265 w 265"/>
                <a:gd name="T141" fmla="*/ 386 h 3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29" name="Freeform 249">
              <a:extLst>
                <a:ext uri="{FF2B5EF4-FFF2-40B4-BE49-F238E27FC236}">
                  <a16:creationId xmlns:a16="http://schemas.microsoft.com/office/drawing/2014/main" id="{53239C1A-4B1F-F648-B0F0-0E0095536B46}"/>
                </a:ext>
              </a:extLst>
            </p:cNvPr>
            <p:cNvSpPr>
              <a:spLocks noChangeAspect="1"/>
            </p:cNvSpPr>
            <p:nvPr userDrawn="1"/>
          </p:nvSpPr>
          <p:spPr bwMode="gray">
            <a:xfrm>
              <a:off x="4179352" y="4164187"/>
              <a:ext cx="85063" cy="114316"/>
            </a:xfrm>
            <a:custGeom>
              <a:avLst/>
              <a:gdLst>
                <a:gd name="T0" fmla="*/ 0 w 157"/>
                <a:gd name="T1" fmla="*/ 0 h 200"/>
                <a:gd name="T2" fmla="*/ 0 w 157"/>
                <a:gd name="T3" fmla="*/ 0 h 200"/>
                <a:gd name="T4" fmla="*/ 0 w 157"/>
                <a:gd name="T5" fmla="*/ 0 h 200"/>
                <a:gd name="T6" fmla="*/ 0 w 157"/>
                <a:gd name="T7" fmla="*/ 0 h 200"/>
                <a:gd name="T8" fmla="*/ 0 w 157"/>
                <a:gd name="T9" fmla="*/ 0 h 200"/>
                <a:gd name="T10" fmla="*/ 0 w 157"/>
                <a:gd name="T11" fmla="*/ 0 h 200"/>
                <a:gd name="T12" fmla="*/ 0 w 157"/>
                <a:gd name="T13" fmla="*/ 0 h 200"/>
                <a:gd name="T14" fmla="*/ 0 w 157"/>
                <a:gd name="T15" fmla="*/ 0 h 200"/>
                <a:gd name="T16" fmla="*/ 0 w 157"/>
                <a:gd name="T17" fmla="*/ 0 h 200"/>
                <a:gd name="T18" fmla="*/ 0 w 157"/>
                <a:gd name="T19" fmla="*/ 0 h 200"/>
                <a:gd name="T20" fmla="*/ 0 w 157"/>
                <a:gd name="T21" fmla="*/ 0 h 200"/>
                <a:gd name="T22" fmla="*/ 0 w 157"/>
                <a:gd name="T23" fmla="*/ 0 h 200"/>
                <a:gd name="T24" fmla="*/ 0 w 157"/>
                <a:gd name="T25" fmla="*/ 0 h 200"/>
                <a:gd name="T26" fmla="*/ 0 w 157"/>
                <a:gd name="T27" fmla="*/ 0 h 200"/>
                <a:gd name="T28" fmla="*/ 0 w 157"/>
                <a:gd name="T29" fmla="*/ 0 h 200"/>
                <a:gd name="T30" fmla="*/ 0 w 157"/>
                <a:gd name="T31" fmla="*/ 0 h 200"/>
                <a:gd name="T32" fmla="*/ 0 w 157"/>
                <a:gd name="T33" fmla="*/ 0 h 200"/>
                <a:gd name="T34" fmla="*/ 0 w 157"/>
                <a:gd name="T35" fmla="*/ 0 h 200"/>
                <a:gd name="T36" fmla="*/ 0 w 157"/>
                <a:gd name="T37" fmla="*/ 0 h 200"/>
                <a:gd name="T38" fmla="*/ 0 w 157"/>
                <a:gd name="T39" fmla="*/ 0 h 200"/>
                <a:gd name="T40" fmla="*/ 0 w 157"/>
                <a:gd name="T41" fmla="*/ 0 h 200"/>
                <a:gd name="T42" fmla="*/ 0 w 157"/>
                <a:gd name="T43" fmla="*/ 0 h 200"/>
                <a:gd name="T44" fmla="*/ 0 w 157"/>
                <a:gd name="T45" fmla="*/ 0 h 200"/>
                <a:gd name="T46" fmla="*/ 0 w 157"/>
                <a:gd name="T47" fmla="*/ 0 h 200"/>
                <a:gd name="T48" fmla="*/ 0 w 157"/>
                <a:gd name="T49" fmla="*/ 0 h 200"/>
                <a:gd name="T50" fmla="*/ 0 w 157"/>
                <a:gd name="T51" fmla="*/ 0 h 200"/>
                <a:gd name="T52" fmla="*/ 0 w 157"/>
                <a:gd name="T53" fmla="*/ 0 h 200"/>
                <a:gd name="T54" fmla="*/ 0 w 157"/>
                <a:gd name="T55" fmla="*/ 0 h 200"/>
                <a:gd name="T56" fmla="*/ 0 w 157"/>
                <a:gd name="T57" fmla="*/ 0 h 200"/>
                <a:gd name="T58" fmla="*/ 0 w 157"/>
                <a:gd name="T59" fmla="*/ 0 h 200"/>
                <a:gd name="T60" fmla="*/ 0 w 157"/>
                <a:gd name="T61" fmla="*/ 0 h 200"/>
                <a:gd name="T62" fmla="*/ 0 w 157"/>
                <a:gd name="T63" fmla="*/ 0 h 200"/>
                <a:gd name="T64" fmla="*/ 0 w 157"/>
                <a:gd name="T65" fmla="*/ 0 h 200"/>
                <a:gd name="T66" fmla="*/ 0 w 157"/>
                <a:gd name="T67" fmla="*/ 0 h 200"/>
                <a:gd name="T68" fmla="*/ 0 w 157"/>
                <a:gd name="T69" fmla="*/ 0 h 200"/>
                <a:gd name="T70" fmla="*/ 0 w 157"/>
                <a:gd name="T71" fmla="*/ 0 h 200"/>
                <a:gd name="T72" fmla="*/ 0 w 157"/>
                <a:gd name="T73" fmla="*/ 0 h 200"/>
                <a:gd name="T74" fmla="*/ 0 w 157"/>
                <a:gd name="T75" fmla="*/ 0 h 200"/>
                <a:gd name="T76" fmla="*/ 0 w 157"/>
                <a:gd name="T77" fmla="*/ 0 h 200"/>
                <a:gd name="T78" fmla="*/ 0 w 157"/>
                <a:gd name="T79" fmla="*/ 0 h 200"/>
                <a:gd name="T80" fmla="*/ 0 w 157"/>
                <a:gd name="T81" fmla="*/ 0 h 200"/>
                <a:gd name="T82" fmla="*/ 0 w 157"/>
                <a:gd name="T83" fmla="*/ 0 h 200"/>
                <a:gd name="T84" fmla="*/ 0 w 157"/>
                <a:gd name="T85" fmla="*/ 0 h 200"/>
                <a:gd name="T86" fmla="*/ 0 w 157"/>
                <a:gd name="T87" fmla="*/ 0 h 200"/>
                <a:gd name="T88" fmla="*/ 0 w 157"/>
                <a:gd name="T89" fmla="*/ 0 h 200"/>
                <a:gd name="T90" fmla="*/ 0 w 157"/>
                <a:gd name="T91" fmla="*/ 0 h 200"/>
                <a:gd name="T92" fmla="*/ 0 w 157"/>
                <a:gd name="T93" fmla="*/ 0 h 200"/>
                <a:gd name="T94" fmla="*/ 0 w 157"/>
                <a:gd name="T95" fmla="*/ 0 h 200"/>
                <a:gd name="T96" fmla="*/ 0 w 157"/>
                <a:gd name="T97" fmla="*/ 0 h 200"/>
                <a:gd name="T98" fmla="*/ 0 w 157"/>
                <a:gd name="T99" fmla="*/ 0 h 200"/>
                <a:gd name="T100" fmla="*/ 0 w 157"/>
                <a:gd name="T101" fmla="*/ 0 h 200"/>
                <a:gd name="T102" fmla="*/ 0 w 157"/>
                <a:gd name="T103" fmla="*/ 0 h 2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7"/>
                <a:gd name="T157" fmla="*/ 0 h 200"/>
                <a:gd name="T158" fmla="*/ 157 w 157"/>
                <a:gd name="T159" fmla="*/ 200 h 2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0" name="Freeform 250">
              <a:extLst>
                <a:ext uri="{FF2B5EF4-FFF2-40B4-BE49-F238E27FC236}">
                  <a16:creationId xmlns:a16="http://schemas.microsoft.com/office/drawing/2014/main" id="{8A42EB8E-D432-6358-1F1C-BBD4F74DF1F4}"/>
                </a:ext>
              </a:extLst>
            </p:cNvPr>
            <p:cNvSpPr>
              <a:spLocks noChangeAspect="1"/>
            </p:cNvSpPr>
            <p:nvPr userDrawn="1"/>
          </p:nvSpPr>
          <p:spPr bwMode="gray">
            <a:xfrm>
              <a:off x="3391395" y="4344045"/>
              <a:ext cx="365623" cy="571582"/>
            </a:xfrm>
            <a:custGeom>
              <a:avLst/>
              <a:gdLst>
                <a:gd name="T0" fmla="*/ 2147483647 w 686"/>
                <a:gd name="T1" fmla="*/ 0 h 1005"/>
                <a:gd name="T2" fmla="*/ 2147483647 w 686"/>
                <a:gd name="T3" fmla="*/ 0 h 1005"/>
                <a:gd name="T4" fmla="*/ 0 w 686"/>
                <a:gd name="T5" fmla="*/ 0 h 1005"/>
                <a:gd name="T6" fmla="*/ 0 w 686"/>
                <a:gd name="T7" fmla="*/ 0 h 1005"/>
                <a:gd name="T8" fmla="*/ 0 w 686"/>
                <a:gd name="T9" fmla="*/ 0 h 1005"/>
                <a:gd name="T10" fmla="*/ 0 w 686"/>
                <a:gd name="T11" fmla="*/ 0 h 1005"/>
                <a:gd name="T12" fmla="*/ 0 w 686"/>
                <a:gd name="T13" fmla="*/ 0 h 1005"/>
                <a:gd name="T14" fmla="*/ 0 w 686"/>
                <a:gd name="T15" fmla="*/ 0 h 1005"/>
                <a:gd name="T16" fmla="*/ 0 w 686"/>
                <a:gd name="T17" fmla="*/ 0 h 1005"/>
                <a:gd name="T18" fmla="*/ 0 w 686"/>
                <a:gd name="T19" fmla="*/ 0 h 1005"/>
                <a:gd name="T20" fmla="*/ 0 w 686"/>
                <a:gd name="T21" fmla="*/ 0 h 1005"/>
                <a:gd name="T22" fmla="*/ 0 w 686"/>
                <a:gd name="T23" fmla="*/ 0 h 1005"/>
                <a:gd name="T24" fmla="*/ 0 w 686"/>
                <a:gd name="T25" fmla="*/ 0 h 1005"/>
                <a:gd name="T26" fmla="*/ 0 w 686"/>
                <a:gd name="T27" fmla="*/ 0 h 1005"/>
                <a:gd name="T28" fmla="*/ 0 w 686"/>
                <a:gd name="T29" fmla="*/ 0 h 1005"/>
                <a:gd name="T30" fmla="*/ 0 w 686"/>
                <a:gd name="T31" fmla="*/ 2147483647 h 1005"/>
                <a:gd name="T32" fmla="*/ 0 w 686"/>
                <a:gd name="T33" fmla="*/ 2147483647 h 1005"/>
                <a:gd name="T34" fmla="*/ 0 w 686"/>
                <a:gd name="T35" fmla="*/ 2147483647 h 1005"/>
                <a:gd name="T36" fmla="*/ 0 w 686"/>
                <a:gd name="T37" fmla="*/ 2147483647 h 1005"/>
                <a:gd name="T38" fmla="*/ 0 w 686"/>
                <a:gd name="T39" fmla="*/ 2147483647 h 1005"/>
                <a:gd name="T40" fmla="*/ 0 w 686"/>
                <a:gd name="T41" fmla="*/ 2147483647 h 1005"/>
                <a:gd name="T42" fmla="*/ 0 w 686"/>
                <a:gd name="T43" fmla="*/ 2147483647 h 1005"/>
                <a:gd name="T44" fmla="*/ 0 w 686"/>
                <a:gd name="T45" fmla="*/ 2147483647 h 1005"/>
                <a:gd name="T46" fmla="*/ 2147483647 w 686"/>
                <a:gd name="T47" fmla="*/ 2147483647 h 1005"/>
                <a:gd name="T48" fmla="*/ 2147483647 w 686"/>
                <a:gd name="T49" fmla="*/ 2147483647 h 1005"/>
                <a:gd name="T50" fmla="*/ 2147483647 w 686"/>
                <a:gd name="T51" fmla="*/ 2147483647 h 1005"/>
                <a:gd name="T52" fmla="*/ 2147483647 w 686"/>
                <a:gd name="T53" fmla="*/ 2147483647 h 1005"/>
                <a:gd name="T54" fmla="*/ 2147483647 w 686"/>
                <a:gd name="T55" fmla="*/ 2147483647 h 1005"/>
                <a:gd name="T56" fmla="*/ 2147483647 w 686"/>
                <a:gd name="T57" fmla="*/ 2147483647 h 1005"/>
                <a:gd name="T58" fmla="*/ 2147483647 w 686"/>
                <a:gd name="T59" fmla="*/ 2147483647 h 1005"/>
                <a:gd name="T60" fmla="*/ 2147483647 w 686"/>
                <a:gd name="T61" fmla="*/ 2147483647 h 1005"/>
                <a:gd name="T62" fmla="*/ 2147483647 w 686"/>
                <a:gd name="T63" fmla="*/ 2147483647 h 1005"/>
                <a:gd name="T64" fmla="*/ 2147483647 w 686"/>
                <a:gd name="T65" fmla="*/ 2147483647 h 1005"/>
                <a:gd name="T66" fmla="*/ 2147483647 w 686"/>
                <a:gd name="T67" fmla="*/ 2147483647 h 1005"/>
                <a:gd name="T68" fmla="*/ 2147483647 w 686"/>
                <a:gd name="T69" fmla="*/ 2147483647 h 1005"/>
                <a:gd name="T70" fmla="*/ 2147483647 w 686"/>
                <a:gd name="T71" fmla="*/ 2147483647 h 1005"/>
                <a:gd name="T72" fmla="*/ 2147483647 w 686"/>
                <a:gd name="T73" fmla="*/ 2147483647 h 1005"/>
                <a:gd name="T74" fmla="*/ 2147483647 w 686"/>
                <a:gd name="T75" fmla="*/ 2147483647 h 1005"/>
                <a:gd name="T76" fmla="*/ 2147483647 w 686"/>
                <a:gd name="T77" fmla="*/ 2147483647 h 1005"/>
                <a:gd name="T78" fmla="*/ 2147483647 w 686"/>
                <a:gd name="T79" fmla="*/ 2147483647 h 1005"/>
                <a:gd name="T80" fmla="*/ 2147483647 w 686"/>
                <a:gd name="T81" fmla="*/ 2147483647 h 1005"/>
                <a:gd name="T82" fmla="*/ 2147483647 w 686"/>
                <a:gd name="T83" fmla="*/ 2147483647 h 1005"/>
                <a:gd name="T84" fmla="*/ 2147483647 w 686"/>
                <a:gd name="T85" fmla="*/ 2147483647 h 1005"/>
                <a:gd name="T86" fmla="*/ 2147483647 w 686"/>
                <a:gd name="T87" fmla="*/ 2147483647 h 1005"/>
                <a:gd name="T88" fmla="*/ 2147483647 w 686"/>
                <a:gd name="T89" fmla="*/ 2147483647 h 1005"/>
                <a:gd name="T90" fmla="*/ 2147483647 w 686"/>
                <a:gd name="T91" fmla="*/ 0 h 1005"/>
                <a:gd name="T92" fmla="*/ 2147483647 w 686"/>
                <a:gd name="T93" fmla="*/ 0 h 1005"/>
                <a:gd name="T94" fmla="*/ 2147483647 w 686"/>
                <a:gd name="T95" fmla="*/ 0 h 1005"/>
                <a:gd name="T96" fmla="*/ 2147483647 w 686"/>
                <a:gd name="T97" fmla="*/ 0 h 1005"/>
                <a:gd name="T98" fmla="*/ 2147483647 w 686"/>
                <a:gd name="T99" fmla="*/ 0 h 1005"/>
                <a:gd name="T100" fmla="*/ 2147483647 w 686"/>
                <a:gd name="T101" fmla="*/ 0 h 1005"/>
                <a:gd name="T102" fmla="*/ 2147483647 w 686"/>
                <a:gd name="T103" fmla="*/ 0 h 1005"/>
                <a:gd name="T104" fmla="*/ 2147483647 w 686"/>
                <a:gd name="T105" fmla="*/ 0 h 1005"/>
                <a:gd name="T106" fmla="*/ 2147483647 w 686"/>
                <a:gd name="T107" fmla="*/ 0 h 1005"/>
                <a:gd name="T108" fmla="*/ 2147483647 w 686"/>
                <a:gd name="T109" fmla="*/ 0 h 1005"/>
                <a:gd name="T110" fmla="*/ 2147483647 w 686"/>
                <a:gd name="T111" fmla="*/ 0 h 1005"/>
                <a:gd name="T112" fmla="*/ 2147483647 w 686"/>
                <a:gd name="T113" fmla="*/ 0 h 1005"/>
                <a:gd name="T114" fmla="*/ 2147483647 w 686"/>
                <a:gd name="T115" fmla="*/ 0 h 1005"/>
                <a:gd name="T116" fmla="*/ 2147483647 w 686"/>
                <a:gd name="T117" fmla="*/ 0 h 100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6"/>
                <a:gd name="T178" fmla="*/ 0 h 1005"/>
                <a:gd name="T179" fmla="*/ 686 w 686"/>
                <a:gd name="T180" fmla="*/ 1005 h 100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1" name="Freeform 251">
              <a:extLst>
                <a:ext uri="{FF2B5EF4-FFF2-40B4-BE49-F238E27FC236}">
                  <a16:creationId xmlns:a16="http://schemas.microsoft.com/office/drawing/2014/main" id="{792DA1F2-D46E-2B4F-CE31-C55FD31A6974}"/>
                </a:ext>
              </a:extLst>
            </p:cNvPr>
            <p:cNvSpPr>
              <a:spLocks noChangeAspect="1"/>
            </p:cNvSpPr>
            <p:nvPr userDrawn="1"/>
          </p:nvSpPr>
          <p:spPr bwMode="gray">
            <a:xfrm>
              <a:off x="3624201" y="5032991"/>
              <a:ext cx="576044" cy="1219375"/>
            </a:xfrm>
            <a:custGeom>
              <a:avLst/>
              <a:gdLst>
                <a:gd name="T0" fmla="*/ 0 w 1080"/>
                <a:gd name="T1" fmla="*/ 2147483647 h 2146"/>
                <a:gd name="T2" fmla="*/ 0 w 1080"/>
                <a:gd name="T3" fmla="*/ 2147483647 h 2146"/>
                <a:gd name="T4" fmla="*/ 0 w 1080"/>
                <a:gd name="T5" fmla="*/ 2147483647 h 2146"/>
                <a:gd name="T6" fmla="*/ 0 w 1080"/>
                <a:gd name="T7" fmla="*/ 2147483647 h 2146"/>
                <a:gd name="T8" fmla="*/ 0 w 1080"/>
                <a:gd name="T9" fmla="*/ 2147483647 h 2146"/>
                <a:gd name="T10" fmla="*/ 0 w 1080"/>
                <a:gd name="T11" fmla="*/ 2147483647 h 2146"/>
                <a:gd name="T12" fmla="*/ 0 w 1080"/>
                <a:gd name="T13" fmla="*/ 2147483647 h 2146"/>
                <a:gd name="T14" fmla="*/ 0 w 1080"/>
                <a:gd name="T15" fmla="*/ 2147483647 h 2146"/>
                <a:gd name="T16" fmla="*/ 0 w 1080"/>
                <a:gd name="T17" fmla="*/ 2147483647 h 2146"/>
                <a:gd name="T18" fmla="*/ 0 w 1080"/>
                <a:gd name="T19" fmla="*/ 2147483647 h 2146"/>
                <a:gd name="T20" fmla="*/ 0 w 1080"/>
                <a:gd name="T21" fmla="*/ 2147483647 h 2146"/>
                <a:gd name="T22" fmla="*/ 0 w 1080"/>
                <a:gd name="T23" fmla="*/ 2147483647 h 2146"/>
                <a:gd name="T24" fmla="*/ 0 w 1080"/>
                <a:gd name="T25" fmla="*/ 2147483647 h 2146"/>
                <a:gd name="T26" fmla="*/ 0 w 1080"/>
                <a:gd name="T27" fmla="*/ 2147483647 h 2146"/>
                <a:gd name="T28" fmla="*/ 0 w 1080"/>
                <a:gd name="T29" fmla="*/ 2147483647 h 2146"/>
                <a:gd name="T30" fmla="*/ 0 w 1080"/>
                <a:gd name="T31" fmla="*/ 2147483647 h 2146"/>
                <a:gd name="T32" fmla="*/ 0 w 1080"/>
                <a:gd name="T33" fmla="*/ 2147483647 h 2146"/>
                <a:gd name="T34" fmla="*/ 0 w 1080"/>
                <a:gd name="T35" fmla="*/ 2147483647 h 2146"/>
                <a:gd name="T36" fmla="*/ 0 w 1080"/>
                <a:gd name="T37" fmla="*/ 2147483647 h 2146"/>
                <a:gd name="T38" fmla="*/ 0 w 1080"/>
                <a:gd name="T39" fmla="*/ 0 h 2146"/>
                <a:gd name="T40" fmla="*/ 0 w 1080"/>
                <a:gd name="T41" fmla="*/ 0 h 2146"/>
                <a:gd name="T42" fmla="*/ 2147483647 w 1080"/>
                <a:gd name="T43" fmla="*/ 0 h 2146"/>
                <a:gd name="T44" fmla="*/ 2147483647 w 1080"/>
                <a:gd name="T45" fmla="*/ 0 h 2146"/>
                <a:gd name="T46" fmla="*/ 2147483647 w 1080"/>
                <a:gd name="T47" fmla="*/ 0 h 2146"/>
                <a:gd name="T48" fmla="*/ 2147483647 w 1080"/>
                <a:gd name="T49" fmla="*/ 0 h 2146"/>
                <a:gd name="T50" fmla="*/ 2147483647 w 1080"/>
                <a:gd name="T51" fmla="*/ 0 h 2146"/>
                <a:gd name="T52" fmla="*/ 2147483647 w 1080"/>
                <a:gd name="T53" fmla="*/ 0 h 2146"/>
                <a:gd name="T54" fmla="*/ 2147483647 w 1080"/>
                <a:gd name="T55" fmla="*/ 0 h 2146"/>
                <a:gd name="T56" fmla="*/ 2147483647 w 1080"/>
                <a:gd name="T57" fmla="*/ 0 h 2146"/>
                <a:gd name="T58" fmla="*/ 2147483647 w 1080"/>
                <a:gd name="T59" fmla="*/ 0 h 2146"/>
                <a:gd name="T60" fmla="*/ 2147483647 w 1080"/>
                <a:gd name="T61" fmla="*/ 0 h 2146"/>
                <a:gd name="T62" fmla="*/ 2147483647 w 1080"/>
                <a:gd name="T63" fmla="*/ 2147483647 h 2146"/>
                <a:gd name="T64" fmla="*/ 2147483647 w 1080"/>
                <a:gd name="T65" fmla="*/ 2147483647 h 2146"/>
                <a:gd name="T66" fmla="*/ 2147483647 w 1080"/>
                <a:gd name="T67" fmla="*/ 0 h 2146"/>
                <a:gd name="T68" fmla="*/ 2147483647 w 1080"/>
                <a:gd name="T69" fmla="*/ 0 h 2146"/>
                <a:gd name="T70" fmla="*/ 2147483647 w 1080"/>
                <a:gd name="T71" fmla="*/ 2147483647 h 2146"/>
                <a:gd name="T72" fmla="*/ 2147483647 w 1080"/>
                <a:gd name="T73" fmla="*/ 2147483647 h 2146"/>
                <a:gd name="T74" fmla="*/ 2147483647 w 1080"/>
                <a:gd name="T75" fmla="*/ 2147483647 h 2146"/>
                <a:gd name="T76" fmla="*/ 2147483647 w 1080"/>
                <a:gd name="T77" fmla="*/ 2147483647 h 2146"/>
                <a:gd name="T78" fmla="*/ 2147483647 w 1080"/>
                <a:gd name="T79" fmla="*/ 2147483647 h 2146"/>
                <a:gd name="T80" fmla="*/ 2147483647 w 1080"/>
                <a:gd name="T81" fmla="*/ 2147483647 h 2146"/>
                <a:gd name="T82" fmla="*/ 2147483647 w 1080"/>
                <a:gd name="T83" fmla="*/ 2147483647 h 2146"/>
                <a:gd name="T84" fmla="*/ 2147483647 w 1080"/>
                <a:gd name="T85" fmla="*/ 2147483647 h 2146"/>
                <a:gd name="T86" fmla="*/ 2147483647 w 1080"/>
                <a:gd name="T87" fmla="*/ 2147483647 h 2146"/>
                <a:gd name="T88" fmla="*/ 2147483647 w 1080"/>
                <a:gd name="T89" fmla="*/ 2147483647 h 2146"/>
                <a:gd name="T90" fmla="*/ 2147483647 w 1080"/>
                <a:gd name="T91" fmla="*/ 2147483647 h 2146"/>
                <a:gd name="T92" fmla="*/ 2147483647 w 1080"/>
                <a:gd name="T93" fmla="*/ 2147483647 h 2146"/>
                <a:gd name="T94" fmla="*/ 2147483647 w 1080"/>
                <a:gd name="T95" fmla="*/ 2147483647 h 2146"/>
                <a:gd name="T96" fmla="*/ 2147483647 w 1080"/>
                <a:gd name="T97" fmla="*/ 2147483647 h 2146"/>
                <a:gd name="T98" fmla="*/ 2147483647 w 1080"/>
                <a:gd name="T99" fmla="*/ 2147483647 h 2146"/>
                <a:gd name="T100" fmla="*/ 2147483647 w 1080"/>
                <a:gd name="T101" fmla="*/ 2147483647 h 2146"/>
                <a:gd name="T102" fmla="*/ 2147483647 w 1080"/>
                <a:gd name="T103" fmla="*/ 2147483647 h 2146"/>
                <a:gd name="T104" fmla="*/ 2147483647 w 1080"/>
                <a:gd name="T105" fmla="*/ 2147483647 h 2146"/>
                <a:gd name="T106" fmla="*/ 2147483647 w 1080"/>
                <a:gd name="T107" fmla="*/ 2147483647 h 2146"/>
                <a:gd name="T108" fmla="*/ 2147483647 w 1080"/>
                <a:gd name="T109" fmla="*/ 2147483647 h 2146"/>
                <a:gd name="T110" fmla="*/ 2147483647 w 1080"/>
                <a:gd name="T111" fmla="*/ 2147483647 h 2146"/>
                <a:gd name="T112" fmla="*/ 2147483647 w 1080"/>
                <a:gd name="T113" fmla="*/ 2147483647 h 2146"/>
                <a:gd name="T114" fmla="*/ 0 w 1080"/>
                <a:gd name="T115" fmla="*/ 2147483647 h 2146"/>
                <a:gd name="T116" fmla="*/ 0 w 1080"/>
                <a:gd name="T117" fmla="*/ 2147483647 h 2146"/>
                <a:gd name="T118" fmla="*/ 0 w 1080"/>
                <a:gd name="T119" fmla="*/ 2147483647 h 21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80"/>
                <a:gd name="T181" fmla="*/ 0 h 2146"/>
                <a:gd name="T182" fmla="*/ 1080 w 1080"/>
                <a:gd name="T183" fmla="*/ 2146 h 21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2" name="Freeform 253">
              <a:extLst>
                <a:ext uri="{FF2B5EF4-FFF2-40B4-BE49-F238E27FC236}">
                  <a16:creationId xmlns:a16="http://schemas.microsoft.com/office/drawing/2014/main" id="{CDF39914-DA55-F47B-4631-553E48DD9780}"/>
                </a:ext>
              </a:extLst>
            </p:cNvPr>
            <p:cNvSpPr>
              <a:spLocks noChangeAspect="1"/>
            </p:cNvSpPr>
            <p:nvPr userDrawn="1"/>
          </p:nvSpPr>
          <p:spPr bwMode="gray">
            <a:xfrm>
              <a:off x="4071903" y="4156565"/>
              <a:ext cx="119387" cy="128034"/>
            </a:xfrm>
            <a:custGeom>
              <a:avLst/>
              <a:gdLst>
                <a:gd name="T0" fmla="*/ 0 w 226"/>
                <a:gd name="T1" fmla="*/ 0 h 221"/>
                <a:gd name="T2" fmla="*/ 0 w 226"/>
                <a:gd name="T3" fmla="*/ 0 h 221"/>
                <a:gd name="T4" fmla="*/ 0 w 226"/>
                <a:gd name="T5" fmla="*/ 0 h 221"/>
                <a:gd name="T6" fmla="*/ 0 w 226"/>
                <a:gd name="T7" fmla="*/ 0 h 221"/>
                <a:gd name="T8" fmla="*/ 0 w 226"/>
                <a:gd name="T9" fmla="*/ 0 h 221"/>
                <a:gd name="T10" fmla="*/ 0 w 226"/>
                <a:gd name="T11" fmla="*/ 0 h 221"/>
                <a:gd name="T12" fmla="*/ 0 w 226"/>
                <a:gd name="T13" fmla="*/ 0 h 221"/>
                <a:gd name="T14" fmla="*/ 0 w 226"/>
                <a:gd name="T15" fmla="*/ 0 h 221"/>
                <a:gd name="T16" fmla="*/ 0 w 226"/>
                <a:gd name="T17" fmla="*/ 0 h 221"/>
                <a:gd name="T18" fmla="*/ 0 w 226"/>
                <a:gd name="T19" fmla="*/ 0 h 221"/>
                <a:gd name="T20" fmla="*/ 0 w 226"/>
                <a:gd name="T21" fmla="*/ 0 h 221"/>
                <a:gd name="T22" fmla="*/ 0 w 226"/>
                <a:gd name="T23" fmla="*/ 0 h 221"/>
                <a:gd name="T24" fmla="*/ 0 w 226"/>
                <a:gd name="T25" fmla="*/ 0 h 221"/>
                <a:gd name="T26" fmla="*/ 0 w 226"/>
                <a:gd name="T27" fmla="*/ 0 h 221"/>
                <a:gd name="T28" fmla="*/ 0 w 226"/>
                <a:gd name="T29" fmla="*/ 0 h 221"/>
                <a:gd name="T30" fmla="*/ 0 w 226"/>
                <a:gd name="T31" fmla="*/ 0 h 221"/>
                <a:gd name="T32" fmla="*/ 0 w 226"/>
                <a:gd name="T33" fmla="*/ 0 h 221"/>
                <a:gd name="T34" fmla="*/ 0 w 226"/>
                <a:gd name="T35" fmla="*/ 0 h 221"/>
                <a:gd name="T36" fmla="*/ 0 w 226"/>
                <a:gd name="T37" fmla="*/ 0 h 221"/>
                <a:gd name="T38" fmla="*/ 0 w 226"/>
                <a:gd name="T39" fmla="*/ 0 h 221"/>
                <a:gd name="T40" fmla="*/ 0 w 226"/>
                <a:gd name="T41" fmla="*/ 0 h 221"/>
                <a:gd name="T42" fmla="*/ 0 w 226"/>
                <a:gd name="T43" fmla="*/ 0 h 221"/>
                <a:gd name="T44" fmla="*/ 0 w 226"/>
                <a:gd name="T45" fmla="*/ 0 h 221"/>
                <a:gd name="T46" fmla="*/ 0 w 226"/>
                <a:gd name="T47" fmla="*/ 0 h 221"/>
                <a:gd name="T48" fmla="*/ 0 w 226"/>
                <a:gd name="T49" fmla="*/ 0 h 221"/>
                <a:gd name="T50" fmla="*/ 0 w 226"/>
                <a:gd name="T51" fmla="*/ 0 h 221"/>
                <a:gd name="T52" fmla="*/ 0 w 226"/>
                <a:gd name="T53" fmla="*/ 0 h 221"/>
                <a:gd name="T54" fmla="*/ 0 w 226"/>
                <a:gd name="T55" fmla="*/ 0 h 221"/>
                <a:gd name="T56" fmla="*/ 0 w 226"/>
                <a:gd name="T57" fmla="*/ 0 h 221"/>
                <a:gd name="T58" fmla="*/ 0 w 226"/>
                <a:gd name="T59" fmla="*/ 0 h 221"/>
                <a:gd name="T60" fmla="*/ 0 w 226"/>
                <a:gd name="T61" fmla="*/ 0 h 221"/>
                <a:gd name="T62" fmla="*/ 0 w 226"/>
                <a:gd name="T63" fmla="*/ 0 h 221"/>
                <a:gd name="T64" fmla="*/ 0 w 226"/>
                <a:gd name="T65" fmla="*/ 0 h 221"/>
                <a:gd name="T66" fmla="*/ 0 w 226"/>
                <a:gd name="T67" fmla="*/ 0 h 221"/>
                <a:gd name="T68" fmla="*/ 0 w 226"/>
                <a:gd name="T69" fmla="*/ 0 h 221"/>
                <a:gd name="T70" fmla="*/ 0 w 226"/>
                <a:gd name="T71" fmla="*/ 0 h 221"/>
                <a:gd name="T72" fmla="*/ 0 w 226"/>
                <a:gd name="T73" fmla="*/ 0 h 221"/>
                <a:gd name="T74" fmla="*/ 0 w 226"/>
                <a:gd name="T75" fmla="*/ 0 h 221"/>
                <a:gd name="T76" fmla="*/ 0 w 226"/>
                <a:gd name="T77" fmla="*/ 0 h 221"/>
                <a:gd name="T78" fmla="*/ 0 w 226"/>
                <a:gd name="T79" fmla="*/ 0 h 221"/>
                <a:gd name="T80" fmla="*/ 0 w 226"/>
                <a:gd name="T81" fmla="*/ 0 h 22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26"/>
                <a:gd name="T124" fmla="*/ 0 h 221"/>
                <a:gd name="T125" fmla="*/ 226 w 226"/>
                <a:gd name="T126" fmla="*/ 221 h 22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3" name="Freeform 254">
              <a:extLst>
                <a:ext uri="{FF2B5EF4-FFF2-40B4-BE49-F238E27FC236}">
                  <a16:creationId xmlns:a16="http://schemas.microsoft.com/office/drawing/2014/main" id="{CB139EAC-F9B0-3846-3568-8624290D0056}"/>
                </a:ext>
              </a:extLst>
            </p:cNvPr>
            <p:cNvSpPr>
              <a:spLocks noChangeAspect="1"/>
            </p:cNvSpPr>
            <p:nvPr userDrawn="1"/>
          </p:nvSpPr>
          <p:spPr bwMode="gray">
            <a:xfrm rot="20552049">
              <a:off x="3834620" y="3970611"/>
              <a:ext cx="10447" cy="12193"/>
            </a:xfrm>
            <a:custGeom>
              <a:avLst/>
              <a:gdLst>
                <a:gd name="T0" fmla="*/ 0 w 183"/>
                <a:gd name="T1" fmla="*/ 0 h 93"/>
                <a:gd name="T2" fmla="*/ 0 w 183"/>
                <a:gd name="T3" fmla="*/ 0 h 93"/>
                <a:gd name="T4" fmla="*/ 0 w 183"/>
                <a:gd name="T5" fmla="*/ 0 h 93"/>
                <a:gd name="T6" fmla="*/ 0 w 183"/>
                <a:gd name="T7" fmla="*/ 0 h 93"/>
                <a:gd name="T8" fmla="*/ 0 w 183"/>
                <a:gd name="T9" fmla="*/ 0 h 93"/>
                <a:gd name="T10" fmla="*/ 0 w 183"/>
                <a:gd name="T11" fmla="*/ 0 h 93"/>
                <a:gd name="T12" fmla="*/ 0 w 183"/>
                <a:gd name="T13" fmla="*/ 0 h 93"/>
                <a:gd name="T14" fmla="*/ 0 w 183"/>
                <a:gd name="T15" fmla="*/ 0 h 93"/>
                <a:gd name="T16" fmla="*/ 0 w 183"/>
                <a:gd name="T17" fmla="*/ 0 h 93"/>
                <a:gd name="T18" fmla="*/ 0 w 183"/>
                <a:gd name="T19" fmla="*/ 0 h 93"/>
                <a:gd name="T20" fmla="*/ 0 w 183"/>
                <a:gd name="T21" fmla="*/ 0 h 93"/>
                <a:gd name="T22" fmla="*/ 0 w 183"/>
                <a:gd name="T23" fmla="*/ 0 h 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3"/>
                <a:gd name="T37" fmla="*/ 0 h 93"/>
                <a:gd name="T38" fmla="*/ 183 w 183"/>
                <a:gd name="T39" fmla="*/ 93 h 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4" name="Freeform 255">
              <a:extLst>
                <a:ext uri="{FF2B5EF4-FFF2-40B4-BE49-F238E27FC236}">
                  <a16:creationId xmlns:a16="http://schemas.microsoft.com/office/drawing/2014/main" id="{06510AAB-CCB8-88CF-0531-4E98419B7EED}"/>
                </a:ext>
              </a:extLst>
            </p:cNvPr>
            <p:cNvSpPr>
              <a:spLocks noChangeAspect="1"/>
            </p:cNvSpPr>
            <p:nvPr userDrawn="1"/>
          </p:nvSpPr>
          <p:spPr bwMode="gray">
            <a:xfrm rot="20552049">
              <a:off x="3736126" y="3956893"/>
              <a:ext cx="7462" cy="12193"/>
            </a:xfrm>
            <a:custGeom>
              <a:avLst/>
              <a:gdLst>
                <a:gd name="T0" fmla="*/ 0 w 101"/>
                <a:gd name="T1" fmla="*/ 0 h 102"/>
                <a:gd name="T2" fmla="*/ 0 w 101"/>
                <a:gd name="T3" fmla="*/ 0 h 102"/>
                <a:gd name="T4" fmla="*/ 0 w 101"/>
                <a:gd name="T5" fmla="*/ 0 h 102"/>
                <a:gd name="T6" fmla="*/ 0 w 101"/>
                <a:gd name="T7" fmla="*/ 0 h 102"/>
                <a:gd name="T8" fmla="*/ 0 w 101"/>
                <a:gd name="T9" fmla="*/ 0 h 102"/>
                <a:gd name="T10" fmla="*/ 0 w 101"/>
                <a:gd name="T11" fmla="*/ 0 h 102"/>
                <a:gd name="T12" fmla="*/ 0 w 101"/>
                <a:gd name="T13" fmla="*/ 0 h 102"/>
                <a:gd name="T14" fmla="*/ 0 w 101"/>
                <a:gd name="T15" fmla="*/ 0 h 102"/>
                <a:gd name="T16" fmla="*/ 0 w 101"/>
                <a:gd name="T17" fmla="*/ 0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1"/>
                <a:gd name="T28" fmla="*/ 0 h 102"/>
                <a:gd name="T29" fmla="*/ 101 w 101"/>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1" h="102">
                  <a:moveTo>
                    <a:pt x="24" y="37"/>
                  </a:moveTo>
                  <a:lnTo>
                    <a:pt x="0" y="0"/>
                  </a:lnTo>
                  <a:lnTo>
                    <a:pt x="0" y="10"/>
                  </a:lnTo>
                  <a:lnTo>
                    <a:pt x="5" y="41"/>
                  </a:lnTo>
                  <a:lnTo>
                    <a:pt x="24" y="72"/>
                  </a:lnTo>
                  <a:lnTo>
                    <a:pt x="101" y="102"/>
                  </a:lnTo>
                  <a:lnTo>
                    <a:pt x="101" y="85"/>
                  </a:lnTo>
                  <a:lnTo>
                    <a:pt x="59" y="68"/>
                  </a:lnTo>
                  <a:lnTo>
                    <a:pt x="24" y="3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5" name="Freeform 256">
              <a:extLst>
                <a:ext uri="{FF2B5EF4-FFF2-40B4-BE49-F238E27FC236}">
                  <a16:creationId xmlns:a16="http://schemas.microsoft.com/office/drawing/2014/main" id="{DA356E7F-B8BF-32C1-F246-291244F4DED6}"/>
                </a:ext>
              </a:extLst>
            </p:cNvPr>
            <p:cNvSpPr>
              <a:spLocks noChangeAspect="1"/>
            </p:cNvSpPr>
            <p:nvPr userDrawn="1"/>
          </p:nvSpPr>
          <p:spPr bwMode="gray">
            <a:xfrm rot="20552049">
              <a:off x="3749557" y="3953845"/>
              <a:ext cx="4477" cy="10669"/>
            </a:xfrm>
            <a:custGeom>
              <a:avLst/>
              <a:gdLst>
                <a:gd name="T0" fmla="*/ 0 w 69"/>
                <a:gd name="T1" fmla="*/ 0 h 85"/>
                <a:gd name="T2" fmla="*/ 0 w 69"/>
                <a:gd name="T3" fmla="*/ 0 h 85"/>
                <a:gd name="T4" fmla="*/ 0 w 69"/>
                <a:gd name="T5" fmla="*/ 0 h 85"/>
                <a:gd name="T6" fmla="*/ 0 w 69"/>
                <a:gd name="T7" fmla="*/ 0 h 85"/>
                <a:gd name="T8" fmla="*/ 0 w 69"/>
                <a:gd name="T9" fmla="*/ 0 h 85"/>
                <a:gd name="T10" fmla="*/ 0 w 69"/>
                <a:gd name="T11" fmla="*/ 0 h 85"/>
                <a:gd name="T12" fmla="*/ 0 w 69"/>
                <a:gd name="T13" fmla="*/ 0 h 85"/>
                <a:gd name="T14" fmla="*/ 0 w 69"/>
                <a:gd name="T15" fmla="*/ 0 h 85"/>
                <a:gd name="T16" fmla="*/ 0 w 69"/>
                <a:gd name="T17" fmla="*/ 0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85"/>
                <a:gd name="T29" fmla="*/ 69 w 69"/>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85">
                  <a:moveTo>
                    <a:pt x="20" y="17"/>
                  </a:moveTo>
                  <a:lnTo>
                    <a:pt x="0" y="0"/>
                  </a:lnTo>
                  <a:lnTo>
                    <a:pt x="13" y="26"/>
                  </a:lnTo>
                  <a:lnTo>
                    <a:pt x="38" y="51"/>
                  </a:lnTo>
                  <a:lnTo>
                    <a:pt x="52" y="82"/>
                  </a:lnTo>
                  <a:lnTo>
                    <a:pt x="62" y="85"/>
                  </a:lnTo>
                  <a:lnTo>
                    <a:pt x="69" y="38"/>
                  </a:lnTo>
                  <a:lnTo>
                    <a:pt x="52" y="23"/>
                  </a:lnTo>
                  <a:lnTo>
                    <a:pt x="20" y="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6" name="Freeform 257">
              <a:extLst>
                <a:ext uri="{FF2B5EF4-FFF2-40B4-BE49-F238E27FC236}">
                  <a16:creationId xmlns:a16="http://schemas.microsoft.com/office/drawing/2014/main" id="{C5F68587-AE56-3C78-AE13-75489DE7F310}"/>
                </a:ext>
              </a:extLst>
            </p:cNvPr>
            <p:cNvSpPr>
              <a:spLocks noChangeAspect="1"/>
            </p:cNvSpPr>
            <p:nvPr userDrawn="1"/>
          </p:nvSpPr>
          <p:spPr bwMode="gray">
            <a:xfrm>
              <a:off x="3206345" y="3870012"/>
              <a:ext cx="126849" cy="131083"/>
            </a:xfrm>
            <a:custGeom>
              <a:avLst/>
              <a:gdLst>
                <a:gd name="T0" fmla="*/ 2147483647 w 234"/>
                <a:gd name="T1" fmla="*/ 0 h 236"/>
                <a:gd name="T2" fmla="*/ 2147483647 w 234"/>
                <a:gd name="T3" fmla="*/ 0 h 236"/>
                <a:gd name="T4" fmla="*/ 2147483647 w 234"/>
                <a:gd name="T5" fmla="*/ 0 h 236"/>
                <a:gd name="T6" fmla="*/ 2147483647 w 234"/>
                <a:gd name="T7" fmla="*/ 0 h 236"/>
                <a:gd name="T8" fmla="*/ 2147483647 w 234"/>
                <a:gd name="T9" fmla="*/ 0 h 236"/>
                <a:gd name="T10" fmla="*/ 2147483647 w 234"/>
                <a:gd name="T11" fmla="*/ 0 h 236"/>
                <a:gd name="T12" fmla="*/ 2147483647 w 234"/>
                <a:gd name="T13" fmla="*/ 0 h 236"/>
                <a:gd name="T14" fmla="*/ 2147483647 w 234"/>
                <a:gd name="T15" fmla="*/ 0 h 236"/>
                <a:gd name="T16" fmla="*/ 2147483647 w 234"/>
                <a:gd name="T17" fmla="*/ 0 h 236"/>
                <a:gd name="T18" fmla="*/ 2147483647 w 234"/>
                <a:gd name="T19" fmla="*/ 0 h 236"/>
                <a:gd name="T20" fmla="*/ 2147483647 w 234"/>
                <a:gd name="T21" fmla="*/ 0 h 236"/>
                <a:gd name="T22" fmla="*/ 2147483647 w 234"/>
                <a:gd name="T23" fmla="*/ 0 h 236"/>
                <a:gd name="T24" fmla="*/ 2147483647 w 234"/>
                <a:gd name="T25" fmla="*/ 0 h 236"/>
                <a:gd name="T26" fmla="*/ 2147483647 w 234"/>
                <a:gd name="T27" fmla="*/ 0 h 236"/>
                <a:gd name="T28" fmla="*/ 2147483647 w 234"/>
                <a:gd name="T29" fmla="*/ 0 h 236"/>
                <a:gd name="T30" fmla="*/ 0 w 234"/>
                <a:gd name="T31" fmla="*/ 0 h 236"/>
                <a:gd name="T32" fmla="*/ 0 w 234"/>
                <a:gd name="T33" fmla="*/ 2147483647 h 236"/>
                <a:gd name="T34" fmla="*/ 0 w 234"/>
                <a:gd name="T35" fmla="*/ 2147483647 h 236"/>
                <a:gd name="T36" fmla="*/ 0 w 234"/>
                <a:gd name="T37" fmla="*/ 2147483647 h 236"/>
                <a:gd name="T38" fmla="*/ 0 w 234"/>
                <a:gd name="T39" fmla="*/ 2147483647 h 236"/>
                <a:gd name="T40" fmla="*/ 0 w 234"/>
                <a:gd name="T41" fmla="*/ 2147483647 h 236"/>
                <a:gd name="T42" fmla="*/ 0 w 234"/>
                <a:gd name="T43" fmla="*/ 2147483647 h 236"/>
                <a:gd name="T44" fmla="*/ 2147483647 w 234"/>
                <a:gd name="T45" fmla="*/ 2147483647 h 236"/>
                <a:gd name="T46" fmla="*/ 2147483647 w 234"/>
                <a:gd name="T47" fmla="*/ 2147483647 h 236"/>
                <a:gd name="T48" fmla="*/ 2147483647 w 234"/>
                <a:gd name="T49" fmla="*/ 2147483647 h 236"/>
                <a:gd name="T50" fmla="*/ 2147483647 w 234"/>
                <a:gd name="T51" fmla="*/ 2147483647 h 236"/>
                <a:gd name="T52" fmla="*/ 2147483647 w 234"/>
                <a:gd name="T53" fmla="*/ 2147483647 h 236"/>
                <a:gd name="T54" fmla="*/ 2147483647 w 234"/>
                <a:gd name="T55" fmla="*/ 2147483647 h 236"/>
                <a:gd name="T56" fmla="*/ 2147483647 w 234"/>
                <a:gd name="T57" fmla="*/ 2147483647 h 236"/>
                <a:gd name="T58" fmla="*/ 2147483647 w 234"/>
                <a:gd name="T59" fmla="*/ 2147483647 h 236"/>
                <a:gd name="T60" fmla="*/ 2147483647 w 234"/>
                <a:gd name="T61" fmla="*/ 2147483647 h 236"/>
                <a:gd name="T62" fmla="*/ 2147483647 w 234"/>
                <a:gd name="T63" fmla="*/ 2147483647 h 236"/>
                <a:gd name="T64" fmla="*/ 2147483647 w 234"/>
                <a:gd name="T65" fmla="*/ 2147483647 h 236"/>
                <a:gd name="T66" fmla="*/ 2147483647 w 234"/>
                <a:gd name="T67" fmla="*/ 2147483647 h 236"/>
                <a:gd name="T68" fmla="*/ 2147483647 w 234"/>
                <a:gd name="T69" fmla="*/ 2147483647 h 236"/>
                <a:gd name="T70" fmla="*/ 2147483647 w 234"/>
                <a:gd name="T71" fmla="*/ 2147483647 h 236"/>
                <a:gd name="T72" fmla="*/ 2147483647 w 234"/>
                <a:gd name="T73" fmla="*/ 2147483647 h 236"/>
                <a:gd name="T74" fmla="*/ 2147483647 w 234"/>
                <a:gd name="T75" fmla="*/ 0 h 236"/>
                <a:gd name="T76" fmla="*/ 2147483647 w 234"/>
                <a:gd name="T77" fmla="*/ 0 h 2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4"/>
                <a:gd name="T118" fmla="*/ 0 h 236"/>
                <a:gd name="T119" fmla="*/ 234 w 234"/>
                <a:gd name="T120" fmla="*/ 236 h 2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7" name="Freeform 258">
              <a:extLst>
                <a:ext uri="{FF2B5EF4-FFF2-40B4-BE49-F238E27FC236}">
                  <a16:creationId xmlns:a16="http://schemas.microsoft.com/office/drawing/2014/main" id="{02680707-9203-CA97-DE40-B3210C4C3AA1}"/>
                </a:ext>
              </a:extLst>
            </p:cNvPr>
            <p:cNvSpPr>
              <a:spLocks noChangeAspect="1"/>
            </p:cNvSpPr>
            <p:nvPr userDrawn="1"/>
          </p:nvSpPr>
          <p:spPr bwMode="gray">
            <a:xfrm>
              <a:off x="3340656" y="4040725"/>
              <a:ext cx="170127" cy="77735"/>
            </a:xfrm>
            <a:custGeom>
              <a:avLst/>
              <a:gdLst>
                <a:gd name="T0" fmla="*/ 0 w 318"/>
                <a:gd name="T1" fmla="*/ 0 h 135"/>
                <a:gd name="T2" fmla="*/ 0 w 318"/>
                <a:gd name="T3" fmla="*/ 0 h 135"/>
                <a:gd name="T4" fmla="*/ 0 w 318"/>
                <a:gd name="T5" fmla="*/ 0 h 135"/>
                <a:gd name="T6" fmla="*/ 0 w 318"/>
                <a:gd name="T7" fmla="*/ 0 h 135"/>
                <a:gd name="T8" fmla="*/ 0 w 318"/>
                <a:gd name="T9" fmla="*/ 0 h 135"/>
                <a:gd name="T10" fmla="*/ 0 w 318"/>
                <a:gd name="T11" fmla="*/ 2147483647 h 135"/>
                <a:gd name="T12" fmla="*/ 0 w 318"/>
                <a:gd name="T13" fmla="*/ 0 h 135"/>
                <a:gd name="T14" fmla="*/ 2147483647 w 318"/>
                <a:gd name="T15" fmla="*/ 2147483647 h 135"/>
                <a:gd name="T16" fmla="*/ 2147483647 w 318"/>
                <a:gd name="T17" fmla="*/ 2147483647 h 135"/>
                <a:gd name="T18" fmla="*/ 2147483647 w 318"/>
                <a:gd name="T19" fmla="*/ 2147483647 h 135"/>
                <a:gd name="T20" fmla="*/ 2147483647 w 318"/>
                <a:gd name="T21" fmla="*/ 2147483647 h 135"/>
                <a:gd name="T22" fmla="*/ 2147483647 w 318"/>
                <a:gd name="T23" fmla="*/ 2147483647 h 135"/>
                <a:gd name="T24" fmla="*/ 2147483647 w 318"/>
                <a:gd name="T25" fmla="*/ 2147483647 h 135"/>
                <a:gd name="T26" fmla="*/ 2147483647 w 318"/>
                <a:gd name="T27" fmla="*/ 2147483647 h 135"/>
                <a:gd name="T28" fmla="*/ 2147483647 w 318"/>
                <a:gd name="T29" fmla="*/ 2147483647 h 135"/>
                <a:gd name="T30" fmla="*/ 2147483647 w 318"/>
                <a:gd name="T31" fmla="*/ 2147483647 h 135"/>
                <a:gd name="T32" fmla="*/ 2147483647 w 318"/>
                <a:gd name="T33" fmla="*/ 0 h 135"/>
                <a:gd name="T34" fmla="*/ 2147483647 w 318"/>
                <a:gd name="T35" fmla="*/ 0 h 135"/>
                <a:gd name="T36" fmla="*/ 2147483647 w 318"/>
                <a:gd name="T37" fmla="*/ 0 h 135"/>
                <a:gd name="T38" fmla="*/ 2147483647 w 318"/>
                <a:gd name="T39" fmla="*/ 0 h 135"/>
                <a:gd name="T40" fmla="*/ 2147483647 w 318"/>
                <a:gd name="T41" fmla="*/ 0 h 135"/>
                <a:gd name="T42" fmla="*/ 2147483647 w 318"/>
                <a:gd name="T43" fmla="*/ 0 h 135"/>
                <a:gd name="T44" fmla="*/ 2147483647 w 318"/>
                <a:gd name="T45" fmla="*/ 2147483647 h 135"/>
                <a:gd name="T46" fmla="*/ 2147483647 w 318"/>
                <a:gd name="T47" fmla="*/ 2147483647 h 135"/>
                <a:gd name="T48" fmla="*/ 2147483647 w 318"/>
                <a:gd name="T49" fmla="*/ 2147483647 h 135"/>
                <a:gd name="T50" fmla="*/ 2147483647 w 318"/>
                <a:gd name="T51" fmla="*/ 2147483647 h 135"/>
                <a:gd name="T52" fmla="*/ 2147483647 w 318"/>
                <a:gd name="T53" fmla="*/ 2147483647 h 135"/>
                <a:gd name="T54" fmla="*/ 2147483647 w 318"/>
                <a:gd name="T55" fmla="*/ 2147483647 h 135"/>
                <a:gd name="T56" fmla="*/ 2147483647 w 318"/>
                <a:gd name="T57" fmla="*/ 2147483647 h 135"/>
                <a:gd name="T58" fmla="*/ 2147483647 w 318"/>
                <a:gd name="T59" fmla="*/ 0 h 135"/>
                <a:gd name="T60" fmla="*/ 2147483647 w 318"/>
                <a:gd name="T61" fmla="*/ 0 h 135"/>
                <a:gd name="T62" fmla="*/ 2147483647 w 318"/>
                <a:gd name="T63" fmla="*/ 0 h 135"/>
                <a:gd name="T64" fmla="*/ 2147483647 w 318"/>
                <a:gd name="T65" fmla="*/ 0 h 135"/>
                <a:gd name="T66" fmla="*/ 2147483647 w 318"/>
                <a:gd name="T67" fmla="*/ 0 h 135"/>
                <a:gd name="T68" fmla="*/ 2147483647 w 318"/>
                <a:gd name="T69" fmla="*/ 0 h 135"/>
                <a:gd name="T70" fmla="*/ 2147483647 w 318"/>
                <a:gd name="T71" fmla="*/ 0 h 135"/>
                <a:gd name="T72" fmla="*/ 2147483647 w 318"/>
                <a:gd name="T73" fmla="*/ 0 h 135"/>
                <a:gd name="T74" fmla="*/ 2147483647 w 318"/>
                <a:gd name="T75" fmla="*/ 0 h 135"/>
                <a:gd name="T76" fmla="*/ 2147483647 w 318"/>
                <a:gd name="T77" fmla="*/ 0 h 135"/>
                <a:gd name="T78" fmla="*/ 2147483647 w 318"/>
                <a:gd name="T79" fmla="*/ 0 h 135"/>
                <a:gd name="T80" fmla="*/ 0 w 318"/>
                <a:gd name="T81" fmla="*/ 0 h 135"/>
                <a:gd name="T82" fmla="*/ 0 w 318"/>
                <a:gd name="T83" fmla="*/ 0 h 13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18"/>
                <a:gd name="T127" fmla="*/ 0 h 135"/>
                <a:gd name="T128" fmla="*/ 318 w 318"/>
                <a:gd name="T129" fmla="*/ 135 h 13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8" name="Freeform 259">
              <a:extLst>
                <a:ext uri="{FF2B5EF4-FFF2-40B4-BE49-F238E27FC236}">
                  <a16:creationId xmlns:a16="http://schemas.microsoft.com/office/drawing/2014/main" id="{07B96744-2A48-7705-060C-E5E448478FCF}"/>
                </a:ext>
              </a:extLst>
            </p:cNvPr>
            <p:cNvSpPr>
              <a:spLocks noChangeAspect="1"/>
            </p:cNvSpPr>
            <p:nvPr userDrawn="1"/>
          </p:nvSpPr>
          <p:spPr bwMode="gray">
            <a:xfrm>
              <a:off x="3070541" y="3777036"/>
              <a:ext cx="114911" cy="135655"/>
            </a:xfrm>
            <a:custGeom>
              <a:avLst/>
              <a:gdLst>
                <a:gd name="T0" fmla="*/ 2147483647 w 212"/>
                <a:gd name="T1" fmla="*/ 0 h 235"/>
                <a:gd name="T2" fmla="*/ 0 w 212"/>
                <a:gd name="T3" fmla="*/ 0 h 235"/>
                <a:gd name="T4" fmla="*/ 2147483647 w 212"/>
                <a:gd name="T5" fmla="*/ 0 h 235"/>
                <a:gd name="T6" fmla="*/ 2147483647 w 212"/>
                <a:gd name="T7" fmla="*/ 0 h 235"/>
                <a:gd name="T8" fmla="*/ 2147483647 w 212"/>
                <a:gd name="T9" fmla="*/ 2147483647 h 235"/>
                <a:gd name="T10" fmla="*/ 2147483647 w 212"/>
                <a:gd name="T11" fmla="*/ 2147483647 h 235"/>
                <a:gd name="T12" fmla="*/ 2147483647 w 212"/>
                <a:gd name="T13" fmla="*/ 2147483647 h 235"/>
                <a:gd name="T14" fmla="*/ 0 w 212"/>
                <a:gd name="T15" fmla="*/ 2147483647 h 235"/>
                <a:gd name="T16" fmla="*/ 0 w 212"/>
                <a:gd name="T17" fmla="*/ 2147483647 h 235"/>
                <a:gd name="T18" fmla="*/ 0 w 212"/>
                <a:gd name="T19" fmla="*/ 2147483647 h 235"/>
                <a:gd name="T20" fmla="*/ 0 w 212"/>
                <a:gd name="T21" fmla="*/ 2147483647 h 235"/>
                <a:gd name="T22" fmla="*/ 0 w 212"/>
                <a:gd name="T23" fmla="*/ 2147483647 h 235"/>
                <a:gd name="T24" fmla="*/ 0 w 212"/>
                <a:gd name="T25" fmla="*/ 2147483647 h 235"/>
                <a:gd name="T26" fmla="*/ 0 w 212"/>
                <a:gd name="T27" fmla="*/ 2147483647 h 235"/>
                <a:gd name="T28" fmla="*/ 0 w 212"/>
                <a:gd name="T29" fmla="*/ 2147483647 h 235"/>
                <a:gd name="T30" fmla="*/ 0 w 212"/>
                <a:gd name="T31" fmla="*/ 2147483647 h 235"/>
                <a:gd name="T32" fmla="*/ 2147483647 w 212"/>
                <a:gd name="T33" fmla="*/ 2147483647 h 235"/>
                <a:gd name="T34" fmla="*/ 2147483647 w 212"/>
                <a:gd name="T35" fmla="*/ 2147483647 h 235"/>
                <a:gd name="T36" fmla="*/ 2147483647 w 212"/>
                <a:gd name="T37" fmla="*/ 2147483647 h 235"/>
                <a:gd name="T38" fmla="*/ 2147483647 w 212"/>
                <a:gd name="T39" fmla="*/ 2147483647 h 235"/>
                <a:gd name="T40" fmla="*/ 2147483647 w 212"/>
                <a:gd name="T41" fmla="*/ 2147483647 h 235"/>
                <a:gd name="T42" fmla="*/ 2147483647 w 212"/>
                <a:gd name="T43" fmla="*/ 2147483647 h 235"/>
                <a:gd name="T44" fmla="*/ 2147483647 w 212"/>
                <a:gd name="T45" fmla="*/ 2147483647 h 235"/>
                <a:gd name="T46" fmla="*/ 2147483647 w 212"/>
                <a:gd name="T47" fmla="*/ 2147483647 h 235"/>
                <a:gd name="T48" fmla="*/ 2147483647 w 212"/>
                <a:gd name="T49" fmla="*/ 2147483647 h 235"/>
                <a:gd name="T50" fmla="*/ 2147483647 w 212"/>
                <a:gd name="T51" fmla="*/ 2147483647 h 235"/>
                <a:gd name="T52" fmla="*/ 2147483647 w 212"/>
                <a:gd name="T53" fmla="*/ 2147483647 h 235"/>
                <a:gd name="T54" fmla="*/ 2147483647 w 212"/>
                <a:gd name="T55" fmla="*/ 2147483647 h 235"/>
                <a:gd name="T56" fmla="*/ 2147483647 w 212"/>
                <a:gd name="T57" fmla="*/ 2147483647 h 235"/>
                <a:gd name="T58" fmla="*/ 2147483647 w 212"/>
                <a:gd name="T59" fmla="*/ 2147483647 h 235"/>
                <a:gd name="T60" fmla="*/ 2147483647 w 212"/>
                <a:gd name="T61" fmla="*/ 2147483647 h 235"/>
                <a:gd name="T62" fmla="*/ 2147483647 w 212"/>
                <a:gd name="T63" fmla="*/ 2147483647 h 235"/>
                <a:gd name="T64" fmla="*/ 2147483647 w 212"/>
                <a:gd name="T65" fmla="*/ 2147483647 h 235"/>
                <a:gd name="T66" fmla="*/ 2147483647 w 212"/>
                <a:gd name="T67" fmla="*/ 2147483647 h 235"/>
                <a:gd name="T68" fmla="*/ 2147483647 w 212"/>
                <a:gd name="T69" fmla="*/ 2147483647 h 235"/>
                <a:gd name="T70" fmla="*/ 2147483647 w 212"/>
                <a:gd name="T71" fmla="*/ 2147483647 h 235"/>
                <a:gd name="T72" fmla="*/ 2147483647 w 212"/>
                <a:gd name="T73" fmla="*/ 2147483647 h 235"/>
                <a:gd name="T74" fmla="*/ 2147483647 w 212"/>
                <a:gd name="T75" fmla="*/ 0 h 2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2"/>
                <a:gd name="T115" fmla="*/ 0 h 235"/>
                <a:gd name="T116" fmla="*/ 212 w 212"/>
                <a:gd name="T117" fmla="*/ 235 h 2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39" name="Freeform 260">
              <a:extLst>
                <a:ext uri="{FF2B5EF4-FFF2-40B4-BE49-F238E27FC236}">
                  <a16:creationId xmlns:a16="http://schemas.microsoft.com/office/drawing/2014/main" id="{CDBEA2D9-BDB3-15FE-57B8-A0A727A33CF4}"/>
                </a:ext>
              </a:extLst>
            </p:cNvPr>
            <p:cNvSpPr>
              <a:spLocks noChangeAspect="1"/>
            </p:cNvSpPr>
            <p:nvPr userDrawn="1"/>
          </p:nvSpPr>
          <p:spPr bwMode="gray">
            <a:xfrm>
              <a:off x="3160082" y="3760269"/>
              <a:ext cx="31340" cy="82308"/>
            </a:xfrm>
            <a:custGeom>
              <a:avLst/>
              <a:gdLst>
                <a:gd name="T0" fmla="*/ 0 w 62"/>
                <a:gd name="T1" fmla="*/ 0 h 145"/>
                <a:gd name="T2" fmla="*/ 0 w 62"/>
                <a:gd name="T3" fmla="*/ 0 h 145"/>
                <a:gd name="T4" fmla="*/ 0 w 62"/>
                <a:gd name="T5" fmla="*/ 0 h 145"/>
                <a:gd name="T6" fmla="*/ 0 w 62"/>
                <a:gd name="T7" fmla="*/ 0 h 145"/>
                <a:gd name="T8" fmla="*/ 0 w 62"/>
                <a:gd name="T9" fmla="*/ 0 h 145"/>
                <a:gd name="T10" fmla="*/ 0 w 62"/>
                <a:gd name="T11" fmla="*/ 0 h 145"/>
                <a:gd name="T12" fmla="*/ 0 w 62"/>
                <a:gd name="T13" fmla="*/ 2147483647 h 145"/>
                <a:gd name="T14" fmla="*/ 0 w 62"/>
                <a:gd name="T15" fmla="*/ 2147483647 h 145"/>
                <a:gd name="T16" fmla="*/ 0 w 62"/>
                <a:gd name="T17" fmla="*/ 2147483647 h 145"/>
                <a:gd name="T18" fmla="*/ 0 w 62"/>
                <a:gd name="T19" fmla="*/ 2147483647 h 145"/>
                <a:gd name="T20" fmla="*/ 0 w 62"/>
                <a:gd name="T21" fmla="*/ 2147483647 h 145"/>
                <a:gd name="T22" fmla="*/ 0 w 62"/>
                <a:gd name="T23" fmla="*/ 2147483647 h 145"/>
                <a:gd name="T24" fmla="*/ 0 w 62"/>
                <a:gd name="T25" fmla="*/ 2147483647 h 145"/>
                <a:gd name="T26" fmla="*/ 0 w 62"/>
                <a:gd name="T27" fmla="*/ 2147483647 h 145"/>
                <a:gd name="T28" fmla="*/ 0 w 62"/>
                <a:gd name="T29" fmla="*/ 2147483647 h 145"/>
                <a:gd name="T30" fmla="*/ 0 w 62"/>
                <a:gd name="T31" fmla="*/ 2147483647 h 145"/>
                <a:gd name="T32" fmla="*/ 0 w 62"/>
                <a:gd name="T33" fmla="*/ 2147483647 h 145"/>
                <a:gd name="T34" fmla="*/ 0 w 62"/>
                <a:gd name="T35" fmla="*/ 2147483647 h 145"/>
                <a:gd name="T36" fmla="*/ 0 w 62"/>
                <a:gd name="T37" fmla="*/ 2147483647 h 145"/>
                <a:gd name="T38" fmla="*/ 0 w 62"/>
                <a:gd name="T39" fmla="*/ 2147483647 h 145"/>
                <a:gd name="T40" fmla="*/ 0 w 62"/>
                <a:gd name="T41" fmla="*/ 2147483647 h 145"/>
                <a:gd name="T42" fmla="*/ 0 w 62"/>
                <a:gd name="T43" fmla="*/ 0 h 145"/>
                <a:gd name="T44" fmla="*/ 0 w 62"/>
                <a:gd name="T45" fmla="*/ 0 h 145"/>
                <a:gd name="T46" fmla="*/ 0 w 62"/>
                <a:gd name="T47" fmla="*/ 0 h 145"/>
                <a:gd name="T48" fmla="*/ 0 w 62"/>
                <a:gd name="T49" fmla="*/ 0 h 145"/>
                <a:gd name="T50" fmla="*/ 0 w 62"/>
                <a:gd name="T51" fmla="*/ 0 h 145"/>
                <a:gd name="T52" fmla="*/ 0 w 62"/>
                <a:gd name="T53" fmla="*/ 0 h 145"/>
                <a:gd name="T54" fmla="*/ 0 w 62"/>
                <a:gd name="T55" fmla="*/ 0 h 145"/>
                <a:gd name="T56" fmla="*/ 0 w 62"/>
                <a:gd name="T57" fmla="*/ 0 h 1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2"/>
                <a:gd name="T88" fmla="*/ 0 h 145"/>
                <a:gd name="T89" fmla="*/ 62 w 62"/>
                <a:gd name="T90" fmla="*/ 145 h 1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0" name="Freeform 261">
              <a:extLst>
                <a:ext uri="{FF2B5EF4-FFF2-40B4-BE49-F238E27FC236}">
                  <a16:creationId xmlns:a16="http://schemas.microsoft.com/office/drawing/2014/main" id="{28BDCE54-47B1-41E7-D740-21765F67DEA6}"/>
                </a:ext>
              </a:extLst>
            </p:cNvPr>
            <p:cNvSpPr>
              <a:spLocks noChangeAspect="1"/>
            </p:cNvSpPr>
            <p:nvPr userDrawn="1"/>
          </p:nvSpPr>
          <p:spPr bwMode="gray">
            <a:xfrm>
              <a:off x="3134712" y="3889828"/>
              <a:ext cx="67155" cy="39630"/>
            </a:xfrm>
            <a:custGeom>
              <a:avLst/>
              <a:gdLst>
                <a:gd name="T0" fmla="*/ 0 w 125"/>
                <a:gd name="T1" fmla="*/ 0 h 71"/>
                <a:gd name="T2" fmla="*/ 0 w 125"/>
                <a:gd name="T3" fmla="*/ 0 h 71"/>
                <a:gd name="T4" fmla="*/ 0 w 125"/>
                <a:gd name="T5" fmla="*/ 0 h 71"/>
                <a:gd name="T6" fmla="*/ 0 w 125"/>
                <a:gd name="T7" fmla="*/ 0 h 71"/>
                <a:gd name="T8" fmla="*/ 0 w 125"/>
                <a:gd name="T9" fmla="*/ 0 h 71"/>
                <a:gd name="T10" fmla="*/ 0 w 125"/>
                <a:gd name="T11" fmla="*/ 0 h 71"/>
                <a:gd name="T12" fmla="*/ 0 w 125"/>
                <a:gd name="T13" fmla="*/ 0 h 71"/>
                <a:gd name="T14" fmla="*/ 0 w 125"/>
                <a:gd name="T15" fmla="*/ 0 h 71"/>
                <a:gd name="T16" fmla="*/ 0 w 125"/>
                <a:gd name="T17" fmla="*/ 0 h 71"/>
                <a:gd name="T18" fmla="*/ 0 w 125"/>
                <a:gd name="T19" fmla="*/ 0 h 71"/>
                <a:gd name="T20" fmla="*/ 0 w 125"/>
                <a:gd name="T21" fmla="*/ 0 h 71"/>
                <a:gd name="T22" fmla="*/ 0 w 125"/>
                <a:gd name="T23" fmla="*/ 0 h 71"/>
                <a:gd name="T24" fmla="*/ 0 w 125"/>
                <a:gd name="T25" fmla="*/ 0 h 71"/>
                <a:gd name="T26" fmla="*/ 2147483647 w 125"/>
                <a:gd name="T27" fmla="*/ 0 h 71"/>
                <a:gd name="T28" fmla="*/ 2147483647 w 125"/>
                <a:gd name="T29" fmla="*/ 0 h 71"/>
                <a:gd name="T30" fmla="*/ 2147483647 w 125"/>
                <a:gd name="T31" fmla="*/ 0 h 71"/>
                <a:gd name="T32" fmla="*/ 2147483647 w 125"/>
                <a:gd name="T33" fmla="*/ 0 h 71"/>
                <a:gd name="T34" fmla="*/ 2147483647 w 125"/>
                <a:gd name="T35" fmla="*/ 0 h 71"/>
                <a:gd name="T36" fmla="*/ 2147483647 w 125"/>
                <a:gd name="T37" fmla="*/ 0 h 71"/>
                <a:gd name="T38" fmla="*/ 2147483647 w 125"/>
                <a:gd name="T39" fmla="*/ 0 h 71"/>
                <a:gd name="T40" fmla="*/ 2147483647 w 125"/>
                <a:gd name="T41" fmla="*/ 0 h 71"/>
                <a:gd name="T42" fmla="*/ 2147483647 w 125"/>
                <a:gd name="T43" fmla="*/ 0 h 71"/>
                <a:gd name="T44" fmla="*/ 2147483647 w 125"/>
                <a:gd name="T45" fmla="*/ 0 h 71"/>
                <a:gd name="T46" fmla="*/ 2147483647 w 125"/>
                <a:gd name="T47" fmla="*/ 0 h 71"/>
                <a:gd name="T48" fmla="*/ 2147483647 w 125"/>
                <a:gd name="T49" fmla="*/ 0 h 71"/>
                <a:gd name="T50" fmla="*/ 2147483647 w 125"/>
                <a:gd name="T51" fmla="*/ 0 h 71"/>
                <a:gd name="T52" fmla="*/ 2147483647 w 125"/>
                <a:gd name="T53" fmla="*/ 0 h 71"/>
                <a:gd name="T54" fmla="*/ 2147483647 w 125"/>
                <a:gd name="T55" fmla="*/ 0 h 71"/>
                <a:gd name="T56" fmla="*/ 2147483647 w 125"/>
                <a:gd name="T57" fmla="*/ 0 h 71"/>
                <a:gd name="T58" fmla="*/ 2147483647 w 125"/>
                <a:gd name="T59" fmla="*/ 0 h 71"/>
                <a:gd name="T60" fmla="*/ 2147483647 w 125"/>
                <a:gd name="T61" fmla="*/ 0 h 71"/>
                <a:gd name="T62" fmla="*/ 2147483647 w 125"/>
                <a:gd name="T63" fmla="*/ 0 h 71"/>
                <a:gd name="T64" fmla="*/ 2147483647 w 125"/>
                <a:gd name="T65" fmla="*/ 0 h 71"/>
                <a:gd name="T66" fmla="*/ 2147483647 w 125"/>
                <a:gd name="T67" fmla="*/ 0 h 71"/>
                <a:gd name="T68" fmla="*/ 2147483647 w 125"/>
                <a:gd name="T69" fmla="*/ 0 h 71"/>
                <a:gd name="T70" fmla="*/ 2147483647 w 125"/>
                <a:gd name="T71" fmla="*/ 0 h 71"/>
                <a:gd name="T72" fmla="*/ 2147483647 w 125"/>
                <a:gd name="T73" fmla="*/ 0 h 71"/>
                <a:gd name="T74" fmla="*/ 0 w 125"/>
                <a:gd name="T75" fmla="*/ 0 h 71"/>
                <a:gd name="T76" fmla="*/ 0 w 125"/>
                <a:gd name="T77" fmla="*/ 0 h 7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5"/>
                <a:gd name="T118" fmla="*/ 0 h 71"/>
                <a:gd name="T119" fmla="*/ 125 w 125"/>
                <a:gd name="T120" fmla="*/ 71 h 7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1" name="Freeform 262">
              <a:extLst>
                <a:ext uri="{FF2B5EF4-FFF2-40B4-BE49-F238E27FC236}">
                  <a16:creationId xmlns:a16="http://schemas.microsoft.com/office/drawing/2014/main" id="{748AF516-1B5E-819B-CFC8-1DA489BB32B7}"/>
                </a:ext>
              </a:extLst>
            </p:cNvPr>
            <p:cNvSpPr>
              <a:spLocks noChangeAspect="1"/>
            </p:cNvSpPr>
            <p:nvPr userDrawn="1"/>
          </p:nvSpPr>
          <p:spPr bwMode="gray">
            <a:xfrm>
              <a:off x="3257084" y="3991950"/>
              <a:ext cx="97002" cy="91453"/>
            </a:xfrm>
            <a:custGeom>
              <a:avLst/>
              <a:gdLst>
                <a:gd name="T0" fmla="*/ 2147483647 w 180"/>
                <a:gd name="T1" fmla="*/ 0 h 157"/>
                <a:gd name="T2" fmla="*/ 2147483647 w 180"/>
                <a:gd name="T3" fmla="*/ 0 h 157"/>
                <a:gd name="T4" fmla="*/ 2147483647 w 180"/>
                <a:gd name="T5" fmla="*/ 0 h 157"/>
                <a:gd name="T6" fmla="*/ 2147483647 w 180"/>
                <a:gd name="T7" fmla="*/ 0 h 157"/>
                <a:gd name="T8" fmla="*/ 2147483647 w 180"/>
                <a:gd name="T9" fmla="*/ 0 h 157"/>
                <a:gd name="T10" fmla="*/ 0 w 180"/>
                <a:gd name="T11" fmla="*/ 0 h 157"/>
                <a:gd name="T12" fmla="*/ 0 w 180"/>
                <a:gd name="T13" fmla="*/ 0 h 157"/>
                <a:gd name="T14" fmla="*/ 0 w 180"/>
                <a:gd name="T15" fmla="*/ 0 h 157"/>
                <a:gd name="T16" fmla="*/ 0 w 180"/>
                <a:gd name="T17" fmla="*/ 0 h 157"/>
                <a:gd name="T18" fmla="*/ 0 w 180"/>
                <a:gd name="T19" fmla="*/ 0 h 157"/>
                <a:gd name="T20" fmla="*/ 0 w 180"/>
                <a:gd name="T21" fmla="*/ 0 h 157"/>
                <a:gd name="T22" fmla="*/ 0 w 180"/>
                <a:gd name="T23" fmla="*/ 0 h 157"/>
                <a:gd name="T24" fmla="*/ 0 w 180"/>
                <a:gd name="T25" fmla="*/ 0 h 157"/>
                <a:gd name="T26" fmla="*/ 0 w 180"/>
                <a:gd name="T27" fmla="*/ 2147483647 h 157"/>
                <a:gd name="T28" fmla="*/ 0 w 180"/>
                <a:gd name="T29" fmla="*/ 2147483647 h 157"/>
                <a:gd name="T30" fmla="*/ 2147483647 w 180"/>
                <a:gd name="T31" fmla="*/ 0 h 157"/>
                <a:gd name="T32" fmla="*/ 0 w 180"/>
                <a:gd name="T33" fmla="*/ 0 h 157"/>
                <a:gd name="T34" fmla="*/ 2147483647 w 180"/>
                <a:gd name="T35" fmla="*/ 0 h 157"/>
                <a:gd name="T36" fmla="*/ 2147483647 w 180"/>
                <a:gd name="T37" fmla="*/ 2147483647 h 157"/>
                <a:gd name="T38" fmla="*/ 2147483647 w 180"/>
                <a:gd name="T39" fmla="*/ 2147483647 h 157"/>
                <a:gd name="T40" fmla="*/ 2147483647 w 180"/>
                <a:gd name="T41" fmla="*/ 2147483647 h 157"/>
                <a:gd name="T42" fmla="*/ 2147483647 w 180"/>
                <a:gd name="T43" fmla="*/ 2147483647 h 157"/>
                <a:gd name="T44" fmla="*/ 2147483647 w 180"/>
                <a:gd name="T45" fmla="*/ 2147483647 h 157"/>
                <a:gd name="T46" fmla="*/ 2147483647 w 180"/>
                <a:gd name="T47" fmla="*/ 2147483647 h 157"/>
                <a:gd name="T48" fmla="*/ 2147483647 w 180"/>
                <a:gd name="T49" fmla="*/ 2147483647 h 157"/>
                <a:gd name="T50" fmla="*/ 2147483647 w 180"/>
                <a:gd name="T51" fmla="*/ 2147483647 h 157"/>
                <a:gd name="T52" fmla="*/ 2147483647 w 180"/>
                <a:gd name="T53" fmla="*/ 2147483647 h 157"/>
                <a:gd name="T54" fmla="*/ 2147483647 w 180"/>
                <a:gd name="T55" fmla="*/ 2147483647 h 157"/>
                <a:gd name="T56" fmla="*/ 2147483647 w 180"/>
                <a:gd name="T57" fmla="*/ 2147483647 h 157"/>
                <a:gd name="T58" fmla="*/ 2147483647 w 180"/>
                <a:gd name="T59" fmla="*/ 2147483647 h 157"/>
                <a:gd name="T60" fmla="*/ 2147483647 w 180"/>
                <a:gd name="T61" fmla="*/ 2147483647 h 157"/>
                <a:gd name="T62" fmla="*/ 2147483647 w 180"/>
                <a:gd name="T63" fmla="*/ 2147483647 h 157"/>
                <a:gd name="T64" fmla="*/ 2147483647 w 180"/>
                <a:gd name="T65" fmla="*/ 2147483647 h 157"/>
                <a:gd name="T66" fmla="*/ 2147483647 w 180"/>
                <a:gd name="T67" fmla="*/ 2147483647 h 157"/>
                <a:gd name="T68" fmla="*/ 2147483647 w 180"/>
                <a:gd name="T69" fmla="*/ 2147483647 h 157"/>
                <a:gd name="T70" fmla="*/ 2147483647 w 180"/>
                <a:gd name="T71" fmla="*/ 0 h 157"/>
                <a:gd name="T72" fmla="*/ 2147483647 w 180"/>
                <a:gd name="T73" fmla="*/ 0 h 157"/>
                <a:gd name="T74" fmla="*/ 2147483647 w 180"/>
                <a:gd name="T75" fmla="*/ 0 h 157"/>
                <a:gd name="T76" fmla="*/ 2147483647 w 180"/>
                <a:gd name="T77" fmla="*/ 0 h 15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0"/>
                <a:gd name="T118" fmla="*/ 0 h 157"/>
                <a:gd name="T119" fmla="*/ 180 w 180"/>
                <a:gd name="T120" fmla="*/ 157 h 15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2" name="Freeform 263">
              <a:extLst>
                <a:ext uri="{FF2B5EF4-FFF2-40B4-BE49-F238E27FC236}">
                  <a16:creationId xmlns:a16="http://schemas.microsoft.com/office/drawing/2014/main" id="{C473A75E-DBB7-BF00-A749-49389FBF92C6}"/>
                </a:ext>
              </a:extLst>
            </p:cNvPr>
            <p:cNvSpPr>
              <a:spLocks noChangeAspect="1"/>
            </p:cNvSpPr>
            <p:nvPr userDrawn="1"/>
          </p:nvSpPr>
          <p:spPr bwMode="gray">
            <a:xfrm>
              <a:off x="3154112" y="3838004"/>
              <a:ext cx="179081" cy="96025"/>
            </a:xfrm>
            <a:custGeom>
              <a:avLst/>
              <a:gdLst>
                <a:gd name="T0" fmla="*/ 2147483647 w 337"/>
                <a:gd name="T1" fmla="*/ 0 h 166"/>
                <a:gd name="T2" fmla="*/ 2147483647 w 337"/>
                <a:gd name="T3" fmla="*/ 0 h 166"/>
                <a:gd name="T4" fmla="*/ 2147483647 w 337"/>
                <a:gd name="T5" fmla="*/ 0 h 166"/>
                <a:gd name="T6" fmla="*/ 2147483647 w 337"/>
                <a:gd name="T7" fmla="*/ 0 h 166"/>
                <a:gd name="T8" fmla="*/ 2147483647 w 337"/>
                <a:gd name="T9" fmla="*/ 0 h 166"/>
                <a:gd name="T10" fmla="*/ 2147483647 w 337"/>
                <a:gd name="T11" fmla="*/ 0 h 166"/>
                <a:gd name="T12" fmla="*/ 2147483647 w 337"/>
                <a:gd name="T13" fmla="*/ 0 h 166"/>
                <a:gd name="T14" fmla="*/ 2147483647 w 337"/>
                <a:gd name="T15" fmla="*/ 2147483647 h 166"/>
                <a:gd name="T16" fmla="*/ 2147483647 w 337"/>
                <a:gd name="T17" fmla="*/ 2147483647 h 166"/>
                <a:gd name="T18" fmla="*/ 2147483647 w 337"/>
                <a:gd name="T19" fmla="*/ 2147483647 h 166"/>
                <a:gd name="T20" fmla="*/ 2147483647 w 337"/>
                <a:gd name="T21" fmla="*/ 2147483647 h 166"/>
                <a:gd name="T22" fmla="*/ 2147483647 w 337"/>
                <a:gd name="T23" fmla="*/ 2147483647 h 166"/>
                <a:gd name="T24" fmla="*/ 2147483647 w 337"/>
                <a:gd name="T25" fmla="*/ 2147483647 h 166"/>
                <a:gd name="T26" fmla="*/ 2147483647 w 337"/>
                <a:gd name="T27" fmla="*/ 2147483647 h 166"/>
                <a:gd name="T28" fmla="*/ 2147483647 w 337"/>
                <a:gd name="T29" fmla="*/ 2147483647 h 166"/>
                <a:gd name="T30" fmla="*/ 2147483647 w 337"/>
                <a:gd name="T31" fmla="*/ 2147483647 h 166"/>
                <a:gd name="T32" fmla="*/ 2147483647 w 337"/>
                <a:gd name="T33" fmla="*/ 2147483647 h 166"/>
                <a:gd name="T34" fmla="*/ 2147483647 w 337"/>
                <a:gd name="T35" fmla="*/ 2147483647 h 166"/>
                <a:gd name="T36" fmla="*/ 2147483647 w 337"/>
                <a:gd name="T37" fmla="*/ 2147483647 h 166"/>
                <a:gd name="T38" fmla="*/ 2147483647 w 337"/>
                <a:gd name="T39" fmla="*/ 2147483647 h 166"/>
                <a:gd name="T40" fmla="*/ 2147483647 w 337"/>
                <a:gd name="T41" fmla="*/ 2147483647 h 166"/>
                <a:gd name="T42" fmla="*/ 2147483647 w 337"/>
                <a:gd name="T43" fmla="*/ 2147483647 h 166"/>
                <a:gd name="T44" fmla="*/ 2147483647 w 337"/>
                <a:gd name="T45" fmla="*/ 2147483647 h 166"/>
                <a:gd name="T46" fmla="*/ 2147483647 w 337"/>
                <a:gd name="T47" fmla="*/ 2147483647 h 166"/>
                <a:gd name="T48" fmla="*/ 2147483647 w 337"/>
                <a:gd name="T49" fmla="*/ 2147483647 h 166"/>
                <a:gd name="T50" fmla="*/ 2147483647 w 337"/>
                <a:gd name="T51" fmla="*/ 2147483647 h 166"/>
                <a:gd name="T52" fmla="*/ 2147483647 w 337"/>
                <a:gd name="T53" fmla="*/ 2147483647 h 166"/>
                <a:gd name="T54" fmla="*/ 2147483647 w 337"/>
                <a:gd name="T55" fmla="*/ 2147483647 h 166"/>
                <a:gd name="T56" fmla="*/ 0 w 337"/>
                <a:gd name="T57" fmla="*/ 2147483647 h 166"/>
                <a:gd name="T58" fmla="*/ 0 w 337"/>
                <a:gd name="T59" fmla="*/ 2147483647 h 166"/>
                <a:gd name="T60" fmla="*/ 0 w 337"/>
                <a:gd name="T61" fmla="*/ 2147483647 h 166"/>
                <a:gd name="T62" fmla="*/ 0 w 337"/>
                <a:gd name="T63" fmla="*/ 2147483647 h 166"/>
                <a:gd name="T64" fmla="*/ 0 w 337"/>
                <a:gd name="T65" fmla="*/ 2147483647 h 166"/>
                <a:gd name="T66" fmla="*/ 0 w 337"/>
                <a:gd name="T67" fmla="*/ 2147483647 h 166"/>
                <a:gd name="T68" fmla="*/ 0 w 337"/>
                <a:gd name="T69" fmla="*/ 0 h 166"/>
                <a:gd name="T70" fmla="*/ 0 w 337"/>
                <a:gd name="T71" fmla="*/ 0 h 166"/>
                <a:gd name="T72" fmla="*/ 0 w 337"/>
                <a:gd name="T73" fmla="*/ 0 h 166"/>
                <a:gd name="T74" fmla="*/ 0 w 337"/>
                <a:gd name="T75" fmla="*/ 0 h 166"/>
                <a:gd name="T76" fmla="*/ 0 w 337"/>
                <a:gd name="T77" fmla="*/ 0 h 166"/>
                <a:gd name="T78" fmla="*/ 2147483647 w 337"/>
                <a:gd name="T79" fmla="*/ 0 h 166"/>
                <a:gd name="T80" fmla="*/ 2147483647 w 337"/>
                <a:gd name="T81" fmla="*/ 0 h 166"/>
                <a:gd name="T82" fmla="*/ 2147483647 w 337"/>
                <a:gd name="T83" fmla="*/ 0 h 166"/>
                <a:gd name="T84" fmla="*/ 2147483647 w 337"/>
                <a:gd name="T85" fmla="*/ 0 h 166"/>
                <a:gd name="T86" fmla="*/ 2147483647 w 337"/>
                <a:gd name="T87" fmla="*/ 0 h 166"/>
                <a:gd name="T88" fmla="*/ 2147483647 w 337"/>
                <a:gd name="T89" fmla="*/ 0 h 166"/>
                <a:gd name="T90" fmla="*/ 2147483647 w 337"/>
                <a:gd name="T91" fmla="*/ 0 h 166"/>
                <a:gd name="T92" fmla="*/ 2147483647 w 337"/>
                <a:gd name="T93" fmla="*/ 0 h 166"/>
                <a:gd name="T94" fmla="*/ 2147483647 w 337"/>
                <a:gd name="T95" fmla="*/ 0 h 166"/>
                <a:gd name="T96" fmla="*/ 2147483647 w 337"/>
                <a:gd name="T97" fmla="*/ 0 h 166"/>
                <a:gd name="T98" fmla="*/ 2147483647 w 337"/>
                <a:gd name="T99" fmla="*/ 0 h 166"/>
                <a:gd name="T100" fmla="*/ 2147483647 w 337"/>
                <a:gd name="T101" fmla="*/ 0 h 166"/>
                <a:gd name="T102" fmla="*/ 2147483647 w 337"/>
                <a:gd name="T103" fmla="*/ 0 h 166"/>
                <a:gd name="T104" fmla="*/ 2147483647 w 337"/>
                <a:gd name="T105" fmla="*/ 0 h 1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37"/>
                <a:gd name="T160" fmla="*/ 0 h 166"/>
                <a:gd name="T161" fmla="*/ 337 w 337"/>
                <a:gd name="T162" fmla="*/ 166 h 1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3" name="Freeform 264">
              <a:extLst>
                <a:ext uri="{FF2B5EF4-FFF2-40B4-BE49-F238E27FC236}">
                  <a16:creationId xmlns:a16="http://schemas.microsoft.com/office/drawing/2014/main" id="{7FDBDBDA-CF74-1874-DC37-AF77719CDAB1}"/>
                </a:ext>
              </a:extLst>
            </p:cNvPr>
            <p:cNvSpPr>
              <a:spLocks noChangeAspect="1"/>
            </p:cNvSpPr>
            <p:nvPr userDrawn="1"/>
          </p:nvSpPr>
          <p:spPr bwMode="gray">
            <a:xfrm>
              <a:off x="2343771" y="3270995"/>
              <a:ext cx="884958" cy="614259"/>
            </a:xfrm>
            <a:custGeom>
              <a:avLst/>
              <a:gdLst>
                <a:gd name="T0" fmla="*/ 2147483647 w 1657"/>
                <a:gd name="T1" fmla="*/ 0 h 1083"/>
                <a:gd name="T2" fmla="*/ 2147483647 w 1657"/>
                <a:gd name="T3" fmla="*/ 2147483647 h 1083"/>
                <a:gd name="T4" fmla="*/ 2147483647 w 1657"/>
                <a:gd name="T5" fmla="*/ 2147483647 h 1083"/>
                <a:gd name="T6" fmla="*/ 2147483647 w 1657"/>
                <a:gd name="T7" fmla="*/ 2147483647 h 1083"/>
                <a:gd name="T8" fmla="*/ 2147483647 w 1657"/>
                <a:gd name="T9" fmla="*/ 2147483647 h 1083"/>
                <a:gd name="T10" fmla="*/ 2147483647 w 1657"/>
                <a:gd name="T11" fmla="*/ 2147483647 h 1083"/>
                <a:gd name="T12" fmla="*/ 2147483647 w 1657"/>
                <a:gd name="T13" fmla="*/ 2147483647 h 1083"/>
                <a:gd name="T14" fmla="*/ 2147483647 w 1657"/>
                <a:gd name="T15" fmla="*/ 2147483647 h 1083"/>
                <a:gd name="T16" fmla="*/ 2147483647 w 1657"/>
                <a:gd name="T17" fmla="*/ 2147483647 h 1083"/>
                <a:gd name="T18" fmla="*/ 2147483647 w 1657"/>
                <a:gd name="T19" fmla="*/ 2147483647 h 1083"/>
                <a:gd name="T20" fmla="*/ 2147483647 w 1657"/>
                <a:gd name="T21" fmla="*/ 2147483647 h 1083"/>
                <a:gd name="T22" fmla="*/ 2147483647 w 1657"/>
                <a:gd name="T23" fmla="*/ 2147483647 h 1083"/>
                <a:gd name="T24" fmla="*/ 2147483647 w 1657"/>
                <a:gd name="T25" fmla="*/ 2147483647 h 1083"/>
                <a:gd name="T26" fmla="*/ 2147483647 w 1657"/>
                <a:gd name="T27" fmla="*/ 2147483647 h 1083"/>
                <a:gd name="T28" fmla="*/ 2147483647 w 1657"/>
                <a:gd name="T29" fmla="*/ 2147483647 h 1083"/>
                <a:gd name="T30" fmla="*/ 2147483647 w 1657"/>
                <a:gd name="T31" fmla="*/ 2147483647 h 1083"/>
                <a:gd name="T32" fmla="*/ 2147483647 w 1657"/>
                <a:gd name="T33" fmla="*/ 2147483647 h 1083"/>
                <a:gd name="T34" fmla="*/ 2147483647 w 1657"/>
                <a:gd name="T35" fmla="*/ 2147483647 h 1083"/>
                <a:gd name="T36" fmla="*/ 2147483647 w 1657"/>
                <a:gd name="T37" fmla="*/ 2147483647 h 1083"/>
                <a:gd name="T38" fmla="*/ 2147483647 w 1657"/>
                <a:gd name="T39" fmla="*/ 2147483647 h 1083"/>
                <a:gd name="T40" fmla="*/ 2147483647 w 1657"/>
                <a:gd name="T41" fmla="*/ 2147483647 h 1083"/>
                <a:gd name="T42" fmla="*/ 2147483647 w 1657"/>
                <a:gd name="T43" fmla="*/ 2147483647 h 1083"/>
                <a:gd name="T44" fmla="*/ 2147483647 w 1657"/>
                <a:gd name="T45" fmla="*/ 2147483647 h 1083"/>
                <a:gd name="T46" fmla="*/ 2147483647 w 1657"/>
                <a:gd name="T47" fmla="*/ 2147483647 h 1083"/>
                <a:gd name="T48" fmla="*/ 2147483647 w 1657"/>
                <a:gd name="T49" fmla="*/ 2147483647 h 1083"/>
                <a:gd name="T50" fmla="*/ 2147483647 w 1657"/>
                <a:gd name="T51" fmla="*/ 2147483647 h 1083"/>
                <a:gd name="T52" fmla="*/ 2147483647 w 1657"/>
                <a:gd name="T53" fmla="*/ 2147483647 h 1083"/>
                <a:gd name="T54" fmla="*/ 2147483647 w 1657"/>
                <a:gd name="T55" fmla="*/ 2147483647 h 1083"/>
                <a:gd name="T56" fmla="*/ 2147483647 w 1657"/>
                <a:gd name="T57" fmla="*/ 2147483647 h 1083"/>
                <a:gd name="T58" fmla="*/ 2147483647 w 1657"/>
                <a:gd name="T59" fmla="*/ 2147483647 h 1083"/>
                <a:gd name="T60" fmla="*/ 2147483647 w 1657"/>
                <a:gd name="T61" fmla="*/ 2147483647 h 1083"/>
                <a:gd name="T62" fmla="*/ 2147483647 w 1657"/>
                <a:gd name="T63" fmla="*/ 2147483647 h 1083"/>
                <a:gd name="T64" fmla="*/ 2147483647 w 1657"/>
                <a:gd name="T65" fmla="*/ 2147483647 h 1083"/>
                <a:gd name="T66" fmla="*/ 2147483647 w 1657"/>
                <a:gd name="T67" fmla="*/ 2147483647 h 1083"/>
                <a:gd name="T68" fmla="*/ 2147483647 w 1657"/>
                <a:gd name="T69" fmla="*/ 2147483647 h 1083"/>
                <a:gd name="T70" fmla="*/ 2147483647 w 1657"/>
                <a:gd name="T71" fmla="*/ 2147483647 h 1083"/>
                <a:gd name="T72" fmla="*/ 2147483647 w 1657"/>
                <a:gd name="T73" fmla="*/ 2147483647 h 1083"/>
                <a:gd name="T74" fmla="*/ 2147483647 w 1657"/>
                <a:gd name="T75" fmla="*/ 2147483647 h 1083"/>
                <a:gd name="T76" fmla="*/ 2147483647 w 1657"/>
                <a:gd name="T77" fmla="*/ 2147483647 h 1083"/>
                <a:gd name="T78" fmla="*/ 2147483647 w 1657"/>
                <a:gd name="T79" fmla="*/ 2147483647 h 1083"/>
                <a:gd name="T80" fmla="*/ 2147483647 w 1657"/>
                <a:gd name="T81" fmla="*/ 2147483647 h 1083"/>
                <a:gd name="T82" fmla="*/ 2147483647 w 1657"/>
                <a:gd name="T83" fmla="*/ 2147483647 h 1083"/>
                <a:gd name="T84" fmla="*/ 0 w 1657"/>
                <a:gd name="T85" fmla="*/ 0 h 1083"/>
                <a:gd name="T86" fmla="*/ 2147483647 w 1657"/>
                <a:gd name="T87" fmla="*/ 2147483647 h 1083"/>
                <a:gd name="T88" fmla="*/ 2147483647 w 1657"/>
                <a:gd name="T89" fmla="*/ 2147483647 h 1083"/>
                <a:gd name="T90" fmla="*/ 2147483647 w 1657"/>
                <a:gd name="T91" fmla="*/ 2147483647 h 1083"/>
                <a:gd name="T92" fmla="*/ 2147483647 w 1657"/>
                <a:gd name="T93" fmla="*/ 2147483647 h 1083"/>
                <a:gd name="T94" fmla="*/ 2147483647 w 1657"/>
                <a:gd name="T95" fmla="*/ 2147483647 h 1083"/>
                <a:gd name="T96" fmla="*/ 2147483647 w 1657"/>
                <a:gd name="T97" fmla="*/ 2147483647 h 1083"/>
                <a:gd name="T98" fmla="*/ 2147483647 w 1657"/>
                <a:gd name="T99" fmla="*/ 2147483647 h 1083"/>
                <a:gd name="T100" fmla="*/ 2147483647 w 1657"/>
                <a:gd name="T101" fmla="*/ 2147483647 h 1083"/>
                <a:gd name="T102" fmla="*/ 2147483647 w 1657"/>
                <a:gd name="T103" fmla="*/ 2147483647 h 1083"/>
                <a:gd name="T104" fmla="*/ 2147483647 w 1657"/>
                <a:gd name="T105" fmla="*/ 2147483647 h 1083"/>
                <a:gd name="T106" fmla="*/ 2147483647 w 1657"/>
                <a:gd name="T107" fmla="*/ 2147483647 h 1083"/>
                <a:gd name="T108" fmla="*/ 2147483647 w 1657"/>
                <a:gd name="T109" fmla="*/ 2147483647 h 1083"/>
                <a:gd name="T110" fmla="*/ 2147483647 w 1657"/>
                <a:gd name="T111" fmla="*/ 2147483647 h 1083"/>
                <a:gd name="T112" fmla="*/ 2147483647 w 1657"/>
                <a:gd name="T113" fmla="*/ 2147483647 h 1083"/>
                <a:gd name="T114" fmla="*/ 2147483647 w 1657"/>
                <a:gd name="T115" fmla="*/ 2147483647 h 1083"/>
                <a:gd name="T116" fmla="*/ 2147483647 w 1657"/>
                <a:gd name="T117" fmla="*/ 2147483647 h 1083"/>
                <a:gd name="T118" fmla="*/ 2147483647 w 1657"/>
                <a:gd name="T119" fmla="*/ 2147483647 h 1083"/>
                <a:gd name="T120" fmla="*/ 2147483647 w 1657"/>
                <a:gd name="T121" fmla="*/ 2147483647 h 1083"/>
                <a:gd name="T122" fmla="*/ 2147483647 w 1657"/>
                <a:gd name="T123" fmla="*/ 0 h 10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7"/>
                <a:gd name="T187" fmla="*/ 0 h 1083"/>
                <a:gd name="T188" fmla="*/ 1657 w 1657"/>
                <a:gd name="T189" fmla="*/ 1083 h 10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4" name="Freeform 267">
              <a:extLst>
                <a:ext uri="{FF2B5EF4-FFF2-40B4-BE49-F238E27FC236}">
                  <a16:creationId xmlns:a16="http://schemas.microsoft.com/office/drawing/2014/main" id="{34EA5832-B3E5-3FB1-131A-FD337C2DFF5A}"/>
                </a:ext>
              </a:extLst>
            </p:cNvPr>
            <p:cNvSpPr>
              <a:spLocks noChangeAspect="1"/>
            </p:cNvSpPr>
            <p:nvPr userDrawn="1"/>
          </p:nvSpPr>
          <p:spPr bwMode="gray">
            <a:xfrm>
              <a:off x="1128515" y="2210745"/>
              <a:ext cx="8008" cy="19909"/>
            </a:xfrm>
            <a:custGeom>
              <a:avLst/>
              <a:gdLst>
                <a:gd name="T0" fmla="*/ 0 w 12"/>
                <a:gd name="T1" fmla="*/ 0 h 33"/>
                <a:gd name="T2" fmla="*/ 0 w 12"/>
                <a:gd name="T3" fmla="*/ 0 h 33"/>
                <a:gd name="T4" fmla="*/ 0 w 12"/>
                <a:gd name="T5" fmla="*/ 0 h 33"/>
                <a:gd name="T6" fmla="*/ 0 w 12"/>
                <a:gd name="T7" fmla="*/ 0 h 33"/>
                <a:gd name="T8" fmla="*/ 0 w 12"/>
                <a:gd name="T9" fmla="*/ 0 h 33"/>
                <a:gd name="T10" fmla="*/ 0 w 12"/>
                <a:gd name="T11" fmla="*/ 0 h 33"/>
                <a:gd name="T12" fmla="*/ 0 w 12"/>
                <a:gd name="T13" fmla="*/ 0 h 33"/>
                <a:gd name="T14" fmla="*/ 0 w 12"/>
                <a:gd name="T15" fmla="*/ 0 h 33"/>
                <a:gd name="T16" fmla="*/ 0 w 12"/>
                <a:gd name="T17" fmla="*/ 0 h 33"/>
                <a:gd name="T18" fmla="*/ 0 w 12"/>
                <a:gd name="T19" fmla="*/ 0 h 33"/>
                <a:gd name="T20" fmla="*/ 0 w 12"/>
                <a:gd name="T21" fmla="*/ 0 h 33"/>
                <a:gd name="T22" fmla="*/ 0 w 12"/>
                <a:gd name="T23" fmla="*/ 0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33"/>
                <a:gd name="T38" fmla="*/ 12 w 12"/>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5" name="Freeform 268">
              <a:extLst>
                <a:ext uri="{FF2B5EF4-FFF2-40B4-BE49-F238E27FC236}">
                  <a16:creationId xmlns:a16="http://schemas.microsoft.com/office/drawing/2014/main" id="{3A9B24B9-8F5C-8D19-1DAE-44735E026174}"/>
                </a:ext>
              </a:extLst>
            </p:cNvPr>
            <p:cNvSpPr>
              <a:spLocks noChangeAspect="1"/>
            </p:cNvSpPr>
            <p:nvPr userDrawn="1"/>
          </p:nvSpPr>
          <p:spPr bwMode="gray">
            <a:xfrm>
              <a:off x="1280669" y="2162395"/>
              <a:ext cx="16017" cy="11377"/>
            </a:xfrm>
            <a:custGeom>
              <a:avLst/>
              <a:gdLst>
                <a:gd name="T0" fmla="*/ 0 w 27"/>
                <a:gd name="T1" fmla="*/ 0 h 18"/>
                <a:gd name="T2" fmla="*/ 0 w 27"/>
                <a:gd name="T3" fmla="*/ 0 h 18"/>
                <a:gd name="T4" fmla="*/ 0 w 27"/>
                <a:gd name="T5" fmla="*/ 0 h 18"/>
                <a:gd name="T6" fmla="*/ 0 w 27"/>
                <a:gd name="T7" fmla="*/ 0 h 18"/>
                <a:gd name="T8" fmla="*/ 0 w 27"/>
                <a:gd name="T9" fmla="*/ 0 h 18"/>
                <a:gd name="T10" fmla="*/ 0 w 27"/>
                <a:gd name="T11" fmla="*/ 0 h 18"/>
                <a:gd name="T12" fmla="*/ 0 w 27"/>
                <a:gd name="T13" fmla="*/ 0 h 18"/>
                <a:gd name="T14" fmla="*/ 0 w 27"/>
                <a:gd name="T15" fmla="*/ 0 h 18"/>
                <a:gd name="T16" fmla="*/ 0 w 27"/>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8"/>
                <a:gd name="T29" fmla="*/ 27 w 27"/>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8">
                  <a:moveTo>
                    <a:pt x="13" y="9"/>
                  </a:moveTo>
                  <a:lnTo>
                    <a:pt x="5" y="18"/>
                  </a:lnTo>
                  <a:lnTo>
                    <a:pt x="0" y="9"/>
                  </a:lnTo>
                  <a:lnTo>
                    <a:pt x="5" y="2"/>
                  </a:lnTo>
                  <a:lnTo>
                    <a:pt x="10" y="0"/>
                  </a:lnTo>
                  <a:lnTo>
                    <a:pt x="13" y="1"/>
                  </a:lnTo>
                  <a:lnTo>
                    <a:pt x="26" y="1"/>
                  </a:lnTo>
                  <a:lnTo>
                    <a:pt x="27" y="3"/>
                  </a:lnTo>
                  <a:lnTo>
                    <a:pt x="13" y="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6" name="Freeform 269">
              <a:extLst>
                <a:ext uri="{FF2B5EF4-FFF2-40B4-BE49-F238E27FC236}">
                  <a16:creationId xmlns:a16="http://schemas.microsoft.com/office/drawing/2014/main" id="{918D85F5-5581-98CA-7633-97458F7D18B5}"/>
                </a:ext>
              </a:extLst>
            </p:cNvPr>
            <p:cNvSpPr>
              <a:spLocks noChangeAspect="1"/>
            </p:cNvSpPr>
            <p:nvPr userDrawn="1"/>
          </p:nvSpPr>
          <p:spPr bwMode="gray">
            <a:xfrm>
              <a:off x="1237959" y="2119733"/>
              <a:ext cx="77412" cy="68259"/>
            </a:xfrm>
            <a:custGeom>
              <a:avLst/>
              <a:gdLst>
                <a:gd name="T0" fmla="*/ 0 w 145"/>
                <a:gd name="T1" fmla="*/ 0 h 117"/>
                <a:gd name="T2" fmla="*/ 0 w 145"/>
                <a:gd name="T3" fmla="*/ 0 h 117"/>
                <a:gd name="T4" fmla="*/ 0 w 145"/>
                <a:gd name="T5" fmla="*/ 0 h 117"/>
                <a:gd name="T6" fmla="*/ 0 w 145"/>
                <a:gd name="T7" fmla="*/ 0 h 117"/>
                <a:gd name="T8" fmla="*/ 0 w 145"/>
                <a:gd name="T9" fmla="*/ 0 h 117"/>
                <a:gd name="T10" fmla="*/ 0 w 145"/>
                <a:gd name="T11" fmla="*/ 0 h 117"/>
                <a:gd name="T12" fmla="*/ 0 w 145"/>
                <a:gd name="T13" fmla="*/ 0 h 117"/>
                <a:gd name="T14" fmla="*/ 0 w 145"/>
                <a:gd name="T15" fmla="*/ 0 h 117"/>
                <a:gd name="T16" fmla="*/ 0 w 145"/>
                <a:gd name="T17" fmla="*/ 0 h 117"/>
                <a:gd name="T18" fmla="*/ 0 w 145"/>
                <a:gd name="T19" fmla="*/ 0 h 117"/>
                <a:gd name="T20" fmla="*/ 0 w 145"/>
                <a:gd name="T21" fmla="*/ 0 h 117"/>
                <a:gd name="T22" fmla="*/ 0 w 145"/>
                <a:gd name="T23" fmla="*/ 0 h 117"/>
                <a:gd name="T24" fmla="*/ 0 w 145"/>
                <a:gd name="T25" fmla="*/ 0 h 117"/>
                <a:gd name="T26" fmla="*/ 0 w 145"/>
                <a:gd name="T27" fmla="*/ 0 h 117"/>
                <a:gd name="T28" fmla="*/ 0 w 145"/>
                <a:gd name="T29" fmla="*/ 0 h 117"/>
                <a:gd name="T30" fmla="*/ 0 w 145"/>
                <a:gd name="T31" fmla="*/ 0 h 117"/>
                <a:gd name="T32" fmla="*/ 0 w 145"/>
                <a:gd name="T33" fmla="*/ 0 h 117"/>
                <a:gd name="T34" fmla="*/ 0 w 145"/>
                <a:gd name="T35" fmla="*/ 0 h 117"/>
                <a:gd name="T36" fmla="*/ 0 w 145"/>
                <a:gd name="T37" fmla="*/ 0 h 117"/>
                <a:gd name="T38" fmla="*/ 0 w 145"/>
                <a:gd name="T39" fmla="*/ 0 h 117"/>
                <a:gd name="T40" fmla="*/ 0 w 145"/>
                <a:gd name="T41" fmla="*/ 0 h 117"/>
                <a:gd name="T42" fmla="*/ 0 w 145"/>
                <a:gd name="T43" fmla="*/ 0 h 117"/>
                <a:gd name="T44" fmla="*/ 0 w 145"/>
                <a:gd name="T45" fmla="*/ 0 h 117"/>
                <a:gd name="T46" fmla="*/ 0 w 145"/>
                <a:gd name="T47" fmla="*/ 0 h 117"/>
                <a:gd name="T48" fmla="*/ 0 w 145"/>
                <a:gd name="T49" fmla="*/ 0 h 117"/>
                <a:gd name="T50" fmla="*/ 0 w 145"/>
                <a:gd name="T51" fmla="*/ 0 h 117"/>
                <a:gd name="T52" fmla="*/ 0 w 145"/>
                <a:gd name="T53" fmla="*/ 0 h 117"/>
                <a:gd name="T54" fmla="*/ 0 w 145"/>
                <a:gd name="T55" fmla="*/ 0 h 117"/>
                <a:gd name="T56" fmla="*/ 0 w 145"/>
                <a:gd name="T57" fmla="*/ 0 h 117"/>
                <a:gd name="T58" fmla="*/ 0 w 145"/>
                <a:gd name="T59" fmla="*/ 0 h 117"/>
                <a:gd name="T60" fmla="*/ 0 w 145"/>
                <a:gd name="T61" fmla="*/ 0 h 117"/>
                <a:gd name="T62" fmla="*/ 0 w 145"/>
                <a:gd name="T63" fmla="*/ 0 h 117"/>
                <a:gd name="T64" fmla="*/ 0 w 145"/>
                <a:gd name="T65" fmla="*/ 0 h 117"/>
                <a:gd name="T66" fmla="*/ 0 w 145"/>
                <a:gd name="T67" fmla="*/ 0 h 117"/>
                <a:gd name="T68" fmla="*/ 0 w 145"/>
                <a:gd name="T69" fmla="*/ 0 h 117"/>
                <a:gd name="T70" fmla="*/ 0 w 145"/>
                <a:gd name="T71" fmla="*/ 0 h 117"/>
                <a:gd name="T72" fmla="*/ 0 w 145"/>
                <a:gd name="T73" fmla="*/ 0 h 117"/>
                <a:gd name="T74" fmla="*/ 0 w 145"/>
                <a:gd name="T75" fmla="*/ 0 h 117"/>
                <a:gd name="T76" fmla="*/ 0 w 145"/>
                <a:gd name="T77" fmla="*/ 0 h 117"/>
                <a:gd name="T78" fmla="*/ 0 w 145"/>
                <a:gd name="T79" fmla="*/ 0 h 117"/>
                <a:gd name="T80" fmla="*/ 0 w 145"/>
                <a:gd name="T81" fmla="*/ 0 h 117"/>
                <a:gd name="T82" fmla="*/ 0 w 145"/>
                <a:gd name="T83" fmla="*/ 0 h 117"/>
                <a:gd name="T84" fmla="*/ 0 w 145"/>
                <a:gd name="T85" fmla="*/ 0 h 117"/>
                <a:gd name="T86" fmla="*/ 0 w 145"/>
                <a:gd name="T87" fmla="*/ 0 h 11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5"/>
                <a:gd name="T133" fmla="*/ 0 h 117"/>
                <a:gd name="T134" fmla="*/ 145 w 145"/>
                <a:gd name="T135" fmla="*/ 117 h 11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7" name="Freeform 270">
              <a:extLst>
                <a:ext uri="{FF2B5EF4-FFF2-40B4-BE49-F238E27FC236}">
                  <a16:creationId xmlns:a16="http://schemas.microsoft.com/office/drawing/2014/main" id="{0CCF0DC3-1EC0-1EA3-7CF5-13B244F3F095}"/>
                </a:ext>
              </a:extLst>
            </p:cNvPr>
            <p:cNvSpPr>
              <a:spLocks noChangeAspect="1"/>
            </p:cNvSpPr>
            <p:nvPr userDrawn="1"/>
          </p:nvSpPr>
          <p:spPr bwMode="gray">
            <a:xfrm>
              <a:off x="850900" y="1124298"/>
              <a:ext cx="875555" cy="1168926"/>
            </a:xfrm>
            <a:custGeom>
              <a:avLst/>
              <a:gdLst>
                <a:gd name="T0" fmla="*/ 0 w 1638"/>
                <a:gd name="T1" fmla="*/ 0 h 2054"/>
                <a:gd name="T2" fmla="*/ 0 w 1638"/>
                <a:gd name="T3" fmla="*/ 0 h 2054"/>
                <a:gd name="T4" fmla="*/ 0 w 1638"/>
                <a:gd name="T5" fmla="*/ 0 h 2054"/>
                <a:gd name="T6" fmla="*/ 0 w 1638"/>
                <a:gd name="T7" fmla="*/ 0 h 2054"/>
                <a:gd name="T8" fmla="*/ 0 w 1638"/>
                <a:gd name="T9" fmla="*/ 0 h 2054"/>
                <a:gd name="T10" fmla="*/ 0 w 1638"/>
                <a:gd name="T11" fmla="*/ 0 h 2054"/>
                <a:gd name="T12" fmla="*/ 0 w 1638"/>
                <a:gd name="T13" fmla="*/ 0 h 2054"/>
                <a:gd name="T14" fmla="*/ 0 w 1638"/>
                <a:gd name="T15" fmla="*/ 0 h 2054"/>
                <a:gd name="T16" fmla="*/ 0 w 1638"/>
                <a:gd name="T17" fmla="*/ 0 h 2054"/>
                <a:gd name="T18" fmla="*/ 0 w 1638"/>
                <a:gd name="T19" fmla="*/ 0 h 2054"/>
                <a:gd name="T20" fmla="*/ 0 w 1638"/>
                <a:gd name="T21" fmla="*/ 0 h 2054"/>
                <a:gd name="T22" fmla="*/ 0 w 1638"/>
                <a:gd name="T23" fmla="*/ 0 h 2054"/>
                <a:gd name="T24" fmla="*/ 0 w 1638"/>
                <a:gd name="T25" fmla="*/ 0 h 2054"/>
                <a:gd name="T26" fmla="*/ 0 w 1638"/>
                <a:gd name="T27" fmla="*/ 0 h 2054"/>
                <a:gd name="T28" fmla="*/ 0 w 1638"/>
                <a:gd name="T29" fmla="*/ 0 h 2054"/>
                <a:gd name="T30" fmla="*/ 0 w 1638"/>
                <a:gd name="T31" fmla="*/ 0 h 2054"/>
                <a:gd name="T32" fmla="*/ 0 w 1638"/>
                <a:gd name="T33" fmla="*/ 0 h 2054"/>
                <a:gd name="T34" fmla="*/ 0 w 1638"/>
                <a:gd name="T35" fmla="*/ 0 h 2054"/>
                <a:gd name="T36" fmla="*/ 0 w 1638"/>
                <a:gd name="T37" fmla="*/ 0 h 2054"/>
                <a:gd name="T38" fmla="*/ 0 w 1638"/>
                <a:gd name="T39" fmla="*/ 0 h 2054"/>
                <a:gd name="T40" fmla="*/ 0 w 1638"/>
                <a:gd name="T41" fmla="*/ 0 h 2054"/>
                <a:gd name="T42" fmla="*/ 0 w 1638"/>
                <a:gd name="T43" fmla="*/ 0 h 2054"/>
                <a:gd name="T44" fmla="*/ 0 w 1638"/>
                <a:gd name="T45" fmla="*/ 0 h 2054"/>
                <a:gd name="T46" fmla="*/ 0 w 1638"/>
                <a:gd name="T47" fmla="*/ 0 h 2054"/>
                <a:gd name="T48" fmla="*/ 0 w 1638"/>
                <a:gd name="T49" fmla="*/ 0 h 2054"/>
                <a:gd name="T50" fmla="*/ 0 w 1638"/>
                <a:gd name="T51" fmla="*/ 0 h 2054"/>
                <a:gd name="T52" fmla="*/ 0 w 1638"/>
                <a:gd name="T53" fmla="*/ 0 h 2054"/>
                <a:gd name="T54" fmla="*/ 0 w 1638"/>
                <a:gd name="T55" fmla="*/ 0 h 2054"/>
                <a:gd name="T56" fmla="*/ 0 w 1638"/>
                <a:gd name="T57" fmla="*/ 0 h 2054"/>
                <a:gd name="T58" fmla="*/ 0 w 1638"/>
                <a:gd name="T59" fmla="*/ 0 h 2054"/>
                <a:gd name="T60" fmla="*/ 0 w 1638"/>
                <a:gd name="T61" fmla="*/ 0 h 2054"/>
                <a:gd name="T62" fmla="*/ 0 w 1638"/>
                <a:gd name="T63" fmla="*/ 0 h 2054"/>
                <a:gd name="T64" fmla="*/ 0 w 1638"/>
                <a:gd name="T65" fmla="*/ 0 h 2054"/>
                <a:gd name="T66" fmla="*/ 0 w 1638"/>
                <a:gd name="T67" fmla="*/ 0 h 2054"/>
                <a:gd name="T68" fmla="*/ 0 w 1638"/>
                <a:gd name="T69" fmla="*/ 0 h 2054"/>
                <a:gd name="T70" fmla="*/ 0 w 1638"/>
                <a:gd name="T71" fmla="*/ 0 h 2054"/>
                <a:gd name="T72" fmla="*/ 0 w 1638"/>
                <a:gd name="T73" fmla="*/ 0 h 2054"/>
                <a:gd name="T74" fmla="*/ 0 w 1638"/>
                <a:gd name="T75" fmla="*/ 0 h 2054"/>
                <a:gd name="T76" fmla="*/ 0 w 1638"/>
                <a:gd name="T77" fmla="*/ 0 h 2054"/>
                <a:gd name="T78" fmla="*/ 0 w 1638"/>
                <a:gd name="T79" fmla="*/ 0 h 2054"/>
                <a:gd name="T80" fmla="*/ 0 w 1638"/>
                <a:gd name="T81" fmla="*/ 0 h 2054"/>
                <a:gd name="T82" fmla="*/ 0 w 1638"/>
                <a:gd name="T83" fmla="*/ 0 h 2054"/>
                <a:gd name="T84" fmla="*/ 0 w 1638"/>
                <a:gd name="T85" fmla="*/ 0 h 2054"/>
                <a:gd name="T86" fmla="*/ 0 w 1638"/>
                <a:gd name="T87" fmla="*/ 0 h 2054"/>
                <a:gd name="T88" fmla="*/ 0 w 1638"/>
                <a:gd name="T89" fmla="*/ 0 h 2054"/>
                <a:gd name="T90" fmla="*/ 0 w 1638"/>
                <a:gd name="T91" fmla="*/ 0 h 2054"/>
                <a:gd name="T92" fmla="*/ 0 w 1638"/>
                <a:gd name="T93" fmla="*/ 0 h 2054"/>
                <a:gd name="T94" fmla="*/ 0 w 1638"/>
                <a:gd name="T95" fmla="*/ 0 h 2054"/>
                <a:gd name="T96" fmla="*/ 0 w 1638"/>
                <a:gd name="T97" fmla="*/ 0 h 2054"/>
                <a:gd name="T98" fmla="*/ 0 w 1638"/>
                <a:gd name="T99" fmla="*/ 0 h 2054"/>
                <a:gd name="T100" fmla="*/ 0 w 1638"/>
                <a:gd name="T101" fmla="*/ 0 h 2054"/>
                <a:gd name="T102" fmla="*/ 0 w 1638"/>
                <a:gd name="T103" fmla="*/ 0 h 2054"/>
                <a:gd name="T104" fmla="*/ 0 w 1638"/>
                <a:gd name="T105" fmla="*/ 0 h 2054"/>
                <a:gd name="T106" fmla="*/ 0 w 1638"/>
                <a:gd name="T107" fmla="*/ 0 h 2054"/>
                <a:gd name="T108" fmla="*/ 0 w 1638"/>
                <a:gd name="T109" fmla="*/ 0 h 2054"/>
                <a:gd name="T110" fmla="*/ 0 w 1638"/>
                <a:gd name="T111" fmla="*/ 0 h 2054"/>
                <a:gd name="T112" fmla="*/ 0 w 1638"/>
                <a:gd name="T113" fmla="*/ 0 h 2054"/>
                <a:gd name="T114" fmla="*/ 0 w 1638"/>
                <a:gd name="T115" fmla="*/ 0 h 2054"/>
                <a:gd name="T116" fmla="*/ 0 w 1638"/>
                <a:gd name="T117" fmla="*/ 0 h 2054"/>
                <a:gd name="T118" fmla="*/ 0 w 1638"/>
                <a:gd name="T119" fmla="*/ 0 h 20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38"/>
                <a:gd name="T181" fmla="*/ 0 h 2054"/>
                <a:gd name="T182" fmla="*/ 1638 w 1638"/>
                <a:gd name="T183" fmla="*/ 2054 h 20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8" name="Freeform 271">
              <a:extLst>
                <a:ext uri="{FF2B5EF4-FFF2-40B4-BE49-F238E27FC236}">
                  <a16:creationId xmlns:a16="http://schemas.microsoft.com/office/drawing/2014/main" id="{89B7FB3D-B805-F89D-3375-3F081CB0E33F}"/>
                </a:ext>
              </a:extLst>
            </p:cNvPr>
            <p:cNvSpPr>
              <a:spLocks noChangeAspect="1"/>
            </p:cNvSpPr>
            <p:nvPr userDrawn="1"/>
          </p:nvSpPr>
          <p:spPr bwMode="gray">
            <a:xfrm>
              <a:off x="1723786" y="2011658"/>
              <a:ext cx="242913" cy="287254"/>
            </a:xfrm>
            <a:custGeom>
              <a:avLst/>
              <a:gdLst>
                <a:gd name="T0" fmla="*/ 0 w 456"/>
                <a:gd name="T1" fmla="*/ 0 h 507"/>
                <a:gd name="T2" fmla="*/ 0 w 456"/>
                <a:gd name="T3" fmla="*/ 0 h 507"/>
                <a:gd name="T4" fmla="*/ 0 w 456"/>
                <a:gd name="T5" fmla="*/ 0 h 507"/>
                <a:gd name="T6" fmla="*/ 0 w 456"/>
                <a:gd name="T7" fmla="*/ 0 h 507"/>
                <a:gd name="T8" fmla="*/ 0 w 456"/>
                <a:gd name="T9" fmla="*/ 0 h 507"/>
                <a:gd name="T10" fmla="*/ 0 w 456"/>
                <a:gd name="T11" fmla="*/ 0 h 507"/>
                <a:gd name="T12" fmla="*/ 0 w 456"/>
                <a:gd name="T13" fmla="*/ 0 h 507"/>
                <a:gd name="T14" fmla="*/ 0 w 456"/>
                <a:gd name="T15" fmla="*/ 0 h 507"/>
                <a:gd name="T16" fmla="*/ 0 w 456"/>
                <a:gd name="T17" fmla="*/ 0 h 507"/>
                <a:gd name="T18" fmla="*/ 0 w 456"/>
                <a:gd name="T19" fmla="*/ 0 h 507"/>
                <a:gd name="T20" fmla="*/ 0 w 456"/>
                <a:gd name="T21" fmla="*/ 0 h 507"/>
                <a:gd name="T22" fmla="*/ 0 w 456"/>
                <a:gd name="T23" fmla="*/ 0 h 507"/>
                <a:gd name="T24" fmla="*/ 0 w 456"/>
                <a:gd name="T25" fmla="*/ 0 h 507"/>
                <a:gd name="T26" fmla="*/ 0 w 456"/>
                <a:gd name="T27" fmla="*/ 0 h 507"/>
                <a:gd name="T28" fmla="*/ 0 w 456"/>
                <a:gd name="T29" fmla="*/ 0 h 507"/>
                <a:gd name="T30" fmla="*/ 0 w 456"/>
                <a:gd name="T31" fmla="*/ 0 h 507"/>
                <a:gd name="T32" fmla="*/ 0 w 456"/>
                <a:gd name="T33" fmla="*/ 0 h 507"/>
                <a:gd name="T34" fmla="*/ 0 w 456"/>
                <a:gd name="T35" fmla="*/ 0 h 507"/>
                <a:gd name="T36" fmla="*/ 0 w 456"/>
                <a:gd name="T37" fmla="*/ 0 h 507"/>
                <a:gd name="T38" fmla="*/ 0 w 456"/>
                <a:gd name="T39" fmla="*/ 0 h 507"/>
                <a:gd name="T40" fmla="*/ 0 w 456"/>
                <a:gd name="T41" fmla="*/ 0 h 507"/>
                <a:gd name="T42" fmla="*/ 0 w 456"/>
                <a:gd name="T43" fmla="*/ 0 h 507"/>
                <a:gd name="T44" fmla="*/ 0 w 456"/>
                <a:gd name="T45" fmla="*/ 0 h 507"/>
                <a:gd name="T46" fmla="*/ 0 w 456"/>
                <a:gd name="T47" fmla="*/ 0 h 507"/>
                <a:gd name="T48" fmla="*/ 0 w 456"/>
                <a:gd name="T49" fmla="*/ 0 h 507"/>
                <a:gd name="T50" fmla="*/ 0 w 456"/>
                <a:gd name="T51" fmla="*/ 0 h 507"/>
                <a:gd name="T52" fmla="*/ 0 w 456"/>
                <a:gd name="T53" fmla="*/ 0 h 507"/>
                <a:gd name="T54" fmla="*/ 0 w 456"/>
                <a:gd name="T55" fmla="*/ 0 h 507"/>
                <a:gd name="T56" fmla="*/ 0 w 456"/>
                <a:gd name="T57" fmla="*/ 0 h 507"/>
                <a:gd name="T58" fmla="*/ 0 w 456"/>
                <a:gd name="T59" fmla="*/ 0 h 507"/>
                <a:gd name="T60" fmla="*/ 0 w 456"/>
                <a:gd name="T61" fmla="*/ 0 h 507"/>
                <a:gd name="T62" fmla="*/ 0 w 456"/>
                <a:gd name="T63" fmla="*/ 0 h 507"/>
                <a:gd name="T64" fmla="*/ 0 w 456"/>
                <a:gd name="T65" fmla="*/ 0 h 507"/>
                <a:gd name="T66" fmla="*/ 0 w 456"/>
                <a:gd name="T67" fmla="*/ 0 h 507"/>
                <a:gd name="T68" fmla="*/ 0 w 456"/>
                <a:gd name="T69" fmla="*/ 0 h 507"/>
                <a:gd name="T70" fmla="*/ 0 w 456"/>
                <a:gd name="T71" fmla="*/ 0 h 507"/>
                <a:gd name="T72" fmla="*/ 0 w 456"/>
                <a:gd name="T73" fmla="*/ 0 h 507"/>
                <a:gd name="T74" fmla="*/ 0 w 456"/>
                <a:gd name="T75" fmla="*/ 0 h 507"/>
                <a:gd name="T76" fmla="*/ 0 w 456"/>
                <a:gd name="T77" fmla="*/ 0 h 507"/>
                <a:gd name="T78" fmla="*/ 0 w 456"/>
                <a:gd name="T79" fmla="*/ 0 h 507"/>
                <a:gd name="T80" fmla="*/ 0 w 456"/>
                <a:gd name="T81" fmla="*/ 0 h 507"/>
                <a:gd name="T82" fmla="*/ 0 w 456"/>
                <a:gd name="T83" fmla="*/ 0 h 507"/>
                <a:gd name="T84" fmla="*/ 0 w 456"/>
                <a:gd name="T85" fmla="*/ 0 h 507"/>
                <a:gd name="T86" fmla="*/ 0 w 456"/>
                <a:gd name="T87" fmla="*/ 0 h 507"/>
                <a:gd name="T88" fmla="*/ 0 w 456"/>
                <a:gd name="T89" fmla="*/ 0 h 507"/>
                <a:gd name="T90" fmla="*/ 0 w 456"/>
                <a:gd name="T91" fmla="*/ 0 h 507"/>
                <a:gd name="T92" fmla="*/ 0 w 456"/>
                <a:gd name="T93" fmla="*/ 0 h 507"/>
                <a:gd name="T94" fmla="*/ 0 w 456"/>
                <a:gd name="T95" fmla="*/ 0 h 507"/>
                <a:gd name="T96" fmla="*/ 0 w 456"/>
                <a:gd name="T97" fmla="*/ 0 h 507"/>
                <a:gd name="T98" fmla="*/ 0 w 456"/>
                <a:gd name="T99" fmla="*/ 0 h 507"/>
                <a:gd name="T100" fmla="*/ 0 w 456"/>
                <a:gd name="T101" fmla="*/ 0 h 507"/>
                <a:gd name="T102" fmla="*/ 0 w 456"/>
                <a:gd name="T103" fmla="*/ 0 h 507"/>
                <a:gd name="T104" fmla="*/ 0 w 456"/>
                <a:gd name="T105" fmla="*/ 0 h 507"/>
                <a:gd name="T106" fmla="*/ 0 w 456"/>
                <a:gd name="T107" fmla="*/ 0 h 507"/>
                <a:gd name="T108" fmla="*/ 0 w 456"/>
                <a:gd name="T109" fmla="*/ 0 h 507"/>
                <a:gd name="T110" fmla="*/ 0 w 456"/>
                <a:gd name="T111" fmla="*/ 0 h 507"/>
                <a:gd name="T112" fmla="*/ 0 w 456"/>
                <a:gd name="T113" fmla="*/ 0 h 50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56"/>
                <a:gd name="T172" fmla="*/ 0 h 507"/>
                <a:gd name="T173" fmla="*/ 456 w 456"/>
                <a:gd name="T174" fmla="*/ 507 h 50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49" name="Freeform 273">
              <a:extLst>
                <a:ext uri="{FF2B5EF4-FFF2-40B4-BE49-F238E27FC236}">
                  <a16:creationId xmlns:a16="http://schemas.microsoft.com/office/drawing/2014/main" id="{0A05CB69-FF4D-4C93-24B0-AA2B74CB64FB}"/>
                </a:ext>
              </a:extLst>
            </p:cNvPr>
            <p:cNvSpPr>
              <a:spLocks noChangeAspect="1"/>
            </p:cNvSpPr>
            <p:nvPr userDrawn="1"/>
          </p:nvSpPr>
          <p:spPr bwMode="gray">
            <a:xfrm>
              <a:off x="3813446" y="2782546"/>
              <a:ext cx="5338" cy="8545"/>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w 10"/>
                <a:gd name="T11" fmla="*/ 0 h 15"/>
                <a:gd name="T12" fmla="*/ 0 w 10"/>
                <a:gd name="T13" fmla="*/ 0 h 15"/>
                <a:gd name="T14" fmla="*/ 0 w 10"/>
                <a:gd name="T15" fmla="*/ 0 h 15"/>
                <a:gd name="T16" fmla="*/ 0 w 1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5"/>
                <a:gd name="T29" fmla="*/ 10 w 1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5">
                  <a:moveTo>
                    <a:pt x="5" y="0"/>
                  </a:moveTo>
                  <a:lnTo>
                    <a:pt x="2" y="3"/>
                  </a:lnTo>
                  <a:lnTo>
                    <a:pt x="1" y="10"/>
                  </a:lnTo>
                  <a:lnTo>
                    <a:pt x="0" y="15"/>
                  </a:lnTo>
                  <a:lnTo>
                    <a:pt x="5" y="10"/>
                  </a:lnTo>
                  <a:lnTo>
                    <a:pt x="8" y="10"/>
                  </a:lnTo>
                  <a:lnTo>
                    <a:pt x="8" y="6"/>
                  </a:lnTo>
                  <a:lnTo>
                    <a:pt x="10" y="1"/>
                  </a:lnTo>
                  <a:lnTo>
                    <a:pt x="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0" name="Freeform 274">
              <a:extLst>
                <a:ext uri="{FF2B5EF4-FFF2-40B4-BE49-F238E27FC236}">
                  <a16:creationId xmlns:a16="http://schemas.microsoft.com/office/drawing/2014/main" id="{44B8E008-ED78-A646-5261-96B3D3B78EB3}"/>
                </a:ext>
              </a:extLst>
            </p:cNvPr>
            <p:cNvSpPr>
              <a:spLocks noChangeAspect="1"/>
            </p:cNvSpPr>
            <p:nvPr userDrawn="1"/>
          </p:nvSpPr>
          <p:spPr bwMode="gray">
            <a:xfrm>
              <a:off x="3813446" y="2782546"/>
              <a:ext cx="5338" cy="8545"/>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w 10"/>
                <a:gd name="T11" fmla="*/ 0 h 15"/>
                <a:gd name="T12" fmla="*/ 0 w 10"/>
                <a:gd name="T13" fmla="*/ 0 h 15"/>
                <a:gd name="T14" fmla="*/ 0 w 10"/>
                <a:gd name="T15" fmla="*/ 0 h 15"/>
                <a:gd name="T16" fmla="*/ 0 w 1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5"/>
                <a:gd name="T29" fmla="*/ 10 w 10"/>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5">
                  <a:moveTo>
                    <a:pt x="5" y="0"/>
                  </a:moveTo>
                  <a:lnTo>
                    <a:pt x="2" y="3"/>
                  </a:lnTo>
                  <a:lnTo>
                    <a:pt x="1" y="10"/>
                  </a:lnTo>
                  <a:lnTo>
                    <a:pt x="0" y="15"/>
                  </a:lnTo>
                  <a:lnTo>
                    <a:pt x="5" y="10"/>
                  </a:lnTo>
                  <a:lnTo>
                    <a:pt x="8" y="10"/>
                  </a:lnTo>
                  <a:lnTo>
                    <a:pt x="8" y="6"/>
                  </a:lnTo>
                  <a:lnTo>
                    <a:pt x="10" y="1"/>
                  </a:lnTo>
                  <a:lnTo>
                    <a:pt x="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1" name="Freeform 275">
              <a:extLst>
                <a:ext uri="{FF2B5EF4-FFF2-40B4-BE49-F238E27FC236}">
                  <a16:creationId xmlns:a16="http://schemas.microsoft.com/office/drawing/2014/main" id="{083F4DA8-B14B-31DB-4DC0-1748847D8D7E}"/>
                </a:ext>
              </a:extLst>
            </p:cNvPr>
            <p:cNvSpPr>
              <a:spLocks noChangeAspect="1"/>
            </p:cNvSpPr>
            <p:nvPr userDrawn="1"/>
          </p:nvSpPr>
          <p:spPr bwMode="gray">
            <a:xfrm>
              <a:off x="3517210" y="3033208"/>
              <a:ext cx="2669" cy="2848"/>
            </a:xfrm>
            <a:custGeom>
              <a:avLst/>
              <a:gdLst>
                <a:gd name="T0" fmla="*/ 0 w 1"/>
                <a:gd name="T1" fmla="*/ 0 h 3"/>
                <a:gd name="T2" fmla="*/ 0 w 1"/>
                <a:gd name="T3" fmla="*/ 0 h 3"/>
                <a:gd name="T4" fmla="*/ 0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lnTo>
                    <a:pt x="0" y="0"/>
                  </a:lnTo>
                  <a:lnTo>
                    <a:pt x="0" y="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2" name="Freeform 276">
              <a:extLst>
                <a:ext uri="{FF2B5EF4-FFF2-40B4-BE49-F238E27FC236}">
                  <a16:creationId xmlns:a16="http://schemas.microsoft.com/office/drawing/2014/main" id="{9B6FC5A8-7AB9-2A99-F910-73B5664E86BF}"/>
                </a:ext>
              </a:extLst>
            </p:cNvPr>
            <p:cNvSpPr>
              <a:spLocks noChangeAspect="1"/>
            </p:cNvSpPr>
            <p:nvPr userDrawn="1"/>
          </p:nvSpPr>
          <p:spPr bwMode="gray">
            <a:xfrm>
              <a:off x="3514541" y="3027512"/>
              <a:ext cx="2669" cy="2848"/>
            </a:xfrm>
            <a:custGeom>
              <a:avLst/>
              <a:gdLst>
                <a:gd name="T0" fmla="*/ 0 w 5"/>
                <a:gd name="T1" fmla="*/ 0 h 6"/>
                <a:gd name="T2" fmla="*/ 0 w 5"/>
                <a:gd name="T3" fmla="*/ 0 h 6"/>
                <a:gd name="T4" fmla="*/ 0 w 5"/>
                <a:gd name="T5" fmla="*/ 0 h 6"/>
                <a:gd name="T6" fmla="*/ 0 w 5"/>
                <a:gd name="T7" fmla="*/ 0 h 6"/>
                <a:gd name="T8" fmla="*/ 0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2"/>
                  </a:moveTo>
                  <a:lnTo>
                    <a:pt x="0" y="0"/>
                  </a:lnTo>
                  <a:lnTo>
                    <a:pt x="3" y="2"/>
                  </a:lnTo>
                  <a:lnTo>
                    <a:pt x="5" y="6"/>
                  </a:lnTo>
                  <a:lnTo>
                    <a:pt x="3"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3" name="Freeform 277">
              <a:extLst>
                <a:ext uri="{FF2B5EF4-FFF2-40B4-BE49-F238E27FC236}">
                  <a16:creationId xmlns:a16="http://schemas.microsoft.com/office/drawing/2014/main" id="{D124591B-3521-ADD7-1C56-DAB39D549D95}"/>
                </a:ext>
              </a:extLst>
            </p:cNvPr>
            <p:cNvSpPr>
              <a:spLocks noChangeAspect="1"/>
            </p:cNvSpPr>
            <p:nvPr userDrawn="1"/>
          </p:nvSpPr>
          <p:spPr bwMode="gray">
            <a:xfrm>
              <a:off x="2124098" y="2571761"/>
              <a:ext cx="1689348" cy="965621"/>
            </a:xfrm>
            <a:custGeom>
              <a:avLst/>
              <a:gdLst>
                <a:gd name="T0" fmla="*/ 0 w 3166"/>
                <a:gd name="T1" fmla="*/ 0 h 1693"/>
                <a:gd name="T2" fmla="*/ 0 w 3166"/>
                <a:gd name="T3" fmla="*/ 0 h 1693"/>
                <a:gd name="T4" fmla="*/ 0 w 3166"/>
                <a:gd name="T5" fmla="*/ 0 h 1693"/>
                <a:gd name="T6" fmla="*/ 0 w 3166"/>
                <a:gd name="T7" fmla="*/ 0 h 1693"/>
                <a:gd name="T8" fmla="*/ 0 w 3166"/>
                <a:gd name="T9" fmla="*/ 0 h 1693"/>
                <a:gd name="T10" fmla="*/ 0 w 3166"/>
                <a:gd name="T11" fmla="*/ 0 h 1693"/>
                <a:gd name="T12" fmla="*/ 0 w 3166"/>
                <a:gd name="T13" fmla="*/ 0 h 1693"/>
                <a:gd name="T14" fmla="*/ 0 w 3166"/>
                <a:gd name="T15" fmla="*/ 0 h 1693"/>
                <a:gd name="T16" fmla="*/ 0 w 3166"/>
                <a:gd name="T17" fmla="*/ 0 h 1693"/>
                <a:gd name="T18" fmla="*/ 0 w 3166"/>
                <a:gd name="T19" fmla="*/ 0 h 1693"/>
                <a:gd name="T20" fmla="*/ 0 w 3166"/>
                <a:gd name="T21" fmla="*/ 0 h 1693"/>
                <a:gd name="T22" fmla="*/ 0 w 3166"/>
                <a:gd name="T23" fmla="*/ 0 h 1693"/>
                <a:gd name="T24" fmla="*/ 0 w 3166"/>
                <a:gd name="T25" fmla="*/ 0 h 1693"/>
                <a:gd name="T26" fmla="*/ 0 w 3166"/>
                <a:gd name="T27" fmla="*/ 0 h 1693"/>
                <a:gd name="T28" fmla="*/ 0 w 3166"/>
                <a:gd name="T29" fmla="*/ 0 h 1693"/>
                <a:gd name="T30" fmla="*/ 0 w 3166"/>
                <a:gd name="T31" fmla="*/ 0 h 1693"/>
                <a:gd name="T32" fmla="*/ 0 w 3166"/>
                <a:gd name="T33" fmla="*/ 0 h 1693"/>
                <a:gd name="T34" fmla="*/ 0 w 3166"/>
                <a:gd name="T35" fmla="*/ 0 h 1693"/>
                <a:gd name="T36" fmla="*/ 0 w 3166"/>
                <a:gd name="T37" fmla="*/ 0 h 1693"/>
                <a:gd name="T38" fmla="*/ 0 w 3166"/>
                <a:gd name="T39" fmla="*/ 0 h 1693"/>
                <a:gd name="T40" fmla="*/ 0 w 3166"/>
                <a:gd name="T41" fmla="*/ 0 h 1693"/>
                <a:gd name="T42" fmla="*/ 0 w 3166"/>
                <a:gd name="T43" fmla="*/ 0 h 1693"/>
                <a:gd name="T44" fmla="*/ 0 w 3166"/>
                <a:gd name="T45" fmla="*/ 0 h 1693"/>
                <a:gd name="T46" fmla="*/ 0 w 3166"/>
                <a:gd name="T47" fmla="*/ 0 h 1693"/>
                <a:gd name="T48" fmla="*/ 0 w 3166"/>
                <a:gd name="T49" fmla="*/ 0 h 1693"/>
                <a:gd name="T50" fmla="*/ 0 w 3166"/>
                <a:gd name="T51" fmla="*/ 0 h 1693"/>
                <a:gd name="T52" fmla="*/ 0 w 3166"/>
                <a:gd name="T53" fmla="*/ 0 h 1693"/>
                <a:gd name="T54" fmla="*/ 0 w 3166"/>
                <a:gd name="T55" fmla="*/ 0 h 1693"/>
                <a:gd name="T56" fmla="*/ 0 w 3166"/>
                <a:gd name="T57" fmla="*/ 0 h 1693"/>
                <a:gd name="T58" fmla="*/ 0 w 3166"/>
                <a:gd name="T59" fmla="*/ 0 h 1693"/>
                <a:gd name="T60" fmla="*/ 0 w 3166"/>
                <a:gd name="T61" fmla="*/ 0 h 1693"/>
                <a:gd name="T62" fmla="*/ 0 w 3166"/>
                <a:gd name="T63" fmla="*/ 0 h 1693"/>
                <a:gd name="T64" fmla="*/ 0 w 3166"/>
                <a:gd name="T65" fmla="*/ 0 h 1693"/>
                <a:gd name="T66" fmla="*/ 0 w 3166"/>
                <a:gd name="T67" fmla="*/ 0 h 1693"/>
                <a:gd name="T68" fmla="*/ 0 w 3166"/>
                <a:gd name="T69" fmla="*/ 0 h 1693"/>
                <a:gd name="T70" fmla="*/ 0 w 3166"/>
                <a:gd name="T71" fmla="*/ 0 h 1693"/>
                <a:gd name="T72" fmla="*/ 0 w 3166"/>
                <a:gd name="T73" fmla="*/ 0 h 1693"/>
                <a:gd name="T74" fmla="*/ 0 w 3166"/>
                <a:gd name="T75" fmla="*/ 0 h 1693"/>
                <a:gd name="T76" fmla="*/ 0 w 3166"/>
                <a:gd name="T77" fmla="*/ 0 h 1693"/>
                <a:gd name="T78" fmla="*/ 0 w 3166"/>
                <a:gd name="T79" fmla="*/ 0 h 1693"/>
                <a:gd name="T80" fmla="*/ 0 w 3166"/>
                <a:gd name="T81" fmla="*/ 0 h 1693"/>
                <a:gd name="T82" fmla="*/ 0 w 3166"/>
                <a:gd name="T83" fmla="*/ 0 h 1693"/>
                <a:gd name="T84" fmla="*/ 0 w 3166"/>
                <a:gd name="T85" fmla="*/ 0 h 1693"/>
                <a:gd name="T86" fmla="*/ 0 w 3166"/>
                <a:gd name="T87" fmla="*/ 0 h 1693"/>
                <a:gd name="T88" fmla="*/ 0 w 3166"/>
                <a:gd name="T89" fmla="*/ 0 h 1693"/>
                <a:gd name="T90" fmla="*/ 0 w 3166"/>
                <a:gd name="T91" fmla="*/ 0 h 1693"/>
                <a:gd name="T92" fmla="*/ 0 w 3166"/>
                <a:gd name="T93" fmla="*/ 0 h 1693"/>
                <a:gd name="T94" fmla="*/ 0 w 3166"/>
                <a:gd name="T95" fmla="*/ 0 h 1693"/>
                <a:gd name="T96" fmla="*/ 0 w 3166"/>
                <a:gd name="T97" fmla="*/ 0 h 1693"/>
                <a:gd name="T98" fmla="*/ 0 w 3166"/>
                <a:gd name="T99" fmla="*/ 0 h 1693"/>
                <a:gd name="T100" fmla="*/ 0 w 3166"/>
                <a:gd name="T101" fmla="*/ 0 h 1693"/>
                <a:gd name="T102" fmla="*/ 0 w 3166"/>
                <a:gd name="T103" fmla="*/ 0 h 1693"/>
                <a:gd name="T104" fmla="*/ 0 w 3166"/>
                <a:gd name="T105" fmla="*/ 0 h 1693"/>
                <a:gd name="T106" fmla="*/ 0 w 3166"/>
                <a:gd name="T107" fmla="*/ 0 h 1693"/>
                <a:gd name="T108" fmla="*/ 0 w 3166"/>
                <a:gd name="T109" fmla="*/ 0 h 1693"/>
                <a:gd name="T110" fmla="*/ 0 w 3166"/>
                <a:gd name="T111" fmla="*/ 0 h 1693"/>
                <a:gd name="T112" fmla="*/ 0 w 3166"/>
                <a:gd name="T113" fmla="*/ 0 h 1693"/>
                <a:gd name="T114" fmla="*/ 0 w 3166"/>
                <a:gd name="T115" fmla="*/ 0 h 1693"/>
                <a:gd name="T116" fmla="*/ 0 w 3166"/>
                <a:gd name="T117" fmla="*/ 0 h 1693"/>
                <a:gd name="T118" fmla="*/ 0 w 3166"/>
                <a:gd name="T119" fmla="*/ 0 h 169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166"/>
                <a:gd name="T181" fmla="*/ 0 h 1693"/>
                <a:gd name="T182" fmla="*/ 3166 w 3166"/>
                <a:gd name="T183" fmla="*/ 1693 h 169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4" name="Freeform 279">
              <a:extLst>
                <a:ext uri="{FF2B5EF4-FFF2-40B4-BE49-F238E27FC236}">
                  <a16:creationId xmlns:a16="http://schemas.microsoft.com/office/drawing/2014/main" id="{A94008D7-B437-7451-ABA9-7F78C6CE7C3B}"/>
                </a:ext>
              </a:extLst>
            </p:cNvPr>
            <p:cNvSpPr>
              <a:spLocks noChangeAspect="1"/>
            </p:cNvSpPr>
            <p:nvPr userDrawn="1"/>
          </p:nvSpPr>
          <p:spPr bwMode="gray">
            <a:xfrm>
              <a:off x="4137566" y="2361037"/>
              <a:ext cx="1492" cy="3049"/>
            </a:xfrm>
            <a:custGeom>
              <a:avLst/>
              <a:gdLst>
                <a:gd name="T0" fmla="*/ 0 w 3"/>
                <a:gd name="T1" fmla="*/ 0 h 2"/>
                <a:gd name="T2" fmla="*/ 0 w 3"/>
                <a:gd name="T3" fmla="*/ 2147483647 h 2"/>
                <a:gd name="T4" fmla="*/ 0 w 3"/>
                <a:gd name="T5" fmla="*/ 2147483647 h 2"/>
                <a:gd name="T6" fmla="*/ 0 w 3"/>
                <a:gd name="T7" fmla="*/ 0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0" y="0"/>
                  </a:moveTo>
                  <a:lnTo>
                    <a:pt x="0" y="1"/>
                  </a:lnTo>
                  <a:lnTo>
                    <a:pt x="3" y="2"/>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5" name="Freeform 280">
              <a:extLst>
                <a:ext uri="{FF2B5EF4-FFF2-40B4-BE49-F238E27FC236}">
                  <a16:creationId xmlns:a16="http://schemas.microsoft.com/office/drawing/2014/main" id="{D2C54985-CF94-142E-C0BA-FCFD471BB694}"/>
                </a:ext>
              </a:extLst>
            </p:cNvPr>
            <p:cNvSpPr>
              <a:spLocks noChangeAspect="1"/>
            </p:cNvSpPr>
            <p:nvPr userDrawn="1"/>
          </p:nvSpPr>
          <p:spPr bwMode="gray">
            <a:xfrm>
              <a:off x="4036087" y="2461635"/>
              <a:ext cx="194004" cy="237778"/>
            </a:xfrm>
            <a:custGeom>
              <a:avLst/>
              <a:gdLst>
                <a:gd name="T0" fmla="*/ 0 w 362"/>
                <a:gd name="T1" fmla="*/ 0 h 420"/>
                <a:gd name="T2" fmla="*/ 0 w 362"/>
                <a:gd name="T3" fmla="*/ 0 h 420"/>
                <a:gd name="T4" fmla="*/ 0 w 362"/>
                <a:gd name="T5" fmla="*/ 0 h 420"/>
                <a:gd name="T6" fmla="*/ 0 w 362"/>
                <a:gd name="T7" fmla="*/ 0 h 420"/>
                <a:gd name="T8" fmla="*/ 0 w 362"/>
                <a:gd name="T9" fmla="*/ 0 h 420"/>
                <a:gd name="T10" fmla="*/ 0 w 362"/>
                <a:gd name="T11" fmla="*/ 0 h 420"/>
                <a:gd name="T12" fmla="*/ 0 w 362"/>
                <a:gd name="T13" fmla="*/ 0 h 420"/>
                <a:gd name="T14" fmla="*/ 0 w 362"/>
                <a:gd name="T15" fmla="*/ 0 h 420"/>
                <a:gd name="T16" fmla="*/ 0 w 362"/>
                <a:gd name="T17" fmla="*/ 0 h 420"/>
                <a:gd name="T18" fmla="*/ 0 w 362"/>
                <a:gd name="T19" fmla="*/ 0 h 420"/>
                <a:gd name="T20" fmla="*/ 0 w 362"/>
                <a:gd name="T21" fmla="*/ 0 h 420"/>
                <a:gd name="T22" fmla="*/ 0 w 362"/>
                <a:gd name="T23" fmla="*/ 0 h 420"/>
                <a:gd name="T24" fmla="*/ 0 w 362"/>
                <a:gd name="T25" fmla="*/ 0 h 420"/>
                <a:gd name="T26" fmla="*/ 0 w 362"/>
                <a:gd name="T27" fmla="*/ 0 h 420"/>
                <a:gd name="T28" fmla="*/ 0 w 362"/>
                <a:gd name="T29" fmla="*/ 2147483647 h 420"/>
                <a:gd name="T30" fmla="*/ 0 w 362"/>
                <a:gd name="T31" fmla="*/ 2147483647 h 420"/>
                <a:gd name="T32" fmla="*/ 0 w 362"/>
                <a:gd name="T33" fmla="*/ 2147483647 h 420"/>
                <a:gd name="T34" fmla="*/ 0 w 362"/>
                <a:gd name="T35" fmla="*/ 2147483647 h 420"/>
                <a:gd name="T36" fmla="*/ 0 w 362"/>
                <a:gd name="T37" fmla="*/ 2147483647 h 420"/>
                <a:gd name="T38" fmla="*/ 0 w 362"/>
                <a:gd name="T39" fmla="*/ 2147483647 h 420"/>
                <a:gd name="T40" fmla="*/ 0 w 362"/>
                <a:gd name="T41" fmla="*/ 2147483647 h 420"/>
                <a:gd name="T42" fmla="*/ 0 w 362"/>
                <a:gd name="T43" fmla="*/ 2147483647 h 420"/>
                <a:gd name="T44" fmla="*/ 0 w 362"/>
                <a:gd name="T45" fmla="*/ 2147483647 h 420"/>
                <a:gd name="T46" fmla="*/ 0 w 362"/>
                <a:gd name="T47" fmla="*/ 2147483647 h 420"/>
                <a:gd name="T48" fmla="*/ 0 w 362"/>
                <a:gd name="T49" fmla="*/ 2147483647 h 420"/>
                <a:gd name="T50" fmla="*/ 0 w 362"/>
                <a:gd name="T51" fmla="*/ 2147483647 h 420"/>
                <a:gd name="T52" fmla="*/ 0 w 362"/>
                <a:gd name="T53" fmla="*/ 2147483647 h 420"/>
                <a:gd name="T54" fmla="*/ 0 w 362"/>
                <a:gd name="T55" fmla="*/ 2147483647 h 420"/>
                <a:gd name="T56" fmla="*/ 0 w 362"/>
                <a:gd name="T57" fmla="*/ 2147483647 h 420"/>
                <a:gd name="T58" fmla="*/ 0 w 362"/>
                <a:gd name="T59" fmla="*/ 2147483647 h 420"/>
                <a:gd name="T60" fmla="*/ 2147483647 w 362"/>
                <a:gd name="T61" fmla="*/ 2147483647 h 420"/>
                <a:gd name="T62" fmla="*/ 2147483647 w 362"/>
                <a:gd name="T63" fmla="*/ 2147483647 h 420"/>
                <a:gd name="T64" fmla="*/ 2147483647 w 362"/>
                <a:gd name="T65" fmla="*/ 2147483647 h 420"/>
                <a:gd name="T66" fmla="*/ 2147483647 w 362"/>
                <a:gd name="T67" fmla="*/ 2147483647 h 420"/>
                <a:gd name="T68" fmla="*/ 2147483647 w 362"/>
                <a:gd name="T69" fmla="*/ 2147483647 h 420"/>
                <a:gd name="T70" fmla="*/ 2147483647 w 362"/>
                <a:gd name="T71" fmla="*/ 0 h 420"/>
                <a:gd name="T72" fmla="*/ 2147483647 w 362"/>
                <a:gd name="T73" fmla="*/ 0 h 420"/>
                <a:gd name="T74" fmla="*/ 2147483647 w 362"/>
                <a:gd name="T75" fmla="*/ 2147483647 h 420"/>
                <a:gd name="T76" fmla="*/ 2147483647 w 362"/>
                <a:gd name="T77" fmla="*/ 2147483647 h 420"/>
                <a:gd name="T78" fmla="*/ 2147483647 w 362"/>
                <a:gd name="T79" fmla="*/ 0 h 420"/>
                <a:gd name="T80" fmla="*/ 2147483647 w 362"/>
                <a:gd name="T81" fmla="*/ 0 h 420"/>
                <a:gd name="T82" fmla="*/ 2147483647 w 362"/>
                <a:gd name="T83" fmla="*/ 0 h 420"/>
                <a:gd name="T84" fmla="*/ 0 w 362"/>
                <a:gd name="T85" fmla="*/ 0 h 420"/>
                <a:gd name="T86" fmla="*/ 0 w 362"/>
                <a:gd name="T87" fmla="*/ 0 h 420"/>
                <a:gd name="T88" fmla="*/ 0 w 362"/>
                <a:gd name="T89" fmla="*/ 0 h 420"/>
                <a:gd name="T90" fmla="*/ 2147483647 w 362"/>
                <a:gd name="T91" fmla="*/ 0 h 420"/>
                <a:gd name="T92" fmla="*/ 0 w 362"/>
                <a:gd name="T93" fmla="*/ 0 h 420"/>
                <a:gd name="T94" fmla="*/ 0 w 362"/>
                <a:gd name="T95" fmla="*/ 0 h 420"/>
                <a:gd name="T96" fmla="*/ 0 w 362"/>
                <a:gd name="T97" fmla="*/ 0 h 420"/>
                <a:gd name="T98" fmla="*/ 0 w 362"/>
                <a:gd name="T99" fmla="*/ 0 h 420"/>
                <a:gd name="T100" fmla="*/ 0 w 362"/>
                <a:gd name="T101" fmla="*/ 0 h 420"/>
                <a:gd name="T102" fmla="*/ 0 w 362"/>
                <a:gd name="T103" fmla="*/ 0 h 420"/>
                <a:gd name="T104" fmla="*/ 0 w 362"/>
                <a:gd name="T105" fmla="*/ 0 h 420"/>
                <a:gd name="T106" fmla="*/ 0 w 362"/>
                <a:gd name="T107" fmla="*/ 0 h 420"/>
                <a:gd name="T108" fmla="*/ 0 w 362"/>
                <a:gd name="T109" fmla="*/ 0 h 420"/>
                <a:gd name="T110" fmla="*/ 0 w 362"/>
                <a:gd name="T111" fmla="*/ 0 h 420"/>
                <a:gd name="T112" fmla="*/ 0 w 362"/>
                <a:gd name="T113" fmla="*/ 0 h 420"/>
                <a:gd name="T114" fmla="*/ 0 w 362"/>
                <a:gd name="T115" fmla="*/ 0 h 420"/>
                <a:gd name="T116" fmla="*/ 0 w 362"/>
                <a:gd name="T117" fmla="*/ 0 h 420"/>
                <a:gd name="T118" fmla="*/ 0 w 362"/>
                <a:gd name="T119" fmla="*/ 0 h 4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62"/>
                <a:gd name="T181" fmla="*/ 0 h 420"/>
                <a:gd name="T182" fmla="*/ 362 w 362"/>
                <a:gd name="T183" fmla="*/ 420 h 4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6" name="Freeform 281">
              <a:extLst>
                <a:ext uri="{FF2B5EF4-FFF2-40B4-BE49-F238E27FC236}">
                  <a16:creationId xmlns:a16="http://schemas.microsoft.com/office/drawing/2014/main" id="{93C1F92C-9D9F-4A18-779C-B64532B2C126}"/>
                </a:ext>
              </a:extLst>
            </p:cNvPr>
            <p:cNvSpPr>
              <a:spLocks noChangeAspect="1"/>
            </p:cNvSpPr>
            <p:nvPr userDrawn="1"/>
          </p:nvSpPr>
          <p:spPr bwMode="gray">
            <a:xfrm>
              <a:off x="2013963" y="2498217"/>
              <a:ext cx="146250" cy="121938"/>
            </a:xfrm>
            <a:custGeom>
              <a:avLst/>
              <a:gdLst>
                <a:gd name="T0" fmla="*/ 0 w 275"/>
                <a:gd name="T1" fmla="*/ 0 h 214"/>
                <a:gd name="T2" fmla="*/ 0 w 275"/>
                <a:gd name="T3" fmla="*/ 0 h 214"/>
                <a:gd name="T4" fmla="*/ 0 w 275"/>
                <a:gd name="T5" fmla="*/ 0 h 214"/>
                <a:gd name="T6" fmla="*/ 0 w 275"/>
                <a:gd name="T7" fmla="*/ 0 h 214"/>
                <a:gd name="T8" fmla="*/ 0 w 275"/>
                <a:gd name="T9" fmla="*/ 0 h 214"/>
                <a:gd name="T10" fmla="*/ 0 w 275"/>
                <a:gd name="T11" fmla="*/ 0 h 214"/>
                <a:gd name="T12" fmla="*/ 0 w 275"/>
                <a:gd name="T13" fmla="*/ 0 h 214"/>
                <a:gd name="T14" fmla="*/ 0 w 275"/>
                <a:gd name="T15" fmla="*/ 0 h 214"/>
                <a:gd name="T16" fmla="*/ 0 w 275"/>
                <a:gd name="T17" fmla="*/ 0 h 214"/>
                <a:gd name="T18" fmla="*/ 0 w 275"/>
                <a:gd name="T19" fmla="*/ 0 h 214"/>
                <a:gd name="T20" fmla="*/ 0 w 275"/>
                <a:gd name="T21" fmla="*/ 0 h 214"/>
                <a:gd name="T22" fmla="*/ 0 w 275"/>
                <a:gd name="T23" fmla="*/ 0 h 214"/>
                <a:gd name="T24" fmla="*/ 0 w 275"/>
                <a:gd name="T25" fmla="*/ 0 h 214"/>
                <a:gd name="T26" fmla="*/ 0 w 275"/>
                <a:gd name="T27" fmla="*/ 0 h 214"/>
                <a:gd name="T28" fmla="*/ 0 w 275"/>
                <a:gd name="T29" fmla="*/ 0 h 214"/>
                <a:gd name="T30" fmla="*/ 0 w 275"/>
                <a:gd name="T31" fmla="*/ 0 h 214"/>
                <a:gd name="T32" fmla="*/ 0 w 275"/>
                <a:gd name="T33" fmla="*/ 0 h 214"/>
                <a:gd name="T34" fmla="*/ 0 w 275"/>
                <a:gd name="T35" fmla="*/ 0 h 214"/>
                <a:gd name="T36" fmla="*/ 0 w 275"/>
                <a:gd name="T37" fmla="*/ 0 h 214"/>
                <a:gd name="T38" fmla="*/ 0 w 275"/>
                <a:gd name="T39" fmla="*/ 0 h 214"/>
                <a:gd name="T40" fmla="*/ 0 w 275"/>
                <a:gd name="T41" fmla="*/ 0 h 214"/>
                <a:gd name="T42" fmla="*/ 0 w 275"/>
                <a:gd name="T43" fmla="*/ 0 h 214"/>
                <a:gd name="T44" fmla="*/ 0 w 275"/>
                <a:gd name="T45" fmla="*/ 0 h 214"/>
                <a:gd name="T46" fmla="*/ 0 w 275"/>
                <a:gd name="T47" fmla="*/ 0 h 214"/>
                <a:gd name="T48" fmla="*/ 0 w 275"/>
                <a:gd name="T49" fmla="*/ 0 h 214"/>
                <a:gd name="T50" fmla="*/ 0 w 275"/>
                <a:gd name="T51" fmla="*/ 0 h 214"/>
                <a:gd name="T52" fmla="*/ 0 w 275"/>
                <a:gd name="T53" fmla="*/ 0 h 214"/>
                <a:gd name="T54" fmla="*/ 0 w 275"/>
                <a:gd name="T55" fmla="*/ 0 h 214"/>
                <a:gd name="T56" fmla="*/ 0 w 275"/>
                <a:gd name="T57" fmla="*/ 0 h 214"/>
                <a:gd name="T58" fmla="*/ 0 w 275"/>
                <a:gd name="T59" fmla="*/ 0 h 214"/>
                <a:gd name="T60" fmla="*/ 0 w 275"/>
                <a:gd name="T61" fmla="*/ 0 h 214"/>
                <a:gd name="T62" fmla="*/ 0 w 275"/>
                <a:gd name="T63" fmla="*/ 0 h 214"/>
                <a:gd name="T64" fmla="*/ 0 w 275"/>
                <a:gd name="T65" fmla="*/ 0 h 214"/>
                <a:gd name="T66" fmla="*/ 0 w 275"/>
                <a:gd name="T67" fmla="*/ 0 h 214"/>
                <a:gd name="T68" fmla="*/ 0 w 275"/>
                <a:gd name="T69" fmla="*/ 0 h 214"/>
                <a:gd name="T70" fmla="*/ 0 w 275"/>
                <a:gd name="T71" fmla="*/ 0 h 214"/>
                <a:gd name="T72" fmla="*/ 0 w 275"/>
                <a:gd name="T73" fmla="*/ 0 h 214"/>
                <a:gd name="T74" fmla="*/ 0 w 275"/>
                <a:gd name="T75" fmla="*/ 0 h 214"/>
                <a:gd name="T76" fmla="*/ 0 w 275"/>
                <a:gd name="T77" fmla="*/ 0 h 214"/>
                <a:gd name="T78" fmla="*/ 0 w 275"/>
                <a:gd name="T79" fmla="*/ 0 h 214"/>
                <a:gd name="T80" fmla="*/ 0 w 275"/>
                <a:gd name="T81" fmla="*/ 0 h 214"/>
                <a:gd name="T82" fmla="*/ 0 w 275"/>
                <a:gd name="T83" fmla="*/ 0 h 214"/>
                <a:gd name="T84" fmla="*/ 0 w 275"/>
                <a:gd name="T85" fmla="*/ 0 h 214"/>
                <a:gd name="T86" fmla="*/ 0 w 275"/>
                <a:gd name="T87" fmla="*/ 0 h 214"/>
                <a:gd name="T88" fmla="*/ 0 w 275"/>
                <a:gd name="T89" fmla="*/ 0 h 214"/>
                <a:gd name="T90" fmla="*/ 0 w 275"/>
                <a:gd name="T91" fmla="*/ 0 h 214"/>
                <a:gd name="T92" fmla="*/ 0 w 275"/>
                <a:gd name="T93" fmla="*/ 0 h 214"/>
                <a:gd name="T94" fmla="*/ 0 w 275"/>
                <a:gd name="T95" fmla="*/ 0 h 214"/>
                <a:gd name="T96" fmla="*/ 0 w 275"/>
                <a:gd name="T97" fmla="*/ 0 h 214"/>
                <a:gd name="T98" fmla="*/ 0 w 275"/>
                <a:gd name="T99" fmla="*/ 0 h 214"/>
                <a:gd name="T100" fmla="*/ 0 w 275"/>
                <a:gd name="T101" fmla="*/ 0 h 214"/>
                <a:gd name="T102" fmla="*/ 0 w 275"/>
                <a:gd name="T103" fmla="*/ 0 h 214"/>
                <a:gd name="T104" fmla="*/ 0 w 275"/>
                <a:gd name="T105" fmla="*/ 0 h 214"/>
                <a:gd name="T106" fmla="*/ 0 w 275"/>
                <a:gd name="T107" fmla="*/ 0 h 214"/>
                <a:gd name="T108" fmla="*/ 0 w 275"/>
                <a:gd name="T109" fmla="*/ 0 h 214"/>
                <a:gd name="T110" fmla="*/ 0 w 275"/>
                <a:gd name="T111" fmla="*/ 0 h 214"/>
                <a:gd name="T112" fmla="*/ 0 w 275"/>
                <a:gd name="T113" fmla="*/ 0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5"/>
                <a:gd name="T172" fmla="*/ 0 h 214"/>
                <a:gd name="T173" fmla="*/ 275 w 275"/>
                <a:gd name="T174" fmla="*/ 214 h 21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7" name="Freeform 282">
              <a:extLst>
                <a:ext uri="{FF2B5EF4-FFF2-40B4-BE49-F238E27FC236}">
                  <a16:creationId xmlns:a16="http://schemas.microsoft.com/office/drawing/2014/main" id="{B40AC012-F95F-3020-8607-B769261F2648}"/>
                </a:ext>
              </a:extLst>
            </p:cNvPr>
            <p:cNvSpPr>
              <a:spLocks noChangeAspect="1"/>
            </p:cNvSpPr>
            <p:nvPr userDrawn="1"/>
          </p:nvSpPr>
          <p:spPr bwMode="gray">
            <a:xfrm>
              <a:off x="2860121" y="1262076"/>
              <a:ext cx="126849" cy="124985"/>
            </a:xfrm>
            <a:custGeom>
              <a:avLst/>
              <a:gdLst>
                <a:gd name="T0" fmla="*/ 0 w 236"/>
                <a:gd name="T1" fmla="*/ 0 h 221"/>
                <a:gd name="T2" fmla="*/ 0 w 236"/>
                <a:gd name="T3" fmla="*/ 0 h 221"/>
                <a:gd name="T4" fmla="*/ 0 w 236"/>
                <a:gd name="T5" fmla="*/ 0 h 221"/>
                <a:gd name="T6" fmla="*/ 0 w 236"/>
                <a:gd name="T7" fmla="*/ 0 h 221"/>
                <a:gd name="T8" fmla="*/ 0 w 236"/>
                <a:gd name="T9" fmla="*/ 0 h 221"/>
                <a:gd name="T10" fmla="*/ 0 w 236"/>
                <a:gd name="T11" fmla="*/ 0 h 221"/>
                <a:gd name="T12" fmla="*/ 0 w 236"/>
                <a:gd name="T13" fmla="*/ 0 h 221"/>
                <a:gd name="T14" fmla="*/ 0 w 236"/>
                <a:gd name="T15" fmla="*/ 0 h 221"/>
                <a:gd name="T16" fmla="*/ 0 w 236"/>
                <a:gd name="T17" fmla="*/ 0 h 221"/>
                <a:gd name="T18" fmla="*/ 0 w 236"/>
                <a:gd name="T19" fmla="*/ 0 h 221"/>
                <a:gd name="T20" fmla="*/ 0 w 236"/>
                <a:gd name="T21" fmla="*/ 0 h 221"/>
                <a:gd name="T22" fmla="*/ 0 w 236"/>
                <a:gd name="T23" fmla="*/ 0 h 221"/>
                <a:gd name="T24" fmla="*/ 0 w 236"/>
                <a:gd name="T25" fmla="*/ 0 h 221"/>
                <a:gd name="T26" fmla="*/ 0 w 236"/>
                <a:gd name="T27" fmla="*/ 0 h 221"/>
                <a:gd name="T28" fmla="*/ 0 w 236"/>
                <a:gd name="T29" fmla="*/ 0 h 221"/>
                <a:gd name="T30" fmla="*/ 0 w 236"/>
                <a:gd name="T31" fmla="*/ 0 h 221"/>
                <a:gd name="T32" fmla="*/ 0 w 236"/>
                <a:gd name="T33" fmla="*/ 0 h 221"/>
                <a:gd name="T34" fmla="*/ 0 w 236"/>
                <a:gd name="T35" fmla="*/ 0 h 221"/>
                <a:gd name="T36" fmla="*/ 0 w 236"/>
                <a:gd name="T37" fmla="*/ 0 h 221"/>
                <a:gd name="T38" fmla="*/ 0 w 236"/>
                <a:gd name="T39" fmla="*/ 0 h 221"/>
                <a:gd name="T40" fmla="*/ 0 w 236"/>
                <a:gd name="T41" fmla="*/ 0 h 221"/>
                <a:gd name="T42" fmla="*/ 0 w 236"/>
                <a:gd name="T43" fmla="*/ 0 h 221"/>
                <a:gd name="T44" fmla="*/ 0 w 236"/>
                <a:gd name="T45" fmla="*/ 0 h 221"/>
                <a:gd name="T46" fmla="*/ 0 w 236"/>
                <a:gd name="T47" fmla="*/ 0 h 221"/>
                <a:gd name="T48" fmla="*/ 0 w 236"/>
                <a:gd name="T49" fmla="*/ 0 h 221"/>
                <a:gd name="T50" fmla="*/ 0 w 236"/>
                <a:gd name="T51" fmla="*/ 0 h 221"/>
                <a:gd name="T52" fmla="*/ 0 w 236"/>
                <a:gd name="T53" fmla="*/ 0 h 221"/>
                <a:gd name="T54" fmla="*/ 0 w 236"/>
                <a:gd name="T55" fmla="*/ 0 h 221"/>
                <a:gd name="T56" fmla="*/ 0 w 236"/>
                <a:gd name="T57" fmla="*/ 0 h 221"/>
                <a:gd name="T58" fmla="*/ 0 w 236"/>
                <a:gd name="T59" fmla="*/ 0 h 221"/>
                <a:gd name="T60" fmla="*/ 0 w 236"/>
                <a:gd name="T61" fmla="*/ 0 h 221"/>
                <a:gd name="T62" fmla="*/ 0 w 236"/>
                <a:gd name="T63" fmla="*/ 0 h 221"/>
                <a:gd name="T64" fmla="*/ 0 w 236"/>
                <a:gd name="T65" fmla="*/ 0 h 221"/>
                <a:gd name="T66" fmla="*/ 0 w 236"/>
                <a:gd name="T67" fmla="*/ 0 h 221"/>
                <a:gd name="T68" fmla="*/ 0 w 236"/>
                <a:gd name="T69" fmla="*/ 0 h 22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6"/>
                <a:gd name="T106" fmla="*/ 0 h 221"/>
                <a:gd name="T107" fmla="*/ 236 w 236"/>
                <a:gd name="T108" fmla="*/ 221 h 22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8" name="Freeform 283">
              <a:extLst>
                <a:ext uri="{FF2B5EF4-FFF2-40B4-BE49-F238E27FC236}">
                  <a16:creationId xmlns:a16="http://schemas.microsoft.com/office/drawing/2014/main" id="{C17B1472-AEEE-1DDC-AA6B-A81BF9642296}"/>
                </a:ext>
              </a:extLst>
            </p:cNvPr>
            <p:cNvSpPr>
              <a:spLocks noChangeAspect="1"/>
            </p:cNvSpPr>
            <p:nvPr userDrawn="1"/>
          </p:nvSpPr>
          <p:spPr bwMode="gray">
            <a:xfrm>
              <a:off x="2084104" y="777375"/>
              <a:ext cx="310407" cy="370385"/>
            </a:xfrm>
            <a:custGeom>
              <a:avLst/>
              <a:gdLst>
                <a:gd name="T0" fmla="*/ 0 w 582"/>
                <a:gd name="T1" fmla="*/ 0 h 653"/>
                <a:gd name="T2" fmla="*/ 0 w 582"/>
                <a:gd name="T3" fmla="*/ 0 h 653"/>
                <a:gd name="T4" fmla="*/ 0 w 582"/>
                <a:gd name="T5" fmla="*/ 0 h 653"/>
                <a:gd name="T6" fmla="*/ 0 w 582"/>
                <a:gd name="T7" fmla="*/ 0 h 653"/>
                <a:gd name="T8" fmla="*/ 0 w 582"/>
                <a:gd name="T9" fmla="*/ 0 h 653"/>
                <a:gd name="T10" fmla="*/ 0 w 582"/>
                <a:gd name="T11" fmla="*/ 0 h 653"/>
                <a:gd name="T12" fmla="*/ 0 w 582"/>
                <a:gd name="T13" fmla="*/ 0 h 653"/>
                <a:gd name="T14" fmla="*/ 0 w 582"/>
                <a:gd name="T15" fmla="*/ 2147483647 h 653"/>
                <a:gd name="T16" fmla="*/ 0 w 582"/>
                <a:gd name="T17" fmla="*/ 2147483647 h 653"/>
                <a:gd name="T18" fmla="*/ 0 w 582"/>
                <a:gd name="T19" fmla="*/ 2147483647 h 653"/>
                <a:gd name="T20" fmla="*/ 0 w 582"/>
                <a:gd name="T21" fmla="*/ 2147483647 h 653"/>
                <a:gd name="T22" fmla="*/ 0 w 582"/>
                <a:gd name="T23" fmla="*/ 2147483647 h 653"/>
                <a:gd name="T24" fmla="*/ 0 w 582"/>
                <a:gd name="T25" fmla="*/ 2147483647 h 653"/>
                <a:gd name="T26" fmla="*/ 0 w 582"/>
                <a:gd name="T27" fmla="*/ 2147483647 h 653"/>
                <a:gd name="T28" fmla="*/ 0 w 582"/>
                <a:gd name="T29" fmla="*/ 2147483647 h 653"/>
                <a:gd name="T30" fmla="*/ 0 w 582"/>
                <a:gd name="T31" fmla="*/ 2147483647 h 653"/>
                <a:gd name="T32" fmla="*/ 0 w 582"/>
                <a:gd name="T33" fmla="*/ 2147483647 h 653"/>
                <a:gd name="T34" fmla="*/ 0 w 582"/>
                <a:gd name="T35" fmla="*/ 2147483647 h 653"/>
                <a:gd name="T36" fmla="*/ 0 w 582"/>
                <a:gd name="T37" fmla="*/ 2147483647 h 653"/>
                <a:gd name="T38" fmla="*/ 0 w 582"/>
                <a:gd name="T39" fmla="*/ 2147483647 h 653"/>
                <a:gd name="T40" fmla="*/ 0 w 582"/>
                <a:gd name="T41" fmla="*/ 2147483647 h 653"/>
                <a:gd name="T42" fmla="*/ 0 w 582"/>
                <a:gd name="T43" fmla="*/ 2147483647 h 653"/>
                <a:gd name="T44" fmla="*/ 0 w 582"/>
                <a:gd name="T45" fmla="*/ 2147483647 h 653"/>
                <a:gd name="T46" fmla="*/ 0 w 582"/>
                <a:gd name="T47" fmla="*/ 2147483647 h 653"/>
                <a:gd name="T48" fmla="*/ 0 w 582"/>
                <a:gd name="T49" fmla="*/ 2147483647 h 653"/>
                <a:gd name="T50" fmla="*/ 0 w 582"/>
                <a:gd name="T51" fmla="*/ 2147483647 h 653"/>
                <a:gd name="T52" fmla="*/ 0 w 582"/>
                <a:gd name="T53" fmla="*/ 2147483647 h 653"/>
                <a:gd name="T54" fmla="*/ 0 w 582"/>
                <a:gd name="T55" fmla="*/ 2147483647 h 653"/>
                <a:gd name="T56" fmla="*/ 0 w 582"/>
                <a:gd name="T57" fmla="*/ 2147483647 h 653"/>
                <a:gd name="T58" fmla="*/ 0 w 582"/>
                <a:gd name="T59" fmla="*/ 2147483647 h 653"/>
                <a:gd name="T60" fmla="*/ 0 w 582"/>
                <a:gd name="T61" fmla="*/ 2147483647 h 653"/>
                <a:gd name="T62" fmla="*/ 2147483647 w 582"/>
                <a:gd name="T63" fmla="*/ 2147483647 h 653"/>
                <a:gd name="T64" fmla="*/ 2147483647 w 582"/>
                <a:gd name="T65" fmla="*/ 2147483647 h 653"/>
                <a:gd name="T66" fmla="*/ 2147483647 w 582"/>
                <a:gd name="T67" fmla="*/ 2147483647 h 653"/>
                <a:gd name="T68" fmla="*/ 2147483647 w 582"/>
                <a:gd name="T69" fmla="*/ 2147483647 h 653"/>
                <a:gd name="T70" fmla="*/ 2147483647 w 582"/>
                <a:gd name="T71" fmla="*/ 2147483647 h 653"/>
                <a:gd name="T72" fmla="*/ 2147483647 w 582"/>
                <a:gd name="T73" fmla="*/ 0 h 653"/>
                <a:gd name="T74" fmla="*/ 2147483647 w 582"/>
                <a:gd name="T75" fmla="*/ 0 h 653"/>
                <a:gd name="T76" fmla="*/ 2147483647 w 582"/>
                <a:gd name="T77" fmla="*/ 0 h 653"/>
                <a:gd name="T78" fmla="*/ 2147483647 w 582"/>
                <a:gd name="T79" fmla="*/ 0 h 653"/>
                <a:gd name="T80" fmla="*/ 2147483647 w 582"/>
                <a:gd name="T81" fmla="*/ 0 h 653"/>
                <a:gd name="T82" fmla="*/ 2147483647 w 582"/>
                <a:gd name="T83" fmla="*/ 0 h 653"/>
                <a:gd name="T84" fmla="*/ 2147483647 w 582"/>
                <a:gd name="T85" fmla="*/ 0 h 653"/>
                <a:gd name="T86" fmla="*/ 2147483647 w 582"/>
                <a:gd name="T87" fmla="*/ 0 h 653"/>
                <a:gd name="T88" fmla="*/ 2147483647 w 582"/>
                <a:gd name="T89" fmla="*/ 0 h 653"/>
                <a:gd name="T90" fmla="*/ 2147483647 w 582"/>
                <a:gd name="T91" fmla="*/ 0 h 653"/>
                <a:gd name="T92" fmla="*/ 2147483647 w 582"/>
                <a:gd name="T93" fmla="*/ 0 h 653"/>
                <a:gd name="T94" fmla="*/ 2147483647 w 582"/>
                <a:gd name="T95" fmla="*/ 0 h 653"/>
                <a:gd name="T96" fmla="*/ 0 w 582"/>
                <a:gd name="T97" fmla="*/ 0 h 653"/>
                <a:gd name="T98" fmla="*/ 0 w 582"/>
                <a:gd name="T99" fmla="*/ 0 h 653"/>
                <a:gd name="T100" fmla="*/ 0 w 582"/>
                <a:gd name="T101" fmla="*/ 0 h 653"/>
                <a:gd name="T102" fmla="*/ 0 w 582"/>
                <a:gd name="T103" fmla="*/ 0 h 653"/>
                <a:gd name="T104" fmla="*/ 0 w 582"/>
                <a:gd name="T105" fmla="*/ 0 h 653"/>
                <a:gd name="T106" fmla="*/ 0 w 582"/>
                <a:gd name="T107" fmla="*/ 0 h 653"/>
                <a:gd name="T108" fmla="*/ 0 w 582"/>
                <a:gd name="T109" fmla="*/ 0 h 653"/>
                <a:gd name="T110" fmla="*/ 0 w 582"/>
                <a:gd name="T111" fmla="*/ 0 h 653"/>
                <a:gd name="T112" fmla="*/ 0 w 582"/>
                <a:gd name="T113" fmla="*/ 0 h 653"/>
                <a:gd name="T114" fmla="*/ 0 w 582"/>
                <a:gd name="T115" fmla="*/ 0 h 653"/>
                <a:gd name="T116" fmla="*/ 0 w 582"/>
                <a:gd name="T117" fmla="*/ 0 h 6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82"/>
                <a:gd name="T178" fmla="*/ 0 h 653"/>
                <a:gd name="T179" fmla="*/ 582 w 582"/>
                <a:gd name="T180" fmla="*/ 653 h 6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59" name="Freeform 284">
              <a:extLst>
                <a:ext uri="{FF2B5EF4-FFF2-40B4-BE49-F238E27FC236}">
                  <a16:creationId xmlns:a16="http://schemas.microsoft.com/office/drawing/2014/main" id="{A3AAD033-598F-70FD-FEF9-1F44EAD211AD}"/>
                </a:ext>
              </a:extLst>
            </p:cNvPr>
            <p:cNvSpPr>
              <a:spLocks noChangeAspect="1"/>
            </p:cNvSpPr>
            <p:nvPr userDrawn="1"/>
          </p:nvSpPr>
          <p:spPr bwMode="gray">
            <a:xfrm>
              <a:off x="2287062" y="917603"/>
              <a:ext cx="532766" cy="466411"/>
            </a:xfrm>
            <a:custGeom>
              <a:avLst/>
              <a:gdLst>
                <a:gd name="T0" fmla="*/ 0 w 999"/>
                <a:gd name="T1" fmla="*/ 2147483647 h 819"/>
                <a:gd name="T2" fmla="*/ 0 w 999"/>
                <a:gd name="T3" fmla="*/ 2147483647 h 819"/>
                <a:gd name="T4" fmla="*/ 2147483647 w 999"/>
                <a:gd name="T5" fmla="*/ 2147483647 h 819"/>
                <a:gd name="T6" fmla="*/ 2147483647 w 999"/>
                <a:gd name="T7" fmla="*/ 2147483647 h 819"/>
                <a:gd name="T8" fmla="*/ 0 w 999"/>
                <a:gd name="T9" fmla="*/ 2147483647 h 819"/>
                <a:gd name="T10" fmla="*/ 0 w 999"/>
                <a:gd name="T11" fmla="*/ 2147483647 h 819"/>
                <a:gd name="T12" fmla="*/ 0 w 999"/>
                <a:gd name="T13" fmla="*/ 2147483647 h 819"/>
                <a:gd name="T14" fmla="*/ 0 w 999"/>
                <a:gd name="T15" fmla="*/ 2147483647 h 819"/>
                <a:gd name="T16" fmla="*/ 0 w 999"/>
                <a:gd name="T17" fmla="*/ 2147483647 h 819"/>
                <a:gd name="T18" fmla="*/ 0 w 999"/>
                <a:gd name="T19" fmla="*/ 2147483647 h 819"/>
                <a:gd name="T20" fmla="*/ 0 w 999"/>
                <a:gd name="T21" fmla="*/ 2147483647 h 819"/>
                <a:gd name="T22" fmla="*/ 0 w 999"/>
                <a:gd name="T23" fmla="*/ 0 h 819"/>
                <a:gd name="T24" fmla="*/ 0 w 999"/>
                <a:gd name="T25" fmla="*/ 0 h 819"/>
                <a:gd name="T26" fmla="*/ 0 w 999"/>
                <a:gd name="T27" fmla="*/ 0 h 819"/>
                <a:gd name="T28" fmla="*/ 0 w 999"/>
                <a:gd name="T29" fmla="*/ 0 h 819"/>
                <a:gd name="T30" fmla="*/ 0 w 999"/>
                <a:gd name="T31" fmla="*/ 0 h 819"/>
                <a:gd name="T32" fmla="*/ 0 w 999"/>
                <a:gd name="T33" fmla="*/ 0 h 819"/>
                <a:gd name="T34" fmla="*/ 0 w 999"/>
                <a:gd name="T35" fmla="*/ 0 h 819"/>
                <a:gd name="T36" fmla="*/ 2147483647 w 999"/>
                <a:gd name="T37" fmla="*/ 0 h 819"/>
                <a:gd name="T38" fmla="*/ 2147483647 w 999"/>
                <a:gd name="T39" fmla="*/ 0 h 819"/>
                <a:gd name="T40" fmla="*/ 2147483647 w 999"/>
                <a:gd name="T41" fmla="*/ 0 h 819"/>
                <a:gd name="T42" fmla="*/ 2147483647 w 999"/>
                <a:gd name="T43" fmla="*/ 0 h 819"/>
                <a:gd name="T44" fmla="*/ 2147483647 w 999"/>
                <a:gd name="T45" fmla="*/ 0 h 819"/>
                <a:gd name="T46" fmla="*/ 2147483647 w 999"/>
                <a:gd name="T47" fmla="*/ 0 h 819"/>
                <a:gd name="T48" fmla="*/ 2147483647 w 999"/>
                <a:gd name="T49" fmla="*/ 0 h 819"/>
                <a:gd name="T50" fmla="*/ 2147483647 w 999"/>
                <a:gd name="T51" fmla="*/ 0 h 819"/>
                <a:gd name="T52" fmla="*/ 2147483647 w 999"/>
                <a:gd name="T53" fmla="*/ 0 h 819"/>
                <a:gd name="T54" fmla="*/ 2147483647 w 999"/>
                <a:gd name="T55" fmla="*/ 0 h 819"/>
                <a:gd name="T56" fmla="*/ 2147483647 w 999"/>
                <a:gd name="T57" fmla="*/ 0 h 819"/>
                <a:gd name="T58" fmla="*/ 2147483647 w 999"/>
                <a:gd name="T59" fmla="*/ 0 h 819"/>
                <a:gd name="T60" fmla="*/ 2147483647 w 999"/>
                <a:gd name="T61" fmla="*/ 0 h 819"/>
                <a:gd name="T62" fmla="*/ 2147483647 w 999"/>
                <a:gd name="T63" fmla="*/ 0 h 819"/>
                <a:gd name="T64" fmla="*/ 2147483647 w 999"/>
                <a:gd name="T65" fmla="*/ 0 h 819"/>
                <a:gd name="T66" fmla="*/ 2147483647 w 999"/>
                <a:gd name="T67" fmla="*/ 0 h 819"/>
                <a:gd name="T68" fmla="*/ 2147483647 w 999"/>
                <a:gd name="T69" fmla="*/ 0 h 819"/>
                <a:gd name="T70" fmla="*/ 2147483647 w 999"/>
                <a:gd name="T71" fmla="*/ 2147483647 h 819"/>
                <a:gd name="T72" fmla="*/ 2147483647 w 999"/>
                <a:gd name="T73" fmla="*/ 2147483647 h 819"/>
                <a:gd name="T74" fmla="*/ 2147483647 w 999"/>
                <a:gd name="T75" fmla="*/ 2147483647 h 819"/>
                <a:gd name="T76" fmla="*/ 2147483647 w 999"/>
                <a:gd name="T77" fmla="*/ 2147483647 h 819"/>
                <a:gd name="T78" fmla="*/ 2147483647 w 999"/>
                <a:gd name="T79" fmla="*/ 2147483647 h 819"/>
                <a:gd name="T80" fmla="*/ 2147483647 w 999"/>
                <a:gd name="T81" fmla="*/ 2147483647 h 819"/>
                <a:gd name="T82" fmla="*/ 2147483647 w 999"/>
                <a:gd name="T83" fmla="*/ 2147483647 h 819"/>
                <a:gd name="T84" fmla="*/ 2147483647 w 999"/>
                <a:gd name="T85" fmla="*/ 2147483647 h 819"/>
                <a:gd name="T86" fmla="*/ 2147483647 w 999"/>
                <a:gd name="T87" fmla="*/ 2147483647 h 819"/>
                <a:gd name="T88" fmla="*/ 2147483647 w 999"/>
                <a:gd name="T89" fmla="*/ 2147483647 h 819"/>
                <a:gd name="T90" fmla="*/ 2147483647 w 999"/>
                <a:gd name="T91" fmla="*/ 2147483647 h 819"/>
                <a:gd name="T92" fmla="*/ 2147483647 w 999"/>
                <a:gd name="T93" fmla="*/ 2147483647 h 819"/>
                <a:gd name="T94" fmla="*/ 2147483647 w 999"/>
                <a:gd name="T95" fmla="*/ 2147483647 h 819"/>
                <a:gd name="T96" fmla="*/ 2147483647 w 999"/>
                <a:gd name="T97" fmla="*/ 2147483647 h 819"/>
                <a:gd name="T98" fmla="*/ 2147483647 w 999"/>
                <a:gd name="T99" fmla="*/ 2147483647 h 819"/>
                <a:gd name="T100" fmla="*/ 2147483647 w 999"/>
                <a:gd name="T101" fmla="*/ 2147483647 h 819"/>
                <a:gd name="T102" fmla="*/ 2147483647 w 999"/>
                <a:gd name="T103" fmla="*/ 2147483647 h 819"/>
                <a:gd name="T104" fmla="*/ 2147483647 w 999"/>
                <a:gd name="T105" fmla="*/ 2147483647 h 819"/>
                <a:gd name="T106" fmla="*/ 2147483647 w 999"/>
                <a:gd name="T107" fmla="*/ 2147483647 h 819"/>
                <a:gd name="T108" fmla="*/ 2147483647 w 999"/>
                <a:gd name="T109" fmla="*/ 2147483647 h 819"/>
                <a:gd name="T110" fmla="*/ 0 w 999"/>
                <a:gd name="T111" fmla="*/ 2147483647 h 819"/>
                <a:gd name="T112" fmla="*/ 0 w 999"/>
                <a:gd name="T113" fmla="*/ 2147483647 h 81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99"/>
                <a:gd name="T172" fmla="*/ 0 h 819"/>
                <a:gd name="T173" fmla="*/ 999 w 999"/>
                <a:gd name="T174" fmla="*/ 819 h 81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0" name="Freeform 285">
              <a:extLst>
                <a:ext uri="{FF2B5EF4-FFF2-40B4-BE49-F238E27FC236}">
                  <a16:creationId xmlns:a16="http://schemas.microsoft.com/office/drawing/2014/main" id="{DE49C59B-7D4F-6819-7BE4-4DBD842A4990}"/>
                </a:ext>
              </a:extLst>
            </p:cNvPr>
            <p:cNvSpPr>
              <a:spLocks noChangeAspect="1"/>
            </p:cNvSpPr>
            <p:nvPr userDrawn="1"/>
          </p:nvSpPr>
          <p:spPr bwMode="gray">
            <a:xfrm>
              <a:off x="2637762" y="873400"/>
              <a:ext cx="74617" cy="96026"/>
            </a:xfrm>
            <a:custGeom>
              <a:avLst/>
              <a:gdLst>
                <a:gd name="T0" fmla="*/ 0 w 137"/>
                <a:gd name="T1" fmla="*/ 0 h 167"/>
                <a:gd name="T2" fmla="*/ 0 w 137"/>
                <a:gd name="T3" fmla="*/ 0 h 167"/>
                <a:gd name="T4" fmla="*/ 0 w 137"/>
                <a:gd name="T5" fmla="*/ 0 h 167"/>
                <a:gd name="T6" fmla="*/ 0 w 137"/>
                <a:gd name="T7" fmla="*/ 0 h 167"/>
                <a:gd name="T8" fmla="*/ 0 w 137"/>
                <a:gd name="T9" fmla="*/ 0 h 167"/>
                <a:gd name="T10" fmla="*/ 0 w 137"/>
                <a:gd name="T11" fmla="*/ 0 h 167"/>
                <a:gd name="T12" fmla="*/ 0 w 137"/>
                <a:gd name="T13" fmla="*/ 0 h 167"/>
                <a:gd name="T14" fmla="*/ 0 w 137"/>
                <a:gd name="T15" fmla="*/ 0 h 167"/>
                <a:gd name="T16" fmla="*/ 0 w 137"/>
                <a:gd name="T17" fmla="*/ 0 h 167"/>
                <a:gd name="T18" fmla="*/ 0 w 137"/>
                <a:gd name="T19" fmla="*/ 0 h 167"/>
                <a:gd name="T20" fmla="*/ 0 w 137"/>
                <a:gd name="T21" fmla="*/ 0 h 167"/>
                <a:gd name="T22" fmla="*/ 0 w 137"/>
                <a:gd name="T23" fmla="*/ 0 h 167"/>
                <a:gd name="T24" fmla="*/ 0 w 137"/>
                <a:gd name="T25" fmla="*/ 0 h 167"/>
                <a:gd name="T26" fmla="*/ 0 w 137"/>
                <a:gd name="T27" fmla="*/ 0 h 167"/>
                <a:gd name="T28" fmla="*/ 0 w 137"/>
                <a:gd name="T29" fmla="*/ 0 h 167"/>
                <a:gd name="T30" fmla="*/ 0 w 137"/>
                <a:gd name="T31" fmla="*/ 0 h 167"/>
                <a:gd name="T32" fmla="*/ 0 w 137"/>
                <a:gd name="T33" fmla="*/ 0 h 167"/>
                <a:gd name="T34" fmla="*/ 0 w 137"/>
                <a:gd name="T35" fmla="*/ 0 h 167"/>
                <a:gd name="T36" fmla="*/ 0 w 137"/>
                <a:gd name="T37" fmla="*/ 0 h 167"/>
                <a:gd name="T38" fmla="*/ 0 w 137"/>
                <a:gd name="T39" fmla="*/ 0 h 167"/>
                <a:gd name="T40" fmla="*/ 0 w 137"/>
                <a:gd name="T41" fmla="*/ 0 h 167"/>
                <a:gd name="T42" fmla="*/ 0 w 137"/>
                <a:gd name="T43" fmla="*/ 0 h 167"/>
                <a:gd name="T44" fmla="*/ 0 w 137"/>
                <a:gd name="T45" fmla="*/ 0 h 167"/>
                <a:gd name="T46" fmla="*/ 0 w 137"/>
                <a:gd name="T47" fmla="*/ 0 h 167"/>
                <a:gd name="T48" fmla="*/ 0 w 137"/>
                <a:gd name="T49" fmla="*/ 0 h 167"/>
                <a:gd name="T50" fmla="*/ 0 w 137"/>
                <a:gd name="T51" fmla="*/ 0 h 167"/>
                <a:gd name="T52" fmla="*/ 0 w 137"/>
                <a:gd name="T53" fmla="*/ 0 h 167"/>
                <a:gd name="T54" fmla="*/ 0 w 137"/>
                <a:gd name="T55" fmla="*/ 0 h 167"/>
                <a:gd name="T56" fmla="*/ 0 w 137"/>
                <a:gd name="T57" fmla="*/ 0 h 167"/>
                <a:gd name="T58" fmla="*/ 0 w 137"/>
                <a:gd name="T59" fmla="*/ 0 h 167"/>
                <a:gd name="T60" fmla="*/ 0 w 137"/>
                <a:gd name="T61" fmla="*/ 0 h 167"/>
                <a:gd name="T62" fmla="*/ 0 w 137"/>
                <a:gd name="T63" fmla="*/ 0 h 167"/>
                <a:gd name="T64" fmla="*/ 0 w 137"/>
                <a:gd name="T65" fmla="*/ 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7"/>
                <a:gd name="T100" fmla="*/ 0 h 167"/>
                <a:gd name="T101" fmla="*/ 137 w 137"/>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1" name="Freeform 286">
              <a:extLst>
                <a:ext uri="{FF2B5EF4-FFF2-40B4-BE49-F238E27FC236}">
                  <a16:creationId xmlns:a16="http://schemas.microsoft.com/office/drawing/2014/main" id="{C01A06FA-B056-A88E-DDB4-B2A41BF8A368}"/>
                </a:ext>
              </a:extLst>
            </p:cNvPr>
            <p:cNvSpPr>
              <a:spLocks noChangeAspect="1"/>
            </p:cNvSpPr>
            <p:nvPr userDrawn="1"/>
          </p:nvSpPr>
          <p:spPr bwMode="gray">
            <a:xfrm>
              <a:off x="2773566" y="859683"/>
              <a:ext cx="177588" cy="274359"/>
            </a:xfrm>
            <a:custGeom>
              <a:avLst/>
              <a:gdLst>
                <a:gd name="T0" fmla="*/ 0 w 331"/>
                <a:gd name="T1" fmla="*/ 2147483647 h 484"/>
                <a:gd name="T2" fmla="*/ 0 w 331"/>
                <a:gd name="T3" fmla="*/ 2147483647 h 484"/>
                <a:gd name="T4" fmla="*/ 0 w 331"/>
                <a:gd name="T5" fmla="*/ 2147483647 h 484"/>
                <a:gd name="T6" fmla="*/ 0 w 331"/>
                <a:gd name="T7" fmla="*/ 2147483647 h 484"/>
                <a:gd name="T8" fmla="*/ 0 w 331"/>
                <a:gd name="T9" fmla="*/ 0 h 484"/>
                <a:gd name="T10" fmla="*/ 0 w 331"/>
                <a:gd name="T11" fmla="*/ 0 h 484"/>
                <a:gd name="T12" fmla="*/ 0 w 331"/>
                <a:gd name="T13" fmla="*/ 0 h 484"/>
                <a:gd name="T14" fmla="*/ 0 w 331"/>
                <a:gd name="T15" fmla="*/ 0 h 484"/>
                <a:gd name="T16" fmla="*/ 0 w 331"/>
                <a:gd name="T17" fmla="*/ 0 h 484"/>
                <a:gd name="T18" fmla="*/ 0 w 331"/>
                <a:gd name="T19" fmla="*/ 0 h 484"/>
                <a:gd name="T20" fmla="*/ 0 w 331"/>
                <a:gd name="T21" fmla="*/ 0 h 484"/>
                <a:gd name="T22" fmla="*/ 0 w 331"/>
                <a:gd name="T23" fmla="*/ 0 h 484"/>
                <a:gd name="T24" fmla="*/ 0 w 331"/>
                <a:gd name="T25" fmla="*/ 0 h 484"/>
                <a:gd name="T26" fmla="*/ 0 w 331"/>
                <a:gd name="T27" fmla="*/ 0 h 484"/>
                <a:gd name="T28" fmla="*/ 0 w 331"/>
                <a:gd name="T29" fmla="*/ 0 h 484"/>
                <a:gd name="T30" fmla="*/ 0 w 331"/>
                <a:gd name="T31" fmla="*/ 0 h 484"/>
                <a:gd name="T32" fmla="*/ 0 w 331"/>
                <a:gd name="T33" fmla="*/ 0 h 484"/>
                <a:gd name="T34" fmla="*/ 0 w 331"/>
                <a:gd name="T35" fmla="*/ 0 h 484"/>
                <a:gd name="T36" fmla="*/ 0 w 331"/>
                <a:gd name="T37" fmla="*/ 0 h 484"/>
                <a:gd name="T38" fmla="*/ 0 w 331"/>
                <a:gd name="T39" fmla="*/ 0 h 484"/>
                <a:gd name="T40" fmla="*/ 0 w 331"/>
                <a:gd name="T41" fmla="*/ 0 h 484"/>
                <a:gd name="T42" fmla="*/ 0 w 331"/>
                <a:gd name="T43" fmla="*/ 0 h 484"/>
                <a:gd name="T44" fmla="*/ 0 w 331"/>
                <a:gd name="T45" fmla="*/ 0 h 484"/>
                <a:gd name="T46" fmla="*/ 0 w 331"/>
                <a:gd name="T47" fmla="*/ 0 h 484"/>
                <a:gd name="T48" fmla="*/ 0 w 331"/>
                <a:gd name="T49" fmla="*/ 0 h 484"/>
                <a:gd name="T50" fmla="*/ 0 w 331"/>
                <a:gd name="T51" fmla="*/ 0 h 484"/>
                <a:gd name="T52" fmla="*/ 0 w 331"/>
                <a:gd name="T53" fmla="*/ 0 h 484"/>
                <a:gd name="T54" fmla="*/ 0 w 331"/>
                <a:gd name="T55" fmla="*/ 0 h 484"/>
                <a:gd name="T56" fmla="*/ 0 w 331"/>
                <a:gd name="T57" fmla="*/ 0 h 484"/>
                <a:gd name="T58" fmla="*/ 0 w 331"/>
                <a:gd name="T59" fmla="*/ 0 h 484"/>
                <a:gd name="T60" fmla="*/ 0 w 331"/>
                <a:gd name="T61" fmla="*/ 0 h 484"/>
                <a:gd name="T62" fmla="*/ 0 w 331"/>
                <a:gd name="T63" fmla="*/ 0 h 484"/>
                <a:gd name="T64" fmla="*/ 0 w 331"/>
                <a:gd name="T65" fmla="*/ 0 h 484"/>
                <a:gd name="T66" fmla="*/ 0 w 331"/>
                <a:gd name="T67" fmla="*/ 0 h 484"/>
                <a:gd name="T68" fmla="*/ 0 w 331"/>
                <a:gd name="T69" fmla="*/ 0 h 484"/>
                <a:gd name="T70" fmla="*/ 0 w 331"/>
                <a:gd name="T71" fmla="*/ 0 h 484"/>
                <a:gd name="T72" fmla="*/ 0 w 331"/>
                <a:gd name="T73" fmla="*/ 0 h 484"/>
                <a:gd name="T74" fmla="*/ 0 w 331"/>
                <a:gd name="T75" fmla="*/ 0 h 484"/>
                <a:gd name="T76" fmla="*/ 0 w 331"/>
                <a:gd name="T77" fmla="*/ 0 h 484"/>
                <a:gd name="T78" fmla="*/ 0 w 331"/>
                <a:gd name="T79" fmla="*/ 0 h 484"/>
                <a:gd name="T80" fmla="*/ 0 w 331"/>
                <a:gd name="T81" fmla="*/ 0 h 484"/>
                <a:gd name="T82" fmla="*/ 0 w 331"/>
                <a:gd name="T83" fmla="*/ 0 h 484"/>
                <a:gd name="T84" fmla="*/ 0 w 331"/>
                <a:gd name="T85" fmla="*/ 0 h 484"/>
                <a:gd name="T86" fmla="*/ 2147483647 w 331"/>
                <a:gd name="T87" fmla="*/ 0 h 484"/>
                <a:gd name="T88" fmla="*/ 2147483647 w 331"/>
                <a:gd name="T89" fmla="*/ 0 h 484"/>
                <a:gd name="T90" fmla="*/ 2147483647 w 331"/>
                <a:gd name="T91" fmla="*/ 0 h 484"/>
                <a:gd name="T92" fmla="*/ 2147483647 w 331"/>
                <a:gd name="T93" fmla="*/ 2147483647 h 484"/>
                <a:gd name="T94" fmla="*/ 2147483647 w 331"/>
                <a:gd name="T95" fmla="*/ 2147483647 h 484"/>
                <a:gd name="T96" fmla="*/ 2147483647 w 331"/>
                <a:gd name="T97" fmla="*/ 2147483647 h 484"/>
                <a:gd name="T98" fmla="*/ 2147483647 w 331"/>
                <a:gd name="T99" fmla="*/ 2147483647 h 484"/>
                <a:gd name="T100" fmla="*/ 0 w 331"/>
                <a:gd name="T101" fmla="*/ 2147483647 h 484"/>
                <a:gd name="T102" fmla="*/ 0 w 331"/>
                <a:gd name="T103" fmla="*/ 2147483647 h 484"/>
                <a:gd name="T104" fmla="*/ 0 w 331"/>
                <a:gd name="T105" fmla="*/ 2147483647 h 484"/>
                <a:gd name="T106" fmla="*/ 0 w 331"/>
                <a:gd name="T107" fmla="*/ 2147483647 h 484"/>
                <a:gd name="T108" fmla="*/ 0 w 331"/>
                <a:gd name="T109" fmla="*/ 2147483647 h 484"/>
                <a:gd name="T110" fmla="*/ 0 w 331"/>
                <a:gd name="T111" fmla="*/ 2147483647 h 484"/>
                <a:gd name="T112" fmla="*/ 0 w 331"/>
                <a:gd name="T113" fmla="*/ 2147483647 h 484"/>
                <a:gd name="T114" fmla="*/ 0 w 331"/>
                <a:gd name="T115" fmla="*/ 2147483647 h 48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31"/>
                <a:gd name="T175" fmla="*/ 0 h 484"/>
                <a:gd name="T176" fmla="*/ 331 w 331"/>
                <a:gd name="T177" fmla="*/ 484 h 48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2" name="Freeform 287">
              <a:extLst>
                <a:ext uri="{FF2B5EF4-FFF2-40B4-BE49-F238E27FC236}">
                  <a16:creationId xmlns:a16="http://schemas.microsoft.com/office/drawing/2014/main" id="{B1ECF21C-41D9-D838-8D24-9BB4963F19F8}"/>
                </a:ext>
              </a:extLst>
            </p:cNvPr>
            <p:cNvSpPr>
              <a:spLocks noChangeAspect="1"/>
            </p:cNvSpPr>
            <p:nvPr userDrawn="1"/>
          </p:nvSpPr>
          <p:spPr bwMode="gray">
            <a:xfrm>
              <a:off x="2763119" y="515209"/>
              <a:ext cx="156696" cy="214914"/>
            </a:xfrm>
            <a:custGeom>
              <a:avLst/>
              <a:gdLst>
                <a:gd name="T0" fmla="*/ 0 w 292"/>
                <a:gd name="T1" fmla="*/ 0 h 380"/>
                <a:gd name="T2" fmla="*/ 0 w 292"/>
                <a:gd name="T3" fmla="*/ 0 h 380"/>
                <a:gd name="T4" fmla="*/ 0 w 292"/>
                <a:gd name="T5" fmla="*/ 0 h 380"/>
                <a:gd name="T6" fmla="*/ 0 w 292"/>
                <a:gd name="T7" fmla="*/ 0 h 380"/>
                <a:gd name="T8" fmla="*/ 0 w 292"/>
                <a:gd name="T9" fmla="*/ 0 h 380"/>
                <a:gd name="T10" fmla="*/ 0 w 292"/>
                <a:gd name="T11" fmla="*/ 0 h 380"/>
                <a:gd name="T12" fmla="*/ 0 w 292"/>
                <a:gd name="T13" fmla="*/ 0 h 380"/>
                <a:gd name="T14" fmla="*/ 0 w 292"/>
                <a:gd name="T15" fmla="*/ 0 h 380"/>
                <a:gd name="T16" fmla="*/ 0 w 292"/>
                <a:gd name="T17" fmla="*/ 2147483647 h 380"/>
                <a:gd name="T18" fmla="*/ 0 w 292"/>
                <a:gd name="T19" fmla="*/ 2147483647 h 380"/>
                <a:gd name="T20" fmla="*/ 0 w 292"/>
                <a:gd name="T21" fmla="*/ 2147483647 h 380"/>
                <a:gd name="T22" fmla="*/ 0 w 292"/>
                <a:gd name="T23" fmla="*/ 2147483647 h 380"/>
                <a:gd name="T24" fmla="*/ 0 w 292"/>
                <a:gd name="T25" fmla="*/ 2147483647 h 380"/>
                <a:gd name="T26" fmla="*/ 0 w 292"/>
                <a:gd name="T27" fmla="*/ 2147483647 h 380"/>
                <a:gd name="T28" fmla="*/ 0 w 292"/>
                <a:gd name="T29" fmla="*/ 2147483647 h 380"/>
                <a:gd name="T30" fmla="*/ 0 w 292"/>
                <a:gd name="T31" fmla="*/ 2147483647 h 380"/>
                <a:gd name="T32" fmla="*/ 0 w 292"/>
                <a:gd name="T33" fmla="*/ 2147483647 h 380"/>
                <a:gd name="T34" fmla="*/ 0 w 292"/>
                <a:gd name="T35" fmla="*/ 0 h 380"/>
                <a:gd name="T36" fmla="*/ 0 w 292"/>
                <a:gd name="T37" fmla="*/ 0 h 380"/>
                <a:gd name="T38" fmla="*/ 0 w 292"/>
                <a:gd name="T39" fmla="*/ 0 h 380"/>
                <a:gd name="T40" fmla="*/ 0 w 292"/>
                <a:gd name="T41" fmla="*/ 0 h 380"/>
                <a:gd name="T42" fmla="*/ 0 w 292"/>
                <a:gd name="T43" fmla="*/ 0 h 380"/>
                <a:gd name="T44" fmla="*/ 0 w 292"/>
                <a:gd name="T45" fmla="*/ 0 h 380"/>
                <a:gd name="T46" fmla="*/ 0 w 292"/>
                <a:gd name="T47" fmla="*/ 0 h 380"/>
                <a:gd name="T48" fmla="*/ 0 w 292"/>
                <a:gd name="T49" fmla="*/ 0 h 380"/>
                <a:gd name="T50" fmla="*/ 0 w 292"/>
                <a:gd name="T51" fmla="*/ 0 h 380"/>
                <a:gd name="T52" fmla="*/ 0 w 292"/>
                <a:gd name="T53" fmla="*/ 0 h 380"/>
                <a:gd name="T54" fmla="*/ 0 w 292"/>
                <a:gd name="T55" fmla="*/ 0 h 380"/>
                <a:gd name="T56" fmla="*/ 0 w 292"/>
                <a:gd name="T57" fmla="*/ 0 h 380"/>
                <a:gd name="T58" fmla="*/ 0 w 292"/>
                <a:gd name="T59" fmla="*/ 0 h 380"/>
                <a:gd name="T60" fmla="*/ 0 w 292"/>
                <a:gd name="T61" fmla="*/ 0 h 380"/>
                <a:gd name="T62" fmla="*/ 0 w 292"/>
                <a:gd name="T63" fmla="*/ 0 h 380"/>
                <a:gd name="T64" fmla="*/ 0 w 292"/>
                <a:gd name="T65" fmla="*/ 0 h 380"/>
                <a:gd name="T66" fmla="*/ 0 w 292"/>
                <a:gd name="T67" fmla="*/ 0 h 380"/>
                <a:gd name="T68" fmla="*/ 0 w 292"/>
                <a:gd name="T69" fmla="*/ 0 h 380"/>
                <a:gd name="T70" fmla="*/ 0 w 292"/>
                <a:gd name="T71" fmla="*/ 0 h 380"/>
                <a:gd name="T72" fmla="*/ 0 w 292"/>
                <a:gd name="T73" fmla="*/ 0 h 380"/>
                <a:gd name="T74" fmla="*/ 0 w 292"/>
                <a:gd name="T75" fmla="*/ 0 h 380"/>
                <a:gd name="T76" fmla="*/ 0 w 292"/>
                <a:gd name="T77" fmla="*/ 0 h 380"/>
                <a:gd name="T78" fmla="*/ 0 w 292"/>
                <a:gd name="T79" fmla="*/ 0 h 380"/>
                <a:gd name="T80" fmla="*/ 0 w 292"/>
                <a:gd name="T81" fmla="*/ 0 h 380"/>
                <a:gd name="T82" fmla="*/ 0 w 292"/>
                <a:gd name="T83" fmla="*/ 0 h 380"/>
                <a:gd name="T84" fmla="*/ 0 w 292"/>
                <a:gd name="T85" fmla="*/ 0 h 380"/>
                <a:gd name="T86" fmla="*/ 0 w 292"/>
                <a:gd name="T87" fmla="*/ 0 h 380"/>
                <a:gd name="T88" fmla="*/ 0 w 292"/>
                <a:gd name="T89" fmla="*/ 0 h 380"/>
                <a:gd name="T90" fmla="*/ 0 w 292"/>
                <a:gd name="T91" fmla="*/ 0 h 380"/>
                <a:gd name="T92" fmla="*/ 0 w 292"/>
                <a:gd name="T93" fmla="*/ 0 h 380"/>
                <a:gd name="T94" fmla="*/ 0 w 292"/>
                <a:gd name="T95" fmla="*/ 0 h 380"/>
                <a:gd name="T96" fmla="*/ 0 w 292"/>
                <a:gd name="T97" fmla="*/ 0 h 380"/>
                <a:gd name="T98" fmla="*/ 0 w 292"/>
                <a:gd name="T99" fmla="*/ 0 h 380"/>
                <a:gd name="T100" fmla="*/ 0 w 292"/>
                <a:gd name="T101" fmla="*/ 0 h 380"/>
                <a:gd name="T102" fmla="*/ 0 w 292"/>
                <a:gd name="T103" fmla="*/ 0 h 3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92"/>
                <a:gd name="T157" fmla="*/ 0 h 380"/>
                <a:gd name="T158" fmla="*/ 292 w 292"/>
                <a:gd name="T159" fmla="*/ 380 h 38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3" name="Freeform 288">
              <a:extLst>
                <a:ext uri="{FF2B5EF4-FFF2-40B4-BE49-F238E27FC236}">
                  <a16:creationId xmlns:a16="http://schemas.microsoft.com/office/drawing/2014/main" id="{EAD81BB7-1579-14AA-3C08-EBE5FF601984}"/>
                </a:ext>
              </a:extLst>
            </p:cNvPr>
            <p:cNvSpPr>
              <a:spLocks noChangeAspect="1"/>
            </p:cNvSpPr>
            <p:nvPr userDrawn="1"/>
          </p:nvSpPr>
          <p:spPr bwMode="gray">
            <a:xfrm>
              <a:off x="2327355" y="490822"/>
              <a:ext cx="356670" cy="304844"/>
            </a:xfrm>
            <a:custGeom>
              <a:avLst/>
              <a:gdLst>
                <a:gd name="T0" fmla="*/ 2147483647 w 672"/>
                <a:gd name="T1" fmla="*/ 0 h 534"/>
                <a:gd name="T2" fmla="*/ 2147483647 w 672"/>
                <a:gd name="T3" fmla="*/ 0 h 534"/>
                <a:gd name="T4" fmla="*/ 2147483647 w 672"/>
                <a:gd name="T5" fmla="*/ 0 h 534"/>
                <a:gd name="T6" fmla="*/ 2147483647 w 672"/>
                <a:gd name="T7" fmla="*/ 0 h 534"/>
                <a:gd name="T8" fmla="*/ 2147483647 w 672"/>
                <a:gd name="T9" fmla="*/ 0 h 534"/>
                <a:gd name="T10" fmla="*/ 2147483647 w 672"/>
                <a:gd name="T11" fmla="*/ 0 h 534"/>
                <a:gd name="T12" fmla="*/ 2147483647 w 672"/>
                <a:gd name="T13" fmla="*/ 0 h 534"/>
                <a:gd name="T14" fmla="*/ 2147483647 w 672"/>
                <a:gd name="T15" fmla="*/ 0 h 534"/>
                <a:gd name="T16" fmla="*/ 2147483647 w 672"/>
                <a:gd name="T17" fmla="*/ 0 h 534"/>
                <a:gd name="T18" fmla="*/ 2147483647 w 672"/>
                <a:gd name="T19" fmla="*/ 0 h 534"/>
                <a:gd name="T20" fmla="*/ 2147483647 w 672"/>
                <a:gd name="T21" fmla="*/ 2147483647 h 534"/>
                <a:gd name="T22" fmla="*/ 2147483647 w 672"/>
                <a:gd name="T23" fmla="*/ 2147483647 h 534"/>
                <a:gd name="T24" fmla="*/ 2147483647 w 672"/>
                <a:gd name="T25" fmla="*/ 2147483647 h 534"/>
                <a:gd name="T26" fmla="*/ 2147483647 w 672"/>
                <a:gd name="T27" fmla="*/ 2147483647 h 534"/>
                <a:gd name="T28" fmla="*/ 2147483647 w 672"/>
                <a:gd name="T29" fmla="*/ 2147483647 h 534"/>
                <a:gd name="T30" fmla="*/ 2147483647 w 672"/>
                <a:gd name="T31" fmla="*/ 2147483647 h 534"/>
                <a:gd name="T32" fmla="*/ 2147483647 w 672"/>
                <a:gd name="T33" fmla="*/ 2147483647 h 534"/>
                <a:gd name="T34" fmla="*/ 0 w 672"/>
                <a:gd name="T35" fmla="*/ 2147483647 h 534"/>
                <a:gd name="T36" fmla="*/ 0 w 672"/>
                <a:gd name="T37" fmla="*/ 2147483647 h 534"/>
                <a:gd name="T38" fmla="*/ 0 w 672"/>
                <a:gd name="T39" fmla="*/ 2147483647 h 534"/>
                <a:gd name="T40" fmla="*/ 0 w 672"/>
                <a:gd name="T41" fmla="*/ 2147483647 h 534"/>
                <a:gd name="T42" fmla="*/ 2147483647 w 672"/>
                <a:gd name="T43" fmla="*/ 2147483647 h 534"/>
                <a:gd name="T44" fmla="*/ 2147483647 w 672"/>
                <a:gd name="T45" fmla="*/ 2147483647 h 534"/>
                <a:gd name="T46" fmla="*/ 0 w 672"/>
                <a:gd name="T47" fmla="*/ 2147483647 h 534"/>
                <a:gd name="T48" fmla="*/ 0 w 672"/>
                <a:gd name="T49" fmla="*/ 2147483647 h 534"/>
                <a:gd name="T50" fmla="*/ 0 w 672"/>
                <a:gd name="T51" fmla="*/ 2147483647 h 534"/>
                <a:gd name="T52" fmla="*/ 0 w 672"/>
                <a:gd name="T53" fmla="*/ 2147483647 h 534"/>
                <a:gd name="T54" fmla="*/ 0 w 672"/>
                <a:gd name="T55" fmla="*/ 2147483647 h 534"/>
                <a:gd name="T56" fmla="*/ 0 w 672"/>
                <a:gd name="T57" fmla="*/ 2147483647 h 534"/>
                <a:gd name="T58" fmla="*/ 0 w 672"/>
                <a:gd name="T59" fmla="*/ 2147483647 h 534"/>
                <a:gd name="T60" fmla="*/ 0 w 672"/>
                <a:gd name="T61" fmla="*/ 2147483647 h 534"/>
                <a:gd name="T62" fmla="*/ 0 w 672"/>
                <a:gd name="T63" fmla="*/ 2147483647 h 534"/>
                <a:gd name="T64" fmla="*/ 0 w 672"/>
                <a:gd name="T65" fmla="*/ 2147483647 h 534"/>
                <a:gd name="T66" fmla="*/ 0 w 672"/>
                <a:gd name="T67" fmla="*/ 0 h 534"/>
                <a:gd name="T68" fmla="*/ 0 w 672"/>
                <a:gd name="T69" fmla="*/ 0 h 534"/>
                <a:gd name="T70" fmla="*/ 0 w 672"/>
                <a:gd name="T71" fmla="*/ 0 h 534"/>
                <a:gd name="T72" fmla="*/ 0 w 672"/>
                <a:gd name="T73" fmla="*/ 0 h 534"/>
                <a:gd name="T74" fmla="*/ 0 w 672"/>
                <a:gd name="T75" fmla="*/ 0 h 534"/>
                <a:gd name="T76" fmla="*/ 0 w 672"/>
                <a:gd name="T77" fmla="*/ 0 h 534"/>
                <a:gd name="T78" fmla="*/ 0 w 672"/>
                <a:gd name="T79" fmla="*/ 0 h 534"/>
                <a:gd name="T80" fmla="*/ 0 w 672"/>
                <a:gd name="T81" fmla="*/ 0 h 534"/>
                <a:gd name="T82" fmla="*/ 0 w 672"/>
                <a:gd name="T83" fmla="*/ 0 h 534"/>
                <a:gd name="T84" fmla="*/ 0 w 672"/>
                <a:gd name="T85" fmla="*/ 0 h 534"/>
                <a:gd name="T86" fmla="*/ 0 w 672"/>
                <a:gd name="T87" fmla="*/ 0 h 534"/>
                <a:gd name="T88" fmla="*/ 0 w 672"/>
                <a:gd name="T89" fmla="*/ 0 h 534"/>
                <a:gd name="T90" fmla="*/ 2147483647 w 672"/>
                <a:gd name="T91" fmla="*/ 0 h 534"/>
                <a:gd name="T92" fmla="*/ 2147483647 w 672"/>
                <a:gd name="T93" fmla="*/ 0 h 534"/>
                <a:gd name="T94" fmla="*/ 2147483647 w 672"/>
                <a:gd name="T95" fmla="*/ 0 h 534"/>
                <a:gd name="T96" fmla="*/ 2147483647 w 672"/>
                <a:gd name="T97" fmla="*/ 0 h 534"/>
                <a:gd name="T98" fmla="*/ 2147483647 w 672"/>
                <a:gd name="T99" fmla="*/ 0 h 534"/>
                <a:gd name="T100" fmla="*/ 2147483647 w 672"/>
                <a:gd name="T101" fmla="*/ 0 h 534"/>
                <a:gd name="T102" fmla="*/ 2147483647 w 672"/>
                <a:gd name="T103" fmla="*/ 0 h 534"/>
                <a:gd name="T104" fmla="*/ 2147483647 w 672"/>
                <a:gd name="T105" fmla="*/ 0 h 5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2"/>
                <a:gd name="T160" fmla="*/ 0 h 534"/>
                <a:gd name="T161" fmla="*/ 672 w 672"/>
                <a:gd name="T162" fmla="*/ 534 h 53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4" name="Freeform 289">
              <a:extLst>
                <a:ext uri="{FF2B5EF4-FFF2-40B4-BE49-F238E27FC236}">
                  <a16:creationId xmlns:a16="http://schemas.microsoft.com/office/drawing/2014/main" id="{76DED15D-5EBF-37D2-95F9-B07F22B01424}"/>
                </a:ext>
              </a:extLst>
            </p:cNvPr>
            <p:cNvSpPr>
              <a:spLocks noChangeAspect="1"/>
            </p:cNvSpPr>
            <p:nvPr userDrawn="1"/>
          </p:nvSpPr>
          <p:spPr bwMode="gray">
            <a:xfrm>
              <a:off x="2175136" y="394796"/>
              <a:ext cx="213405" cy="234730"/>
            </a:xfrm>
            <a:custGeom>
              <a:avLst/>
              <a:gdLst>
                <a:gd name="T0" fmla="*/ 0 w 399"/>
                <a:gd name="T1" fmla="*/ 0 h 411"/>
                <a:gd name="T2" fmla="*/ 0 w 399"/>
                <a:gd name="T3" fmla="*/ 0 h 411"/>
                <a:gd name="T4" fmla="*/ 0 w 399"/>
                <a:gd name="T5" fmla="*/ 0 h 411"/>
                <a:gd name="T6" fmla="*/ 0 w 399"/>
                <a:gd name="T7" fmla="*/ 0 h 411"/>
                <a:gd name="T8" fmla="*/ 0 w 399"/>
                <a:gd name="T9" fmla="*/ 0 h 411"/>
                <a:gd name="T10" fmla="*/ 0 w 399"/>
                <a:gd name="T11" fmla="*/ 0 h 411"/>
                <a:gd name="T12" fmla="*/ 0 w 399"/>
                <a:gd name="T13" fmla="*/ 0 h 411"/>
                <a:gd name="T14" fmla="*/ 0 w 399"/>
                <a:gd name="T15" fmla="*/ 0 h 411"/>
                <a:gd name="T16" fmla="*/ 0 w 399"/>
                <a:gd name="T17" fmla="*/ 0 h 411"/>
                <a:gd name="T18" fmla="*/ 2147483647 w 399"/>
                <a:gd name="T19" fmla="*/ 0 h 411"/>
                <a:gd name="T20" fmla="*/ 0 w 399"/>
                <a:gd name="T21" fmla="*/ 0 h 411"/>
                <a:gd name="T22" fmla="*/ 2147483647 w 399"/>
                <a:gd name="T23" fmla="*/ 0 h 411"/>
                <a:gd name="T24" fmla="*/ 2147483647 w 399"/>
                <a:gd name="T25" fmla="*/ 0 h 411"/>
                <a:gd name="T26" fmla="*/ 2147483647 w 399"/>
                <a:gd name="T27" fmla="*/ 0 h 411"/>
                <a:gd name="T28" fmla="*/ 2147483647 w 399"/>
                <a:gd name="T29" fmla="*/ 0 h 411"/>
                <a:gd name="T30" fmla="*/ 2147483647 w 399"/>
                <a:gd name="T31" fmla="*/ 0 h 411"/>
                <a:gd name="T32" fmla="*/ 2147483647 w 399"/>
                <a:gd name="T33" fmla="*/ 0 h 411"/>
                <a:gd name="T34" fmla="*/ 2147483647 w 399"/>
                <a:gd name="T35" fmla="*/ 0 h 411"/>
                <a:gd name="T36" fmla="*/ 2147483647 w 399"/>
                <a:gd name="T37" fmla="*/ 0 h 411"/>
                <a:gd name="T38" fmla="*/ 2147483647 w 399"/>
                <a:gd name="T39" fmla="*/ 0 h 411"/>
                <a:gd name="T40" fmla="*/ 2147483647 w 399"/>
                <a:gd name="T41" fmla="*/ 0 h 411"/>
                <a:gd name="T42" fmla="*/ 0 w 399"/>
                <a:gd name="T43" fmla="*/ 0 h 411"/>
                <a:gd name="T44" fmla="*/ 0 w 399"/>
                <a:gd name="T45" fmla="*/ 0 h 411"/>
                <a:gd name="T46" fmla="*/ 0 w 399"/>
                <a:gd name="T47" fmla="*/ 0 h 411"/>
                <a:gd name="T48" fmla="*/ 0 w 399"/>
                <a:gd name="T49" fmla="*/ 0 h 411"/>
                <a:gd name="T50" fmla="*/ 0 w 399"/>
                <a:gd name="T51" fmla="*/ 0 h 411"/>
                <a:gd name="T52" fmla="*/ 0 w 399"/>
                <a:gd name="T53" fmla="*/ 0 h 411"/>
                <a:gd name="T54" fmla="*/ 0 w 399"/>
                <a:gd name="T55" fmla="*/ 0 h 411"/>
                <a:gd name="T56" fmla="*/ 0 w 399"/>
                <a:gd name="T57" fmla="*/ 0 h 411"/>
                <a:gd name="T58" fmla="*/ 0 w 399"/>
                <a:gd name="T59" fmla="*/ 0 h 411"/>
                <a:gd name="T60" fmla="*/ 0 w 399"/>
                <a:gd name="T61" fmla="*/ 2147483647 h 411"/>
                <a:gd name="T62" fmla="*/ 0 w 399"/>
                <a:gd name="T63" fmla="*/ 2147483647 h 411"/>
                <a:gd name="T64" fmla="*/ 0 w 399"/>
                <a:gd name="T65" fmla="*/ 0 h 411"/>
                <a:gd name="T66" fmla="*/ 0 w 399"/>
                <a:gd name="T67" fmla="*/ 2147483647 h 411"/>
                <a:gd name="T68" fmla="*/ 0 w 399"/>
                <a:gd name="T69" fmla="*/ 2147483647 h 411"/>
                <a:gd name="T70" fmla="*/ 0 w 399"/>
                <a:gd name="T71" fmla="*/ 2147483647 h 411"/>
                <a:gd name="T72" fmla="*/ 0 w 399"/>
                <a:gd name="T73" fmla="*/ 2147483647 h 411"/>
                <a:gd name="T74" fmla="*/ 0 w 399"/>
                <a:gd name="T75" fmla="*/ 2147483647 h 411"/>
                <a:gd name="T76" fmla="*/ 0 w 399"/>
                <a:gd name="T77" fmla="*/ 2147483647 h 411"/>
                <a:gd name="T78" fmla="*/ 0 w 399"/>
                <a:gd name="T79" fmla="*/ 2147483647 h 411"/>
                <a:gd name="T80" fmla="*/ 0 w 399"/>
                <a:gd name="T81" fmla="*/ 2147483647 h 411"/>
                <a:gd name="T82" fmla="*/ 0 w 399"/>
                <a:gd name="T83" fmla="*/ 2147483647 h 411"/>
                <a:gd name="T84" fmla="*/ 0 w 399"/>
                <a:gd name="T85" fmla="*/ 2147483647 h 411"/>
                <a:gd name="T86" fmla="*/ 0 w 399"/>
                <a:gd name="T87" fmla="*/ 2147483647 h 411"/>
                <a:gd name="T88" fmla="*/ 0 w 399"/>
                <a:gd name="T89" fmla="*/ 2147483647 h 411"/>
                <a:gd name="T90" fmla="*/ 0 w 399"/>
                <a:gd name="T91" fmla="*/ 2147483647 h 411"/>
                <a:gd name="T92" fmla="*/ 0 w 399"/>
                <a:gd name="T93" fmla="*/ 2147483647 h 411"/>
                <a:gd name="T94" fmla="*/ 0 w 399"/>
                <a:gd name="T95" fmla="*/ 0 h 411"/>
                <a:gd name="T96" fmla="*/ 0 w 399"/>
                <a:gd name="T97" fmla="*/ 0 h 411"/>
                <a:gd name="T98" fmla="*/ 0 w 399"/>
                <a:gd name="T99" fmla="*/ 0 h 411"/>
                <a:gd name="T100" fmla="*/ 0 w 399"/>
                <a:gd name="T101" fmla="*/ 0 h 411"/>
                <a:gd name="T102" fmla="*/ 0 w 399"/>
                <a:gd name="T103" fmla="*/ 0 h 411"/>
                <a:gd name="T104" fmla="*/ 0 w 399"/>
                <a:gd name="T105" fmla="*/ 0 h 411"/>
                <a:gd name="T106" fmla="*/ 0 w 399"/>
                <a:gd name="T107" fmla="*/ 0 h 411"/>
                <a:gd name="T108" fmla="*/ 0 w 399"/>
                <a:gd name="T109" fmla="*/ 0 h 41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99"/>
                <a:gd name="T166" fmla="*/ 0 h 411"/>
                <a:gd name="T167" fmla="*/ 399 w 399"/>
                <a:gd name="T168" fmla="*/ 411 h 41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5" name="Freeform 290">
              <a:extLst>
                <a:ext uri="{FF2B5EF4-FFF2-40B4-BE49-F238E27FC236}">
                  <a16:creationId xmlns:a16="http://schemas.microsoft.com/office/drawing/2014/main" id="{E9C5C632-5BEE-9FF6-8C25-CA5C64588C19}"/>
                </a:ext>
              </a:extLst>
            </p:cNvPr>
            <p:cNvSpPr>
              <a:spLocks noChangeAspect="1"/>
            </p:cNvSpPr>
            <p:nvPr userDrawn="1"/>
          </p:nvSpPr>
          <p:spPr bwMode="gray">
            <a:xfrm>
              <a:off x="2449727" y="314013"/>
              <a:ext cx="105957" cy="109743"/>
            </a:xfrm>
            <a:custGeom>
              <a:avLst/>
              <a:gdLst>
                <a:gd name="T0" fmla="*/ 0 w 200"/>
                <a:gd name="T1" fmla="*/ 0 h 195"/>
                <a:gd name="T2" fmla="*/ 0 w 200"/>
                <a:gd name="T3" fmla="*/ 0 h 195"/>
                <a:gd name="T4" fmla="*/ 0 w 200"/>
                <a:gd name="T5" fmla="*/ 0 h 195"/>
                <a:gd name="T6" fmla="*/ 0 w 200"/>
                <a:gd name="T7" fmla="*/ 0 h 195"/>
                <a:gd name="T8" fmla="*/ 0 w 200"/>
                <a:gd name="T9" fmla="*/ 0 h 195"/>
                <a:gd name="T10" fmla="*/ 0 w 200"/>
                <a:gd name="T11" fmla="*/ 0 h 195"/>
                <a:gd name="T12" fmla="*/ 0 w 200"/>
                <a:gd name="T13" fmla="*/ 0 h 195"/>
                <a:gd name="T14" fmla="*/ 0 w 200"/>
                <a:gd name="T15" fmla="*/ 0 h 195"/>
                <a:gd name="T16" fmla="*/ 0 w 200"/>
                <a:gd name="T17" fmla="*/ 0 h 195"/>
                <a:gd name="T18" fmla="*/ 0 w 200"/>
                <a:gd name="T19" fmla="*/ 0 h 195"/>
                <a:gd name="T20" fmla="*/ 0 w 200"/>
                <a:gd name="T21" fmla="*/ 0 h 195"/>
                <a:gd name="T22" fmla="*/ 0 w 200"/>
                <a:gd name="T23" fmla="*/ 0 h 195"/>
                <a:gd name="T24" fmla="*/ 0 w 200"/>
                <a:gd name="T25" fmla="*/ 0 h 195"/>
                <a:gd name="T26" fmla="*/ 0 w 200"/>
                <a:gd name="T27" fmla="*/ 0 h 195"/>
                <a:gd name="T28" fmla="*/ 0 w 200"/>
                <a:gd name="T29" fmla="*/ 0 h 195"/>
                <a:gd name="T30" fmla="*/ 0 w 200"/>
                <a:gd name="T31" fmla="*/ 0 h 195"/>
                <a:gd name="T32" fmla="*/ 0 w 200"/>
                <a:gd name="T33" fmla="*/ 0 h 195"/>
                <a:gd name="T34" fmla="*/ 0 w 200"/>
                <a:gd name="T35" fmla="*/ 0 h 195"/>
                <a:gd name="T36" fmla="*/ 0 w 200"/>
                <a:gd name="T37" fmla="*/ 0 h 195"/>
                <a:gd name="T38" fmla="*/ 0 w 200"/>
                <a:gd name="T39" fmla="*/ 0 h 195"/>
                <a:gd name="T40" fmla="*/ 0 w 200"/>
                <a:gd name="T41" fmla="*/ 0 h 195"/>
                <a:gd name="T42" fmla="*/ 0 w 200"/>
                <a:gd name="T43" fmla="*/ 0 h 195"/>
                <a:gd name="T44" fmla="*/ 0 w 200"/>
                <a:gd name="T45" fmla="*/ 0 h 195"/>
                <a:gd name="T46" fmla="*/ 0 w 200"/>
                <a:gd name="T47" fmla="*/ 0 h 195"/>
                <a:gd name="T48" fmla="*/ 0 w 200"/>
                <a:gd name="T49" fmla="*/ 0 h 195"/>
                <a:gd name="T50" fmla="*/ 0 w 200"/>
                <a:gd name="T51" fmla="*/ 0 h 195"/>
                <a:gd name="T52" fmla="*/ 0 w 200"/>
                <a:gd name="T53" fmla="*/ 0 h 195"/>
                <a:gd name="T54" fmla="*/ 0 w 200"/>
                <a:gd name="T55" fmla="*/ 0 h 195"/>
                <a:gd name="T56" fmla="*/ 0 w 200"/>
                <a:gd name="T57" fmla="*/ 0 h 195"/>
                <a:gd name="T58" fmla="*/ 0 w 200"/>
                <a:gd name="T59" fmla="*/ 0 h 195"/>
                <a:gd name="T60" fmla="*/ 0 w 200"/>
                <a:gd name="T61" fmla="*/ 0 h 195"/>
                <a:gd name="T62" fmla="*/ 0 w 200"/>
                <a:gd name="T63" fmla="*/ 0 h 195"/>
                <a:gd name="T64" fmla="*/ 0 w 200"/>
                <a:gd name="T65" fmla="*/ 0 h 195"/>
                <a:gd name="T66" fmla="*/ 0 w 200"/>
                <a:gd name="T67" fmla="*/ 0 h 195"/>
                <a:gd name="T68" fmla="*/ 0 w 200"/>
                <a:gd name="T69" fmla="*/ 0 h 195"/>
                <a:gd name="T70" fmla="*/ 0 w 200"/>
                <a:gd name="T71" fmla="*/ 0 h 195"/>
                <a:gd name="T72" fmla="*/ 0 w 200"/>
                <a:gd name="T73" fmla="*/ 0 h 195"/>
                <a:gd name="T74" fmla="*/ 0 w 200"/>
                <a:gd name="T75" fmla="*/ 0 h 195"/>
                <a:gd name="T76" fmla="*/ 0 w 200"/>
                <a:gd name="T77" fmla="*/ 0 h 195"/>
                <a:gd name="T78" fmla="*/ 0 w 200"/>
                <a:gd name="T79" fmla="*/ 0 h 195"/>
                <a:gd name="T80" fmla="*/ 0 w 200"/>
                <a:gd name="T81" fmla="*/ 0 h 195"/>
                <a:gd name="T82" fmla="*/ 0 w 200"/>
                <a:gd name="T83" fmla="*/ 0 h 195"/>
                <a:gd name="T84" fmla="*/ 0 w 200"/>
                <a:gd name="T85" fmla="*/ 0 h 195"/>
                <a:gd name="T86" fmla="*/ 0 w 200"/>
                <a:gd name="T87" fmla="*/ 0 h 195"/>
                <a:gd name="T88" fmla="*/ 0 w 200"/>
                <a:gd name="T89" fmla="*/ 0 h 195"/>
                <a:gd name="T90" fmla="*/ 0 w 200"/>
                <a:gd name="T91" fmla="*/ 0 h 195"/>
                <a:gd name="T92" fmla="*/ 0 w 200"/>
                <a:gd name="T93" fmla="*/ 0 h 195"/>
                <a:gd name="T94" fmla="*/ 0 w 200"/>
                <a:gd name="T95" fmla="*/ 0 h 195"/>
                <a:gd name="T96" fmla="*/ 0 w 200"/>
                <a:gd name="T97" fmla="*/ 0 h 195"/>
                <a:gd name="T98" fmla="*/ 0 w 200"/>
                <a:gd name="T99" fmla="*/ 0 h 195"/>
                <a:gd name="T100" fmla="*/ 0 w 200"/>
                <a:gd name="T101" fmla="*/ 0 h 195"/>
                <a:gd name="T102" fmla="*/ 0 w 200"/>
                <a:gd name="T103" fmla="*/ 0 h 195"/>
                <a:gd name="T104" fmla="*/ 0 w 200"/>
                <a:gd name="T105" fmla="*/ 0 h 195"/>
                <a:gd name="T106" fmla="*/ 0 w 200"/>
                <a:gd name="T107" fmla="*/ 0 h 195"/>
                <a:gd name="T108" fmla="*/ 0 w 200"/>
                <a:gd name="T109" fmla="*/ 0 h 195"/>
                <a:gd name="T110" fmla="*/ 0 w 200"/>
                <a:gd name="T111" fmla="*/ 0 h 195"/>
                <a:gd name="T112" fmla="*/ 0 w 200"/>
                <a:gd name="T113" fmla="*/ 0 h 195"/>
                <a:gd name="T114" fmla="*/ 0 w 200"/>
                <a:gd name="T115" fmla="*/ 0 h 195"/>
                <a:gd name="T116" fmla="*/ 0 w 200"/>
                <a:gd name="T117" fmla="*/ 0 h 195"/>
                <a:gd name="T118" fmla="*/ 0 w 200"/>
                <a:gd name="T119" fmla="*/ 0 h 195"/>
                <a:gd name="T120" fmla="*/ 0 w 200"/>
                <a:gd name="T121" fmla="*/ 0 h 1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0"/>
                <a:gd name="T184" fmla="*/ 0 h 195"/>
                <a:gd name="T185" fmla="*/ 200 w 200"/>
                <a:gd name="T186" fmla="*/ 195 h 1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6" name="Freeform 291">
              <a:extLst>
                <a:ext uri="{FF2B5EF4-FFF2-40B4-BE49-F238E27FC236}">
                  <a16:creationId xmlns:a16="http://schemas.microsoft.com/office/drawing/2014/main" id="{DA9E7D72-0AEF-AE05-123B-D4A214E25EC9}"/>
                </a:ext>
              </a:extLst>
            </p:cNvPr>
            <p:cNvSpPr>
              <a:spLocks noChangeAspect="1"/>
            </p:cNvSpPr>
            <p:nvPr userDrawn="1"/>
          </p:nvSpPr>
          <p:spPr bwMode="gray">
            <a:xfrm>
              <a:off x="2449727" y="213415"/>
              <a:ext cx="116403" cy="73163"/>
            </a:xfrm>
            <a:custGeom>
              <a:avLst/>
              <a:gdLst>
                <a:gd name="T0" fmla="*/ 0 w 219"/>
                <a:gd name="T1" fmla="*/ 0 h 133"/>
                <a:gd name="T2" fmla="*/ 0 w 219"/>
                <a:gd name="T3" fmla="*/ 0 h 133"/>
                <a:gd name="T4" fmla="*/ 0 w 219"/>
                <a:gd name="T5" fmla="*/ 0 h 133"/>
                <a:gd name="T6" fmla="*/ 0 w 219"/>
                <a:gd name="T7" fmla="*/ 0 h 133"/>
                <a:gd name="T8" fmla="*/ 0 w 219"/>
                <a:gd name="T9" fmla="*/ 0 h 133"/>
                <a:gd name="T10" fmla="*/ 0 w 219"/>
                <a:gd name="T11" fmla="*/ 0 h 133"/>
                <a:gd name="T12" fmla="*/ 0 w 219"/>
                <a:gd name="T13" fmla="*/ 0 h 133"/>
                <a:gd name="T14" fmla="*/ 0 w 219"/>
                <a:gd name="T15" fmla="*/ 0 h 133"/>
                <a:gd name="T16" fmla="*/ 0 w 219"/>
                <a:gd name="T17" fmla="*/ 0 h 133"/>
                <a:gd name="T18" fmla="*/ 0 w 219"/>
                <a:gd name="T19" fmla="*/ 0 h 133"/>
                <a:gd name="T20" fmla="*/ 0 w 219"/>
                <a:gd name="T21" fmla="*/ 0 h 133"/>
                <a:gd name="T22" fmla="*/ 0 w 219"/>
                <a:gd name="T23" fmla="*/ 0 h 133"/>
                <a:gd name="T24" fmla="*/ 0 w 219"/>
                <a:gd name="T25" fmla="*/ 0 h 133"/>
                <a:gd name="T26" fmla="*/ 0 w 219"/>
                <a:gd name="T27" fmla="*/ 0 h 133"/>
                <a:gd name="T28" fmla="*/ 0 w 219"/>
                <a:gd name="T29" fmla="*/ 0 h 133"/>
                <a:gd name="T30" fmla="*/ 0 w 219"/>
                <a:gd name="T31" fmla="*/ 0 h 133"/>
                <a:gd name="T32" fmla="*/ 0 w 219"/>
                <a:gd name="T33" fmla="*/ 0 h 133"/>
                <a:gd name="T34" fmla="*/ 0 w 219"/>
                <a:gd name="T35" fmla="*/ 0 h 133"/>
                <a:gd name="T36" fmla="*/ 0 w 219"/>
                <a:gd name="T37" fmla="*/ 0 h 133"/>
                <a:gd name="T38" fmla="*/ 0 w 219"/>
                <a:gd name="T39" fmla="*/ 0 h 133"/>
                <a:gd name="T40" fmla="*/ 0 w 219"/>
                <a:gd name="T41" fmla="*/ 0 h 133"/>
                <a:gd name="T42" fmla="*/ 0 w 219"/>
                <a:gd name="T43" fmla="*/ 0 h 133"/>
                <a:gd name="T44" fmla="*/ 0 w 219"/>
                <a:gd name="T45" fmla="*/ 0 h 133"/>
                <a:gd name="T46" fmla="*/ 0 w 219"/>
                <a:gd name="T47" fmla="*/ 0 h 133"/>
                <a:gd name="T48" fmla="*/ 0 w 219"/>
                <a:gd name="T49" fmla="*/ 0 h 133"/>
                <a:gd name="T50" fmla="*/ 0 w 219"/>
                <a:gd name="T51" fmla="*/ 0 h 133"/>
                <a:gd name="T52" fmla="*/ 0 w 219"/>
                <a:gd name="T53" fmla="*/ 0 h 133"/>
                <a:gd name="T54" fmla="*/ 0 w 219"/>
                <a:gd name="T55" fmla="*/ 0 h 133"/>
                <a:gd name="T56" fmla="*/ 0 w 219"/>
                <a:gd name="T57" fmla="*/ 0 h 133"/>
                <a:gd name="T58" fmla="*/ 0 w 219"/>
                <a:gd name="T59" fmla="*/ 0 h 133"/>
                <a:gd name="T60" fmla="*/ 0 w 219"/>
                <a:gd name="T61" fmla="*/ 0 h 133"/>
                <a:gd name="T62" fmla="*/ 0 w 219"/>
                <a:gd name="T63" fmla="*/ 0 h 133"/>
                <a:gd name="T64" fmla="*/ 0 w 219"/>
                <a:gd name="T65" fmla="*/ 0 h 133"/>
                <a:gd name="T66" fmla="*/ 0 w 219"/>
                <a:gd name="T67" fmla="*/ 0 h 133"/>
                <a:gd name="T68" fmla="*/ 0 w 219"/>
                <a:gd name="T69" fmla="*/ 0 h 133"/>
                <a:gd name="T70" fmla="*/ 0 w 219"/>
                <a:gd name="T71" fmla="*/ 0 h 133"/>
                <a:gd name="T72" fmla="*/ 0 w 219"/>
                <a:gd name="T73" fmla="*/ 0 h 133"/>
                <a:gd name="T74" fmla="*/ 0 w 219"/>
                <a:gd name="T75" fmla="*/ 0 h 133"/>
                <a:gd name="T76" fmla="*/ 0 w 219"/>
                <a:gd name="T77" fmla="*/ 0 h 133"/>
                <a:gd name="T78" fmla="*/ 0 w 219"/>
                <a:gd name="T79" fmla="*/ 0 h 133"/>
                <a:gd name="T80" fmla="*/ 0 w 219"/>
                <a:gd name="T81" fmla="*/ 0 h 133"/>
                <a:gd name="T82" fmla="*/ 0 w 219"/>
                <a:gd name="T83" fmla="*/ 0 h 133"/>
                <a:gd name="T84" fmla="*/ 0 w 219"/>
                <a:gd name="T85" fmla="*/ 0 h 133"/>
                <a:gd name="T86" fmla="*/ 0 w 219"/>
                <a:gd name="T87" fmla="*/ 0 h 133"/>
                <a:gd name="T88" fmla="*/ 0 w 219"/>
                <a:gd name="T89" fmla="*/ 0 h 133"/>
                <a:gd name="T90" fmla="*/ 0 w 219"/>
                <a:gd name="T91" fmla="*/ 0 h 133"/>
                <a:gd name="T92" fmla="*/ 0 w 219"/>
                <a:gd name="T93" fmla="*/ 0 h 133"/>
                <a:gd name="T94" fmla="*/ 0 w 219"/>
                <a:gd name="T95" fmla="*/ 0 h 133"/>
                <a:gd name="T96" fmla="*/ 0 w 219"/>
                <a:gd name="T97" fmla="*/ 0 h 133"/>
                <a:gd name="T98" fmla="*/ 0 w 219"/>
                <a:gd name="T99" fmla="*/ 0 h 133"/>
                <a:gd name="T100" fmla="*/ 0 w 219"/>
                <a:gd name="T101" fmla="*/ 0 h 133"/>
                <a:gd name="T102" fmla="*/ 0 w 219"/>
                <a:gd name="T103" fmla="*/ 0 h 133"/>
                <a:gd name="T104" fmla="*/ 0 w 219"/>
                <a:gd name="T105" fmla="*/ 0 h 133"/>
                <a:gd name="T106" fmla="*/ 0 w 219"/>
                <a:gd name="T107" fmla="*/ 0 h 133"/>
                <a:gd name="T108" fmla="*/ 0 w 219"/>
                <a:gd name="T109" fmla="*/ 0 h 133"/>
                <a:gd name="T110" fmla="*/ 0 w 219"/>
                <a:gd name="T111" fmla="*/ 0 h 133"/>
                <a:gd name="T112" fmla="*/ 0 w 219"/>
                <a:gd name="T113" fmla="*/ 0 h 133"/>
                <a:gd name="T114" fmla="*/ 0 w 219"/>
                <a:gd name="T115" fmla="*/ 0 h 1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9"/>
                <a:gd name="T175" fmla="*/ 0 h 133"/>
                <a:gd name="T176" fmla="*/ 219 w 219"/>
                <a:gd name="T177" fmla="*/ 133 h 1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7" name="Freeform 292">
              <a:extLst>
                <a:ext uri="{FF2B5EF4-FFF2-40B4-BE49-F238E27FC236}">
                  <a16:creationId xmlns:a16="http://schemas.microsoft.com/office/drawing/2014/main" id="{BF8A7E2C-ADA6-0441-BECC-015B486C5255}"/>
                </a:ext>
              </a:extLst>
            </p:cNvPr>
            <p:cNvSpPr>
              <a:spLocks noChangeAspect="1"/>
            </p:cNvSpPr>
            <p:nvPr userDrawn="1"/>
          </p:nvSpPr>
          <p:spPr bwMode="gray">
            <a:xfrm>
              <a:off x="2957123" y="358215"/>
              <a:ext cx="86556" cy="59445"/>
            </a:xfrm>
            <a:custGeom>
              <a:avLst/>
              <a:gdLst>
                <a:gd name="T0" fmla="*/ 0 w 164"/>
                <a:gd name="T1" fmla="*/ 0 h 103"/>
                <a:gd name="T2" fmla="*/ 0 w 164"/>
                <a:gd name="T3" fmla="*/ 0 h 103"/>
                <a:gd name="T4" fmla="*/ 0 w 164"/>
                <a:gd name="T5" fmla="*/ 0 h 103"/>
                <a:gd name="T6" fmla="*/ 0 w 164"/>
                <a:gd name="T7" fmla="*/ 0 h 103"/>
                <a:gd name="T8" fmla="*/ 0 w 164"/>
                <a:gd name="T9" fmla="*/ 0 h 103"/>
                <a:gd name="T10" fmla="*/ 0 w 164"/>
                <a:gd name="T11" fmla="*/ 0 h 103"/>
                <a:gd name="T12" fmla="*/ 0 w 164"/>
                <a:gd name="T13" fmla="*/ 0 h 103"/>
                <a:gd name="T14" fmla="*/ 0 w 164"/>
                <a:gd name="T15" fmla="*/ 0 h 103"/>
                <a:gd name="T16" fmla="*/ 0 w 164"/>
                <a:gd name="T17" fmla="*/ 0 h 103"/>
                <a:gd name="T18" fmla="*/ 0 w 164"/>
                <a:gd name="T19" fmla="*/ 0 h 103"/>
                <a:gd name="T20" fmla="*/ 0 w 164"/>
                <a:gd name="T21" fmla="*/ 0 h 103"/>
                <a:gd name="T22" fmla="*/ 0 w 164"/>
                <a:gd name="T23" fmla="*/ 0 h 103"/>
                <a:gd name="T24" fmla="*/ 0 w 164"/>
                <a:gd name="T25" fmla="*/ 0 h 103"/>
                <a:gd name="T26" fmla="*/ 0 w 164"/>
                <a:gd name="T27" fmla="*/ 0 h 103"/>
                <a:gd name="T28" fmla="*/ 0 w 164"/>
                <a:gd name="T29" fmla="*/ 0 h 103"/>
                <a:gd name="T30" fmla="*/ 0 w 164"/>
                <a:gd name="T31" fmla="*/ 0 h 103"/>
                <a:gd name="T32" fmla="*/ 0 w 164"/>
                <a:gd name="T33" fmla="*/ 0 h 103"/>
                <a:gd name="T34" fmla="*/ 0 w 164"/>
                <a:gd name="T35" fmla="*/ 0 h 103"/>
                <a:gd name="T36" fmla="*/ 0 w 164"/>
                <a:gd name="T37" fmla="*/ 0 h 103"/>
                <a:gd name="T38" fmla="*/ 0 w 164"/>
                <a:gd name="T39" fmla="*/ 0 h 103"/>
                <a:gd name="T40" fmla="*/ 0 w 164"/>
                <a:gd name="T41" fmla="*/ 0 h 103"/>
                <a:gd name="T42" fmla="*/ 0 w 164"/>
                <a:gd name="T43" fmla="*/ 0 h 103"/>
                <a:gd name="T44" fmla="*/ 0 w 164"/>
                <a:gd name="T45" fmla="*/ 0 h 103"/>
                <a:gd name="T46" fmla="*/ 0 w 164"/>
                <a:gd name="T47" fmla="*/ 0 h 103"/>
                <a:gd name="T48" fmla="*/ 0 w 164"/>
                <a:gd name="T49" fmla="*/ 0 h 103"/>
                <a:gd name="T50" fmla="*/ 0 w 164"/>
                <a:gd name="T51" fmla="*/ 0 h 103"/>
                <a:gd name="T52" fmla="*/ 0 w 164"/>
                <a:gd name="T53" fmla="*/ 0 h 103"/>
                <a:gd name="T54" fmla="*/ 0 w 164"/>
                <a:gd name="T55" fmla="*/ 0 h 103"/>
                <a:gd name="T56" fmla="*/ 0 w 164"/>
                <a:gd name="T57" fmla="*/ 0 h 103"/>
                <a:gd name="T58" fmla="*/ 0 w 164"/>
                <a:gd name="T59" fmla="*/ 0 h 103"/>
                <a:gd name="T60" fmla="*/ 0 w 164"/>
                <a:gd name="T61" fmla="*/ 0 h 103"/>
                <a:gd name="T62" fmla="*/ 0 w 164"/>
                <a:gd name="T63" fmla="*/ 0 h 103"/>
                <a:gd name="T64" fmla="*/ 0 w 164"/>
                <a:gd name="T65" fmla="*/ 0 h 103"/>
                <a:gd name="T66" fmla="*/ 0 w 164"/>
                <a:gd name="T67" fmla="*/ 0 h 103"/>
                <a:gd name="T68" fmla="*/ 0 w 164"/>
                <a:gd name="T69" fmla="*/ 0 h 103"/>
                <a:gd name="T70" fmla="*/ 0 w 164"/>
                <a:gd name="T71" fmla="*/ 0 h 103"/>
                <a:gd name="T72" fmla="*/ 0 w 164"/>
                <a:gd name="T73" fmla="*/ 0 h 103"/>
                <a:gd name="T74" fmla="*/ 0 w 164"/>
                <a:gd name="T75" fmla="*/ 0 h 103"/>
                <a:gd name="T76" fmla="*/ 0 w 164"/>
                <a:gd name="T77" fmla="*/ 0 h 103"/>
                <a:gd name="T78" fmla="*/ 0 w 164"/>
                <a:gd name="T79" fmla="*/ 0 h 103"/>
                <a:gd name="T80" fmla="*/ 0 w 164"/>
                <a:gd name="T81" fmla="*/ 0 h 103"/>
                <a:gd name="T82" fmla="*/ 0 w 164"/>
                <a:gd name="T83" fmla="*/ 0 h 103"/>
                <a:gd name="T84" fmla="*/ 0 w 164"/>
                <a:gd name="T85" fmla="*/ 0 h 103"/>
                <a:gd name="T86" fmla="*/ 0 w 164"/>
                <a:gd name="T87" fmla="*/ 0 h 103"/>
                <a:gd name="T88" fmla="*/ 0 w 164"/>
                <a:gd name="T89" fmla="*/ 0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4"/>
                <a:gd name="T136" fmla="*/ 0 h 103"/>
                <a:gd name="T137" fmla="*/ 164 w 164"/>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8" name="Freeform 293">
              <a:extLst>
                <a:ext uri="{FF2B5EF4-FFF2-40B4-BE49-F238E27FC236}">
                  <a16:creationId xmlns:a16="http://schemas.microsoft.com/office/drawing/2014/main" id="{18540911-9DC1-CE61-83E3-41143AD8CF87}"/>
                </a:ext>
              </a:extLst>
            </p:cNvPr>
            <p:cNvSpPr>
              <a:spLocks noChangeAspect="1"/>
            </p:cNvSpPr>
            <p:nvPr userDrawn="1"/>
          </p:nvSpPr>
          <p:spPr bwMode="gray">
            <a:xfrm>
              <a:off x="2931754" y="457289"/>
              <a:ext cx="505903" cy="338377"/>
            </a:xfrm>
            <a:custGeom>
              <a:avLst/>
              <a:gdLst>
                <a:gd name="T0" fmla="*/ 0 w 946"/>
                <a:gd name="T1" fmla="*/ 0 h 593"/>
                <a:gd name="T2" fmla="*/ 0 w 946"/>
                <a:gd name="T3" fmla="*/ 0 h 593"/>
                <a:gd name="T4" fmla="*/ 0 w 946"/>
                <a:gd name="T5" fmla="*/ 0 h 593"/>
                <a:gd name="T6" fmla="*/ 0 w 946"/>
                <a:gd name="T7" fmla="*/ 0 h 593"/>
                <a:gd name="T8" fmla="*/ 0 w 946"/>
                <a:gd name="T9" fmla="*/ 0 h 593"/>
                <a:gd name="T10" fmla="*/ 0 w 946"/>
                <a:gd name="T11" fmla="*/ 0 h 593"/>
                <a:gd name="T12" fmla="*/ 0 w 946"/>
                <a:gd name="T13" fmla="*/ 0 h 593"/>
                <a:gd name="T14" fmla="*/ 0 w 946"/>
                <a:gd name="T15" fmla="*/ 0 h 593"/>
                <a:gd name="T16" fmla="*/ 0 w 946"/>
                <a:gd name="T17" fmla="*/ 2147483647 h 593"/>
                <a:gd name="T18" fmla="*/ 0 w 946"/>
                <a:gd name="T19" fmla="*/ 2147483647 h 593"/>
                <a:gd name="T20" fmla="*/ 0 w 946"/>
                <a:gd name="T21" fmla="*/ 2147483647 h 593"/>
                <a:gd name="T22" fmla="*/ 0 w 946"/>
                <a:gd name="T23" fmla="*/ 2147483647 h 593"/>
                <a:gd name="T24" fmla="*/ 2147483647 w 946"/>
                <a:gd name="T25" fmla="*/ 2147483647 h 593"/>
                <a:gd name="T26" fmla="*/ 2147483647 w 946"/>
                <a:gd name="T27" fmla="*/ 2147483647 h 593"/>
                <a:gd name="T28" fmla="*/ 2147483647 w 946"/>
                <a:gd name="T29" fmla="*/ 2147483647 h 593"/>
                <a:gd name="T30" fmla="*/ 2147483647 w 946"/>
                <a:gd name="T31" fmla="*/ 2147483647 h 593"/>
                <a:gd name="T32" fmla="*/ 2147483647 w 946"/>
                <a:gd name="T33" fmla="*/ 2147483647 h 593"/>
                <a:gd name="T34" fmla="*/ 2147483647 w 946"/>
                <a:gd name="T35" fmla="*/ 2147483647 h 593"/>
                <a:gd name="T36" fmla="*/ 2147483647 w 946"/>
                <a:gd name="T37" fmla="*/ 2147483647 h 593"/>
                <a:gd name="T38" fmla="*/ 2147483647 w 946"/>
                <a:gd name="T39" fmla="*/ 2147483647 h 593"/>
                <a:gd name="T40" fmla="*/ 2147483647 w 946"/>
                <a:gd name="T41" fmla="*/ 2147483647 h 593"/>
                <a:gd name="T42" fmla="*/ 2147483647 w 946"/>
                <a:gd name="T43" fmla="*/ 2147483647 h 593"/>
                <a:gd name="T44" fmla="*/ 2147483647 w 946"/>
                <a:gd name="T45" fmla="*/ 2147483647 h 593"/>
                <a:gd name="T46" fmla="*/ 2147483647 w 946"/>
                <a:gd name="T47" fmla="*/ 2147483647 h 593"/>
                <a:gd name="T48" fmla="*/ 2147483647 w 946"/>
                <a:gd name="T49" fmla="*/ 2147483647 h 593"/>
                <a:gd name="T50" fmla="*/ 2147483647 w 946"/>
                <a:gd name="T51" fmla="*/ 2147483647 h 593"/>
                <a:gd name="T52" fmla="*/ 2147483647 w 946"/>
                <a:gd name="T53" fmla="*/ 2147483647 h 593"/>
                <a:gd name="T54" fmla="*/ 2147483647 w 946"/>
                <a:gd name="T55" fmla="*/ 2147483647 h 593"/>
                <a:gd name="T56" fmla="*/ 2147483647 w 946"/>
                <a:gd name="T57" fmla="*/ 2147483647 h 593"/>
                <a:gd name="T58" fmla="*/ 2147483647 w 946"/>
                <a:gd name="T59" fmla="*/ 0 h 593"/>
                <a:gd name="T60" fmla="*/ 2147483647 w 946"/>
                <a:gd name="T61" fmla="*/ 0 h 593"/>
                <a:gd name="T62" fmla="*/ 2147483647 w 946"/>
                <a:gd name="T63" fmla="*/ 2147483647 h 593"/>
                <a:gd name="T64" fmla="*/ 2147483647 w 946"/>
                <a:gd name="T65" fmla="*/ 2147483647 h 593"/>
                <a:gd name="T66" fmla="*/ 2147483647 w 946"/>
                <a:gd name="T67" fmla="*/ 2147483647 h 593"/>
                <a:gd name="T68" fmla="*/ 2147483647 w 946"/>
                <a:gd name="T69" fmla="*/ 2147483647 h 593"/>
                <a:gd name="T70" fmla="*/ 2147483647 w 946"/>
                <a:gd name="T71" fmla="*/ 2147483647 h 593"/>
                <a:gd name="T72" fmla="*/ 2147483647 w 946"/>
                <a:gd name="T73" fmla="*/ 2147483647 h 593"/>
                <a:gd name="T74" fmla="*/ 2147483647 w 946"/>
                <a:gd name="T75" fmla="*/ 2147483647 h 593"/>
                <a:gd name="T76" fmla="*/ 2147483647 w 946"/>
                <a:gd name="T77" fmla="*/ 2147483647 h 593"/>
                <a:gd name="T78" fmla="*/ 2147483647 w 946"/>
                <a:gd name="T79" fmla="*/ 2147483647 h 593"/>
                <a:gd name="T80" fmla="*/ 2147483647 w 946"/>
                <a:gd name="T81" fmla="*/ 2147483647 h 593"/>
                <a:gd name="T82" fmla="*/ 2147483647 w 946"/>
                <a:gd name="T83" fmla="*/ 0 h 593"/>
                <a:gd name="T84" fmla="*/ 2147483647 w 946"/>
                <a:gd name="T85" fmla="*/ 0 h 593"/>
                <a:gd name="T86" fmla="*/ 2147483647 w 946"/>
                <a:gd name="T87" fmla="*/ 0 h 593"/>
                <a:gd name="T88" fmla="*/ 2147483647 w 946"/>
                <a:gd name="T89" fmla="*/ 0 h 593"/>
                <a:gd name="T90" fmla="*/ 2147483647 w 946"/>
                <a:gd name="T91" fmla="*/ 0 h 593"/>
                <a:gd name="T92" fmla="*/ 0 w 946"/>
                <a:gd name="T93" fmla="*/ 0 h 593"/>
                <a:gd name="T94" fmla="*/ 2147483647 w 946"/>
                <a:gd name="T95" fmla="*/ 0 h 593"/>
                <a:gd name="T96" fmla="*/ 2147483647 w 946"/>
                <a:gd name="T97" fmla="*/ 0 h 593"/>
                <a:gd name="T98" fmla="*/ 2147483647 w 946"/>
                <a:gd name="T99" fmla="*/ 0 h 593"/>
                <a:gd name="T100" fmla="*/ 2147483647 w 946"/>
                <a:gd name="T101" fmla="*/ 0 h 593"/>
                <a:gd name="T102" fmla="*/ 2147483647 w 946"/>
                <a:gd name="T103" fmla="*/ 0 h 593"/>
                <a:gd name="T104" fmla="*/ 0 w 946"/>
                <a:gd name="T105" fmla="*/ 0 h 593"/>
                <a:gd name="T106" fmla="*/ 0 w 946"/>
                <a:gd name="T107" fmla="*/ 0 h 593"/>
                <a:gd name="T108" fmla="*/ 0 w 946"/>
                <a:gd name="T109" fmla="*/ 0 h 593"/>
                <a:gd name="T110" fmla="*/ 0 w 946"/>
                <a:gd name="T111" fmla="*/ 0 h 593"/>
                <a:gd name="T112" fmla="*/ 0 w 946"/>
                <a:gd name="T113" fmla="*/ 0 h 59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46"/>
                <a:gd name="T172" fmla="*/ 0 h 593"/>
                <a:gd name="T173" fmla="*/ 946 w 946"/>
                <a:gd name="T174" fmla="*/ 593 h 59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69" name="Freeform 294">
              <a:extLst>
                <a:ext uri="{FF2B5EF4-FFF2-40B4-BE49-F238E27FC236}">
                  <a16:creationId xmlns:a16="http://schemas.microsoft.com/office/drawing/2014/main" id="{69E32849-3438-CE5C-A311-85F6AFAC5E32}"/>
                </a:ext>
              </a:extLst>
            </p:cNvPr>
            <p:cNvSpPr>
              <a:spLocks noChangeAspect="1"/>
            </p:cNvSpPr>
            <p:nvPr userDrawn="1"/>
          </p:nvSpPr>
          <p:spPr bwMode="gray">
            <a:xfrm>
              <a:off x="2946677" y="644768"/>
              <a:ext cx="86556" cy="131083"/>
            </a:xfrm>
            <a:custGeom>
              <a:avLst/>
              <a:gdLst>
                <a:gd name="T0" fmla="*/ 0 w 163"/>
                <a:gd name="T1" fmla="*/ 0 h 229"/>
                <a:gd name="T2" fmla="*/ 0 w 163"/>
                <a:gd name="T3" fmla="*/ 0 h 229"/>
                <a:gd name="T4" fmla="*/ 0 w 163"/>
                <a:gd name="T5" fmla="*/ 0 h 229"/>
                <a:gd name="T6" fmla="*/ 0 w 163"/>
                <a:gd name="T7" fmla="*/ 0 h 229"/>
                <a:gd name="T8" fmla="*/ 0 w 163"/>
                <a:gd name="T9" fmla="*/ 0 h 229"/>
                <a:gd name="T10" fmla="*/ 0 w 163"/>
                <a:gd name="T11" fmla="*/ 0 h 229"/>
                <a:gd name="T12" fmla="*/ 0 w 163"/>
                <a:gd name="T13" fmla="*/ 0 h 229"/>
                <a:gd name="T14" fmla="*/ 0 w 163"/>
                <a:gd name="T15" fmla="*/ 0 h 229"/>
                <a:gd name="T16" fmla="*/ 0 w 163"/>
                <a:gd name="T17" fmla="*/ 0 h 229"/>
                <a:gd name="T18" fmla="*/ 0 w 163"/>
                <a:gd name="T19" fmla="*/ 0 h 229"/>
                <a:gd name="T20" fmla="*/ 0 w 163"/>
                <a:gd name="T21" fmla="*/ 0 h 229"/>
                <a:gd name="T22" fmla="*/ 0 w 163"/>
                <a:gd name="T23" fmla="*/ 0 h 229"/>
                <a:gd name="T24" fmla="*/ 0 w 163"/>
                <a:gd name="T25" fmla="*/ 0 h 229"/>
                <a:gd name="T26" fmla="*/ 0 w 163"/>
                <a:gd name="T27" fmla="*/ 0 h 229"/>
                <a:gd name="T28" fmla="*/ 0 w 163"/>
                <a:gd name="T29" fmla="*/ 0 h 229"/>
                <a:gd name="T30" fmla="*/ 0 w 163"/>
                <a:gd name="T31" fmla="*/ 0 h 229"/>
                <a:gd name="T32" fmla="*/ 0 w 163"/>
                <a:gd name="T33" fmla="*/ 0 h 229"/>
                <a:gd name="T34" fmla="*/ 0 w 163"/>
                <a:gd name="T35" fmla="*/ 0 h 229"/>
                <a:gd name="T36" fmla="*/ 0 w 163"/>
                <a:gd name="T37" fmla="*/ 0 h 229"/>
                <a:gd name="T38" fmla="*/ 0 w 163"/>
                <a:gd name="T39" fmla="*/ 0 h 229"/>
                <a:gd name="T40" fmla="*/ 0 w 163"/>
                <a:gd name="T41" fmla="*/ 0 h 229"/>
                <a:gd name="T42" fmla="*/ 0 w 163"/>
                <a:gd name="T43" fmla="*/ 0 h 229"/>
                <a:gd name="T44" fmla="*/ 0 w 163"/>
                <a:gd name="T45" fmla="*/ 0 h 229"/>
                <a:gd name="T46" fmla="*/ 0 w 163"/>
                <a:gd name="T47" fmla="*/ 0 h 229"/>
                <a:gd name="T48" fmla="*/ 0 w 163"/>
                <a:gd name="T49" fmla="*/ 0 h 229"/>
                <a:gd name="T50" fmla="*/ 0 w 163"/>
                <a:gd name="T51" fmla="*/ 0 h 229"/>
                <a:gd name="T52" fmla="*/ 0 w 163"/>
                <a:gd name="T53" fmla="*/ 0 h 229"/>
                <a:gd name="T54" fmla="*/ 0 w 163"/>
                <a:gd name="T55" fmla="*/ 0 h 229"/>
                <a:gd name="T56" fmla="*/ 0 w 163"/>
                <a:gd name="T57" fmla="*/ 0 h 229"/>
                <a:gd name="T58" fmla="*/ 0 w 163"/>
                <a:gd name="T59" fmla="*/ 0 h 229"/>
                <a:gd name="T60" fmla="*/ 0 w 163"/>
                <a:gd name="T61" fmla="*/ 0 h 229"/>
                <a:gd name="T62" fmla="*/ 0 w 163"/>
                <a:gd name="T63" fmla="*/ 0 h 229"/>
                <a:gd name="T64" fmla="*/ 0 w 163"/>
                <a:gd name="T65" fmla="*/ 0 h 229"/>
                <a:gd name="T66" fmla="*/ 0 w 163"/>
                <a:gd name="T67" fmla="*/ 0 h 229"/>
                <a:gd name="T68" fmla="*/ 0 w 163"/>
                <a:gd name="T69" fmla="*/ 0 h 229"/>
                <a:gd name="T70" fmla="*/ 0 w 163"/>
                <a:gd name="T71" fmla="*/ 0 h 229"/>
                <a:gd name="T72" fmla="*/ 0 w 163"/>
                <a:gd name="T73" fmla="*/ 0 h 229"/>
                <a:gd name="T74" fmla="*/ 0 w 163"/>
                <a:gd name="T75" fmla="*/ 0 h 2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3"/>
                <a:gd name="T115" fmla="*/ 0 h 229"/>
                <a:gd name="T116" fmla="*/ 163 w 163"/>
                <a:gd name="T117" fmla="*/ 229 h 22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0" name="Freeform 295">
              <a:extLst>
                <a:ext uri="{FF2B5EF4-FFF2-40B4-BE49-F238E27FC236}">
                  <a16:creationId xmlns:a16="http://schemas.microsoft.com/office/drawing/2014/main" id="{6360C2D8-6CB1-CF98-0629-0099328FA28D}"/>
                </a:ext>
              </a:extLst>
            </p:cNvPr>
            <p:cNvSpPr>
              <a:spLocks noChangeAspect="1"/>
            </p:cNvSpPr>
            <p:nvPr userDrawn="1"/>
          </p:nvSpPr>
          <p:spPr bwMode="gray">
            <a:xfrm>
              <a:off x="3218284" y="1591308"/>
              <a:ext cx="205943" cy="198148"/>
            </a:xfrm>
            <a:custGeom>
              <a:avLst/>
              <a:gdLst>
                <a:gd name="T0" fmla="*/ 0 w 384"/>
                <a:gd name="T1" fmla="*/ 0 h 349"/>
                <a:gd name="T2" fmla="*/ 0 w 384"/>
                <a:gd name="T3" fmla="*/ 0 h 349"/>
                <a:gd name="T4" fmla="*/ 0 w 384"/>
                <a:gd name="T5" fmla="*/ 0 h 349"/>
                <a:gd name="T6" fmla="*/ 0 w 384"/>
                <a:gd name="T7" fmla="*/ 0 h 349"/>
                <a:gd name="T8" fmla="*/ 0 w 384"/>
                <a:gd name="T9" fmla="*/ 0 h 349"/>
                <a:gd name="T10" fmla="*/ 0 w 384"/>
                <a:gd name="T11" fmla="*/ 0 h 349"/>
                <a:gd name="T12" fmla="*/ 0 w 384"/>
                <a:gd name="T13" fmla="*/ 0 h 349"/>
                <a:gd name="T14" fmla="*/ 0 w 384"/>
                <a:gd name="T15" fmla="*/ 0 h 349"/>
                <a:gd name="T16" fmla="*/ 0 w 384"/>
                <a:gd name="T17" fmla="*/ 0 h 349"/>
                <a:gd name="T18" fmla="*/ 0 w 384"/>
                <a:gd name="T19" fmla="*/ 0 h 349"/>
                <a:gd name="T20" fmla="*/ 0 w 384"/>
                <a:gd name="T21" fmla="*/ 0 h 349"/>
                <a:gd name="T22" fmla="*/ 2147483647 w 384"/>
                <a:gd name="T23" fmla="*/ 0 h 349"/>
                <a:gd name="T24" fmla="*/ 2147483647 w 384"/>
                <a:gd name="T25" fmla="*/ 0 h 349"/>
                <a:gd name="T26" fmla="*/ 2147483647 w 384"/>
                <a:gd name="T27" fmla="*/ 0 h 349"/>
                <a:gd name="T28" fmla="*/ 2147483647 w 384"/>
                <a:gd name="T29" fmla="*/ 0 h 349"/>
                <a:gd name="T30" fmla="*/ 2147483647 w 384"/>
                <a:gd name="T31" fmla="*/ 0 h 349"/>
                <a:gd name="T32" fmla="*/ 2147483647 w 384"/>
                <a:gd name="T33" fmla="*/ 0 h 349"/>
                <a:gd name="T34" fmla="*/ 0 w 384"/>
                <a:gd name="T35" fmla="*/ 0 h 349"/>
                <a:gd name="T36" fmla="*/ 0 w 384"/>
                <a:gd name="T37" fmla="*/ 0 h 349"/>
                <a:gd name="T38" fmla="*/ 0 w 384"/>
                <a:gd name="T39" fmla="*/ 0 h 349"/>
                <a:gd name="T40" fmla="*/ 0 w 384"/>
                <a:gd name="T41" fmla="*/ 0 h 349"/>
                <a:gd name="T42" fmla="*/ 0 w 384"/>
                <a:gd name="T43" fmla="*/ 0 h 349"/>
                <a:gd name="T44" fmla="*/ 0 w 384"/>
                <a:gd name="T45" fmla="*/ 0 h 349"/>
                <a:gd name="T46" fmla="*/ 0 w 384"/>
                <a:gd name="T47" fmla="*/ 0 h 349"/>
                <a:gd name="T48" fmla="*/ 0 w 384"/>
                <a:gd name="T49" fmla="*/ 0 h 349"/>
                <a:gd name="T50" fmla="*/ 0 w 384"/>
                <a:gd name="T51" fmla="*/ 0 h 349"/>
                <a:gd name="T52" fmla="*/ 0 w 384"/>
                <a:gd name="T53" fmla="*/ 0 h 349"/>
                <a:gd name="T54" fmla="*/ 0 w 384"/>
                <a:gd name="T55" fmla="*/ 0 h 349"/>
                <a:gd name="T56" fmla="*/ 0 w 384"/>
                <a:gd name="T57" fmla="*/ 2147483647 h 349"/>
                <a:gd name="T58" fmla="*/ 0 w 384"/>
                <a:gd name="T59" fmla="*/ 2147483647 h 349"/>
                <a:gd name="T60" fmla="*/ 0 w 384"/>
                <a:gd name="T61" fmla="*/ 2147483647 h 349"/>
                <a:gd name="T62" fmla="*/ 0 w 384"/>
                <a:gd name="T63" fmla="*/ 0 h 349"/>
                <a:gd name="T64" fmla="*/ 0 w 384"/>
                <a:gd name="T65" fmla="*/ 0 h 349"/>
                <a:gd name="T66" fmla="*/ 0 w 384"/>
                <a:gd name="T67" fmla="*/ 0 h 349"/>
                <a:gd name="T68" fmla="*/ 0 w 384"/>
                <a:gd name="T69" fmla="*/ 0 h 349"/>
                <a:gd name="T70" fmla="*/ 0 w 384"/>
                <a:gd name="T71" fmla="*/ 0 h 349"/>
                <a:gd name="T72" fmla="*/ 0 w 384"/>
                <a:gd name="T73" fmla="*/ 0 h 349"/>
                <a:gd name="T74" fmla="*/ 0 w 384"/>
                <a:gd name="T75" fmla="*/ 0 h 349"/>
                <a:gd name="T76" fmla="*/ 0 w 384"/>
                <a:gd name="T77" fmla="*/ 0 h 349"/>
                <a:gd name="T78" fmla="*/ 0 w 384"/>
                <a:gd name="T79" fmla="*/ 0 h 349"/>
                <a:gd name="T80" fmla="*/ 0 w 384"/>
                <a:gd name="T81" fmla="*/ 0 h 349"/>
                <a:gd name="T82" fmla="*/ 0 w 384"/>
                <a:gd name="T83" fmla="*/ 0 h 34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4"/>
                <a:gd name="T127" fmla="*/ 0 h 349"/>
                <a:gd name="T128" fmla="*/ 384 w 384"/>
                <a:gd name="T129" fmla="*/ 349 h 34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1" name="Freeform 296">
              <a:extLst>
                <a:ext uri="{FF2B5EF4-FFF2-40B4-BE49-F238E27FC236}">
                  <a16:creationId xmlns:a16="http://schemas.microsoft.com/office/drawing/2014/main" id="{77762006-4421-28FA-6DDE-F95416469AB5}"/>
                </a:ext>
              </a:extLst>
            </p:cNvPr>
            <p:cNvSpPr>
              <a:spLocks noChangeAspect="1"/>
            </p:cNvSpPr>
            <p:nvPr userDrawn="1"/>
          </p:nvSpPr>
          <p:spPr bwMode="gray">
            <a:xfrm>
              <a:off x="3509290" y="1399256"/>
              <a:ext cx="64171" cy="91453"/>
            </a:xfrm>
            <a:custGeom>
              <a:avLst/>
              <a:gdLst>
                <a:gd name="T0" fmla="*/ 0 w 122"/>
                <a:gd name="T1" fmla="*/ 0 h 161"/>
                <a:gd name="T2" fmla="*/ 0 w 122"/>
                <a:gd name="T3" fmla="*/ 0 h 161"/>
                <a:gd name="T4" fmla="*/ 0 w 122"/>
                <a:gd name="T5" fmla="*/ 0 h 161"/>
                <a:gd name="T6" fmla="*/ 0 w 122"/>
                <a:gd name="T7" fmla="*/ 0 h 161"/>
                <a:gd name="T8" fmla="*/ 0 w 122"/>
                <a:gd name="T9" fmla="*/ 0 h 161"/>
                <a:gd name="T10" fmla="*/ 0 w 122"/>
                <a:gd name="T11" fmla="*/ 0 h 161"/>
                <a:gd name="T12" fmla="*/ 0 w 122"/>
                <a:gd name="T13" fmla="*/ 0 h 161"/>
                <a:gd name="T14" fmla="*/ 0 w 122"/>
                <a:gd name="T15" fmla="*/ 0 h 161"/>
                <a:gd name="T16" fmla="*/ 0 w 122"/>
                <a:gd name="T17" fmla="*/ 0 h 161"/>
                <a:gd name="T18" fmla="*/ 0 w 122"/>
                <a:gd name="T19" fmla="*/ 0 h 161"/>
                <a:gd name="T20" fmla="*/ 0 w 122"/>
                <a:gd name="T21" fmla="*/ 0 h 161"/>
                <a:gd name="T22" fmla="*/ 0 w 122"/>
                <a:gd name="T23" fmla="*/ 0 h 161"/>
                <a:gd name="T24" fmla="*/ 0 w 122"/>
                <a:gd name="T25" fmla="*/ 0 h 161"/>
                <a:gd name="T26" fmla="*/ 0 w 122"/>
                <a:gd name="T27" fmla="*/ 0 h 161"/>
                <a:gd name="T28" fmla="*/ 0 w 122"/>
                <a:gd name="T29" fmla="*/ 0 h 161"/>
                <a:gd name="T30" fmla="*/ 0 w 122"/>
                <a:gd name="T31" fmla="*/ 0 h 161"/>
                <a:gd name="T32" fmla="*/ 0 w 122"/>
                <a:gd name="T33" fmla="*/ 0 h 161"/>
                <a:gd name="T34" fmla="*/ 0 w 122"/>
                <a:gd name="T35" fmla="*/ 0 h 161"/>
                <a:gd name="T36" fmla="*/ 0 w 122"/>
                <a:gd name="T37" fmla="*/ 0 h 161"/>
                <a:gd name="T38" fmla="*/ 0 w 122"/>
                <a:gd name="T39" fmla="*/ 0 h 161"/>
                <a:gd name="T40" fmla="*/ 0 w 122"/>
                <a:gd name="T41" fmla="*/ 0 h 161"/>
                <a:gd name="T42" fmla="*/ 0 w 122"/>
                <a:gd name="T43" fmla="*/ 0 h 161"/>
                <a:gd name="T44" fmla="*/ 0 w 122"/>
                <a:gd name="T45" fmla="*/ 0 h 161"/>
                <a:gd name="T46" fmla="*/ 0 w 122"/>
                <a:gd name="T47" fmla="*/ 0 h 161"/>
                <a:gd name="T48" fmla="*/ 0 w 122"/>
                <a:gd name="T49" fmla="*/ 0 h 161"/>
                <a:gd name="T50" fmla="*/ 0 w 122"/>
                <a:gd name="T51" fmla="*/ 0 h 161"/>
                <a:gd name="T52" fmla="*/ 0 w 122"/>
                <a:gd name="T53" fmla="*/ 0 h 161"/>
                <a:gd name="T54" fmla="*/ 0 w 122"/>
                <a:gd name="T55" fmla="*/ 0 h 161"/>
                <a:gd name="T56" fmla="*/ 0 w 122"/>
                <a:gd name="T57" fmla="*/ 0 h 1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2"/>
                <a:gd name="T88" fmla="*/ 0 h 161"/>
                <a:gd name="T89" fmla="*/ 122 w 122"/>
                <a:gd name="T90" fmla="*/ 161 h 1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2" name="Freeform 297">
              <a:extLst>
                <a:ext uri="{FF2B5EF4-FFF2-40B4-BE49-F238E27FC236}">
                  <a16:creationId xmlns:a16="http://schemas.microsoft.com/office/drawing/2014/main" id="{12CC81E2-98DA-8ECB-DFD6-6E34DE122B59}"/>
                </a:ext>
              </a:extLst>
            </p:cNvPr>
            <p:cNvSpPr>
              <a:spLocks noChangeAspect="1"/>
            </p:cNvSpPr>
            <p:nvPr userDrawn="1"/>
          </p:nvSpPr>
          <p:spPr bwMode="gray">
            <a:xfrm>
              <a:off x="3401841" y="881021"/>
              <a:ext cx="141773" cy="108219"/>
            </a:xfrm>
            <a:custGeom>
              <a:avLst/>
              <a:gdLst>
                <a:gd name="T0" fmla="*/ 0 w 265"/>
                <a:gd name="T1" fmla="*/ 0 h 190"/>
                <a:gd name="T2" fmla="*/ 0 w 265"/>
                <a:gd name="T3" fmla="*/ 0 h 190"/>
                <a:gd name="T4" fmla="*/ 0 w 265"/>
                <a:gd name="T5" fmla="*/ 0 h 190"/>
                <a:gd name="T6" fmla="*/ 0 w 265"/>
                <a:gd name="T7" fmla="*/ 0 h 190"/>
                <a:gd name="T8" fmla="*/ 0 w 265"/>
                <a:gd name="T9" fmla="*/ 0 h 190"/>
                <a:gd name="T10" fmla="*/ 0 w 265"/>
                <a:gd name="T11" fmla="*/ 0 h 190"/>
                <a:gd name="T12" fmla="*/ 0 w 265"/>
                <a:gd name="T13" fmla="*/ 0 h 190"/>
                <a:gd name="T14" fmla="*/ 0 w 265"/>
                <a:gd name="T15" fmla="*/ 0 h 190"/>
                <a:gd name="T16" fmla="*/ 0 w 265"/>
                <a:gd name="T17" fmla="*/ 0 h 190"/>
                <a:gd name="T18" fmla="*/ 0 w 265"/>
                <a:gd name="T19" fmla="*/ 0 h 190"/>
                <a:gd name="T20" fmla="*/ 0 w 265"/>
                <a:gd name="T21" fmla="*/ 0 h 190"/>
                <a:gd name="T22" fmla="*/ 0 w 265"/>
                <a:gd name="T23" fmla="*/ 0 h 190"/>
                <a:gd name="T24" fmla="*/ 0 w 265"/>
                <a:gd name="T25" fmla="*/ 0 h 190"/>
                <a:gd name="T26" fmla="*/ 0 w 265"/>
                <a:gd name="T27" fmla="*/ 0 h 190"/>
                <a:gd name="T28" fmla="*/ 0 w 265"/>
                <a:gd name="T29" fmla="*/ 0 h 190"/>
                <a:gd name="T30" fmla="*/ 0 w 265"/>
                <a:gd name="T31" fmla="*/ 0 h 190"/>
                <a:gd name="T32" fmla="*/ 0 w 265"/>
                <a:gd name="T33" fmla="*/ 0 h 190"/>
                <a:gd name="T34" fmla="*/ 0 w 265"/>
                <a:gd name="T35" fmla="*/ 0 h 190"/>
                <a:gd name="T36" fmla="*/ 0 w 265"/>
                <a:gd name="T37" fmla="*/ 0 h 190"/>
                <a:gd name="T38" fmla="*/ 0 w 265"/>
                <a:gd name="T39" fmla="*/ 0 h 190"/>
                <a:gd name="T40" fmla="*/ 0 w 265"/>
                <a:gd name="T41" fmla="*/ 0 h 190"/>
                <a:gd name="T42" fmla="*/ 0 w 265"/>
                <a:gd name="T43" fmla="*/ 0 h 190"/>
                <a:gd name="T44" fmla="*/ 0 w 265"/>
                <a:gd name="T45" fmla="*/ 0 h 190"/>
                <a:gd name="T46" fmla="*/ 0 w 265"/>
                <a:gd name="T47" fmla="*/ 0 h 190"/>
                <a:gd name="T48" fmla="*/ 0 w 265"/>
                <a:gd name="T49" fmla="*/ 0 h 190"/>
                <a:gd name="T50" fmla="*/ 0 w 265"/>
                <a:gd name="T51" fmla="*/ 0 h 190"/>
                <a:gd name="T52" fmla="*/ 0 w 265"/>
                <a:gd name="T53" fmla="*/ 0 h 190"/>
                <a:gd name="T54" fmla="*/ 0 w 265"/>
                <a:gd name="T55" fmla="*/ 0 h 190"/>
                <a:gd name="T56" fmla="*/ 0 w 265"/>
                <a:gd name="T57" fmla="*/ 0 h 190"/>
                <a:gd name="T58" fmla="*/ 0 w 265"/>
                <a:gd name="T59" fmla="*/ 0 h 190"/>
                <a:gd name="T60" fmla="*/ 0 w 265"/>
                <a:gd name="T61" fmla="*/ 0 h 190"/>
                <a:gd name="T62" fmla="*/ 0 w 265"/>
                <a:gd name="T63" fmla="*/ 0 h 190"/>
                <a:gd name="T64" fmla="*/ 0 w 265"/>
                <a:gd name="T65" fmla="*/ 0 h 190"/>
                <a:gd name="T66" fmla="*/ 0 w 265"/>
                <a:gd name="T67" fmla="*/ 0 h 190"/>
                <a:gd name="T68" fmla="*/ 0 w 265"/>
                <a:gd name="T69" fmla="*/ 0 h 190"/>
                <a:gd name="T70" fmla="*/ 0 w 265"/>
                <a:gd name="T71" fmla="*/ 0 h 19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5"/>
                <a:gd name="T109" fmla="*/ 0 h 190"/>
                <a:gd name="T110" fmla="*/ 265 w 265"/>
                <a:gd name="T111" fmla="*/ 190 h 19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3" name="Freeform 298">
              <a:extLst>
                <a:ext uri="{FF2B5EF4-FFF2-40B4-BE49-F238E27FC236}">
                  <a16:creationId xmlns:a16="http://schemas.microsoft.com/office/drawing/2014/main" id="{7DF71A10-C8B1-1040-4DD7-E44E560B953D}"/>
                </a:ext>
              </a:extLst>
            </p:cNvPr>
            <p:cNvSpPr>
              <a:spLocks noChangeAspect="1"/>
            </p:cNvSpPr>
            <p:nvPr userDrawn="1"/>
          </p:nvSpPr>
          <p:spPr bwMode="gray">
            <a:xfrm>
              <a:off x="3133220" y="867303"/>
              <a:ext cx="843174" cy="1012081"/>
            </a:xfrm>
            <a:custGeom>
              <a:avLst/>
              <a:gdLst>
                <a:gd name="T0" fmla="*/ 2147483647 w 1581"/>
                <a:gd name="T1" fmla="*/ 2147483647 h 1779"/>
                <a:gd name="T2" fmla="*/ 2147483647 w 1581"/>
                <a:gd name="T3" fmla="*/ 2147483647 h 1779"/>
                <a:gd name="T4" fmla="*/ 2147483647 w 1581"/>
                <a:gd name="T5" fmla="*/ 2147483647 h 1779"/>
                <a:gd name="T6" fmla="*/ 2147483647 w 1581"/>
                <a:gd name="T7" fmla="*/ 2147483647 h 1779"/>
                <a:gd name="T8" fmla="*/ 2147483647 w 1581"/>
                <a:gd name="T9" fmla="*/ 2147483647 h 1779"/>
                <a:gd name="T10" fmla="*/ 2147483647 w 1581"/>
                <a:gd name="T11" fmla="*/ 2147483647 h 1779"/>
                <a:gd name="T12" fmla="*/ 2147483647 w 1581"/>
                <a:gd name="T13" fmla="*/ 2147483647 h 1779"/>
                <a:gd name="T14" fmla="*/ 2147483647 w 1581"/>
                <a:gd name="T15" fmla="*/ 2147483647 h 1779"/>
                <a:gd name="T16" fmla="*/ 2147483647 w 1581"/>
                <a:gd name="T17" fmla="*/ 2147483647 h 1779"/>
                <a:gd name="T18" fmla="*/ 2147483647 w 1581"/>
                <a:gd name="T19" fmla="*/ 2147483647 h 1779"/>
                <a:gd name="T20" fmla="*/ 2147483647 w 1581"/>
                <a:gd name="T21" fmla="*/ 2147483647 h 1779"/>
                <a:gd name="T22" fmla="*/ 2147483647 w 1581"/>
                <a:gd name="T23" fmla="*/ 2147483647 h 1779"/>
                <a:gd name="T24" fmla="*/ 2147483647 w 1581"/>
                <a:gd name="T25" fmla="*/ 2147483647 h 1779"/>
                <a:gd name="T26" fmla="*/ 2147483647 w 1581"/>
                <a:gd name="T27" fmla="*/ 2147483647 h 1779"/>
                <a:gd name="T28" fmla="*/ 2147483647 w 1581"/>
                <a:gd name="T29" fmla="*/ 2147483647 h 1779"/>
                <a:gd name="T30" fmla="*/ 2147483647 w 1581"/>
                <a:gd name="T31" fmla="*/ 2147483647 h 1779"/>
                <a:gd name="T32" fmla="*/ 2147483647 w 1581"/>
                <a:gd name="T33" fmla="*/ 2147483647 h 1779"/>
                <a:gd name="T34" fmla="*/ 2147483647 w 1581"/>
                <a:gd name="T35" fmla="*/ 2147483647 h 1779"/>
                <a:gd name="T36" fmla="*/ 2147483647 w 1581"/>
                <a:gd name="T37" fmla="*/ 2147483647 h 1779"/>
                <a:gd name="T38" fmla="*/ 2147483647 w 1581"/>
                <a:gd name="T39" fmla="*/ 2147483647 h 1779"/>
                <a:gd name="T40" fmla="*/ 2147483647 w 1581"/>
                <a:gd name="T41" fmla="*/ 2147483647 h 1779"/>
                <a:gd name="T42" fmla="*/ 2147483647 w 1581"/>
                <a:gd name="T43" fmla="*/ 2147483647 h 1779"/>
                <a:gd name="T44" fmla="*/ 2147483647 w 1581"/>
                <a:gd name="T45" fmla="*/ 2147483647 h 1779"/>
                <a:gd name="T46" fmla="*/ 2147483647 w 1581"/>
                <a:gd name="T47" fmla="*/ 2147483647 h 1779"/>
                <a:gd name="T48" fmla="*/ 2147483647 w 1581"/>
                <a:gd name="T49" fmla="*/ 2147483647 h 1779"/>
                <a:gd name="T50" fmla="*/ 2147483647 w 1581"/>
                <a:gd name="T51" fmla="*/ 2147483647 h 1779"/>
                <a:gd name="T52" fmla="*/ 2147483647 w 1581"/>
                <a:gd name="T53" fmla="*/ 2147483647 h 1779"/>
                <a:gd name="T54" fmla="*/ 2147483647 w 1581"/>
                <a:gd name="T55" fmla="*/ 2147483647 h 1779"/>
                <a:gd name="T56" fmla="*/ 2147483647 w 1581"/>
                <a:gd name="T57" fmla="*/ 2147483647 h 1779"/>
                <a:gd name="T58" fmla="*/ 2147483647 w 1581"/>
                <a:gd name="T59" fmla="*/ 0 h 1779"/>
                <a:gd name="T60" fmla="*/ 2147483647 w 1581"/>
                <a:gd name="T61" fmla="*/ 0 h 1779"/>
                <a:gd name="T62" fmla="*/ 2147483647 w 1581"/>
                <a:gd name="T63" fmla="*/ 2147483647 h 1779"/>
                <a:gd name="T64" fmla="*/ 2147483647 w 1581"/>
                <a:gd name="T65" fmla="*/ 0 h 1779"/>
                <a:gd name="T66" fmla="*/ 2147483647 w 1581"/>
                <a:gd name="T67" fmla="*/ 0 h 1779"/>
                <a:gd name="T68" fmla="*/ 0 w 1581"/>
                <a:gd name="T69" fmla="*/ 0 h 1779"/>
                <a:gd name="T70" fmla="*/ 0 w 1581"/>
                <a:gd name="T71" fmla="*/ 0 h 1779"/>
                <a:gd name="T72" fmla="*/ 0 w 1581"/>
                <a:gd name="T73" fmla="*/ 0 h 1779"/>
                <a:gd name="T74" fmla="*/ 0 w 1581"/>
                <a:gd name="T75" fmla="*/ 2147483647 h 1779"/>
                <a:gd name="T76" fmla="*/ 0 w 1581"/>
                <a:gd name="T77" fmla="*/ 2147483647 h 1779"/>
                <a:gd name="T78" fmla="*/ 0 w 1581"/>
                <a:gd name="T79" fmla="*/ 2147483647 h 1779"/>
                <a:gd name="T80" fmla="*/ 0 w 1581"/>
                <a:gd name="T81" fmla="*/ 0 h 1779"/>
                <a:gd name="T82" fmla="*/ 0 w 1581"/>
                <a:gd name="T83" fmla="*/ 0 h 1779"/>
                <a:gd name="T84" fmla="*/ 0 w 1581"/>
                <a:gd name="T85" fmla="*/ 0 h 1779"/>
                <a:gd name="T86" fmla="*/ 0 w 1581"/>
                <a:gd name="T87" fmla="*/ 2147483647 h 1779"/>
                <a:gd name="T88" fmla="*/ 0 w 1581"/>
                <a:gd name="T89" fmla="*/ 2147483647 h 1779"/>
                <a:gd name="T90" fmla="*/ 0 w 1581"/>
                <a:gd name="T91" fmla="*/ 2147483647 h 1779"/>
                <a:gd name="T92" fmla="*/ 2147483647 w 1581"/>
                <a:gd name="T93" fmla="*/ 2147483647 h 1779"/>
                <a:gd name="T94" fmla="*/ 2147483647 w 1581"/>
                <a:gd name="T95" fmla="*/ 2147483647 h 1779"/>
                <a:gd name="T96" fmla="*/ 2147483647 w 1581"/>
                <a:gd name="T97" fmla="*/ 2147483647 h 1779"/>
                <a:gd name="T98" fmla="*/ 2147483647 w 1581"/>
                <a:gd name="T99" fmla="*/ 2147483647 h 1779"/>
                <a:gd name="T100" fmla="*/ 2147483647 w 1581"/>
                <a:gd name="T101" fmla="*/ 2147483647 h 1779"/>
                <a:gd name="T102" fmla="*/ 2147483647 w 1581"/>
                <a:gd name="T103" fmla="*/ 2147483647 h 1779"/>
                <a:gd name="T104" fmla="*/ 2147483647 w 1581"/>
                <a:gd name="T105" fmla="*/ 2147483647 h 1779"/>
                <a:gd name="T106" fmla="*/ 2147483647 w 1581"/>
                <a:gd name="T107" fmla="*/ 2147483647 h 1779"/>
                <a:gd name="T108" fmla="*/ 2147483647 w 1581"/>
                <a:gd name="T109" fmla="*/ 2147483647 h 1779"/>
                <a:gd name="T110" fmla="*/ 2147483647 w 1581"/>
                <a:gd name="T111" fmla="*/ 2147483647 h 1779"/>
                <a:gd name="T112" fmla="*/ 2147483647 w 1581"/>
                <a:gd name="T113" fmla="*/ 2147483647 h 1779"/>
                <a:gd name="T114" fmla="*/ 2147483647 w 1581"/>
                <a:gd name="T115" fmla="*/ 2147483647 h 1779"/>
                <a:gd name="T116" fmla="*/ 2147483647 w 1581"/>
                <a:gd name="T117" fmla="*/ 2147483647 h 1779"/>
                <a:gd name="T118" fmla="*/ 2147483647 w 1581"/>
                <a:gd name="T119" fmla="*/ 2147483647 h 1779"/>
                <a:gd name="T120" fmla="*/ 2147483647 w 1581"/>
                <a:gd name="T121" fmla="*/ 2147483647 h 177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81"/>
                <a:gd name="T184" fmla="*/ 0 h 1779"/>
                <a:gd name="T185" fmla="*/ 1581 w 1581"/>
                <a:gd name="T186" fmla="*/ 1779 h 177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4" name="Freeform 299">
              <a:extLst>
                <a:ext uri="{FF2B5EF4-FFF2-40B4-BE49-F238E27FC236}">
                  <a16:creationId xmlns:a16="http://schemas.microsoft.com/office/drawing/2014/main" id="{4999C4A4-9849-519E-4DA1-EE08AFD25B4E}"/>
                </a:ext>
              </a:extLst>
            </p:cNvPr>
            <p:cNvSpPr>
              <a:spLocks noChangeAspect="1"/>
            </p:cNvSpPr>
            <p:nvPr userDrawn="1"/>
          </p:nvSpPr>
          <p:spPr bwMode="gray">
            <a:xfrm>
              <a:off x="1643862" y="1062404"/>
              <a:ext cx="2499673" cy="1842780"/>
            </a:xfrm>
            <a:custGeom>
              <a:avLst/>
              <a:gdLst>
                <a:gd name="T0" fmla="*/ 2147483647 w 4686"/>
                <a:gd name="T1" fmla="*/ 2147483647 h 3236"/>
                <a:gd name="T2" fmla="*/ 2147483647 w 4686"/>
                <a:gd name="T3" fmla="*/ 2147483647 h 3236"/>
                <a:gd name="T4" fmla="*/ 2147483647 w 4686"/>
                <a:gd name="T5" fmla="*/ 2147483647 h 3236"/>
                <a:gd name="T6" fmla="*/ 2147483647 w 4686"/>
                <a:gd name="T7" fmla="*/ 2147483647 h 3236"/>
                <a:gd name="T8" fmla="*/ 2147483647 w 4686"/>
                <a:gd name="T9" fmla="*/ 2147483647 h 3236"/>
                <a:gd name="T10" fmla="*/ 2147483647 w 4686"/>
                <a:gd name="T11" fmla="*/ 2147483647 h 3236"/>
                <a:gd name="T12" fmla="*/ 2147483647 w 4686"/>
                <a:gd name="T13" fmla="*/ 2147483647 h 3236"/>
                <a:gd name="T14" fmla="*/ 2147483647 w 4686"/>
                <a:gd name="T15" fmla="*/ 2147483647 h 3236"/>
                <a:gd name="T16" fmla="*/ 2147483647 w 4686"/>
                <a:gd name="T17" fmla="*/ 2147483647 h 3236"/>
                <a:gd name="T18" fmla="*/ 2147483647 w 4686"/>
                <a:gd name="T19" fmla="*/ 2147483647 h 3236"/>
                <a:gd name="T20" fmla="*/ 2147483647 w 4686"/>
                <a:gd name="T21" fmla="*/ 2147483647 h 3236"/>
                <a:gd name="T22" fmla="*/ 2147483647 w 4686"/>
                <a:gd name="T23" fmla="*/ 2147483647 h 3236"/>
                <a:gd name="T24" fmla="*/ 2147483647 w 4686"/>
                <a:gd name="T25" fmla="*/ 2147483647 h 3236"/>
                <a:gd name="T26" fmla="*/ 2147483647 w 4686"/>
                <a:gd name="T27" fmla="*/ 2147483647 h 3236"/>
                <a:gd name="T28" fmla="*/ 2147483647 w 4686"/>
                <a:gd name="T29" fmla="*/ 2147483647 h 3236"/>
                <a:gd name="T30" fmla="*/ 2147483647 w 4686"/>
                <a:gd name="T31" fmla="*/ 2147483647 h 3236"/>
                <a:gd name="T32" fmla="*/ 2147483647 w 4686"/>
                <a:gd name="T33" fmla="*/ 2147483647 h 3236"/>
                <a:gd name="T34" fmla="*/ 0 w 4686"/>
                <a:gd name="T35" fmla="*/ 2147483647 h 3236"/>
                <a:gd name="T36" fmla="*/ 0 w 4686"/>
                <a:gd name="T37" fmla="*/ 2147483647 h 3236"/>
                <a:gd name="T38" fmla="*/ 0 w 4686"/>
                <a:gd name="T39" fmla="*/ 2147483647 h 3236"/>
                <a:gd name="T40" fmla="*/ 2147483647 w 4686"/>
                <a:gd name="T41" fmla="*/ 2147483647 h 3236"/>
                <a:gd name="T42" fmla="*/ 2147483647 w 4686"/>
                <a:gd name="T43" fmla="*/ 2147483647 h 3236"/>
                <a:gd name="T44" fmla="*/ 2147483647 w 4686"/>
                <a:gd name="T45" fmla="*/ 2147483647 h 3236"/>
                <a:gd name="T46" fmla="*/ 2147483647 w 4686"/>
                <a:gd name="T47" fmla="*/ 0 h 3236"/>
                <a:gd name="T48" fmla="*/ 2147483647 w 4686"/>
                <a:gd name="T49" fmla="*/ 2147483647 h 3236"/>
                <a:gd name="T50" fmla="*/ 2147483647 w 4686"/>
                <a:gd name="T51" fmla="*/ 2147483647 h 3236"/>
                <a:gd name="T52" fmla="*/ 2147483647 w 4686"/>
                <a:gd name="T53" fmla="*/ 2147483647 h 3236"/>
                <a:gd name="T54" fmla="*/ 2147483647 w 4686"/>
                <a:gd name="T55" fmla="*/ 2147483647 h 3236"/>
                <a:gd name="T56" fmla="*/ 2147483647 w 4686"/>
                <a:gd name="T57" fmla="*/ 2147483647 h 3236"/>
                <a:gd name="T58" fmla="*/ 2147483647 w 4686"/>
                <a:gd name="T59" fmla="*/ 2147483647 h 3236"/>
                <a:gd name="T60" fmla="*/ 2147483647 w 4686"/>
                <a:gd name="T61" fmla="*/ 2147483647 h 3236"/>
                <a:gd name="T62" fmla="*/ 2147483647 w 4686"/>
                <a:gd name="T63" fmla="*/ 2147483647 h 3236"/>
                <a:gd name="T64" fmla="*/ 2147483647 w 4686"/>
                <a:gd name="T65" fmla="*/ 2147483647 h 3236"/>
                <a:gd name="T66" fmla="*/ 2147483647 w 4686"/>
                <a:gd name="T67" fmla="*/ 2147483647 h 3236"/>
                <a:gd name="T68" fmla="*/ 2147483647 w 4686"/>
                <a:gd name="T69" fmla="*/ 2147483647 h 3236"/>
                <a:gd name="T70" fmla="*/ 2147483647 w 4686"/>
                <a:gd name="T71" fmla="*/ 0 h 3236"/>
                <a:gd name="T72" fmla="*/ 2147483647 w 4686"/>
                <a:gd name="T73" fmla="*/ 0 h 3236"/>
                <a:gd name="T74" fmla="*/ 2147483647 w 4686"/>
                <a:gd name="T75" fmla="*/ 2147483647 h 3236"/>
                <a:gd name="T76" fmla="*/ 2147483647 w 4686"/>
                <a:gd name="T77" fmla="*/ 2147483647 h 3236"/>
                <a:gd name="T78" fmla="*/ 2147483647 w 4686"/>
                <a:gd name="T79" fmla="*/ 2147483647 h 3236"/>
                <a:gd name="T80" fmla="*/ 2147483647 w 4686"/>
                <a:gd name="T81" fmla="*/ 2147483647 h 3236"/>
                <a:gd name="T82" fmla="*/ 2147483647 w 4686"/>
                <a:gd name="T83" fmla="*/ 2147483647 h 3236"/>
                <a:gd name="T84" fmla="*/ 2147483647 w 4686"/>
                <a:gd name="T85" fmla="*/ 2147483647 h 3236"/>
                <a:gd name="T86" fmla="*/ 2147483647 w 4686"/>
                <a:gd name="T87" fmla="*/ 2147483647 h 3236"/>
                <a:gd name="T88" fmla="*/ 2147483647 w 4686"/>
                <a:gd name="T89" fmla="*/ 2147483647 h 3236"/>
                <a:gd name="T90" fmla="*/ 2147483647 w 4686"/>
                <a:gd name="T91" fmla="*/ 2147483647 h 3236"/>
                <a:gd name="T92" fmla="*/ 2147483647 w 4686"/>
                <a:gd name="T93" fmla="*/ 2147483647 h 3236"/>
                <a:gd name="T94" fmla="*/ 2147483647 w 4686"/>
                <a:gd name="T95" fmla="*/ 2147483647 h 3236"/>
                <a:gd name="T96" fmla="*/ 2147483647 w 4686"/>
                <a:gd name="T97" fmla="*/ 2147483647 h 3236"/>
                <a:gd name="T98" fmla="*/ 2147483647 w 4686"/>
                <a:gd name="T99" fmla="*/ 2147483647 h 3236"/>
                <a:gd name="T100" fmla="*/ 2147483647 w 4686"/>
                <a:gd name="T101" fmla="*/ 2147483647 h 3236"/>
                <a:gd name="T102" fmla="*/ 2147483647 w 4686"/>
                <a:gd name="T103" fmla="*/ 2147483647 h 3236"/>
                <a:gd name="T104" fmla="*/ 2147483647 w 4686"/>
                <a:gd name="T105" fmla="*/ 2147483647 h 3236"/>
                <a:gd name="T106" fmla="*/ 2147483647 w 4686"/>
                <a:gd name="T107" fmla="*/ 2147483647 h 3236"/>
                <a:gd name="T108" fmla="*/ 2147483647 w 4686"/>
                <a:gd name="T109" fmla="*/ 2147483647 h 3236"/>
                <a:gd name="T110" fmla="*/ 2147483647 w 4686"/>
                <a:gd name="T111" fmla="*/ 2147483647 h 3236"/>
                <a:gd name="T112" fmla="*/ 2147483647 w 4686"/>
                <a:gd name="T113" fmla="*/ 2147483647 h 3236"/>
                <a:gd name="T114" fmla="*/ 2147483647 w 4686"/>
                <a:gd name="T115" fmla="*/ 2147483647 h 3236"/>
                <a:gd name="T116" fmla="*/ 2147483647 w 4686"/>
                <a:gd name="T117" fmla="*/ 2147483647 h 3236"/>
                <a:gd name="T118" fmla="*/ 2147483647 w 4686"/>
                <a:gd name="T119" fmla="*/ 2147483647 h 3236"/>
                <a:gd name="T120" fmla="*/ 2147483647 w 4686"/>
                <a:gd name="T121" fmla="*/ 2147483647 h 3236"/>
                <a:gd name="T122" fmla="*/ 2147483647 w 4686"/>
                <a:gd name="T123" fmla="*/ 2147483647 h 3236"/>
                <a:gd name="T124" fmla="*/ 2147483647 w 4686"/>
                <a:gd name="T125" fmla="*/ 2147483647 h 32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86"/>
                <a:gd name="T190" fmla="*/ 0 h 3236"/>
                <a:gd name="T191" fmla="*/ 4686 w 4686"/>
                <a:gd name="T192" fmla="*/ 3236 h 32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5" name="Freeform 300">
              <a:extLst>
                <a:ext uri="{FF2B5EF4-FFF2-40B4-BE49-F238E27FC236}">
                  <a16:creationId xmlns:a16="http://schemas.microsoft.com/office/drawing/2014/main" id="{DDF43095-5281-C744-E2BB-9FB6CEDF97F5}"/>
                </a:ext>
              </a:extLst>
            </p:cNvPr>
            <p:cNvSpPr>
              <a:spLocks noChangeAspect="1"/>
            </p:cNvSpPr>
            <p:nvPr userDrawn="1"/>
          </p:nvSpPr>
          <p:spPr bwMode="gray">
            <a:xfrm>
              <a:off x="2891460" y="184453"/>
              <a:ext cx="105957" cy="179858"/>
            </a:xfrm>
            <a:custGeom>
              <a:avLst/>
              <a:gdLst>
                <a:gd name="T0" fmla="*/ 0 w 197"/>
                <a:gd name="T1" fmla="*/ 0 h 316"/>
                <a:gd name="T2" fmla="*/ 0 w 197"/>
                <a:gd name="T3" fmla="*/ 0 h 316"/>
                <a:gd name="T4" fmla="*/ 0 w 197"/>
                <a:gd name="T5" fmla="*/ 0 h 316"/>
                <a:gd name="T6" fmla="*/ 0 w 197"/>
                <a:gd name="T7" fmla="*/ 0 h 316"/>
                <a:gd name="T8" fmla="*/ 0 w 197"/>
                <a:gd name="T9" fmla="*/ 0 h 316"/>
                <a:gd name="T10" fmla="*/ 0 w 197"/>
                <a:gd name="T11" fmla="*/ 0 h 316"/>
                <a:gd name="T12" fmla="*/ 0 w 197"/>
                <a:gd name="T13" fmla="*/ 0 h 316"/>
                <a:gd name="T14" fmla="*/ 0 w 197"/>
                <a:gd name="T15" fmla="*/ 0 h 316"/>
                <a:gd name="T16" fmla="*/ 0 w 197"/>
                <a:gd name="T17" fmla="*/ 0 h 316"/>
                <a:gd name="T18" fmla="*/ 0 w 197"/>
                <a:gd name="T19" fmla="*/ 0 h 316"/>
                <a:gd name="T20" fmla="*/ 0 w 197"/>
                <a:gd name="T21" fmla="*/ 0 h 316"/>
                <a:gd name="T22" fmla="*/ 0 w 197"/>
                <a:gd name="T23" fmla="*/ 0 h 316"/>
                <a:gd name="T24" fmla="*/ 0 w 197"/>
                <a:gd name="T25" fmla="*/ 0 h 316"/>
                <a:gd name="T26" fmla="*/ 0 w 197"/>
                <a:gd name="T27" fmla="*/ 0 h 316"/>
                <a:gd name="T28" fmla="*/ 0 w 197"/>
                <a:gd name="T29" fmla="*/ 0 h 316"/>
                <a:gd name="T30" fmla="*/ 0 w 197"/>
                <a:gd name="T31" fmla="*/ 0 h 316"/>
                <a:gd name="T32" fmla="*/ 0 w 197"/>
                <a:gd name="T33" fmla="*/ 0 h 316"/>
                <a:gd name="T34" fmla="*/ 0 w 197"/>
                <a:gd name="T35" fmla="*/ 0 h 316"/>
                <a:gd name="T36" fmla="*/ 0 w 197"/>
                <a:gd name="T37" fmla="*/ 0 h 316"/>
                <a:gd name="T38" fmla="*/ 0 w 197"/>
                <a:gd name="T39" fmla="*/ 0 h 316"/>
                <a:gd name="T40" fmla="*/ 0 w 197"/>
                <a:gd name="T41" fmla="*/ 0 h 316"/>
                <a:gd name="T42" fmla="*/ 0 w 197"/>
                <a:gd name="T43" fmla="*/ 0 h 316"/>
                <a:gd name="T44" fmla="*/ 0 w 197"/>
                <a:gd name="T45" fmla="*/ 2147483647 h 316"/>
                <a:gd name="T46" fmla="*/ 0 w 197"/>
                <a:gd name="T47" fmla="*/ 0 h 316"/>
                <a:gd name="T48" fmla="*/ 0 w 197"/>
                <a:gd name="T49" fmla="*/ 0 h 316"/>
                <a:gd name="T50" fmla="*/ 0 w 197"/>
                <a:gd name="T51" fmla="*/ 0 h 316"/>
                <a:gd name="T52" fmla="*/ 0 w 197"/>
                <a:gd name="T53" fmla="*/ 0 h 316"/>
                <a:gd name="T54" fmla="*/ 0 w 197"/>
                <a:gd name="T55" fmla="*/ 0 h 316"/>
                <a:gd name="T56" fmla="*/ 0 w 197"/>
                <a:gd name="T57" fmla="*/ 0 h 316"/>
                <a:gd name="T58" fmla="*/ 0 w 197"/>
                <a:gd name="T59" fmla="*/ 0 h 316"/>
                <a:gd name="T60" fmla="*/ 0 w 197"/>
                <a:gd name="T61" fmla="*/ 0 h 316"/>
                <a:gd name="T62" fmla="*/ 0 w 197"/>
                <a:gd name="T63" fmla="*/ 0 h 316"/>
                <a:gd name="T64" fmla="*/ 0 w 197"/>
                <a:gd name="T65" fmla="*/ 0 h 3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7"/>
                <a:gd name="T100" fmla="*/ 0 h 316"/>
                <a:gd name="T101" fmla="*/ 197 w 197"/>
                <a:gd name="T102" fmla="*/ 316 h 3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6" name="Freeform 301">
              <a:extLst>
                <a:ext uri="{FF2B5EF4-FFF2-40B4-BE49-F238E27FC236}">
                  <a16:creationId xmlns:a16="http://schemas.microsoft.com/office/drawing/2014/main" id="{0E108A0A-668C-E33D-9A3F-E577A6E78AB6}"/>
                </a:ext>
              </a:extLst>
            </p:cNvPr>
            <p:cNvSpPr>
              <a:spLocks noChangeAspect="1"/>
            </p:cNvSpPr>
            <p:nvPr userDrawn="1"/>
          </p:nvSpPr>
          <p:spPr bwMode="gray">
            <a:xfrm>
              <a:off x="2676563" y="114340"/>
              <a:ext cx="198482" cy="243875"/>
            </a:xfrm>
            <a:custGeom>
              <a:avLst/>
              <a:gdLst>
                <a:gd name="T0" fmla="*/ 2147483647 w 368"/>
                <a:gd name="T1" fmla="*/ 0 h 430"/>
                <a:gd name="T2" fmla="*/ 2147483647 w 368"/>
                <a:gd name="T3" fmla="*/ 0 h 430"/>
                <a:gd name="T4" fmla="*/ 2147483647 w 368"/>
                <a:gd name="T5" fmla="*/ 0 h 430"/>
                <a:gd name="T6" fmla="*/ 2147483647 w 368"/>
                <a:gd name="T7" fmla="*/ 0 h 430"/>
                <a:gd name="T8" fmla="*/ 0 w 368"/>
                <a:gd name="T9" fmla="*/ 0 h 430"/>
                <a:gd name="T10" fmla="*/ 0 w 368"/>
                <a:gd name="T11" fmla="*/ 0 h 430"/>
                <a:gd name="T12" fmla="*/ 0 w 368"/>
                <a:gd name="T13" fmla="*/ 0 h 430"/>
                <a:gd name="T14" fmla="*/ 0 w 368"/>
                <a:gd name="T15" fmla="*/ 0 h 430"/>
                <a:gd name="T16" fmla="*/ 0 w 368"/>
                <a:gd name="T17" fmla="*/ 0 h 430"/>
                <a:gd name="T18" fmla="*/ 0 w 368"/>
                <a:gd name="T19" fmla="*/ 0 h 430"/>
                <a:gd name="T20" fmla="*/ 0 w 368"/>
                <a:gd name="T21" fmla="*/ 0 h 430"/>
                <a:gd name="T22" fmla="*/ 0 w 368"/>
                <a:gd name="T23" fmla="*/ 0 h 430"/>
                <a:gd name="T24" fmla="*/ 0 w 368"/>
                <a:gd name="T25" fmla="*/ 0 h 430"/>
                <a:gd name="T26" fmla="*/ 0 w 368"/>
                <a:gd name="T27" fmla="*/ 0 h 430"/>
                <a:gd name="T28" fmla="*/ 0 w 368"/>
                <a:gd name="T29" fmla="*/ 0 h 430"/>
                <a:gd name="T30" fmla="*/ 0 w 368"/>
                <a:gd name="T31" fmla="*/ 0 h 430"/>
                <a:gd name="T32" fmla="*/ 0 w 368"/>
                <a:gd name="T33" fmla="*/ 0 h 430"/>
                <a:gd name="T34" fmla="*/ 0 w 368"/>
                <a:gd name="T35" fmla="*/ 0 h 430"/>
                <a:gd name="T36" fmla="*/ 0 w 368"/>
                <a:gd name="T37" fmla="*/ 0 h 430"/>
                <a:gd name="T38" fmla="*/ 0 w 368"/>
                <a:gd name="T39" fmla="*/ 0 h 430"/>
                <a:gd name="T40" fmla="*/ 0 w 368"/>
                <a:gd name="T41" fmla="*/ 0 h 430"/>
                <a:gd name="T42" fmla="*/ 0 w 368"/>
                <a:gd name="T43" fmla="*/ 0 h 430"/>
                <a:gd name="T44" fmla="*/ 0 w 368"/>
                <a:gd name="T45" fmla="*/ 0 h 430"/>
                <a:gd name="T46" fmla="*/ 0 w 368"/>
                <a:gd name="T47" fmla="*/ 0 h 430"/>
                <a:gd name="T48" fmla="*/ 0 w 368"/>
                <a:gd name="T49" fmla="*/ 0 h 430"/>
                <a:gd name="T50" fmla="*/ 0 w 368"/>
                <a:gd name="T51" fmla="*/ 0 h 430"/>
                <a:gd name="T52" fmla="*/ 0 w 368"/>
                <a:gd name="T53" fmla="*/ 0 h 430"/>
                <a:gd name="T54" fmla="*/ 0 w 368"/>
                <a:gd name="T55" fmla="*/ 0 h 430"/>
                <a:gd name="T56" fmla="*/ 0 w 368"/>
                <a:gd name="T57" fmla="*/ 0 h 430"/>
                <a:gd name="T58" fmla="*/ 0 w 368"/>
                <a:gd name="T59" fmla="*/ 0 h 430"/>
                <a:gd name="T60" fmla="*/ 0 w 368"/>
                <a:gd name="T61" fmla="*/ 0 h 430"/>
                <a:gd name="T62" fmla="*/ 0 w 368"/>
                <a:gd name="T63" fmla="*/ 0 h 430"/>
                <a:gd name="T64" fmla="*/ 0 w 368"/>
                <a:gd name="T65" fmla="*/ 0 h 430"/>
                <a:gd name="T66" fmla="*/ 0 w 368"/>
                <a:gd name="T67" fmla="*/ 0 h 430"/>
                <a:gd name="T68" fmla="*/ 0 w 368"/>
                <a:gd name="T69" fmla="*/ 0 h 430"/>
                <a:gd name="T70" fmla="*/ 0 w 368"/>
                <a:gd name="T71" fmla="*/ 0 h 430"/>
                <a:gd name="T72" fmla="*/ 0 w 368"/>
                <a:gd name="T73" fmla="*/ 2147483647 h 430"/>
                <a:gd name="T74" fmla="*/ 0 w 368"/>
                <a:gd name="T75" fmla="*/ 2147483647 h 430"/>
                <a:gd name="T76" fmla="*/ 0 w 368"/>
                <a:gd name="T77" fmla="*/ 2147483647 h 430"/>
                <a:gd name="T78" fmla="*/ 0 w 368"/>
                <a:gd name="T79" fmla="*/ 2147483647 h 430"/>
                <a:gd name="T80" fmla="*/ 2147483647 w 368"/>
                <a:gd name="T81" fmla="*/ 2147483647 h 430"/>
                <a:gd name="T82" fmla="*/ 2147483647 w 368"/>
                <a:gd name="T83" fmla="*/ 2147483647 h 430"/>
                <a:gd name="T84" fmla="*/ 2147483647 w 368"/>
                <a:gd name="T85" fmla="*/ 0 h 4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8"/>
                <a:gd name="T130" fmla="*/ 0 h 430"/>
                <a:gd name="T131" fmla="*/ 368 w 368"/>
                <a:gd name="T132" fmla="*/ 430 h 43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7" name="Freeform 302">
              <a:extLst>
                <a:ext uri="{FF2B5EF4-FFF2-40B4-BE49-F238E27FC236}">
                  <a16:creationId xmlns:a16="http://schemas.microsoft.com/office/drawing/2014/main" id="{713B436F-68CE-095B-9D94-400D6DC839AC}"/>
                </a:ext>
              </a:extLst>
            </p:cNvPr>
            <p:cNvSpPr>
              <a:spLocks noChangeAspect="1"/>
            </p:cNvSpPr>
            <p:nvPr userDrawn="1"/>
          </p:nvSpPr>
          <p:spPr bwMode="gray">
            <a:xfrm>
              <a:off x="2958616" y="24"/>
              <a:ext cx="323838" cy="317037"/>
            </a:xfrm>
            <a:custGeom>
              <a:avLst/>
              <a:gdLst>
                <a:gd name="T0" fmla="*/ 0 w 603"/>
                <a:gd name="T1" fmla="*/ 0 h 558"/>
                <a:gd name="T2" fmla="*/ 0 w 603"/>
                <a:gd name="T3" fmla="*/ 0 h 558"/>
                <a:gd name="T4" fmla="*/ 0 w 603"/>
                <a:gd name="T5" fmla="*/ 0 h 558"/>
                <a:gd name="T6" fmla="*/ 0 w 603"/>
                <a:gd name="T7" fmla="*/ 0 h 558"/>
                <a:gd name="T8" fmla="*/ 0 w 603"/>
                <a:gd name="T9" fmla="*/ 0 h 558"/>
                <a:gd name="T10" fmla="*/ 0 w 603"/>
                <a:gd name="T11" fmla="*/ 0 h 558"/>
                <a:gd name="T12" fmla="*/ 0 w 603"/>
                <a:gd name="T13" fmla="*/ 0 h 558"/>
                <a:gd name="T14" fmla="*/ 0 w 603"/>
                <a:gd name="T15" fmla="*/ 0 h 558"/>
                <a:gd name="T16" fmla="*/ 0 w 603"/>
                <a:gd name="T17" fmla="*/ 0 h 558"/>
                <a:gd name="T18" fmla="*/ 0 w 603"/>
                <a:gd name="T19" fmla="*/ 0 h 558"/>
                <a:gd name="T20" fmla="*/ 0 w 603"/>
                <a:gd name="T21" fmla="*/ 0 h 558"/>
                <a:gd name="T22" fmla="*/ 0 w 603"/>
                <a:gd name="T23" fmla="*/ 0 h 558"/>
                <a:gd name="T24" fmla="*/ 0 w 603"/>
                <a:gd name="T25" fmla="*/ 0 h 558"/>
                <a:gd name="T26" fmla="*/ 0 w 603"/>
                <a:gd name="T27" fmla="*/ 0 h 558"/>
                <a:gd name="T28" fmla="*/ 0 w 603"/>
                <a:gd name="T29" fmla="*/ 0 h 558"/>
                <a:gd name="T30" fmla="*/ 0 w 603"/>
                <a:gd name="T31" fmla="*/ 0 h 558"/>
                <a:gd name="T32" fmla="*/ 0 w 603"/>
                <a:gd name="T33" fmla="*/ 0 h 558"/>
                <a:gd name="T34" fmla="*/ 0 w 603"/>
                <a:gd name="T35" fmla="*/ 0 h 558"/>
                <a:gd name="T36" fmla="*/ 2147483647 w 603"/>
                <a:gd name="T37" fmla="*/ 0 h 558"/>
                <a:gd name="T38" fmla="*/ 0 w 603"/>
                <a:gd name="T39" fmla="*/ 0 h 558"/>
                <a:gd name="T40" fmla="*/ 0 w 603"/>
                <a:gd name="T41" fmla="*/ 2147483647 h 558"/>
                <a:gd name="T42" fmla="*/ 0 w 603"/>
                <a:gd name="T43" fmla="*/ 2147483647 h 558"/>
                <a:gd name="T44" fmla="*/ 0 w 603"/>
                <a:gd name="T45" fmla="*/ 2147483647 h 558"/>
                <a:gd name="T46" fmla="*/ 0 w 603"/>
                <a:gd name="T47" fmla="*/ 2147483647 h 558"/>
                <a:gd name="T48" fmla="*/ 0 w 603"/>
                <a:gd name="T49" fmla="*/ 2147483647 h 558"/>
                <a:gd name="T50" fmla="*/ 0 w 603"/>
                <a:gd name="T51" fmla="*/ 2147483647 h 558"/>
                <a:gd name="T52" fmla="*/ 0 w 603"/>
                <a:gd name="T53" fmla="*/ 2147483647 h 558"/>
                <a:gd name="T54" fmla="*/ 0 w 603"/>
                <a:gd name="T55" fmla="*/ 2147483647 h 558"/>
                <a:gd name="T56" fmla="*/ 0 w 603"/>
                <a:gd name="T57" fmla="*/ 2147483647 h 558"/>
                <a:gd name="T58" fmla="*/ 2147483647 w 603"/>
                <a:gd name="T59" fmla="*/ 2147483647 h 558"/>
                <a:gd name="T60" fmla="*/ 2147483647 w 603"/>
                <a:gd name="T61" fmla="*/ 2147483647 h 558"/>
                <a:gd name="T62" fmla="*/ 2147483647 w 603"/>
                <a:gd name="T63" fmla="*/ 2147483647 h 558"/>
                <a:gd name="T64" fmla="*/ 2147483647 w 603"/>
                <a:gd name="T65" fmla="*/ 2147483647 h 558"/>
                <a:gd name="T66" fmla="*/ 2147483647 w 603"/>
                <a:gd name="T67" fmla="*/ 2147483647 h 558"/>
                <a:gd name="T68" fmla="*/ 2147483647 w 603"/>
                <a:gd name="T69" fmla="*/ 2147483647 h 558"/>
                <a:gd name="T70" fmla="*/ 2147483647 w 603"/>
                <a:gd name="T71" fmla="*/ 2147483647 h 558"/>
                <a:gd name="T72" fmla="*/ 2147483647 w 603"/>
                <a:gd name="T73" fmla="*/ 2147483647 h 558"/>
                <a:gd name="T74" fmla="*/ 2147483647 w 603"/>
                <a:gd name="T75" fmla="*/ 2147483647 h 558"/>
                <a:gd name="T76" fmla="*/ 2147483647 w 603"/>
                <a:gd name="T77" fmla="*/ 2147483647 h 558"/>
                <a:gd name="T78" fmla="*/ 2147483647 w 603"/>
                <a:gd name="T79" fmla="*/ 2147483647 h 558"/>
                <a:gd name="T80" fmla="*/ 2147483647 w 603"/>
                <a:gd name="T81" fmla="*/ 0 h 558"/>
                <a:gd name="T82" fmla="*/ 2147483647 w 603"/>
                <a:gd name="T83" fmla="*/ 2147483647 h 558"/>
                <a:gd name="T84" fmla="*/ 2147483647 w 603"/>
                <a:gd name="T85" fmla="*/ 2147483647 h 558"/>
                <a:gd name="T86" fmla="*/ 2147483647 w 603"/>
                <a:gd name="T87" fmla="*/ 0 h 558"/>
                <a:gd name="T88" fmla="*/ 2147483647 w 603"/>
                <a:gd name="T89" fmla="*/ 0 h 558"/>
                <a:gd name="T90" fmla="*/ 2147483647 w 603"/>
                <a:gd name="T91" fmla="*/ 0 h 558"/>
                <a:gd name="T92" fmla="*/ 2147483647 w 603"/>
                <a:gd name="T93" fmla="*/ 0 h 558"/>
                <a:gd name="T94" fmla="*/ 2147483647 w 603"/>
                <a:gd name="T95" fmla="*/ 0 h 558"/>
                <a:gd name="T96" fmla="*/ 2147483647 w 603"/>
                <a:gd name="T97" fmla="*/ 0 h 558"/>
                <a:gd name="T98" fmla="*/ 2147483647 w 603"/>
                <a:gd name="T99" fmla="*/ 0 h 558"/>
                <a:gd name="T100" fmla="*/ 2147483647 w 603"/>
                <a:gd name="T101" fmla="*/ 0 h 558"/>
                <a:gd name="T102" fmla="*/ 2147483647 w 603"/>
                <a:gd name="T103" fmla="*/ 0 h 558"/>
                <a:gd name="T104" fmla="*/ 2147483647 w 603"/>
                <a:gd name="T105" fmla="*/ 0 h 558"/>
                <a:gd name="T106" fmla="*/ 2147483647 w 603"/>
                <a:gd name="T107" fmla="*/ 0 h 558"/>
                <a:gd name="T108" fmla="*/ 0 w 603"/>
                <a:gd name="T109" fmla="*/ 0 h 558"/>
                <a:gd name="T110" fmla="*/ 0 w 603"/>
                <a:gd name="T111" fmla="*/ 0 h 558"/>
                <a:gd name="T112" fmla="*/ 0 w 603"/>
                <a:gd name="T113" fmla="*/ 0 h 5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03"/>
                <a:gd name="T172" fmla="*/ 0 h 558"/>
                <a:gd name="T173" fmla="*/ 603 w 603"/>
                <a:gd name="T174" fmla="*/ 558 h 55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8" name="Freeform 303">
              <a:extLst>
                <a:ext uri="{FF2B5EF4-FFF2-40B4-BE49-F238E27FC236}">
                  <a16:creationId xmlns:a16="http://schemas.microsoft.com/office/drawing/2014/main" id="{331D543A-6E28-2FA1-E465-8F44D69DDB43}"/>
                </a:ext>
              </a:extLst>
            </p:cNvPr>
            <p:cNvSpPr>
              <a:spLocks noChangeAspect="1"/>
            </p:cNvSpPr>
            <p:nvPr userDrawn="1"/>
          </p:nvSpPr>
          <p:spPr bwMode="gray">
            <a:xfrm>
              <a:off x="3145158" y="24"/>
              <a:ext cx="550675" cy="588349"/>
            </a:xfrm>
            <a:custGeom>
              <a:avLst/>
              <a:gdLst>
                <a:gd name="T0" fmla="*/ 0 w 1028"/>
                <a:gd name="T1" fmla="*/ 0 h 1037"/>
                <a:gd name="T2" fmla="*/ 0 w 1028"/>
                <a:gd name="T3" fmla="*/ 0 h 1037"/>
                <a:gd name="T4" fmla="*/ 2147483647 w 1028"/>
                <a:gd name="T5" fmla="*/ 0 h 1037"/>
                <a:gd name="T6" fmla="*/ 0 w 1028"/>
                <a:gd name="T7" fmla="*/ 0 h 1037"/>
                <a:gd name="T8" fmla="*/ 2147483647 w 1028"/>
                <a:gd name="T9" fmla="*/ 2147483647 h 1037"/>
                <a:gd name="T10" fmla="*/ 2147483647 w 1028"/>
                <a:gd name="T11" fmla="*/ 2147483647 h 1037"/>
                <a:gd name="T12" fmla="*/ 2147483647 w 1028"/>
                <a:gd name="T13" fmla="*/ 2147483647 h 1037"/>
                <a:gd name="T14" fmla="*/ 0 w 1028"/>
                <a:gd name="T15" fmla="*/ 2147483647 h 1037"/>
                <a:gd name="T16" fmla="*/ 0 w 1028"/>
                <a:gd name="T17" fmla="*/ 2147483647 h 1037"/>
                <a:gd name="T18" fmla="*/ 0 w 1028"/>
                <a:gd name="T19" fmla="*/ 2147483647 h 1037"/>
                <a:gd name="T20" fmla="*/ 0 w 1028"/>
                <a:gd name="T21" fmla="*/ 2147483647 h 1037"/>
                <a:gd name="T22" fmla="*/ 0 w 1028"/>
                <a:gd name="T23" fmla="*/ 2147483647 h 1037"/>
                <a:gd name="T24" fmla="*/ 0 w 1028"/>
                <a:gd name="T25" fmla="*/ 2147483647 h 1037"/>
                <a:gd name="T26" fmla="*/ 0 w 1028"/>
                <a:gd name="T27" fmla="*/ 2147483647 h 1037"/>
                <a:gd name="T28" fmla="*/ 0 w 1028"/>
                <a:gd name="T29" fmla="*/ 2147483647 h 1037"/>
                <a:gd name="T30" fmla="*/ 0 w 1028"/>
                <a:gd name="T31" fmla="*/ 2147483647 h 1037"/>
                <a:gd name="T32" fmla="*/ 0 w 1028"/>
                <a:gd name="T33" fmla="*/ 2147483647 h 1037"/>
                <a:gd name="T34" fmla="*/ 0 w 1028"/>
                <a:gd name="T35" fmla="*/ 2147483647 h 1037"/>
                <a:gd name="T36" fmla="*/ 2147483647 w 1028"/>
                <a:gd name="T37" fmla="*/ 2147483647 h 1037"/>
                <a:gd name="T38" fmla="*/ 2147483647 w 1028"/>
                <a:gd name="T39" fmla="*/ 2147483647 h 1037"/>
                <a:gd name="T40" fmla="*/ 2147483647 w 1028"/>
                <a:gd name="T41" fmla="*/ 2147483647 h 1037"/>
                <a:gd name="T42" fmla="*/ 0 w 1028"/>
                <a:gd name="T43" fmla="*/ 2147483647 h 1037"/>
                <a:gd name="T44" fmla="*/ 0 w 1028"/>
                <a:gd name="T45" fmla="*/ 2147483647 h 1037"/>
                <a:gd name="T46" fmla="*/ 0 w 1028"/>
                <a:gd name="T47" fmla="*/ 2147483647 h 1037"/>
                <a:gd name="T48" fmla="*/ 0 w 1028"/>
                <a:gd name="T49" fmla="*/ 2147483647 h 1037"/>
                <a:gd name="T50" fmla="*/ 0 w 1028"/>
                <a:gd name="T51" fmla="*/ 2147483647 h 1037"/>
                <a:gd name="T52" fmla="*/ 0 w 1028"/>
                <a:gd name="T53" fmla="*/ 2147483647 h 1037"/>
                <a:gd name="T54" fmla="*/ 0 w 1028"/>
                <a:gd name="T55" fmla="*/ 2147483647 h 1037"/>
                <a:gd name="T56" fmla="*/ 0 w 1028"/>
                <a:gd name="T57" fmla="*/ 2147483647 h 1037"/>
                <a:gd name="T58" fmla="*/ 0 w 1028"/>
                <a:gd name="T59" fmla="*/ 2147483647 h 1037"/>
                <a:gd name="T60" fmla="*/ 0 w 1028"/>
                <a:gd name="T61" fmla="*/ 2147483647 h 1037"/>
                <a:gd name="T62" fmla="*/ 0 w 1028"/>
                <a:gd name="T63" fmla="*/ 2147483647 h 1037"/>
                <a:gd name="T64" fmla="*/ 2147483647 w 1028"/>
                <a:gd name="T65" fmla="*/ 2147483647 h 1037"/>
                <a:gd name="T66" fmla="*/ 2147483647 w 1028"/>
                <a:gd name="T67" fmla="*/ 2147483647 h 1037"/>
                <a:gd name="T68" fmla="*/ 2147483647 w 1028"/>
                <a:gd name="T69" fmla="*/ 2147483647 h 1037"/>
                <a:gd name="T70" fmla="*/ 2147483647 w 1028"/>
                <a:gd name="T71" fmla="*/ 2147483647 h 1037"/>
                <a:gd name="T72" fmla="*/ 2147483647 w 1028"/>
                <a:gd name="T73" fmla="*/ 2147483647 h 1037"/>
                <a:gd name="T74" fmla="*/ 2147483647 w 1028"/>
                <a:gd name="T75" fmla="*/ 2147483647 h 1037"/>
                <a:gd name="T76" fmla="*/ 2147483647 w 1028"/>
                <a:gd name="T77" fmla="*/ 2147483647 h 1037"/>
                <a:gd name="T78" fmla="*/ 2147483647 w 1028"/>
                <a:gd name="T79" fmla="*/ 2147483647 h 1037"/>
                <a:gd name="T80" fmla="*/ 2147483647 w 1028"/>
                <a:gd name="T81" fmla="*/ 2147483647 h 1037"/>
                <a:gd name="T82" fmla="*/ 2147483647 w 1028"/>
                <a:gd name="T83" fmla="*/ 2147483647 h 1037"/>
                <a:gd name="T84" fmla="*/ 2147483647 w 1028"/>
                <a:gd name="T85" fmla="*/ 2147483647 h 1037"/>
                <a:gd name="T86" fmla="*/ 2147483647 w 1028"/>
                <a:gd name="T87" fmla="*/ 2147483647 h 1037"/>
                <a:gd name="T88" fmla="*/ 2147483647 w 1028"/>
                <a:gd name="T89" fmla="*/ 2147483647 h 1037"/>
                <a:gd name="T90" fmla="*/ 2147483647 w 1028"/>
                <a:gd name="T91" fmla="*/ 0 h 1037"/>
                <a:gd name="T92" fmla="*/ 2147483647 w 1028"/>
                <a:gd name="T93" fmla="*/ 0 h 1037"/>
                <a:gd name="T94" fmla="*/ 2147483647 w 1028"/>
                <a:gd name="T95" fmla="*/ 0 h 1037"/>
                <a:gd name="T96" fmla="*/ 2147483647 w 1028"/>
                <a:gd name="T97" fmla="*/ 0 h 1037"/>
                <a:gd name="T98" fmla="*/ 2147483647 w 1028"/>
                <a:gd name="T99" fmla="*/ 0 h 1037"/>
                <a:gd name="T100" fmla="*/ 2147483647 w 1028"/>
                <a:gd name="T101" fmla="*/ 0 h 1037"/>
                <a:gd name="T102" fmla="*/ 2147483647 w 1028"/>
                <a:gd name="T103" fmla="*/ 0 h 1037"/>
                <a:gd name="T104" fmla="*/ 2147483647 w 1028"/>
                <a:gd name="T105" fmla="*/ 0 h 1037"/>
                <a:gd name="T106" fmla="*/ 2147483647 w 1028"/>
                <a:gd name="T107" fmla="*/ 0 h 1037"/>
                <a:gd name="T108" fmla="*/ 2147483647 w 1028"/>
                <a:gd name="T109" fmla="*/ 0 h 1037"/>
                <a:gd name="T110" fmla="*/ 2147483647 w 1028"/>
                <a:gd name="T111" fmla="*/ 0 h 1037"/>
                <a:gd name="T112" fmla="*/ 2147483647 w 1028"/>
                <a:gd name="T113" fmla="*/ 0 h 1037"/>
                <a:gd name="T114" fmla="*/ 0 w 1028"/>
                <a:gd name="T115" fmla="*/ 0 h 10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28"/>
                <a:gd name="T175" fmla="*/ 0 h 1037"/>
                <a:gd name="T176" fmla="*/ 1028 w 1028"/>
                <a:gd name="T177" fmla="*/ 1037 h 10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79" name="Freeform 304">
              <a:extLst>
                <a:ext uri="{FF2B5EF4-FFF2-40B4-BE49-F238E27FC236}">
                  <a16:creationId xmlns:a16="http://schemas.microsoft.com/office/drawing/2014/main" id="{20365DB9-3B13-7966-2D6F-DBD57B8032CD}"/>
                </a:ext>
              </a:extLst>
            </p:cNvPr>
            <p:cNvSpPr>
              <a:spLocks noChangeAspect="1"/>
            </p:cNvSpPr>
            <p:nvPr userDrawn="1"/>
          </p:nvSpPr>
          <p:spPr bwMode="gray">
            <a:xfrm>
              <a:off x="3231714" y="547218"/>
              <a:ext cx="14923" cy="18291"/>
            </a:xfrm>
            <a:custGeom>
              <a:avLst/>
              <a:gdLst>
                <a:gd name="T0" fmla="*/ 0 w 30"/>
                <a:gd name="T1" fmla="*/ 0 h 30"/>
                <a:gd name="T2" fmla="*/ 0 w 30"/>
                <a:gd name="T3" fmla="*/ 0 h 30"/>
                <a:gd name="T4" fmla="*/ 0 w 30"/>
                <a:gd name="T5" fmla="*/ 0 h 30"/>
                <a:gd name="T6" fmla="*/ 0 w 30"/>
                <a:gd name="T7" fmla="*/ 0 h 30"/>
                <a:gd name="T8" fmla="*/ 0 w 30"/>
                <a:gd name="T9" fmla="*/ 0 h 30"/>
                <a:gd name="T10" fmla="*/ 0 60000 65536"/>
                <a:gd name="T11" fmla="*/ 0 60000 65536"/>
                <a:gd name="T12" fmla="*/ 0 60000 65536"/>
                <a:gd name="T13" fmla="*/ 0 60000 65536"/>
                <a:gd name="T14" fmla="*/ 0 60000 65536"/>
                <a:gd name="T15" fmla="*/ 0 w 30"/>
                <a:gd name="T16" fmla="*/ 0 h 30"/>
                <a:gd name="T17" fmla="*/ 30 w 30"/>
                <a:gd name="T18" fmla="*/ 30 h 30"/>
              </a:gdLst>
              <a:ahLst/>
              <a:cxnLst>
                <a:cxn ang="T10">
                  <a:pos x="T0" y="T1"/>
                </a:cxn>
                <a:cxn ang="T11">
                  <a:pos x="T2" y="T3"/>
                </a:cxn>
                <a:cxn ang="T12">
                  <a:pos x="T4" y="T5"/>
                </a:cxn>
                <a:cxn ang="T13">
                  <a:pos x="T6" y="T7"/>
                </a:cxn>
                <a:cxn ang="T14">
                  <a:pos x="T8" y="T9"/>
                </a:cxn>
              </a:cxnLst>
              <a:rect l="T15" t="T16" r="T17" b="T18"/>
              <a:pathLst>
                <a:path w="30" h="30">
                  <a:moveTo>
                    <a:pt x="0" y="16"/>
                  </a:moveTo>
                  <a:lnTo>
                    <a:pt x="0" y="21"/>
                  </a:lnTo>
                  <a:lnTo>
                    <a:pt x="30" y="30"/>
                  </a:lnTo>
                  <a:lnTo>
                    <a:pt x="3" y="0"/>
                  </a:lnTo>
                  <a:lnTo>
                    <a:pt x="0" y="1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0" name="Freeform 305">
              <a:extLst>
                <a:ext uri="{FF2B5EF4-FFF2-40B4-BE49-F238E27FC236}">
                  <a16:creationId xmlns:a16="http://schemas.microsoft.com/office/drawing/2014/main" id="{05BEBAE0-71F9-677E-1C8E-B06BAD05287F}"/>
                </a:ext>
              </a:extLst>
            </p:cNvPr>
            <p:cNvSpPr>
              <a:spLocks noChangeAspect="1"/>
            </p:cNvSpPr>
            <p:nvPr userDrawn="1"/>
          </p:nvSpPr>
          <p:spPr bwMode="gray">
            <a:xfrm>
              <a:off x="3231714" y="531975"/>
              <a:ext cx="2985" cy="15242"/>
            </a:xfrm>
            <a:custGeom>
              <a:avLst/>
              <a:gdLst>
                <a:gd name="T0" fmla="*/ 0 w 7"/>
                <a:gd name="T1" fmla="*/ 0 h 31"/>
                <a:gd name="T2" fmla="*/ 0 w 7"/>
                <a:gd name="T3" fmla="*/ 0 h 31"/>
                <a:gd name="T4" fmla="*/ 0 w 7"/>
                <a:gd name="T5" fmla="*/ 0 h 31"/>
                <a:gd name="T6" fmla="*/ 0 w 7"/>
                <a:gd name="T7" fmla="*/ 0 h 31"/>
                <a:gd name="T8" fmla="*/ 0 w 7"/>
                <a:gd name="T9" fmla="*/ 0 h 31"/>
                <a:gd name="T10" fmla="*/ 0 w 7"/>
                <a:gd name="T11" fmla="*/ 0 h 31"/>
                <a:gd name="T12" fmla="*/ 0 60000 65536"/>
                <a:gd name="T13" fmla="*/ 0 60000 65536"/>
                <a:gd name="T14" fmla="*/ 0 60000 65536"/>
                <a:gd name="T15" fmla="*/ 0 60000 65536"/>
                <a:gd name="T16" fmla="*/ 0 60000 65536"/>
                <a:gd name="T17" fmla="*/ 0 60000 65536"/>
                <a:gd name="T18" fmla="*/ 0 w 7"/>
                <a:gd name="T19" fmla="*/ 0 h 31"/>
                <a:gd name="T20" fmla="*/ 7 w 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7" h="31">
                  <a:moveTo>
                    <a:pt x="5" y="11"/>
                  </a:moveTo>
                  <a:lnTo>
                    <a:pt x="0" y="0"/>
                  </a:lnTo>
                  <a:lnTo>
                    <a:pt x="0" y="24"/>
                  </a:lnTo>
                  <a:lnTo>
                    <a:pt x="5" y="31"/>
                  </a:lnTo>
                  <a:lnTo>
                    <a:pt x="7" y="27"/>
                  </a:lnTo>
                  <a:lnTo>
                    <a:pt x="5" y="1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1" name="Freeform 306">
              <a:extLst>
                <a:ext uri="{FF2B5EF4-FFF2-40B4-BE49-F238E27FC236}">
                  <a16:creationId xmlns:a16="http://schemas.microsoft.com/office/drawing/2014/main" id="{42C87AF5-D08A-7763-8675-9729D243B553}"/>
                </a:ext>
              </a:extLst>
            </p:cNvPr>
            <p:cNvSpPr>
              <a:spLocks noChangeAspect="1"/>
            </p:cNvSpPr>
            <p:nvPr userDrawn="1"/>
          </p:nvSpPr>
          <p:spPr bwMode="gray">
            <a:xfrm>
              <a:off x="1809513" y="1272746"/>
              <a:ext cx="44770" cy="67066"/>
            </a:xfrm>
            <a:custGeom>
              <a:avLst/>
              <a:gdLst>
                <a:gd name="T0" fmla="*/ 0 w 81"/>
                <a:gd name="T1" fmla="*/ 0 h 113"/>
                <a:gd name="T2" fmla="*/ 0 w 81"/>
                <a:gd name="T3" fmla="*/ 0 h 113"/>
                <a:gd name="T4" fmla="*/ 0 w 81"/>
                <a:gd name="T5" fmla="*/ 0 h 113"/>
                <a:gd name="T6" fmla="*/ 0 w 81"/>
                <a:gd name="T7" fmla="*/ 0 h 113"/>
                <a:gd name="T8" fmla="*/ 0 w 81"/>
                <a:gd name="T9" fmla="*/ 0 h 113"/>
                <a:gd name="T10" fmla="*/ 0 w 81"/>
                <a:gd name="T11" fmla="*/ 0 h 113"/>
                <a:gd name="T12" fmla="*/ 0 w 81"/>
                <a:gd name="T13" fmla="*/ 0 h 113"/>
                <a:gd name="T14" fmla="*/ 0 w 81"/>
                <a:gd name="T15" fmla="*/ 0 h 113"/>
                <a:gd name="T16" fmla="*/ 0 w 81"/>
                <a:gd name="T17" fmla="*/ 0 h 113"/>
                <a:gd name="T18" fmla="*/ 0 w 81"/>
                <a:gd name="T19" fmla="*/ 0 h 113"/>
                <a:gd name="T20" fmla="*/ 0 w 81"/>
                <a:gd name="T21" fmla="*/ 0 h 113"/>
                <a:gd name="T22" fmla="*/ 0 w 81"/>
                <a:gd name="T23" fmla="*/ 0 h 113"/>
                <a:gd name="T24" fmla="*/ 0 w 81"/>
                <a:gd name="T25" fmla="*/ 0 h 113"/>
                <a:gd name="T26" fmla="*/ 0 w 81"/>
                <a:gd name="T27" fmla="*/ 0 h 113"/>
                <a:gd name="T28" fmla="*/ 0 w 81"/>
                <a:gd name="T29" fmla="*/ 0 h 113"/>
                <a:gd name="T30" fmla="*/ 0 w 81"/>
                <a:gd name="T31" fmla="*/ 0 h 113"/>
                <a:gd name="T32" fmla="*/ 0 w 81"/>
                <a:gd name="T33" fmla="*/ 0 h 113"/>
                <a:gd name="T34" fmla="*/ 0 w 81"/>
                <a:gd name="T35" fmla="*/ 0 h 113"/>
                <a:gd name="T36" fmla="*/ 0 w 81"/>
                <a:gd name="T37" fmla="*/ 0 h 113"/>
                <a:gd name="T38" fmla="*/ 0 w 81"/>
                <a:gd name="T39" fmla="*/ 0 h 113"/>
                <a:gd name="T40" fmla="*/ 0 w 81"/>
                <a:gd name="T41" fmla="*/ 0 h 113"/>
                <a:gd name="T42" fmla="*/ 0 w 81"/>
                <a:gd name="T43" fmla="*/ 0 h 113"/>
                <a:gd name="T44" fmla="*/ 0 w 81"/>
                <a:gd name="T45" fmla="*/ 0 h 113"/>
                <a:gd name="T46" fmla="*/ 0 w 81"/>
                <a:gd name="T47" fmla="*/ 0 h 113"/>
                <a:gd name="T48" fmla="*/ 0 w 81"/>
                <a:gd name="T49" fmla="*/ 0 h 113"/>
                <a:gd name="T50" fmla="*/ 0 w 81"/>
                <a:gd name="T51" fmla="*/ 0 h 113"/>
                <a:gd name="T52" fmla="*/ 0 w 81"/>
                <a:gd name="T53" fmla="*/ 0 h 113"/>
                <a:gd name="T54" fmla="*/ 0 w 81"/>
                <a:gd name="T55" fmla="*/ 0 h 113"/>
                <a:gd name="T56" fmla="*/ 0 w 81"/>
                <a:gd name="T57" fmla="*/ 0 h 113"/>
                <a:gd name="T58" fmla="*/ 0 w 81"/>
                <a:gd name="T59" fmla="*/ 0 h 113"/>
                <a:gd name="T60" fmla="*/ 0 w 81"/>
                <a:gd name="T61" fmla="*/ 0 h 113"/>
                <a:gd name="T62" fmla="*/ 0 w 81"/>
                <a:gd name="T63" fmla="*/ 0 h 113"/>
                <a:gd name="T64" fmla="*/ 0 w 81"/>
                <a:gd name="T65" fmla="*/ 0 h 113"/>
                <a:gd name="T66" fmla="*/ 0 w 81"/>
                <a:gd name="T67" fmla="*/ 0 h 113"/>
                <a:gd name="T68" fmla="*/ 0 w 81"/>
                <a:gd name="T69" fmla="*/ 0 h 113"/>
                <a:gd name="T70" fmla="*/ 0 w 81"/>
                <a:gd name="T71" fmla="*/ 0 h 113"/>
                <a:gd name="T72" fmla="*/ 0 w 81"/>
                <a:gd name="T73" fmla="*/ 0 h 113"/>
                <a:gd name="T74" fmla="*/ 0 w 81"/>
                <a:gd name="T75" fmla="*/ 0 h 113"/>
                <a:gd name="T76" fmla="*/ 0 w 81"/>
                <a:gd name="T77" fmla="*/ 0 h 113"/>
                <a:gd name="T78" fmla="*/ 0 w 81"/>
                <a:gd name="T79" fmla="*/ 0 h 113"/>
                <a:gd name="T80" fmla="*/ 0 w 81"/>
                <a:gd name="T81" fmla="*/ 0 h 113"/>
                <a:gd name="T82" fmla="*/ 0 w 81"/>
                <a:gd name="T83" fmla="*/ 0 h 113"/>
                <a:gd name="T84" fmla="*/ 0 w 81"/>
                <a:gd name="T85" fmla="*/ 0 h 113"/>
                <a:gd name="T86" fmla="*/ 0 w 81"/>
                <a:gd name="T87" fmla="*/ 0 h 113"/>
                <a:gd name="T88" fmla="*/ 0 w 81"/>
                <a:gd name="T89" fmla="*/ 0 h 113"/>
                <a:gd name="T90" fmla="*/ 0 w 81"/>
                <a:gd name="T91" fmla="*/ 0 h 11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1"/>
                <a:gd name="T139" fmla="*/ 0 h 113"/>
                <a:gd name="T140" fmla="*/ 81 w 81"/>
                <a:gd name="T141" fmla="*/ 113 h 11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2" name="Freeform 307">
              <a:extLst>
                <a:ext uri="{FF2B5EF4-FFF2-40B4-BE49-F238E27FC236}">
                  <a16:creationId xmlns:a16="http://schemas.microsoft.com/office/drawing/2014/main" id="{89C8D7F8-9B60-D80B-5A0A-75AB4A1D618F}"/>
                </a:ext>
              </a:extLst>
            </p:cNvPr>
            <p:cNvSpPr>
              <a:spLocks noChangeAspect="1"/>
            </p:cNvSpPr>
            <p:nvPr userDrawn="1"/>
          </p:nvSpPr>
          <p:spPr bwMode="gray">
            <a:xfrm>
              <a:off x="1790112" y="1315423"/>
              <a:ext cx="29847" cy="32009"/>
            </a:xfrm>
            <a:custGeom>
              <a:avLst/>
              <a:gdLst>
                <a:gd name="T0" fmla="*/ 0 w 54"/>
                <a:gd name="T1" fmla="*/ 0 h 58"/>
                <a:gd name="T2" fmla="*/ 0 w 54"/>
                <a:gd name="T3" fmla="*/ 0 h 58"/>
                <a:gd name="T4" fmla="*/ 0 w 54"/>
                <a:gd name="T5" fmla="*/ 0 h 58"/>
                <a:gd name="T6" fmla="*/ 0 w 54"/>
                <a:gd name="T7" fmla="*/ 0 h 58"/>
                <a:gd name="T8" fmla="*/ 0 w 54"/>
                <a:gd name="T9" fmla="*/ 0 h 58"/>
                <a:gd name="T10" fmla="*/ 0 w 54"/>
                <a:gd name="T11" fmla="*/ 0 h 58"/>
                <a:gd name="T12" fmla="*/ 0 w 54"/>
                <a:gd name="T13" fmla="*/ 0 h 58"/>
                <a:gd name="T14" fmla="*/ 0 w 54"/>
                <a:gd name="T15" fmla="*/ 0 h 58"/>
                <a:gd name="T16" fmla="*/ 0 w 54"/>
                <a:gd name="T17" fmla="*/ 0 h 58"/>
                <a:gd name="T18" fmla="*/ 0 w 54"/>
                <a:gd name="T19" fmla="*/ 0 h 58"/>
                <a:gd name="T20" fmla="*/ 0 w 54"/>
                <a:gd name="T21" fmla="*/ 0 h 58"/>
                <a:gd name="T22" fmla="*/ 0 w 54"/>
                <a:gd name="T23" fmla="*/ 0 h 58"/>
                <a:gd name="T24" fmla="*/ 0 w 54"/>
                <a:gd name="T25" fmla="*/ 0 h 58"/>
                <a:gd name="T26" fmla="*/ 0 w 54"/>
                <a:gd name="T27" fmla="*/ 0 h 58"/>
                <a:gd name="T28" fmla="*/ 0 w 54"/>
                <a:gd name="T29" fmla="*/ 0 h 58"/>
                <a:gd name="T30" fmla="*/ 0 w 54"/>
                <a:gd name="T31" fmla="*/ 0 h 58"/>
                <a:gd name="T32" fmla="*/ 0 w 54"/>
                <a:gd name="T33" fmla="*/ 0 h 58"/>
                <a:gd name="T34" fmla="*/ 0 w 54"/>
                <a:gd name="T35" fmla="*/ 0 h 58"/>
                <a:gd name="T36" fmla="*/ 0 w 54"/>
                <a:gd name="T37" fmla="*/ 0 h 58"/>
                <a:gd name="T38" fmla="*/ 0 w 54"/>
                <a:gd name="T39" fmla="*/ 0 h 58"/>
                <a:gd name="T40" fmla="*/ 0 w 54"/>
                <a:gd name="T41" fmla="*/ 0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58"/>
                <a:gd name="T65" fmla="*/ 54 w 54"/>
                <a:gd name="T66" fmla="*/ 58 h 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3" name="Freeform 308">
              <a:extLst>
                <a:ext uri="{FF2B5EF4-FFF2-40B4-BE49-F238E27FC236}">
                  <a16:creationId xmlns:a16="http://schemas.microsoft.com/office/drawing/2014/main" id="{9BADF487-01A6-62C6-14A7-A068945E3498}"/>
                </a:ext>
              </a:extLst>
            </p:cNvPr>
            <p:cNvSpPr>
              <a:spLocks noChangeAspect="1"/>
            </p:cNvSpPr>
            <p:nvPr userDrawn="1"/>
          </p:nvSpPr>
          <p:spPr bwMode="gray">
            <a:xfrm rot="21085610">
              <a:off x="3485412" y="3434087"/>
              <a:ext cx="20893" cy="10670"/>
            </a:xfrm>
            <a:custGeom>
              <a:avLst/>
              <a:gdLst>
                <a:gd name="T0" fmla="*/ 0 w 336"/>
                <a:gd name="T1" fmla="*/ 0 h 96"/>
                <a:gd name="T2" fmla="*/ 0 w 336"/>
                <a:gd name="T3" fmla="*/ 0 h 96"/>
                <a:gd name="T4" fmla="*/ 0 w 336"/>
                <a:gd name="T5" fmla="*/ 0 h 96"/>
                <a:gd name="T6" fmla="*/ 0 w 336"/>
                <a:gd name="T7" fmla="*/ 0 h 96"/>
                <a:gd name="T8" fmla="*/ 0 w 336"/>
                <a:gd name="T9" fmla="*/ 0 h 96"/>
                <a:gd name="T10" fmla="*/ 0 w 336"/>
                <a:gd name="T11" fmla="*/ 0 h 96"/>
                <a:gd name="T12" fmla="*/ 0 w 336"/>
                <a:gd name="T13" fmla="*/ 0 h 96"/>
                <a:gd name="T14" fmla="*/ 0 w 336"/>
                <a:gd name="T15" fmla="*/ 0 h 96"/>
                <a:gd name="T16" fmla="*/ 0 w 336"/>
                <a:gd name="T17" fmla="*/ 0 h 96"/>
                <a:gd name="T18" fmla="*/ 0 w 336"/>
                <a:gd name="T19" fmla="*/ 0 h 96"/>
                <a:gd name="T20" fmla="*/ 0 w 336"/>
                <a:gd name="T21" fmla="*/ 0 h 96"/>
                <a:gd name="T22" fmla="*/ 0 w 336"/>
                <a:gd name="T23" fmla="*/ 0 h 96"/>
                <a:gd name="T24" fmla="*/ 0 w 336"/>
                <a:gd name="T25" fmla="*/ 0 h 96"/>
                <a:gd name="T26" fmla="*/ 0 w 336"/>
                <a:gd name="T27" fmla="*/ 0 h 96"/>
                <a:gd name="T28" fmla="*/ 0 w 336"/>
                <a:gd name="T29" fmla="*/ 0 h 96"/>
                <a:gd name="T30" fmla="*/ 0 w 336"/>
                <a:gd name="T31" fmla="*/ 0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6"/>
                <a:gd name="T49" fmla="*/ 0 h 96"/>
                <a:gd name="T50" fmla="*/ 336 w 336"/>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4" name="Freeform 309">
              <a:extLst>
                <a:ext uri="{FF2B5EF4-FFF2-40B4-BE49-F238E27FC236}">
                  <a16:creationId xmlns:a16="http://schemas.microsoft.com/office/drawing/2014/main" id="{C1D194A9-AE32-D4CB-FC73-D6A23BEBB377}"/>
                </a:ext>
              </a:extLst>
            </p:cNvPr>
            <p:cNvSpPr>
              <a:spLocks noChangeAspect="1"/>
            </p:cNvSpPr>
            <p:nvPr userDrawn="1"/>
          </p:nvSpPr>
          <p:spPr bwMode="gray">
            <a:xfrm rot="21085610">
              <a:off x="3519737" y="3437134"/>
              <a:ext cx="1492" cy="28960"/>
            </a:xfrm>
            <a:custGeom>
              <a:avLst/>
              <a:gdLst>
                <a:gd name="T0" fmla="*/ 0 w 86"/>
                <a:gd name="T1" fmla="*/ 0 h 232"/>
                <a:gd name="T2" fmla="*/ 0 w 86"/>
                <a:gd name="T3" fmla="*/ 0 h 232"/>
                <a:gd name="T4" fmla="*/ 0 w 86"/>
                <a:gd name="T5" fmla="*/ 0 h 232"/>
                <a:gd name="T6" fmla="*/ 0 w 86"/>
                <a:gd name="T7" fmla="*/ 0 h 232"/>
                <a:gd name="T8" fmla="*/ 0 w 86"/>
                <a:gd name="T9" fmla="*/ 0 h 232"/>
                <a:gd name="T10" fmla="*/ 0 w 86"/>
                <a:gd name="T11" fmla="*/ 0 h 232"/>
                <a:gd name="T12" fmla="*/ 0 w 86"/>
                <a:gd name="T13" fmla="*/ 0 h 232"/>
                <a:gd name="T14" fmla="*/ 0 w 86"/>
                <a:gd name="T15" fmla="*/ 0 h 232"/>
                <a:gd name="T16" fmla="*/ 0 w 86"/>
                <a:gd name="T17" fmla="*/ 0 h 232"/>
                <a:gd name="T18" fmla="*/ 0 w 86"/>
                <a:gd name="T19" fmla="*/ 0 h 232"/>
                <a:gd name="T20" fmla="*/ 0 w 86"/>
                <a:gd name="T21" fmla="*/ 0 h 232"/>
                <a:gd name="T22" fmla="*/ 0 w 86"/>
                <a:gd name="T23" fmla="*/ 0 h 232"/>
                <a:gd name="T24" fmla="*/ 0 w 86"/>
                <a:gd name="T25" fmla="*/ 0 h 2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232"/>
                <a:gd name="T41" fmla="*/ 86 w 86"/>
                <a:gd name="T42" fmla="*/ 232 h 2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5" name="Freeform 310">
              <a:extLst>
                <a:ext uri="{FF2B5EF4-FFF2-40B4-BE49-F238E27FC236}">
                  <a16:creationId xmlns:a16="http://schemas.microsoft.com/office/drawing/2014/main" id="{E51A9ECC-7370-4B54-58CA-ECC2017F75DC}"/>
                </a:ext>
              </a:extLst>
            </p:cNvPr>
            <p:cNvSpPr>
              <a:spLocks noChangeAspect="1"/>
            </p:cNvSpPr>
            <p:nvPr userDrawn="1"/>
          </p:nvSpPr>
          <p:spPr bwMode="gray">
            <a:xfrm rot="21085610">
              <a:off x="3519737" y="3502676"/>
              <a:ext cx="5969" cy="1524"/>
            </a:xfrm>
            <a:custGeom>
              <a:avLst/>
              <a:gdLst>
                <a:gd name="T0" fmla="*/ 0 w 73"/>
                <a:gd name="T1" fmla="*/ 0 h 28"/>
                <a:gd name="T2" fmla="*/ 0 w 73"/>
                <a:gd name="T3" fmla="*/ 0 h 28"/>
                <a:gd name="T4" fmla="*/ 0 w 73"/>
                <a:gd name="T5" fmla="*/ 0 h 28"/>
                <a:gd name="T6" fmla="*/ 0 w 73"/>
                <a:gd name="T7" fmla="*/ 0 h 28"/>
                <a:gd name="T8" fmla="*/ 0 w 73"/>
                <a:gd name="T9" fmla="*/ 0 h 28"/>
                <a:gd name="T10" fmla="*/ 0 w 73"/>
                <a:gd name="T11" fmla="*/ 0 h 28"/>
                <a:gd name="T12" fmla="*/ 0 w 73"/>
                <a:gd name="T13" fmla="*/ 0 h 28"/>
                <a:gd name="T14" fmla="*/ 0 60000 65536"/>
                <a:gd name="T15" fmla="*/ 0 60000 65536"/>
                <a:gd name="T16" fmla="*/ 0 60000 65536"/>
                <a:gd name="T17" fmla="*/ 0 60000 65536"/>
                <a:gd name="T18" fmla="*/ 0 60000 65536"/>
                <a:gd name="T19" fmla="*/ 0 60000 65536"/>
                <a:gd name="T20" fmla="*/ 0 60000 65536"/>
                <a:gd name="T21" fmla="*/ 0 w 73"/>
                <a:gd name="T22" fmla="*/ 0 h 28"/>
                <a:gd name="T23" fmla="*/ 73 w 73"/>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28">
                  <a:moveTo>
                    <a:pt x="55" y="25"/>
                  </a:moveTo>
                  <a:lnTo>
                    <a:pt x="73" y="7"/>
                  </a:lnTo>
                  <a:lnTo>
                    <a:pt x="73" y="0"/>
                  </a:lnTo>
                  <a:lnTo>
                    <a:pt x="48" y="0"/>
                  </a:lnTo>
                  <a:lnTo>
                    <a:pt x="8" y="4"/>
                  </a:lnTo>
                  <a:lnTo>
                    <a:pt x="0" y="28"/>
                  </a:lnTo>
                  <a:lnTo>
                    <a:pt x="55" y="2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6" name="Freeform 311">
              <a:extLst>
                <a:ext uri="{FF2B5EF4-FFF2-40B4-BE49-F238E27FC236}">
                  <a16:creationId xmlns:a16="http://schemas.microsoft.com/office/drawing/2014/main" id="{849CCC17-32A3-A148-156D-D590C4C5DE6B}"/>
                </a:ext>
              </a:extLst>
            </p:cNvPr>
            <p:cNvSpPr>
              <a:spLocks noChangeAspect="1"/>
            </p:cNvSpPr>
            <p:nvPr userDrawn="1"/>
          </p:nvSpPr>
          <p:spPr bwMode="gray">
            <a:xfrm rot="21085610">
              <a:off x="3506305" y="3501152"/>
              <a:ext cx="10447" cy="35058"/>
            </a:xfrm>
            <a:custGeom>
              <a:avLst/>
              <a:gdLst>
                <a:gd name="T0" fmla="*/ 0 w 175"/>
                <a:gd name="T1" fmla="*/ 0 h 291"/>
                <a:gd name="T2" fmla="*/ 0 w 175"/>
                <a:gd name="T3" fmla="*/ 0 h 291"/>
                <a:gd name="T4" fmla="*/ 0 w 175"/>
                <a:gd name="T5" fmla="*/ 0 h 291"/>
                <a:gd name="T6" fmla="*/ 0 w 175"/>
                <a:gd name="T7" fmla="*/ 0 h 291"/>
                <a:gd name="T8" fmla="*/ 0 w 175"/>
                <a:gd name="T9" fmla="*/ 0 h 291"/>
                <a:gd name="T10" fmla="*/ 0 w 175"/>
                <a:gd name="T11" fmla="*/ 0 h 291"/>
                <a:gd name="T12" fmla="*/ 0 w 175"/>
                <a:gd name="T13" fmla="*/ 0 h 291"/>
                <a:gd name="T14" fmla="*/ 0 w 175"/>
                <a:gd name="T15" fmla="*/ 0 h 291"/>
                <a:gd name="T16" fmla="*/ 0 w 175"/>
                <a:gd name="T17" fmla="*/ 0 h 291"/>
                <a:gd name="T18" fmla="*/ 0 w 175"/>
                <a:gd name="T19" fmla="*/ 0 h 291"/>
                <a:gd name="T20" fmla="*/ 0 w 175"/>
                <a:gd name="T21" fmla="*/ 0 h 291"/>
                <a:gd name="T22" fmla="*/ 0 w 175"/>
                <a:gd name="T23" fmla="*/ 0 h 291"/>
                <a:gd name="T24" fmla="*/ 0 w 175"/>
                <a:gd name="T25" fmla="*/ 0 h 291"/>
                <a:gd name="T26" fmla="*/ 0 w 175"/>
                <a:gd name="T27" fmla="*/ 0 h 291"/>
                <a:gd name="T28" fmla="*/ 0 w 175"/>
                <a:gd name="T29" fmla="*/ 0 h 291"/>
                <a:gd name="T30" fmla="*/ 0 w 175"/>
                <a:gd name="T31" fmla="*/ 0 h 2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5"/>
                <a:gd name="T49" fmla="*/ 0 h 291"/>
                <a:gd name="T50" fmla="*/ 175 w 175"/>
                <a:gd name="T51" fmla="*/ 291 h 2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7" name="Freeform 312">
              <a:extLst>
                <a:ext uri="{FF2B5EF4-FFF2-40B4-BE49-F238E27FC236}">
                  <a16:creationId xmlns:a16="http://schemas.microsoft.com/office/drawing/2014/main" id="{6C8933F2-24AE-41AC-E255-5AAC6C8F4F11}"/>
                </a:ext>
              </a:extLst>
            </p:cNvPr>
            <p:cNvSpPr>
              <a:spLocks noChangeAspect="1"/>
            </p:cNvSpPr>
            <p:nvPr userDrawn="1"/>
          </p:nvSpPr>
          <p:spPr bwMode="gray">
            <a:xfrm rot="21085610">
              <a:off x="3519737" y="3539258"/>
              <a:ext cx="1492" cy="16766"/>
            </a:xfrm>
            <a:custGeom>
              <a:avLst/>
              <a:gdLst>
                <a:gd name="T0" fmla="*/ 0 w 69"/>
                <a:gd name="T1" fmla="*/ 0 h 144"/>
                <a:gd name="T2" fmla="*/ 0 w 69"/>
                <a:gd name="T3" fmla="*/ 0 h 144"/>
                <a:gd name="T4" fmla="*/ 0 w 69"/>
                <a:gd name="T5" fmla="*/ 0 h 144"/>
                <a:gd name="T6" fmla="*/ 0 w 69"/>
                <a:gd name="T7" fmla="*/ 0 h 144"/>
                <a:gd name="T8" fmla="*/ 0 w 69"/>
                <a:gd name="T9" fmla="*/ 0 h 144"/>
                <a:gd name="T10" fmla="*/ 0 w 69"/>
                <a:gd name="T11" fmla="*/ 0 h 144"/>
                <a:gd name="T12" fmla="*/ 0 60000 65536"/>
                <a:gd name="T13" fmla="*/ 0 60000 65536"/>
                <a:gd name="T14" fmla="*/ 0 60000 65536"/>
                <a:gd name="T15" fmla="*/ 0 60000 65536"/>
                <a:gd name="T16" fmla="*/ 0 60000 65536"/>
                <a:gd name="T17" fmla="*/ 0 60000 65536"/>
                <a:gd name="T18" fmla="*/ 0 w 69"/>
                <a:gd name="T19" fmla="*/ 0 h 144"/>
                <a:gd name="T20" fmla="*/ 69 w 69"/>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69" h="144">
                  <a:moveTo>
                    <a:pt x="0" y="70"/>
                  </a:moveTo>
                  <a:lnTo>
                    <a:pt x="47" y="0"/>
                  </a:lnTo>
                  <a:lnTo>
                    <a:pt x="69" y="118"/>
                  </a:lnTo>
                  <a:lnTo>
                    <a:pt x="59" y="144"/>
                  </a:lnTo>
                  <a:lnTo>
                    <a:pt x="17" y="128"/>
                  </a:lnTo>
                  <a:lnTo>
                    <a:pt x="0" y="7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8" name="Freeform 313">
              <a:extLst>
                <a:ext uri="{FF2B5EF4-FFF2-40B4-BE49-F238E27FC236}">
                  <a16:creationId xmlns:a16="http://schemas.microsoft.com/office/drawing/2014/main" id="{0DC93192-CE0F-753A-920D-834135EAFEF1}"/>
                </a:ext>
              </a:extLst>
            </p:cNvPr>
            <p:cNvSpPr>
              <a:spLocks noChangeAspect="1"/>
            </p:cNvSpPr>
            <p:nvPr userDrawn="1"/>
          </p:nvSpPr>
          <p:spPr bwMode="gray">
            <a:xfrm rot="21085610">
              <a:off x="3543614" y="3493531"/>
              <a:ext cx="2985" cy="21339"/>
            </a:xfrm>
            <a:custGeom>
              <a:avLst/>
              <a:gdLst>
                <a:gd name="T0" fmla="*/ 0 w 52"/>
                <a:gd name="T1" fmla="*/ 0 h 192"/>
                <a:gd name="T2" fmla="*/ 0 w 52"/>
                <a:gd name="T3" fmla="*/ 0 h 192"/>
                <a:gd name="T4" fmla="*/ 0 w 52"/>
                <a:gd name="T5" fmla="*/ 0 h 192"/>
                <a:gd name="T6" fmla="*/ 0 w 52"/>
                <a:gd name="T7" fmla="*/ 0 h 192"/>
                <a:gd name="T8" fmla="*/ 0 w 52"/>
                <a:gd name="T9" fmla="*/ 0 h 192"/>
                <a:gd name="T10" fmla="*/ 0 w 52"/>
                <a:gd name="T11" fmla="*/ 0 h 192"/>
                <a:gd name="T12" fmla="*/ 0 w 52"/>
                <a:gd name="T13" fmla="*/ 0 h 192"/>
                <a:gd name="T14" fmla="*/ 0 w 52"/>
                <a:gd name="T15" fmla="*/ 0 h 192"/>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92"/>
                <a:gd name="T26" fmla="*/ 52 w 52"/>
                <a:gd name="T27" fmla="*/ 192 h 1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92">
                  <a:moveTo>
                    <a:pt x="37" y="20"/>
                  </a:moveTo>
                  <a:lnTo>
                    <a:pt x="37" y="0"/>
                  </a:lnTo>
                  <a:lnTo>
                    <a:pt x="52" y="45"/>
                  </a:lnTo>
                  <a:lnTo>
                    <a:pt x="47" y="192"/>
                  </a:lnTo>
                  <a:lnTo>
                    <a:pt x="10" y="160"/>
                  </a:lnTo>
                  <a:lnTo>
                    <a:pt x="0" y="120"/>
                  </a:lnTo>
                  <a:lnTo>
                    <a:pt x="20" y="99"/>
                  </a:lnTo>
                  <a:lnTo>
                    <a:pt x="37"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89" name="Freeform 314">
              <a:extLst>
                <a:ext uri="{FF2B5EF4-FFF2-40B4-BE49-F238E27FC236}">
                  <a16:creationId xmlns:a16="http://schemas.microsoft.com/office/drawing/2014/main" id="{9733437B-3198-D5D6-630C-F2C39552635C}"/>
                </a:ext>
              </a:extLst>
            </p:cNvPr>
            <p:cNvSpPr>
              <a:spLocks noChangeAspect="1"/>
            </p:cNvSpPr>
            <p:nvPr userDrawn="1"/>
          </p:nvSpPr>
          <p:spPr bwMode="gray">
            <a:xfrm rot="21085610">
              <a:off x="3557045" y="3511822"/>
              <a:ext cx="7462" cy="25911"/>
            </a:xfrm>
            <a:custGeom>
              <a:avLst/>
              <a:gdLst>
                <a:gd name="T0" fmla="*/ 0 w 146"/>
                <a:gd name="T1" fmla="*/ 0 h 212"/>
                <a:gd name="T2" fmla="*/ 0 w 146"/>
                <a:gd name="T3" fmla="*/ 0 h 212"/>
                <a:gd name="T4" fmla="*/ 0 w 146"/>
                <a:gd name="T5" fmla="*/ 0 h 212"/>
                <a:gd name="T6" fmla="*/ 0 w 146"/>
                <a:gd name="T7" fmla="*/ 0 h 212"/>
                <a:gd name="T8" fmla="*/ 0 w 146"/>
                <a:gd name="T9" fmla="*/ 0 h 212"/>
                <a:gd name="T10" fmla="*/ 0 w 146"/>
                <a:gd name="T11" fmla="*/ 0 h 212"/>
                <a:gd name="T12" fmla="*/ 0 w 146"/>
                <a:gd name="T13" fmla="*/ 0 h 212"/>
                <a:gd name="T14" fmla="*/ 0 w 146"/>
                <a:gd name="T15" fmla="*/ 0 h 212"/>
                <a:gd name="T16" fmla="*/ 0 w 146"/>
                <a:gd name="T17" fmla="*/ 0 h 212"/>
                <a:gd name="T18" fmla="*/ 0 w 146"/>
                <a:gd name="T19" fmla="*/ 0 h 212"/>
                <a:gd name="T20" fmla="*/ 0 w 146"/>
                <a:gd name="T21" fmla="*/ 0 h 2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6"/>
                <a:gd name="T34" fmla="*/ 0 h 212"/>
                <a:gd name="T35" fmla="*/ 146 w 146"/>
                <a:gd name="T36" fmla="*/ 212 h 2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0" name="Freeform 315">
              <a:extLst>
                <a:ext uri="{FF2B5EF4-FFF2-40B4-BE49-F238E27FC236}">
                  <a16:creationId xmlns:a16="http://schemas.microsoft.com/office/drawing/2014/main" id="{7DC4A340-0472-86CF-6280-8AF67B66AA6B}"/>
                </a:ext>
              </a:extLst>
            </p:cNvPr>
            <p:cNvSpPr>
              <a:spLocks noChangeAspect="1"/>
            </p:cNvSpPr>
            <p:nvPr userDrawn="1"/>
          </p:nvSpPr>
          <p:spPr bwMode="gray">
            <a:xfrm rot="21085610">
              <a:off x="3580922" y="3531637"/>
              <a:ext cx="5969" cy="6097"/>
            </a:xfrm>
            <a:custGeom>
              <a:avLst/>
              <a:gdLst>
                <a:gd name="T0" fmla="*/ 0 w 52"/>
                <a:gd name="T1" fmla="*/ 0 h 55"/>
                <a:gd name="T2" fmla="*/ 0 w 52"/>
                <a:gd name="T3" fmla="*/ 0 h 55"/>
                <a:gd name="T4" fmla="*/ 0 w 52"/>
                <a:gd name="T5" fmla="*/ 0 h 55"/>
                <a:gd name="T6" fmla="*/ 0 w 52"/>
                <a:gd name="T7" fmla="*/ 0 h 55"/>
                <a:gd name="T8" fmla="*/ 0 w 52"/>
                <a:gd name="T9" fmla="*/ 0 h 55"/>
                <a:gd name="T10" fmla="*/ 0 w 52"/>
                <a:gd name="T11" fmla="*/ 0 h 55"/>
                <a:gd name="T12" fmla="*/ 0 60000 65536"/>
                <a:gd name="T13" fmla="*/ 0 60000 65536"/>
                <a:gd name="T14" fmla="*/ 0 60000 65536"/>
                <a:gd name="T15" fmla="*/ 0 60000 65536"/>
                <a:gd name="T16" fmla="*/ 0 60000 65536"/>
                <a:gd name="T17" fmla="*/ 0 60000 65536"/>
                <a:gd name="T18" fmla="*/ 0 w 52"/>
                <a:gd name="T19" fmla="*/ 0 h 55"/>
                <a:gd name="T20" fmla="*/ 52 w 52"/>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52" h="55">
                  <a:moveTo>
                    <a:pt x="20" y="0"/>
                  </a:moveTo>
                  <a:lnTo>
                    <a:pt x="3" y="28"/>
                  </a:lnTo>
                  <a:lnTo>
                    <a:pt x="0" y="55"/>
                  </a:lnTo>
                  <a:lnTo>
                    <a:pt x="35" y="52"/>
                  </a:lnTo>
                  <a:lnTo>
                    <a:pt x="52" y="0"/>
                  </a:lnTo>
                  <a:lnTo>
                    <a:pt x="2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1" name="Freeform 316">
              <a:extLst>
                <a:ext uri="{FF2B5EF4-FFF2-40B4-BE49-F238E27FC236}">
                  <a16:creationId xmlns:a16="http://schemas.microsoft.com/office/drawing/2014/main" id="{F4E1CD3B-FEDF-FF3D-5AFD-7641F0A33B69}"/>
                </a:ext>
              </a:extLst>
            </p:cNvPr>
            <p:cNvSpPr>
              <a:spLocks noChangeAspect="1"/>
            </p:cNvSpPr>
            <p:nvPr userDrawn="1"/>
          </p:nvSpPr>
          <p:spPr bwMode="gray">
            <a:xfrm rot="21085610">
              <a:off x="3570476" y="3556023"/>
              <a:ext cx="7461" cy="30484"/>
            </a:xfrm>
            <a:custGeom>
              <a:avLst/>
              <a:gdLst>
                <a:gd name="T0" fmla="*/ 0 w 117"/>
                <a:gd name="T1" fmla="*/ 0 h 232"/>
                <a:gd name="T2" fmla="*/ 0 w 117"/>
                <a:gd name="T3" fmla="*/ 0 h 232"/>
                <a:gd name="T4" fmla="*/ 0 w 117"/>
                <a:gd name="T5" fmla="*/ 0 h 232"/>
                <a:gd name="T6" fmla="*/ 0 w 117"/>
                <a:gd name="T7" fmla="*/ 0 h 232"/>
                <a:gd name="T8" fmla="*/ 0 w 117"/>
                <a:gd name="T9" fmla="*/ 0 h 232"/>
                <a:gd name="T10" fmla="*/ 0 w 117"/>
                <a:gd name="T11" fmla="*/ 0 h 232"/>
                <a:gd name="T12" fmla="*/ 0 w 117"/>
                <a:gd name="T13" fmla="*/ 0 h 232"/>
                <a:gd name="T14" fmla="*/ 0 w 117"/>
                <a:gd name="T15" fmla="*/ 0 h 232"/>
                <a:gd name="T16" fmla="*/ 0 w 117"/>
                <a:gd name="T17" fmla="*/ 0 h 232"/>
                <a:gd name="T18" fmla="*/ 0 w 117"/>
                <a:gd name="T19" fmla="*/ 0 h 232"/>
                <a:gd name="T20" fmla="*/ 0 w 117"/>
                <a:gd name="T21" fmla="*/ 0 h 232"/>
                <a:gd name="T22" fmla="*/ 0 w 117"/>
                <a:gd name="T23" fmla="*/ 0 h 2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7"/>
                <a:gd name="T37" fmla="*/ 0 h 232"/>
                <a:gd name="T38" fmla="*/ 117 w 117"/>
                <a:gd name="T39" fmla="*/ 232 h 2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2" name="Freeform 317">
              <a:extLst>
                <a:ext uri="{FF2B5EF4-FFF2-40B4-BE49-F238E27FC236}">
                  <a16:creationId xmlns:a16="http://schemas.microsoft.com/office/drawing/2014/main" id="{30AB456A-F42D-FD75-3673-4A71F772AD44}"/>
                </a:ext>
              </a:extLst>
            </p:cNvPr>
            <p:cNvSpPr>
              <a:spLocks noChangeAspect="1"/>
            </p:cNvSpPr>
            <p:nvPr userDrawn="1"/>
          </p:nvSpPr>
          <p:spPr bwMode="gray">
            <a:xfrm rot="21085610">
              <a:off x="3594354" y="3581936"/>
              <a:ext cx="7461" cy="24388"/>
            </a:xfrm>
            <a:custGeom>
              <a:avLst/>
              <a:gdLst>
                <a:gd name="T0" fmla="*/ 0 w 149"/>
                <a:gd name="T1" fmla="*/ 0 h 218"/>
                <a:gd name="T2" fmla="*/ 0 w 149"/>
                <a:gd name="T3" fmla="*/ 0 h 218"/>
                <a:gd name="T4" fmla="*/ 0 w 149"/>
                <a:gd name="T5" fmla="*/ 0 h 218"/>
                <a:gd name="T6" fmla="*/ 0 w 149"/>
                <a:gd name="T7" fmla="*/ 0 h 218"/>
                <a:gd name="T8" fmla="*/ 0 w 149"/>
                <a:gd name="T9" fmla="*/ 0 h 218"/>
                <a:gd name="T10" fmla="*/ 0 w 149"/>
                <a:gd name="T11" fmla="*/ 0 h 218"/>
                <a:gd name="T12" fmla="*/ 0 w 149"/>
                <a:gd name="T13" fmla="*/ 0 h 218"/>
                <a:gd name="T14" fmla="*/ 0 w 149"/>
                <a:gd name="T15" fmla="*/ 0 h 218"/>
                <a:gd name="T16" fmla="*/ 0 w 149"/>
                <a:gd name="T17" fmla="*/ 0 h 218"/>
                <a:gd name="T18" fmla="*/ 0 w 149"/>
                <a:gd name="T19" fmla="*/ 0 h 218"/>
                <a:gd name="T20" fmla="*/ 0 w 149"/>
                <a:gd name="T21" fmla="*/ 0 h 218"/>
                <a:gd name="T22" fmla="*/ 0 w 149"/>
                <a:gd name="T23" fmla="*/ 0 h 218"/>
                <a:gd name="T24" fmla="*/ 0 w 149"/>
                <a:gd name="T25" fmla="*/ 0 h 218"/>
                <a:gd name="T26" fmla="*/ 0 w 149"/>
                <a:gd name="T27" fmla="*/ 0 h 218"/>
                <a:gd name="T28" fmla="*/ 0 w 149"/>
                <a:gd name="T29" fmla="*/ 0 h 218"/>
                <a:gd name="T30" fmla="*/ 0 w 149"/>
                <a:gd name="T31" fmla="*/ 0 h 218"/>
                <a:gd name="T32" fmla="*/ 0 w 149"/>
                <a:gd name="T33" fmla="*/ 0 h 218"/>
                <a:gd name="T34" fmla="*/ 0 w 149"/>
                <a:gd name="T35" fmla="*/ 0 h 2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9"/>
                <a:gd name="T55" fmla="*/ 0 h 218"/>
                <a:gd name="T56" fmla="*/ 149 w 149"/>
                <a:gd name="T57" fmla="*/ 218 h 2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3" name="Freeform 318">
              <a:extLst>
                <a:ext uri="{FF2B5EF4-FFF2-40B4-BE49-F238E27FC236}">
                  <a16:creationId xmlns:a16="http://schemas.microsoft.com/office/drawing/2014/main" id="{9C2FD4B0-51A8-50A8-DA3C-9D5E16A82C36}"/>
                </a:ext>
              </a:extLst>
            </p:cNvPr>
            <p:cNvSpPr>
              <a:spLocks noChangeAspect="1"/>
            </p:cNvSpPr>
            <p:nvPr userDrawn="1"/>
          </p:nvSpPr>
          <p:spPr bwMode="gray">
            <a:xfrm rot="21085610">
              <a:off x="3615246" y="3598702"/>
              <a:ext cx="7461" cy="4573"/>
            </a:xfrm>
            <a:custGeom>
              <a:avLst/>
              <a:gdLst>
                <a:gd name="T0" fmla="*/ 0 w 118"/>
                <a:gd name="T1" fmla="*/ 0 h 34"/>
                <a:gd name="T2" fmla="*/ 0 w 118"/>
                <a:gd name="T3" fmla="*/ 0 h 34"/>
                <a:gd name="T4" fmla="*/ 0 w 118"/>
                <a:gd name="T5" fmla="*/ 0 h 34"/>
                <a:gd name="T6" fmla="*/ 0 w 118"/>
                <a:gd name="T7" fmla="*/ 0 h 34"/>
                <a:gd name="T8" fmla="*/ 0 w 118"/>
                <a:gd name="T9" fmla="*/ 0 h 34"/>
                <a:gd name="T10" fmla="*/ 0 w 118"/>
                <a:gd name="T11" fmla="*/ 0 h 34"/>
                <a:gd name="T12" fmla="*/ 0 w 118"/>
                <a:gd name="T13" fmla="*/ 0 h 34"/>
                <a:gd name="T14" fmla="*/ 0 60000 65536"/>
                <a:gd name="T15" fmla="*/ 0 60000 65536"/>
                <a:gd name="T16" fmla="*/ 0 60000 65536"/>
                <a:gd name="T17" fmla="*/ 0 60000 65536"/>
                <a:gd name="T18" fmla="*/ 0 60000 65536"/>
                <a:gd name="T19" fmla="*/ 0 60000 65536"/>
                <a:gd name="T20" fmla="*/ 0 60000 65536"/>
                <a:gd name="T21" fmla="*/ 0 w 118"/>
                <a:gd name="T22" fmla="*/ 0 h 34"/>
                <a:gd name="T23" fmla="*/ 118 w 118"/>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34">
                  <a:moveTo>
                    <a:pt x="118" y="34"/>
                  </a:moveTo>
                  <a:lnTo>
                    <a:pt x="100" y="3"/>
                  </a:lnTo>
                  <a:lnTo>
                    <a:pt x="56" y="0"/>
                  </a:lnTo>
                  <a:lnTo>
                    <a:pt x="0" y="24"/>
                  </a:lnTo>
                  <a:lnTo>
                    <a:pt x="52" y="17"/>
                  </a:lnTo>
                  <a:lnTo>
                    <a:pt x="90" y="34"/>
                  </a:lnTo>
                  <a:lnTo>
                    <a:pt x="118" y="3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4" name="Freeform 319">
              <a:extLst>
                <a:ext uri="{FF2B5EF4-FFF2-40B4-BE49-F238E27FC236}">
                  <a16:creationId xmlns:a16="http://schemas.microsoft.com/office/drawing/2014/main" id="{EA0BE7D1-FC37-A4CD-D74D-F9114BE1E572}"/>
                </a:ext>
              </a:extLst>
            </p:cNvPr>
            <p:cNvSpPr>
              <a:spLocks noChangeAspect="1"/>
            </p:cNvSpPr>
            <p:nvPr userDrawn="1"/>
          </p:nvSpPr>
          <p:spPr bwMode="gray">
            <a:xfrm rot="21085610">
              <a:off x="3633155" y="3610896"/>
              <a:ext cx="17908" cy="12193"/>
            </a:xfrm>
            <a:custGeom>
              <a:avLst/>
              <a:gdLst>
                <a:gd name="T0" fmla="*/ 0 w 248"/>
                <a:gd name="T1" fmla="*/ 0 h 103"/>
                <a:gd name="T2" fmla="*/ 0 w 248"/>
                <a:gd name="T3" fmla="*/ 0 h 103"/>
                <a:gd name="T4" fmla="*/ 0 w 248"/>
                <a:gd name="T5" fmla="*/ 0 h 103"/>
                <a:gd name="T6" fmla="*/ 0 w 248"/>
                <a:gd name="T7" fmla="*/ 0 h 103"/>
                <a:gd name="T8" fmla="*/ 0 w 248"/>
                <a:gd name="T9" fmla="*/ 0 h 103"/>
                <a:gd name="T10" fmla="*/ 0 w 248"/>
                <a:gd name="T11" fmla="*/ 0 h 103"/>
                <a:gd name="T12" fmla="*/ 0 w 248"/>
                <a:gd name="T13" fmla="*/ 0 h 103"/>
                <a:gd name="T14" fmla="*/ 0 w 248"/>
                <a:gd name="T15" fmla="*/ 0 h 103"/>
                <a:gd name="T16" fmla="*/ 0 w 248"/>
                <a:gd name="T17" fmla="*/ 0 h 103"/>
                <a:gd name="T18" fmla="*/ 0 w 248"/>
                <a:gd name="T19" fmla="*/ 0 h 103"/>
                <a:gd name="T20" fmla="*/ 0 w 248"/>
                <a:gd name="T21" fmla="*/ 0 h 103"/>
                <a:gd name="T22" fmla="*/ 0 w 248"/>
                <a:gd name="T23" fmla="*/ 0 h 103"/>
                <a:gd name="T24" fmla="*/ 0 w 248"/>
                <a:gd name="T25" fmla="*/ 0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8"/>
                <a:gd name="T40" fmla="*/ 0 h 103"/>
                <a:gd name="T41" fmla="*/ 248 w 248"/>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5" name="Freeform 320">
              <a:extLst>
                <a:ext uri="{FF2B5EF4-FFF2-40B4-BE49-F238E27FC236}">
                  <a16:creationId xmlns:a16="http://schemas.microsoft.com/office/drawing/2014/main" id="{74995F0B-8CF0-E8AE-87BE-FE53B18736AF}"/>
                </a:ext>
              </a:extLst>
            </p:cNvPr>
            <p:cNvSpPr>
              <a:spLocks noChangeAspect="1"/>
            </p:cNvSpPr>
            <p:nvPr userDrawn="1"/>
          </p:nvSpPr>
          <p:spPr bwMode="gray">
            <a:xfrm rot="21085610">
              <a:off x="3612262" y="3641380"/>
              <a:ext cx="10446" cy="18291"/>
            </a:xfrm>
            <a:custGeom>
              <a:avLst/>
              <a:gdLst>
                <a:gd name="T0" fmla="*/ 0 w 192"/>
                <a:gd name="T1" fmla="*/ 0 h 146"/>
                <a:gd name="T2" fmla="*/ 0 w 192"/>
                <a:gd name="T3" fmla="*/ 0 h 146"/>
                <a:gd name="T4" fmla="*/ 0 w 192"/>
                <a:gd name="T5" fmla="*/ 0 h 146"/>
                <a:gd name="T6" fmla="*/ 0 w 192"/>
                <a:gd name="T7" fmla="*/ 0 h 146"/>
                <a:gd name="T8" fmla="*/ 0 w 192"/>
                <a:gd name="T9" fmla="*/ 0 h 146"/>
                <a:gd name="T10" fmla="*/ 0 w 192"/>
                <a:gd name="T11" fmla="*/ 0 h 146"/>
                <a:gd name="T12" fmla="*/ 0 w 192"/>
                <a:gd name="T13" fmla="*/ 0 h 146"/>
                <a:gd name="T14" fmla="*/ 0 w 192"/>
                <a:gd name="T15" fmla="*/ 0 h 146"/>
                <a:gd name="T16" fmla="*/ 0 w 192"/>
                <a:gd name="T17" fmla="*/ 0 h 146"/>
                <a:gd name="T18" fmla="*/ 0 w 192"/>
                <a:gd name="T19" fmla="*/ 0 h 1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2"/>
                <a:gd name="T31" fmla="*/ 0 h 146"/>
                <a:gd name="T32" fmla="*/ 192 w 192"/>
                <a:gd name="T33" fmla="*/ 146 h 1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6" name="Freeform 321">
              <a:extLst>
                <a:ext uri="{FF2B5EF4-FFF2-40B4-BE49-F238E27FC236}">
                  <a16:creationId xmlns:a16="http://schemas.microsoft.com/office/drawing/2014/main" id="{CD01F70A-A2BC-9A6D-CD07-A45AB60967E3}"/>
                </a:ext>
              </a:extLst>
            </p:cNvPr>
            <p:cNvSpPr>
              <a:spLocks noChangeAspect="1"/>
            </p:cNvSpPr>
            <p:nvPr userDrawn="1"/>
          </p:nvSpPr>
          <p:spPr bwMode="gray">
            <a:xfrm rot="21085610">
              <a:off x="3516752" y="3537733"/>
              <a:ext cx="4477" cy="7622"/>
            </a:xfrm>
            <a:custGeom>
              <a:avLst/>
              <a:gdLst>
                <a:gd name="T0" fmla="*/ 0 w 70"/>
                <a:gd name="T1" fmla="*/ 0 h 80"/>
                <a:gd name="T2" fmla="*/ 0 w 70"/>
                <a:gd name="T3" fmla="*/ 0 h 80"/>
                <a:gd name="T4" fmla="*/ 0 w 70"/>
                <a:gd name="T5" fmla="*/ 0 h 80"/>
                <a:gd name="T6" fmla="*/ 0 w 70"/>
                <a:gd name="T7" fmla="*/ 0 h 80"/>
                <a:gd name="T8" fmla="*/ 0 w 70"/>
                <a:gd name="T9" fmla="*/ 0 h 80"/>
                <a:gd name="T10" fmla="*/ 0 w 70"/>
                <a:gd name="T11" fmla="*/ 0 h 80"/>
                <a:gd name="T12" fmla="*/ 0 60000 65536"/>
                <a:gd name="T13" fmla="*/ 0 60000 65536"/>
                <a:gd name="T14" fmla="*/ 0 60000 65536"/>
                <a:gd name="T15" fmla="*/ 0 60000 65536"/>
                <a:gd name="T16" fmla="*/ 0 60000 65536"/>
                <a:gd name="T17" fmla="*/ 0 60000 65536"/>
                <a:gd name="T18" fmla="*/ 0 w 70"/>
                <a:gd name="T19" fmla="*/ 0 h 80"/>
                <a:gd name="T20" fmla="*/ 70 w 7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70" h="80">
                  <a:moveTo>
                    <a:pt x="42" y="0"/>
                  </a:moveTo>
                  <a:lnTo>
                    <a:pt x="0" y="55"/>
                  </a:lnTo>
                  <a:lnTo>
                    <a:pt x="4" y="80"/>
                  </a:lnTo>
                  <a:lnTo>
                    <a:pt x="42" y="57"/>
                  </a:lnTo>
                  <a:lnTo>
                    <a:pt x="70" y="9"/>
                  </a:lnTo>
                  <a:lnTo>
                    <a:pt x="4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7" name="Freeform 322">
              <a:extLst>
                <a:ext uri="{FF2B5EF4-FFF2-40B4-BE49-F238E27FC236}">
                  <a16:creationId xmlns:a16="http://schemas.microsoft.com/office/drawing/2014/main" id="{7EB9B275-6A47-A77A-8A44-6C2A440C08FA}"/>
                </a:ext>
              </a:extLst>
            </p:cNvPr>
            <p:cNvSpPr>
              <a:spLocks noChangeAspect="1"/>
            </p:cNvSpPr>
            <p:nvPr userDrawn="1"/>
          </p:nvSpPr>
          <p:spPr bwMode="gray">
            <a:xfrm rot="21085610">
              <a:off x="3463028" y="3510297"/>
              <a:ext cx="2985" cy="9145"/>
            </a:xfrm>
            <a:custGeom>
              <a:avLst/>
              <a:gdLst>
                <a:gd name="T0" fmla="*/ 0 w 72"/>
                <a:gd name="T1" fmla="*/ 0 h 93"/>
                <a:gd name="T2" fmla="*/ 0 w 72"/>
                <a:gd name="T3" fmla="*/ 0 h 93"/>
                <a:gd name="T4" fmla="*/ 0 w 72"/>
                <a:gd name="T5" fmla="*/ 0 h 93"/>
                <a:gd name="T6" fmla="*/ 0 w 72"/>
                <a:gd name="T7" fmla="*/ 0 h 93"/>
                <a:gd name="T8" fmla="*/ 0 w 72"/>
                <a:gd name="T9" fmla="*/ 0 h 93"/>
                <a:gd name="T10" fmla="*/ 0 60000 65536"/>
                <a:gd name="T11" fmla="*/ 0 60000 65536"/>
                <a:gd name="T12" fmla="*/ 0 60000 65536"/>
                <a:gd name="T13" fmla="*/ 0 60000 65536"/>
                <a:gd name="T14" fmla="*/ 0 60000 65536"/>
                <a:gd name="T15" fmla="*/ 0 w 72"/>
                <a:gd name="T16" fmla="*/ 0 h 93"/>
                <a:gd name="T17" fmla="*/ 72 w 72"/>
                <a:gd name="T18" fmla="*/ 93 h 93"/>
              </a:gdLst>
              <a:ahLst/>
              <a:cxnLst>
                <a:cxn ang="T10">
                  <a:pos x="T0" y="T1"/>
                </a:cxn>
                <a:cxn ang="T11">
                  <a:pos x="T2" y="T3"/>
                </a:cxn>
                <a:cxn ang="T12">
                  <a:pos x="T4" y="T5"/>
                </a:cxn>
                <a:cxn ang="T13">
                  <a:pos x="T6" y="T7"/>
                </a:cxn>
                <a:cxn ang="T14">
                  <a:pos x="T8" y="T9"/>
                </a:cxn>
              </a:cxnLst>
              <a:rect l="T15" t="T16" r="T17" b="T18"/>
              <a:pathLst>
                <a:path w="72" h="93">
                  <a:moveTo>
                    <a:pt x="72" y="7"/>
                  </a:moveTo>
                  <a:lnTo>
                    <a:pt x="57" y="0"/>
                  </a:lnTo>
                  <a:lnTo>
                    <a:pt x="0" y="79"/>
                  </a:lnTo>
                  <a:lnTo>
                    <a:pt x="7" y="93"/>
                  </a:lnTo>
                  <a:lnTo>
                    <a:pt x="72" y="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8" name="Freeform 323">
              <a:extLst>
                <a:ext uri="{FF2B5EF4-FFF2-40B4-BE49-F238E27FC236}">
                  <a16:creationId xmlns:a16="http://schemas.microsoft.com/office/drawing/2014/main" id="{D62ACC89-D60C-8E1E-DB30-0D1B27893504}"/>
                </a:ext>
              </a:extLst>
            </p:cNvPr>
            <p:cNvSpPr>
              <a:spLocks noChangeAspect="1"/>
            </p:cNvSpPr>
            <p:nvPr userDrawn="1"/>
          </p:nvSpPr>
          <p:spPr bwMode="gray">
            <a:xfrm rot="21085610">
              <a:off x="3458550" y="3522491"/>
              <a:ext cx="4477" cy="4573"/>
            </a:xfrm>
            <a:custGeom>
              <a:avLst/>
              <a:gdLst>
                <a:gd name="T0" fmla="*/ 0 w 56"/>
                <a:gd name="T1" fmla="*/ 0 h 36"/>
                <a:gd name="T2" fmla="*/ 0 w 56"/>
                <a:gd name="T3" fmla="*/ 0 h 36"/>
                <a:gd name="T4" fmla="*/ 0 w 56"/>
                <a:gd name="T5" fmla="*/ 0 h 36"/>
                <a:gd name="T6" fmla="*/ 0 w 56"/>
                <a:gd name="T7" fmla="*/ 0 h 36"/>
                <a:gd name="T8" fmla="*/ 0 w 56"/>
                <a:gd name="T9" fmla="*/ 0 h 36"/>
                <a:gd name="T10" fmla="*/ 0 60000 65536"/>
                <a:gd name="T11" fmla="*/ 0 60000 65536"/>
                <a:gd name="T12" fmla="*/ 0 60000 65536"/>
                <a:gd name="T13" fmla="*/ 0 60000 65536"/>
                <a:gd name="T14" fmla="*/ 0 60000 65536"/>
                <a:gd name="T15" fmla="*/ 0 w 56"/>
                <a:gd name="T16" fmla="*/ 0 h 36"/>
                <a:gd name="T17" fmla="*/ 56 w 56"/>
                <a:gd name="T18" fmla="*/ 36 h 36"/>
              </a:gdLst>
              <a:ahLst/>
              <a:cxnLst>
                <a:cxn ang="T10">
                  <a:pos x="T0" y="T1"/>
                </a:cxn>
                <a:cxn ang="T11">
                  <a:pos x="T2" y="T3"/>
                </a:cxn>
                <a:cxn ang="T12">
                  <a:pos x="T4" y="T5"/>
                </a:cxn>
                <a:cxn ang="T13">
                  <a:pos x="T6" y="T7"/>
                </a:cxn>
                <a:cxn ang="T14">
                  <a:pos x="T8" y="T9"/>
                </a:cxn>
              </a:cxnLst>
              <a:rect l="T15" t="T16" r="T17" b="T18"/>
              <a:pathLst>
                <a:path w="56" h="36">
                  <a:moveTo>
                    <a:pt x="56" y="0"/>
                  </a:moveTo>
                  <a:lnTo>
                    <a:pt x="0" y="26"/>
                  </a:lnTo>
                  <a:lnTo>
                    <a:pt x="4" y="36"/>
                  </a:lnTo>
                  <a:lnTo>
                    <a:pt x="53" y="18"/>
                  </a:lnTo>
                  <a:lnTo>
                    <a:pt x="5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299" name="Freeform 324">
              <a:extLst>
                <a:ext uri="{FF2B5EF4-FFF2-40B4-BE49-F238E27FC236}">
                  <a16:creationId xmlns:a16="http://schemas.microsoft.com/office/drawing/2014/main" id="{B79B579E-C5B3-6FB1-DA33-B5DF6265087F}"/>
                </a:ext>
              </a:extLst>
            </p:cNvPr>
            <p:cNvSpPr>
              <a:spLocks noChangeAspect="1"/>
            </p:cNvSpPr>
            <p:nvPr userDrawn="1"/>
          </p:nvSpPr>
          <p:spPr bwMode="gray">
            <a:xfrm rot="21085610">
              <a:off x="3442135" y="3527064"/>
              <a:ext cx="10446" cy="12193"/>
            </a:xfrm>
            <a:custGeom>
              <a:avLst/>
              <a:gdLst>
                <a:gd name="T0" fmla="*/ 0 w 155"/>
                <a:gd name="T1" fmla="*/ 0 h 70"/>
                <a:gd name="T2" fmla="*/ 0 w 155"/>
                <a:gd name="T3" fmla="*/ 0 h 70"/>
                <a:gd name="T4" fmla="*/ 0 w 155"/>
                <a:gd name="T5" fmla="*/ 0 h 70"/>
                <a:gd name="T6" fmla="*/ 0 w 155"/>
                <a:gd name="T7" fmla="*/ 0 h 70"/>
                <a:gd name="T8" fmla="*/ 0 w 155"/>
                <a:gd name="T9" fmla="*/ 0 h 70"/>
                <a:gd name="T10" fmla="*/ 0 w 155"/>
                <a:gd name="T11" fmla="*/ 0 h 70"/>
                <a:gd name="T12" fmla="*/ 0 w 155"/>
                <a:gd name="T13" fmla="*/ 0 h 70"/>
                <a:gd name="T14" fmla="*/ 0 w 155"/>
                <a:gd name="T15" fmla="*/ 0 h 70"/>
                <a:gd name="T16" fmla="*/ 0 w 155"/>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70"/>
                <a:gd name="T29" fmla="*/ 155 w 155"/>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70">
                  <a:moveTo>
                    <a:pt x="152" y="40"/>
                  </a:moveTo>
                  <a:lnTo>
                    <a:pt x="109" y="36"/>
                  </a:lnTo>
                  <a:lnTo>
                    <a:pt x="44" y="67"/>
                  </a:lnTo>
                  <a:lnTo>
                    <a:pt x="0" y="70"/>
                  </a:lnTo>
                  <a:lnTo>
                    <a:pt x="9" y="50"/>
                  </a:lnTo>
                  <a:lnTo>
                    <a:pt x="59" y="36"/>
                  </a:lnTo>
                  <a:lnTo>
                    <a:pt x="119" y="0"/>
                  </a:lnTo>
                  <a:lnTo>
                    <a:pt x="155" y="9"/>
                  </a:lnTo>
                  <a:lnTo>
                    <a:pt x="152" y="4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0" name="Freeform 325">
              <a:extLst>
                <a:ext uri="{FF2B5EF4-FFF2-40B4-BE49-F238E27FC236}">
                  <a16:creationId xmlns:a16="http://schemas.microsoft.com/office/drawing/2014/main" id="{F92FAEAD-D07C-A14E-B2E3-27FA6CA51315}"/>
                </a:ext>
              </a:extLst>
            </p:cNvPr>
            <p:cNvSpPr>
              <a:spLocks noChangeAspect="1"/>
            </p:cNvSpPr>
            <p:nvPr userDrawn="1"/>
          </p:nvSpPr>
          <p:spPr bwMode="gray">
            <a:xfrm rot="20552049">
              <a:off x="3513767" y="3773987"/>
              <a:ext cx="40293" cy="30484"/>
            </a:xfrm>
            <a:custGeom>
              <a:avLst/>
              <a:gdLst>
                <a:gd name="T0" fmla="*/ 0 w 642"/>
                <a:gd name="T1" fmla="*/ 0 h 260"/>
                <a:gd name="T2" fmla="*/ 0 w 642"/>
                <a:gd name="T3" fmla="*/ 0 h 260"/>
                <a:gd name="T4" fmla="*/ 0 w 642"/>
                <a:gd name="T5" fmla="*/ 0 h 260"/>
                <a:gd name="T6" fmla="*/ 0 w 642"/>
                <a:gd name="T7" fmla="*/ 0 h 260"/>
                <a:gd name="T8" fmla="*/ 0 w 642"/>
                <a:gd name="T9" fmla="*/ 0 h 260"/>
                <a:gd name="T10" fmla="*/ 0 w 642"/>
                <a:gd name="T11" fmla="*/ 0 h 260"/>
                <a:gd name="T12" fmla="*/ 0 w 642"/>
                <a:gd name="T13" fmla="*/ 0 h 260"/>
                <a:gd name="T14" fmla="*/ 0 w 642"/>
                <a:gd name="T15" fmla="*/ 0 h 260"/>
                <a:gd name="T16" fmla="*/ 0 w 642"/>
                <a:gd name="T17" fmla="*/ 0 h 260"/>
                <a:gd name="T18" fmla="*/ 0 w 642"/>
                <a:gd name="T19" fmla="*/ 0 h 260"/>
                <a:gd name="T20" fmla="*/ 0 w 642"/>
                <a:gd name="T21" fmla="*/ 0 h 260"/>
                <a:gd name="T22" fmla="*/ 0 w 642"/>
                <a:gd name="T23" fmla="*/ 0 h 260"/>
                <a:gd name="T24" fmla="*/ 0 w 642"/>
                <a:gd name="T25" fmla="*/ 0 h 260"/>
                <a:gd name="T26" fmla="*/ 0 w 642"/>
                <a:gd name="T27" fmla="*/ 0 h 260"/>
                <a:gd name="T28" fmla="*/ 0 w 642"/>
                <a:gd name="T29" fmla="*/ 0 h 260"/>
                <a:gd name="T30" fmla="*/ 0 w 642"/>
                <a:gd name="T31" fmla="*/ 0 h 260"/>
                <a:gd name="T32" fmla="*/ 0 w 642"/>
                <a:gd name="T33" fmla="*/ 0 h 260"/>
                <a:gd name="T34" fmla="*/ 0 w 642"/>
                <a:gd name="T35" fmla="*/ 0 h 260"/>
                <a:gd name="T36" fmla="*/ 0 w 642"/>
                <a:gd name="T37" fmla="*/ 0 h 260"/>
                <a:gd name="T38" fmla="*/ 0 w 642"/>
                <a:gd name="T39" fmla="*/ 0 h 260"/>
                <a:gd name="T40" fmla="*/ 0 w 642"/>
                <a:gd name="T41" fmla="*/ 0 h 260"/>
                <a:gd name="T42" fmla="*/ 0 w 642"/>
                <a:gd name="T43" fmla="*/ 0 h 26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42"/>
                <a:gd name="T67" fmla="*/ 0 h 260"/>
                <a:gd name="T68" fmla="*/ 642 w 642"/>
                <a:gd name="T69" fmla="*/ 260 h 26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1" name="Freeform 326">
              <a:extLst>
                <a:ext uri="{FF2B5EF4-FFF2-40B4-BE49-F238E27FC236}">
                  <a16:creationId xmlns:a16="http://schemas.microsoft.com/office/drawing/2014/main" id="{BCA9D672-FAB0-70BA-DB47-5F9FA0979C5E}"/>
                </a:ext>
              </a:extLst>
            </p:cNvPr>
            <p:cNvSpPr>
              <a:spLocks noChangeAspect="1"/>
            </p:cNvSpPr>
            <p:nvPr userDrawn="1"/>
          </p:nvSpPr>
          <p:spPr bwMode="gray">
            <a:xfrm rot="20552049">
              <a:off x="3622708" y="3670340"/>
              <a:ext cx="64171" cy="96025"/>
            </a:xfrm>
            <a:custGeom>
              <a:avLst/>
              <a:gdLst>
                <a:gd name="T0" fmla="*/ 0 w 1080"/>
                <a:gd name="T1" fmla="*/ 0 h 745"/>
                <a:gd name="T2" fmla="*/ 0 w 1080"/>
                <a:gd name="T3" fmla="*/ 0 h 745"/>
                <a:gd name="T4" fmla="*/ 0 w 1080"/>
                <a:gd name="T5" fmla="*/ 0 h 745"/>
                <a:gd name="T6" fmla="*/ 0 w 1080"/>
                <a:gd name="T7" fmla="*/ 0 h 745"/>
                <a:gd name="T8" fmla="*/ 0 w 1080"/>
                <a:gd name="T9" fmla="*/ 0 h 745"/>
                <a:gd name="T10" fmla="*/ 0 w 1080"/>
                <a:gd name="T11" fmla="*/ 0 h 745"/>
                <a:gd name="T12" fmla="*/ 0 w 1080"/>
                <a:gd name="T13" fmla="*/ 0 h 745"/>
                <a:gd name="T14" fmla="*/ 0 w 1080"/>
                <a:gd name="T15" fmla="*/ 0 h 745"/>
                <a:gd name="T16" fmla="*/ 0 w 1080"/>
                <a:gd name="T17" fmla="*/ 0 h 745"/>
                <a:gd name="T18" fmla="*/ 0 w 1080"/>
                <a:gd name="T19" fmla="*/ 0 h 745"/>
                <a:gd name="T20" fmla="*/ 0 w 1080"/>
                <a:gd name="T21" fmla="*/ 0 h 745"/>
                <a:gd name="T22" fmla="*/ 0 w 1080"/>
                <a:gd name="T23" fmla="*/ 0 h 745"/>
                <a:gd name="T24" fmla="*/ 0 w 1080"/>
                <a:gd name="T25" fmla="*/ 0 h 745"/>
                <a:gd name="T26" fmla="*/ 0 w 1080"/>
                <a:gd name="T27" fmla="*/ 0 h 745"/>
                <a:gd name="T28" fmla="*/ 0 w 1080"/>
                <a:gd name="T29" fmla="*/ 0 h 745"/>
                <a:gd name="T30" fmla="*/ 0 w 1080"/>
                <a:gd name="T31" fmla="*/ 0 h 745"/>
                <a:gd name="T32" fmla="*/ 0 w 1080"/>
                <a:gd name="T33" fmla="*/ 0 h 745"/>
                <a:gd name="T34" fmla="*/ 0 w 1080"/>
                <a:gd name="T35" fmla="*/ 0 h 745"/>
                <a:gd name="T36" fmla="*/ 0 w 1080"/>
                <a:gd name="T37" fmla="*/ 0 h 745"/>
                <a:gd name="T38" fmla="*/ 0 w 1080"/>
                <a:gd name="T39" fmla="*/ 0 h 745"/>
                <a:gd name="T40" fmla="*/ 0 w 1080"/>
                <a:gd name="T41" fmla="*/ 0 h 745"/>
                <a:gd name="T42" fmla="*/ 0 w 1080"/>
                <a:gd name="T43" fmla="*/ 0 h 745"/>
                <a:gd name="T44" fmla="*/ 0 w 1080"/>
                <a:gd name="T45" fmla="*/ 0 h 745"/>
                <a:gd name="T46" fmla="*/ 0 w 1080"/>
                <a:gd name="T47" fmla="*/ 0 h 745"/>
                <a:gd name="T48" fmla="*/ 0 w 1080"/>
                <a:gd name="T49" fmla="*/ 0 h 745"/>
                <a:gd name="T50" fmla="*/ 0 w 1080"/>
                <a:gd name="T51" fmla="*/ 0 h 745"/>
                <a:gd name="T52" fmla="*/ 0 w 1080"/>
                <a:gd name="T53" fmla="*/ 0 h 745"/>
                <a:gd name="T54" fmla="*/ 0 w 1080"/>
                <a:gd name="T55" fmla="*/ 0 h 745"/>
                <a:gd name="T56" fmla="*/ 0 w 1080"/>
                <a:gd name="T57" fmla="*/ 0 h 745"/>
                <a:gd name="T58" fmla="*/ 0 w 1080"/>
                <a:gd name="T59" fmla="*/ 0 h 745"/>
                <a:gd name="T60" fmla="*/ 0 w 1080"/>
                <a:gd name="T61" fmla="*/ 0 h 745"/>
                <a:gd name="T62" fmla="*/ 0 w 1080"/>
                <a:gd name="T63" fmla="*/ 0 h 745"/>
                <a:gd name="T64" fmla="*/ 0 w 1080"/>
                <a:gd name="T65" fmla="*/ 0 h 745"/>
                <a:gd name="T66" fmla="*/ 0 w 1080"/>
                <a:gd name="T67" fmla="*/ 0 h 7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80"/>
                <a:gd name="T103" fmla="*/ 0 h 745"/>
                <a:gd name="T104" fmla="*/ 1080 w 1080"/>
                <a:gd name="T105" fmla="*/ 745 h 74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2" name="Freeform 327">
              <a:extLst>
                <a:ext uri="{FF2B5EF4-FFF2-40B4-BE49-F238E27FC236}">
                  <a16:creationId xmlns:a16="http://schemas.microsoft.com/office/drawing/2014/main" id="{CB6F4A21-43CD-1705-CEC9-4561221E8C7B}"/>
                </a:ext>
              </a:extLst>
            </p:cNvPr>
            <p:cNvSpPr>
              <a:spLocks noChangeAspect="1"/>
            </p:cNvSpPr>
            <p:nvPr userDrawn="1"/>
          </p:nvSpPr>
          <p:spPr bwMode="gray">
            <a:xfrm rot="20552049">
              <a:off x="3815220" y="3726736"/>
              <a:ext cx="2985" cy="4573"/>
            </a:xfrm>
            <a:custGeom>
              <a:avLst/>
              <a:gdLst>
                <a:gd name="T0" fmla="*/ 0 w 56"/>
                <a:gd name="T1" fmla="*/ 0 h 53"/>
                <a:gd name="T2" fmla="*/ 0 w 56"/>
                <a:gd name="T3" fmla="*/ 0 h 53"/>
                <a:gd name="T4" fmla="*/ 0 w 56"/>
                <a:gd name="T5" fmla="*/ 0 h 53"/>
                <a:gd name="T6" fmla="*/ 0 w 56"/>
                <a:gd name="T7" fmla="*/ 0 h 53"/>
                <a:gd name="T8" fmla="*/ 0 w 56"/>
                <a:gd name="T9" fmla="*/ 0 h 53"/>
                <a:gd name="T10" fmla="*/ 0 w 56"/>
                <a:gd name="T11" fmla="*/ 0 h 53"/>
                <a:gd name="T12" fmla="*/ 0 w 56"/>
                <a:gd name="T13" fmla="*/ 0 h 53"/>
                <a:gd name="T14" fmla="*/ 0 w 56"/>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3"/>
                <a:gd name="T26" fmla="*/ 56 w 56"/>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3">
                  <a:moveTo>
                    <a:pt x="18" y="0"/>
                  </a:moveTo>
                  <a:lnTo>
                    <a:pt x="11" y="4"/>
                  </a:lnTo>
                  <a:lnTo>
                    <a:pt x="0" y="28"/>
                  </a:lnTo>
                  <a:lnTo>
                    <a:pt x="4" y="48"/>
                  </a:lnTo>
                  <a:lnTo>
                    <a:pt x="24" y="53"/>
                  </a:lnTo>
                  <a:lnTo>
                    <a:pt x="52" y="34"/>
                  </a:lnTo>
                  <a:lnTo>
                    <a:pt x="56" y="22"/>
                  </a:lnTo>
                  <a:lnTo>
                    <a:pt x="1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3" name="Freeform 328">
              <a:extLst>
                <a:ext uri="{FF2B5EF4-FFF2-40B4-BE49-F238E27FC236}">
                  <a16:creationId xmlns:a16="http://schemas.microsoft.com/office/drawing/2014/main" id="{780A9D84-2B67-CC59-F846-B51551451968}"/>
                </a:ext>
              </a:extLst>
            </p:cNvPr>
            <p:cNvSpPr>
              <a:spLocks noChangeAspect="1"/>
            </p:cNvSpPr>
            <p:nvPr userDrawn="1"/>
          </p:nvSpPr>
          <p:spPr bwMode="gray">
            <a:xfrm rot="20552049">
              <a:off x="3854021" y="3804471"/>
              <a:ext cx="4477" cy="21339"/>
            </a:xfrm>
            <a:custGeom>
              <a:avLst/>
              <a:gdLst>
                <a:gd name="T0" fmla="*/ 0 w 111"/>
                <a:gd name="T1" fmla="*/ 0 h 152"/>
                <a:gd name="T2" fmla="*/ 0 w 111"/>
                <a:gd name="T3" fmla="*/ 0 h 152"/>
                <a:gd name="T4" fmla="*/ 0 w 111"/>
                <a:gd name="T5" fmla="*/ 0 h 152"/>
                <a:gd name="T6" fmla="*/ 0 w 111"/>
                <a:gd name="T7" fmla="*/ 0 h 152"/>
                <a:gd name="T8" fmla="*/ 0 w 111"/>
                <a:gd name="T9" fmla="*/ 0 h 152"/>
                <a:gd name="T10" fmla="*/ 0 w 111"/>
                <a:gd name="T11" fmla="*/ 0 h 152"/>
                <a:gd name="T12" fmla="*/ 0 w 111"/>
                <a:gd name="T13" fmla="*/ 0 h 152"/>
                <a:gd name="T14" fmla="*/ 0 w 111"/>
                <a:gd name="T15" fmla="*/ 0 h 152"/>
                <a:gd name="T16" fmla="*/ 0 w 111"/>
                <a:gd name="T17" fmla="*/ 0 h 152"/>
                <a:gd name="T18" fmla="*/ 0 w 111"/>
                <a:gd name="T19" fmla="*/ 0 h 1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152"/>
                <a:gd name="T32" fmla="*/ 111 w 111"/>
                <a:gd name="T33" fmla="*/ 152 h 1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4" name="Freeform 329">
              <a:extLst>
                <a:ext uri="{FF2B5EF4-FFF2-40B4-BE49-F238E27FC236}">
                  <a16:creationId xmlns:a16="http://schemas.microsoft.com/office/drawing/2014/main" id="{E067F7CC-7529-0811-7FD4-761452FD242A}"/>
                </a:ext>
              </a:extLst>
            </p:cNvPr>
            <p:cNvSpPr>
              <a:spLocks noChangeAspect="1"/>
            </p:cNvSpPr>
            <p:nvPr userDrawn="1"/>
          </p:nvSpPr>
          <p:spPr bwMode="gray">
            <a:xfrm rot="20552049">
              <a:off x="3892822" y="3941651"/>
              <a:ext cx="4477" cy="9145"/>
            </a:xfrm>
            <a:custGeom>
              <a:avLst/>
              <a:gdLst>
                <a:gd name="T0" fmla="*/ 0 w 86"/>
                <a:gd name="T1" fmla="*/ 0 h 63"/>
                <a:gd name="T2" fmla="*/ 0 w 86"/>
                <a:gd name="T3" fmla="*/ 0 h 63"/>
                <a:gd name="T4" fmla="*/ 0 w 86"/>
                <a:gd name="T5" fmla="*/ 0 h 63"/>
                <a:gd name="T6" fmla="*/ 0 w 86"/>
                <a:gd name="T7" fmla="*/ 0 h 63"/>
                <a:gd name="T8" fmla="*/ 0 w 86"/>
                <a:gd name="T9" fmla="*/ 0 h 63"/>
                <a:gd name="T10" fmla="*/ 0 w 86"/>
                <a:gd name="T11" fmla="*/ 0 h 63"/>
                <a:gd name="T12" fmla="*/ 0 60000 65536"/>
                <a:gd name="T13" fmla="*/ 0 60000 65536"/>
                <a:gd name="T14" fmla="*/ 0 60000 65536"/>
                <a:gd name="T15" fmla="*/ 0 60000 65536"/>
                <a:gd name="T16" fmla="*/ 0 60000 65536"/>
                <a:gd name="T17" fmla="*/ 0 60000 65536"/>
                <a:gd name="T18" fmla="*/ 0 w 86"/>
                <a:gd name="T19" fmla="*/ 0 h 63"/>
                <a:gd name="T20" fmla="*/ 86 w 86"/>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86" h="63">
                  <a:moveTo>
                    <a:pt x="86" y="0"/>
                  </a:moveTo>
                  <a:lnTo>
                    <a:pt x="51" y="11"/>
                  </a:lnTo>
                  <a:lnTo>
                    <a:pt x="0" y="52"/>
                  </a:lnTo>
                  <a:lnTo>
                    <a:pt x="14" y="63"/>
                  </a:lnTo>
                  <a:lnTo>
                    <a:pt x="62" y="31"/>
                  </a:lnTo>
                  <a:lnTo>
                    <a:pt x="8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5" name="Freeform 330">
              <a:extLst>
                <a:ext uri="{FF2B5EF4-FFF2-40B4-BE49-F238E27FC236}">
                  <a16:creationId xmlns:a16="http://schemas.microsoft.com/office/drawing/2014/main" id="{1E23573D-1B1C-88DD-4057-FE55DB9D816D}"/>
                </a:ext>
              </a:extLst>
            </p:cNvPr>
            <p:cNvSpPr>
              <a:spLocks noChangeAspect="1"/>
            </p:cNvSpPr>
            <p:nvPr userDrawn="1"/>
          </p:nvSpPr>
          <p:spPr bwMode="gray">
            <a:xfrm rot="20552049">
              <a:off x="3882375" y="3969087"/>
              <a:ext cx="14923" cy="28959"/>
            </a:xfrm>
            <a:custGeom>
              <a:avLst/>
              <a:gdLst>
                <a:gd name="T0" fmla="*/ 0 w 287"/>
                <a:gd name="T1" fmla="*/ 0 h 245"/>
                <a:gd name="T2" fmla="*/ 0 w 287"/>
                <a:gd name="T3" fmla="*/ 0 h 245"/>
                <a:gd name="T4" fmla="*/ 0 w 287"/>
                <a:gd name="T5" fmla="*/ 0 h 245"/>
                <a:gd name="T6" fmla="*/ 0 w 287"/>
                <a:gd name="T7" fmla="*/ 0 h 245"/>
                <a:gd name="T8" fmla="*/ 0 w 287"/>
                <a:gd name="T9" fmla="*/ 0 h 245"/>
                <a:gd name="T10" fmla="*/ 0 w 287"/>
                <a:gd name="T11" fmla="*/ 0 h 245"/>
                <a:gd name="T12" fmla="*/ 0 w 287"/>
                <a:gd name="T13" fmla="*/ 0 h 245"/>
                <a:gd name="T14" fmla="*/ 0 w 287"/>
                <a:gd name="T15" fmla="*/ 0 h 245"/>
                <a:gd name="T16" fmla="*/ 0 w 287"/>
                <a:gd name="T17" fmla="*/ 0 h 245"/>
                <a:gd name="T18" fmla="*/ 0 w 287"/>
                <a:gd name="T19" fmla="*/ 0 h 245"/>
                <a:gd name="T20" fmla="*/ 0 w 287"/>
                <a:gd name="T21" fmla="*/ 0 h 245"/>
                <a:gd name="T22" fmla="*/ 0 w 287"/>
                <a:gd name="T23" fmla="*/ 0 h 245"/>
                <a:gd name="T24" fmla="*/ 0 w 287"/>
                <a:gd name="T25" fmla="*/ 0 h 245"/>
                <a:gd name="T26" fmla="*/ 0 w 287"/>
                <a:gd name="T27" fmla="*/ 0 h 245"/>
                <a:gd name="T28" fmla="*/ 0 w 287"/>
                <a:gd name="T29" fmla="*/ 0 h 245"/>
                <a:gd name="T30" fmla="*/ 0 w 287"/>
                <a:gd name="T31" fmla="*/ 0 h 245"/>
                <a:gd name="T32" fmla="*/ 0 w 287"/>
                <a:gd name="T33" fmla="*/ 0 h 245"/>
                <a:gd name="T34" fmla="*/ 0 w 287"/>
                <a:gd name="T35" fmla="*/ 0 h 245"/>
                <a:gd name="T36" fmla="*/ 0 w 287"/>
                <a:gd name="T37" fmla="*/ 0 h 245"/>
                <a:gd name="T38" fmla="*/ 0 w 287"/>
                <a:gd name="T39" fmla="*/ 0 h 245"/>
                <a:gd name="T40" fmla="*/ 0 w 287"/>
                <a:gd name="T41" fmla="*/ 0 h 245"/>
                <a:gd name="T42" fmla="*/ 0 w 287"/>
                <a:gd name="T43" fmla="*/ 0 h 245"/>
                <a:gd name="T44" fmla="*/ 0 w 287"/>
                <a:gd name="T45" fmla="*/ 0 h 2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7"/>
                <a:gd name="T70" fmla="*/ 0 h 245"/>
                <a:gd name="T71" fmla="*/ 287 w 287"/>
                <a:gd name="T72" fmla="*/ 245 h 2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6" name="Freeform 331">
              <a:extLst>
                <a:ext uri="{FF2B5EF4-FFF2-40B4-BE49-F238E27FC236}">
                  <a16:creationId xmlns:a16="http://schemas.microsoft.com/office/drawing/2014/main" id="{220115D5-4462-1FDE-BA8C-94B6F427EBD9}"/>
                </a:ext>
              </a:extLst>
            </p:cNvPr>
            <p:cNvSpPr>
              <a:spLocks noChangeAspect="1"/>
            </p:cNvSpPr>
            <p:nvPr userDrawn="1"/>
          </p:nvSpPr>
          <p:spPr bwMode="gray">
            <a:xfrm rot="20552049">
              <a:off x="3591369" y="3682535"/>
              <a:ext cx="2985" cy="6097"/>
            </a:xfrm>
            <a:custGeom>
              <a:avLst/>
              <a:gdLst>
                <a:gd name="T0" fmla="*/ 0 w 68"/>
                <a:gd name="T1" fmla="*/ 0 h 42"/>
                <a:gd name="T2" fmla="*/ 0 w 68"/>
                <a:gd name="T3" fmla="*/ 0 h 42"/>
                <a:gd name="T4" fmla="*/ 0 w 68"/>
                <a:gd name="T5" fmla="*/ 0 h 42"/>
                <a:gd name="T6" fmla="*/ 0 w 68"/>
                <a:gd name="T7" fmla="*/ 0 h 42"/>
                <a:gd name="T8" fmla="*/ 0 w 68"/>
                <a:gd name="T9" fmla="*/ 0 h 42"/>
                <a:gd name="T10" fmla="*/ 0 w 68"/>
                <a:gd name="T11" fmla="*/ 0 h 42"/>
                <a:gd name="T12" fmla="*/ 0 w 68"/>
                <a:gd name="T13" fmla="*/ 0 h 42"/>
                <a:gd name="T14" fmla="*/ 0 w 68"/>
                <a:gd name="T15" fmla="*/ 0 h 42"/>
                <a:gd name="T16" fmla="*/ 0 w 68"/>
                <a:gd name="T17" fmla="*/ 0 h 42"/>
                <a:gd name="T18" fmla="*/ 0 w 68"/>
                <a:gd name="T19" fmla="*/ 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42"/>
                <a:gd name="T32" fmla="*/ 68 w 68"/>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7" name="Freeform 333">
              <a:extLst>
                <a:ext uri="{FF2B5EF4-FFF2-40B4-BE49-F238E27FC236}">
                  <a16:creationId xmlns:a16="http://schemas.microsoft.com/office/drawing/2014/main" id="{3CEE21F2-729C-1CE5-4377-FB07E7882207}"/>
                </a:ext>
              </a:extLst>
            </p:cNvPr>
            <p:cNvSpPr>
              <a:spLocks noChangeAspect="1"/>
            </p:cNvSpPr>
            <p:nvPr userDrawn="1"/>
          </p:nvSpPr>
          <p:spPr bwMode="gray">
            <a:xfrm rot="20552049">
              <a:off x="3597338" y="3725212"/>
              <a:ext cx="7461" cy="12193"/>
            </a:xfrm>
            <a:custGeom>
              <a:avLst/>
              <a:gdLst>
                <a:gd name="T0" fmla="*/ 0 w 147"/>
                <a:gd name="T1" fmla="*/ 0 h 83"/>
                <a:gd name="T2" fmla="*/ 0 w 147"/>
                <a:gd name="T3" fmla="*/ 0 h 83"/>
                <a:gd name="T4" fmla="*/ 0 w 147"/>
                <a:gd name="T5" fmla="*/ 0 h 83"/>
                <a:gd name="T6" fmla="*/ 0 w 147"/>
                <a:gd name="T7" fmla="*/ 0 h 83"/>
                <a:gd name="T8" fmla="*/ 0 w 147"/>
                <a:gd name="T9" fmla="*/ 0 h 83"/>
                <a:gd name="T10" fmla="*/ 0 w 147"/>
                <a:gd name="T11" fmla="*/ 0 h 83"/>
                <a:gd name="T12" fmla="*/ 0 w 147"/>
                <a:gd name="T13" fmla="*/ 0 h 83"/>
                <a:gd name="T14" fmla="*/ 0 w 147"/>
                <a:gd name="T15" fmla="*/ 0 h 83"/>
                <a:gd name="T16" fmla="*/ 0 60000 65536"/>
                <a:gd name="T17" fmla="*/ 0 60000 65536"/>
                <a:gd name="T18" fmla="*/ 0 60000 65536"/>
                <a:gd name="T19" fmla="*/ 0 60000 65536"/>
                <a:gd name="T20" fmla="*/ 0 60000 65536"/>
                <a:gd name="T21" fmla="*/ 0 60000 65536"/>
                <a:gd name="T22" fmla="*/ 0 60000 65536"/>
                <a:gd name="T23" fmla="*/ 0 60000 65536"/>
                <a:gd name="T24" fmla="*/ 0 w 147"/>
                <a:gd name="T25" fmla="*/ 0 h 83"/>
                <a:gd name="T26" fmla="*/ 147 w 147"/>
                <a:gd name="T27" fmla="*/ 83 h 8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7" h="83">
                  <a:moveTo>
                    <a:pt x="89" y="8"/>
                  </a:moveTo>
                  <a:lnTo>
                    <a:pt x="138" y="32"/>
                  </a:lnTo>
                  <a:lnTo>
                    <a:pt x="147" y="83"/>
                  </a:lnTo>
                  <a:lnTo>
                    <a:pt x="105" y="62"/>
                  </a:lnTo>
                  <a:lnTo>
                    <a:pt x="29" y="56"/>
                  </a:lnTo>
                  <a:lnTo>
                    <a:pt x="0" y="14"/>
                  </a:lnTo>
                  <a:lnTo>
                    <a:pt x="32" y="0"/>
                  </a:lnTo>
                  <a:lnTo>
                    <a:pt x="89"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8" name="Freeform 334">
              <a:extLst>
                <a:ext uri="{FF2B5EF4-FFF2-40B4-BE49-F238E27FC236}">
                  <a16:creationId xmlns:a16="http://schemas.microsoft.com/office/drawing/2014/main" id="{D40F0379-3C97-D761-9727-E33E48BD3B2E}"/>
                </a:ext>
              </a:extLst>
            </p:cNvPr>
            <p:cNvSpPr>
              <a:spLocks noChangeAspect="1"/>
            </p:cNvSpPr>
            <p:nvPr userDrawn="1"/>
          </p:nvSpPr>
          <p:spPr bwMode="gray">
            <a:xfrm rot="20552049">
              <a:off x="3577937" y="3688631"/>
              <a:ext cx="47755" cy="79259"/>
            </a:xfrm>
            <a:custGeom>
              <a:avLst/>
              <a:gdLst>
                <a:gd name="T0" fmla="*/ 0 w 877"/>
                <a:gd name="T1" fmla="*/ 0 h 627"/>
                <a:gd name="T2" fmla="*/ 0 w 877"/>
                <a:gd name="T3" fmla="*/ 0 h 627"/>
                <a:gd name="T4" fmla="*/ 0 w 877"/>
                <a:gd name="T5" fmla="*/ 0 h 627"/>
                <a:gd name="T6" fmla="*/ 0 w 877"/>
                <a:gd name="T7" fmla="*/ 0 h 627"/>
                <a:gd name="T8" fmla="*/ 0 w 877"/>
                <a:gd name="T9" fmla="*/ 0 h 627"/>
                <a:gd name="T10" fmla="*/ 0 w 877"/>
                <a:gd name="T11" fmla="*/ 0 h 627"/>
                <a:gd name="T12" fmla="*/ 0 w 877"/>
                <a:gd name="T13" fmla="*/ 0 h 627"/>
                <a:gd name="T14" fmla="*/ 0 w 877"/>
                <a:gd name="T15" fmla="*/ 0 h 627"/>
                <a:gd name="T16" fmla="*/ 0 w 877"/>
                <a:gd name="T17" fmla="*/ 0 h 627"/>
                <a:gd name="T18" fmla="*/ 0 w 877"/>
                <a:gd name="T19" fmla="*/ 0 h 627"/>
                <a:gd name="T20" fmla="*/ 0 w 877"/>
                <a:gd name="T21" fmla="*/ 0 h 627"/>
                <a:gd name="T22" fmla="*/ 0 w 877"/>
                <a:gd name="T23" fmla="*/ 0 h 627"/>
                <a:gd name="T24" fmla="*/ 0 w 877"/>
                <a:gd name="T25" fmla="*/ 0 h 627"/>
                <a:gd name="T26" fmla="*/ 0 w 877"/>
                <a:gd name="T27" fmla="*/ 0 h 627"/>
                <a:gd name="T28" fmla="*/ 0 w 877"/>
                <a:gd name="T29" fmla="*/ 0 h 627"/>
                <a:gd name="T30" fmla="*/ 0 w 877"/>
                <a:gd name="T31" fmla="*/ 0 h 627"/>
                <a:gd name="T32" fmla="*/ 0 w 877"/>
                <a:gd name="T33" fmla="*/ 0 h 627"/>
                <a:gd name="T34" fmla="*/ 0 w 877"/>
                <a:gd name="T35" fmla="*/ 0 h 627"/>
                <a:gd name="T36" fmla="*/ 0 w 877"/>
                <a:gd name="T37" fmla="*/ 0 h 627"/>
                <a:gd name="T38" fmla="*/ 0 w 877"/>
                <a:gd name="T39" fmla="*/ 0 h 627"/>
                <a:gd name="T40" fmla="*/ 0 w 877"/>
                <a:gd name="T41" fmla="*/ 0 h 627"/>
                <a:gd name="T42" fmla="*/ 0 w 877"/>
                <a:gd name="T43" fmla="*/ 0 h 627"/>
                <a:gd name="T44" fmla="*/ 0 w 877"/>
                <a:gd name="T45" fmla="*/ 0 h 627"/>
                <a:gd name="T46" fmla="*/ 0 w 877"/>
                <a:gd name="T47" fmla="*/ 0 h 627"/>
                <a:gd name="T48" fmla="*/ 0 w 877"/>
                <a:gd name="T49" fmla="*/ 0 h 627"/>
                <a:gd name="T50" fmla="*/ 0 w 877"/>
                <a:gd name="T51" fmla="*/ 0 h 627"/>
                <a:gd name="T52" fmla="*/ 0 w 877"/>
                <a:gd name="T53" fmla="*/ 0 h 627"/>
                <a:gd name="T54" fmla="*/ 0 w 877"/>
                <a:gd name="T55" fmla="*/ 0 h 627"/>
                <a:gd name="T56" fmla="*/ 0 w 877"/>
                <a:gd name="T57" fmla="*/ 0 h 627"/>
                <a:gd name="T58" fmla="*/ 0 w 877"/>
                <a:gd name="T59" fmla="*/ 0 h 627"/>
                <a:gd name="T60" fmla="*/ 0 w 877"/>
                <a:gd name="T61" fmla="*/ 0 h 627"/>
                <a:gd name="T62" fmla="*/ 0 w 877"/>
                <a:gd name="T63" fmla="*/ 0 h 627"/>
                <a:gd name="T64" fmla="*/ 0 w 877"/>
                <a:gd name="T65" fmla="*/ 0 h 627"/>
                <a:gd name="T66" fmla="*/ 0 w 877"/>
                <a:gd name="T67" fmla="*/ 0 h 627"/>
                <a:gd name="T68" fmla="*/ 0 w 877"/>
                <a:gd name="T69" fmla="*/ 0 h 627"/>
                <a:gd name="T70" fmla="*/ 0 w 877"/>
                <a:gd name="T71" fmla="*/ 0 h 627"/>
                <a:gd name="T72" fmla="*/ 0 w 877"/>
                <a:gd name="T73" fmla="*/ 0 h 627"/>
                <a:gd name="T74" fmla="*/ 0 w 877"/>
                <a:gd name="T75" fmla="*/ 0 h 627"/>
                <a:gd name="T76" fmla="*/ 0 w 877"/>
                <a:gd name="T77" fmla="*/ 0 h 627"/>
                <a:gd name="T78" fmla="*/ 0 w 877"/>
                <a:gd name="T79" fmla="*/ 0 h 627"/>
                <a:gd name="T80" fmla="*/ 0 w 877"/>
                <a:gd name="T81" fmla="*/ 0 h 627"/>
                <a:gd name="T82" fmla="*/ 0 w 877"/>
                <a:gd name="T83" fmla="*/ 0 h 627"/>
                <a:gd name="T84" fmla="*/ 0 w 877"/>
                <a:gd name="T85" fmla="*/ 0 h 627"/>
                <a:gd name="T86" fmla="*/ 0 w 877"/>
                <a:gd name="T87" fmla="*/ 0 h 627"/>
                <a:gd name="T88" fmla="*/ 0 w 877"/>
                <a:gd name="T89" fmla="*/ 0 h 627"/>
                <a:gd name="T90" fmla="*/ 0 w 877"/>
                <a:gd name="T91" fmla="*/ 0 h 627"/>
                <a:gd name="T92" fmla="*/ 0 w 877"/>
                <a:gd name="T93" fmla="*/ 0 h 627"/>
                <a:gd name="T94" fmla="*/ 0 w 877"/>
                <a:gd name="T95" fmla="*/ 0 h 627"/>
                <a:gd name="T96" fmla="*/ 0 w 877"/>
                <a:gd name="T97" fmla="*/ 0 h 627"/>
                <a:gd name="T98" fmla="*/ 0 w 877"/>
                <a:gd name="T99" fmla="*/ 0 h 627"/>
                <a:gd name="T100" fmla="*/ 0 w 877"/>
                <a:gd name="T101" fmla="*/ 0 h 627"/>
                <a:gd name="T102" fmla="*/ 0 w 877"/>
                <a:gd name="T103" fmla="*/ 0 h 627"/>
                <a:gd name="T104" fmla="*/ 0 w 877"/>
                <a:gd name="T105" fmla="*/ 0 h 627"/>
                <a:gd name="T106" fmla="*/ 0 w 877"/>
                <a:gd name="T107" fmla="*/ 0 h 627"/>
                <a:gd name="T108" fmla="*/ 0 w 877"/>
                <a:gd name="T109" fmla="*/ 0 h 627"/>
                <a:gd name="T110" fmla="*/ 0 w 877"/>
                <a:gd name="T111" fmla="*/ 0 h 627"/>
                <a:gd name="T112" fmla="*/ 0 w 877"/>
                <a:gd name="T113" fmla="*/ 0 h 627"/>
                <a:gd name="T114" fmla="*/ 0 w 877"/>
                <a:gd name="T115" fmla="*/ 0 h 627"/>
                <a:gd name="T116" fmla="*/ 0 w 877"/>
                <a:gd name="T117" fmla="*/ 0 h 627"/>
                <a:gd name="T118" fmla="*/ 0 w 877"/>
                <a:gd name="T119" fmla="*/ 0 h 627"/>
                <a:gd name="T120" fmla="*/ 0 w 877"/>
                <a:gd name="T121" fmla="*/ 0 h 627"/>
                <a:gd name="T122" fmla="*/ 0 w 877"/>
                <a:gd name="T123" fmla="*/ 0 h 627"/>
                <a:gd name="T124" fmla="*/ 0 w 877"/>
                <a:gd name="T125" fmla="*/ 0 h 62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77"/>
                <a:gd name="T190" fmla="*/ 0 h 627"/>
                <a:gd name="T191" fmla="*/ 877 w 877"/>
                <a:gd name="T192" fmla="*/ 627 h 62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09" name="Freeform 335">
              <a:extLst>
                <a:ext uri="{FF2B5EF4-FFF2-40B4-BE49-F238E27FC236}">
                  <a16:creationId xmlns:a16="http://schemas.microsoft.com/office/drawing/2014/main" id="{D418DC0E-EFEE-725E-182F-D51817746A62}"/>
                </a:ext>
              </a:extLst>
            </p:cNvPr>
            <p:cNvSpPr>
              <a:spLocks noChangeAspect="1"/>
            </p:cNvSpPr>
            <p:nvPr userDrawn="1"/>
          </p:nvSpPr>
          <p:spPr bwMode="gray">
            <a:xfrm rot="20552049">
              <a:off x="3709264" y="3705397"/>
              <a:ext cx="25370" cy="21339"/>
            </a:xfrm>
            <a:custGeom>
              <a:avLst/>
              <a:gdLst>
                <a:gd name="T0" fmla="*/ 0 w 471"/>
                <a:gd name="T1" fmla="*/ 0 h 180"/>
                <a:gd name="T2" fmla="*/ 0 w 471"/>
                <a:gd name="T3" fmla="*/ 0 h 180"/>
                <a:gd name="T4" fmla="*/ 0 w 471"/>
                <a:gd name="T5" fmla="*/ 0 h 180"/>
                <a:gd name="T6" fmla="*/ 0 w 471"/>
                <a:gd name="T7" fmla="*/ 0 h 180"/>
                <a:gd name="T8" fmla="*/ 0 w 471"/>
                <a:gd name="T9" fmla="*/ 0 h 180"/>
                <a:gd name="T10" fmla="*/ 0 w 471"/>
                <a:gd name="T11" fmla="*/ 0 h 180"/>
                <a:gd name="T12" fmla="*/ 0 w 471"/>
                <a:gd name="T13" fmla="*/ 0 h 180"/>
                <a:gd name="T14" fmla="*/ 0 w 471"/>
                <a:gd name="T15" fmla="*/ 0 h 180"/>
                <a:gd name="T16" fmla="*/ 0 w 471"/>
                <a:gd name="T17" fmla="*/ 0 h 180"/>
                <a:gd name="T18" fmla="*/ 0 w 471"/>
                <a:gd name="T19" fmla="*/ 0 h 180"/>
                <a:gd name="T20" fmla="*/ 0 w 471"/>
                <a:gd name="T21" fmla="*/ 0 h 180"/>
                <a:gd name="T22" fmla="*/ 0 w 471"/>
                <a:gd name="T23" fmla="*/ 0 h 180"/>
                <a:gd name="T24" fmla="*/ 0 w 471"/>
                <a:gd name="T25" fmla="*/ 0 h 180"/>
                <a:gd name="T26" fmla="*/ 0 w 471"/>
                <a:gd name="T27" fmla="*/ 0 h 180"/>
                <a:gd name="T28" fmla="*/ 0 w 471"/>
                <a:gd name="T29" fmla="*/ 0 h 180"/>
                <a:gd name="T30" fmla="*/ 0 w 471"/>
                <a:gd name="T31" fmla="*/ 0 h 180"/>
                <a:gd name="T32" fmla="*/ 0 w 471"/>
                <a:gd name="T33" fmla="*/ 0 h 180"/>
                <a:gd name="T34" fmla="*/ 0 w 471"/>
                <a:gd name="T35" fmla="*/ 0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1"/>
                <a:gd name="T55" fmla="*/ 0 h 180"/>
                <a:gd name="T56" fmla="*/ 471 w 471"/>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0" name="Freeform 336">
              <a:extLst>
                <a:ext uri="{FF2B5EF4-FFF2-40B4-BE49-F238E27FC236}">
                  <a16:creationId xmlns:a16="http://schemas.microsoft.com/office/drawing/2014/main" id="{71752832-FDC6-3B92-11BD-AD5252BD6094}"/>
                </a:ext>
              </a:extLst>
            </p:cNvPr>
            <p:cNvSpPr>
              <a:spLocks noChangeAspect="1"/>
            </p:cNvSpPr>
            <p:nvPr userDrawn="1"/>
          </p:nvSpPr>
          <p:spPr bwMode="gray">
            <a:xfrm rot="20552049">
              <a:off x="3871929" y="3870012"/>
              <a:ext cx="0" cy="7622"/>
            </a:xfrm>
            <a:custGeom>
              <a:avLst/>
              <a:gdLst>
                <a:gd name="T0" fmla="*/ 0 w 14"/>
                <a:gd name="T1" fmla="*/ 0 h 76"/>
                <a:gd name="T2" fmla="*/ 0 w 14"/>
                <a:gd name="T3" fmla="*/ 0 h 76"/>
                <a:gd name="T4" fmla="*/ 0 w 14"/>
                <a:gd name="T5" fmla="*/ 0 h 76"/>
                <a:gd name="T6" fmla="*/ 0 w 14"/>
                <a:gd name="T7" fmla="*/ 0 h 76"/>
                <a:gd name="T8" fmla="*/ 0 w 14"/>
                <a:gd name="T9" fmla="*/ 0 h 76"/>
                <a:gd name="T10" fmla="*/ 0 60000 65536"/>
                <a:gd name="T11" fmla="*/ 0 60000 65536"/>
                <a:gd name="T12" fmla="*/ 0 60000 65536"/>
                <a:gd name="T13" fmla="*/ 0 60000 65536"/>
                <a:gd name="T14" fmla="*/ 0 60000 65536"/>
                <a:gd name="T15" fmla="*/ 0 w 14"/>
                <a:gd name="T16" fmla="*/ 0 h 76"/>
                <a:gd name="T17" fmla="*/ 0 w 14"/>
                <a:gd name="T18" fmla="*/ 76 h 76"/>
              </a:gdLst>
              <a:ahLst/>
              <a:cxnLst>
                <a:cxn ang="T10">
                  <a:pos x="T0" y="T1"/>
                </a:cxn>
                <a:cxn ang="T11">
                  <a:pos x="T2" y="T3"/>
                </a:cxn>
                <a:cxn ang="T12">
                  <a:pos x="T4" y="T5"/>
                </a:cxn>
                <a:cxn ang="T13">
                  <a:pos x="T6" y="T7"/>
                </a:cxn>
                <a:cxn ang="T14">
                  <a:pos x="T8" y="T9"/>
                </a:cxn>
              </a:cxnLst>
              <a:rect l="T15" t="T16" r="T17" b="T18"/>
              <a:pathLst>
                <a:path w="14" h="76">
                  <a:moveTo>
                    <a:pt x="14" y="0"/>
                  </a:moveTo>
                  <a:lnTo>
                    <a:pt x="0" y="7"/>
                  </a:lnTo>
                  <a:lnTo>
                    <a:pt x="0" y="76"/>
                  </a:lnTo>
                  <a:lnTo>
                    <a:pt x="14" y="59"/>
                  </a:lnTo>
                  <a:lnTo>
                    <a:pt x="14"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1" name="Freeform 337">
              <a:extLst>
                <a:ext uri="{FF2B5EF4-FFF2-40B4-BE49-F238E27FC236}">
                  <a16:creationId xmlns:a16="http://schemas.microsoft.com/office/drawing/2014/main" id="{7DB25277-FA6B-BDBF-2FF3-EECB0EE83A39}"/>
                </a:ext>
              </a:extLst>
            </p:cNvPr>
            <p:cNvSpPr>
              <a:spLocks noChangeAspect="1"/>
            </p:cNvSpPr>
            <p:nvPr userDrawn="1"/>
          </p:nvSpPr>
          <p:spPr bwMode="gray">
            <a:xfrm rot="20552049">
              <a:off x="3825666" y="3749600"/>
              <a:ext cx="8954" cy="19815"/>
            </a:xfrm>
            <a:custGeom>
              <a:avLst/>
              <a:gdLst>
                <a:gd name="T0" fmla="*/ 0 w 173"/>
                <a:gd name="T1" fmla="*/ 0 h 163"/>
                <a:gd name="T2" fmla="*/ 0 w 173"/>
                <a:gd name="T3" fmla="*/ 0 h 163"/>
                <a:gd name="T4" fmla="*/ 0 w 173"/>
                <a:gd name="T5" fmla="*/ 0 h 163"/>
                <a:gd name="T6" fmla="*/ 0 w 173"/>
                <a:gd name="T7" fmla="*/ 0 h 163"/>
                <a:gd name="T8" fmla="*/ 0 w 173"/>
                <a:gd name="T9" fmla="*/ 0 h 163"/>
                <a:gd name="T10" fmla="*/ 0 w 173"/>
                <a:gd name="T11" fmla="*/ 0 h 163"/>
                <a:gd name="T12" fmla="*/ 0 w 173"/>
                <a:gd name="T13" fmla="*/ 0 h 163"/>
                <a:gd name="T14" fmla="*/ 0 w 173"/>
                <a:gd name="T15" fmla="*/ 0 h 163"/>
                <a:gd name="T16" fmla="*/ 0 w 173"/>
                <a:gd name="T17" fmla="*/ 0 h 163"/>
                <a:gd name="T18" fmla="*/ 0 w 173"/>
                <a:gd name="T19" fmla="*/ 0 h 163"/>
                <a:gd name="T20" fmla="*/ 0 w 173"/>
                <a:gd name="T21" fmla="*/ 0 h 163"/>
                <a:gd name="T22" fmla="*/ 0 w 173"/>
                <a:gd name="T23" fmla="*/ 0 h 163"/>
                <a:gd name="T24" fmla="*/ 0 w 173"/>
                <a:gd name="T25" fmla="*/ 0 h 163"/>
                <a:gd name="T26" fmla="*/ 0 w 173"/>
                <a:gd name="T27" fmla="*/ 0 h 1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3"/>
                <a:gd name="T43" fmla="*/ 0 h 163"/>
                <a:gd name="T44" fmla="*/ 173 w 173"/>
                <a:gd name="T45" fmla="*/ 163 h 1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2" name="Freeform 338">
              <a:extLst>
                <a:ext uri="{FF2B5EF4-FFF2-40B4-BE49-F238E27FC236}">
                  <a16:creationId xmlns:a16="http://schemas.microsoft.com/office/drawing/2014/main" id="{021B3F1E-34CD-59FD-2684-C34417B04837}"/>
                </a:ext>
              </a:extLst>
            </p:cNvPr>
            <p:cNvSpPr>
              <a:spLocks noChangeAspect="1"/>
            </p:cNvSpPr>
            <p:nvPr userDrawn="1"/>
          </p:nvSpPr>
          <p:spPr bwMode="gray">
            <a:xfrm rot="20552049">
              <a:off x="3749557" y="3699301"/>
              <a:ext cx="0" cy="3049"/>
            </a:xfrm>
            <a:custGeom>
              <a:avLst/>
              <a:gdLst>
                <a:gd name="T0" fmla="*/ 0 w 28"/>
                <a:gd name="T1" fmla="*/ 0 h 39"/>
                <a:gd name="T2" fmla="*/ 0 w 28"/>
                <a:gd name="T3" fmla="*/ 0 h 39"/>
                <a:gd name="T4" fmla="*/ 0 w 28"/>
                <a:gd name="T5" fmla="*/ 0 h 39"/>
                <a:gd name="T6" fmla="*/ 0 w 28"/>
                <a:gd name="T7" fmla="*/ 0 h 39"/>
                <a:gd name="T8" fmla="*/ 0 w 28"/>
                <a:gd name="T9" fmla="*/ 0 h 39"/>
                <a:gd name="T10" fmla="*/ 0 60000 65536"/>
                <a:gd name="T11" fmla="*/ 0 60000 65536"/>
                <a:gd name="T12" fmla="*/ 0 60000 65536"/>
                <a:gd name="T13" fmla="*/ 0 60000 65536"/>
                <a:gd name="T14" fmla="*/ 0 60000 65536"/>
                <a:gd name="T15" fmla="*/ 0 w 28"/>
                <a:gd name="T16" fmla="*/ 0 h 39"/>
                <a:gd name="T17" fmla="*/ 0 w 28"/>
                <a:gd name="T18" fmla="*/ 39 h 39"/>
              </a:gdLst>
              <a:ahLst/>
              <a:cxnLst>
                <a:cxn ang="T10">
                  <a:pos x="T0" y="T1"/>
                </a:cxn>
                <a:cxn ang="T11">
                  <a:pos x="T2" y="T3"/>
                </a:cxn>
                <a:cxn ang="T12">
                  <a:pos x="T4" y="T5"/>
                </a:cxn>
                <a:cxn ang="T13">
                  <a:pos x="T6" y="T7"/>
                </a:cxn>
                <a:cxn ang="T14">
                  <a:pos x="T8" y="T9"/>
                </a:cxn>
              </a:cxnLst>
              <a:rect l="T15" t="T16" r="T17" b="T18"/>
              <a:pathLst>
                <a:path w="28" h="39">
                  <a:moveTo>
                    <a:pt x="28" y="0"/>
                  </a:moveTo>
                  <a:lnTo>
                    <a:pt x="0" y="21"/>
                  </a:lnTo>
                  <a:lnTo>
                    <a:pt x="3" y="39"/>
                  </a:lnTo>
                  <a:lnTo>
                    <a:pt x="28" y="32"/>
                  </a:lnTo>
                  <a:lnTo>
                    <a:pt x="2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3" name="Freeform 339">
              <a:extLst>
                <a:ext uri="{FF2B5EF4-FFF2-40B4-BE49-F238E27FC236}">
                  <a16:creationId xmlns:a16="http://schemas.microsoft.com/office/drawing/2014/main" id="{20F93EF1-09D8-1B56-1035-724C68AF3B36}"/>
                </a:ext>
              </a:extLst>
            </p:cNvPr>
            <p:cNvSpPr>
              <a:spLocks noChangeAspect="1"/>
            </p:cNvSpPr>
            <p:nvPr userDrawn="1"/>
          </p:nvSpPr>
          <p:spPr bwMode="gray">
            <a:xfrm rot="20552049">
              <a:off x="3754034" y="3723688"/>
              <a:ext cx="2985" cy="3049"/>
            </a:xfrm>
            <a:custGeom>
              <a:avLst/>
              <a:gdLst>
                <a:gd name="T0" fmla="*/ 0 w 42"/>
                <a:gd name="T1" fmla="*/ 0 h 34"/>
                <a:gd name="T2" fmla="*/ 0 w 42"/>
                <a:gd name="T3" fmla="*/ 0 h 34"/>
                <a:gd name="T4" fmla="*/ 0 w 42"/>
                <a:gd name="T5" fmla="*/ 0 h 34"/>
                <a:gd name="T6" fmla="*/ 0 w 42"/>
                <a:gd name="T7" fmla="*/ 0 h 34"/>
                <a:gd name="T8" fmla="*/ 0 w 42"/>
                <a:gd name="T9" fmla="*/ 0 h 34"/>
                <a:gd name="T10" fmla="*/ 0 60000 65536"/>
                <a:gd name="T11" fmla="*/ 0 60000 65536"/>
                <a:gd name="T12" fmla="*/ 0 60000 65536"/>
                <a:gd name="T13" fmla="*/ 0 60000 65536"/>
                <a:gd name="T14" fmla="*/ 0 60000 65536"/>
                <a:gd name="T15" fmla="*/ 0 w 42"/>
                <a:gd name="T16" fmla="*/ 0 h 34"/>
                <a:gd name="T17" fmla="*/ 42 w 42"/>
                <a:gd name="T18" fmla="*/ 34 h 34"/>
              </a:gdLst>
              <a:ahLst/>
              <a:cxnLst>
                <a:cxn ang="T10">
                  <a:pos x="T0" y="T1"/>
                </a:cxn>
                <a:cxn ang="T11">
                  <a:pos x="T2" y="T3"/>
                </a:cxn>
                <a:cxn ang="T12">
                  <a:pos x="T4" y="T5"/>
                </a:cxn>
                <a:cxn ang="T13">
                  <a:pos x="T6" y="T7"/>
                </a:cxn>
                <a:cxn ang="T14">
                  <a:pos x="T8" y="T9"/>
                </a:cxn>
              </a:cxnLst>
              <a:rect l="T15" t="T16" r="T17" b="T18"/>
              <a:pathLst>
                <a:path w="42" h="34">
                  <a:moveTo>
                    <a:pt x="6" y="8"/>
                  </a:moveTo>
                  <a:lnTo>
                    <a:pt x="0" y="17"/>
                  </a:lnTo>
                  <a:lnTo>
                    <a:pt x="6" y="34"/>
                  </a:lnTo>
                  <a:lnTo>
                    <a:pt x="42" y="0"/>
                  </a:lnTo>
                  <a:lnTo>
                    <a:pt x="6" y="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4" name="Freeform 340">
              <a:extLst>
                <a:ext uri="{FF2B5EF4-FFF2-40B4-BE49-F238E27FC236}">
                  <a16:creationId xmlns:a16="http://schemas.microsoft.com/office/drawing/2014/main" id="{BA2022D9-DE39-10C3-9CE2-16DB26EEAACA}"/>
                </a:ext>
              </a:extLst>
            </p:cNvPr>
            <p:cNvSpPr>
              <a:spLocks noChangeAspect="1"/>
            </p:cNvSpPr>
            <p:nvPr userDrawn="1"/>
          </p:nvSpPr>
          <p:spPr bwMode="gray">
            <a:xfrm rot="20552049">
              <a:off x="3839098" y="3783133"/>
              <a:ext cx="5969" cy="12193"/>
            </a:xfrm>
            <a:custGeom>
              <a:avLst/>
              <a:gdLst>
                <a:gd name="T0" fmla="*/ 0 w 52"/>
                <a:gd name="T1" fmla="*/ 0 h 124"/>
                <a:gd name="T2" fmla="*/ 0 w 52"/>
                <a:gd name="T3" fmla="*/ 0 h 124"/>
                <a:gd name="T4" fmla="*/ 0 w 52"/>
                <a:gd name="T5" fmla="*/ 0 h 124"/>
                <a:gd name="T6" fmla="*/ 0 w 52"/>
                <a:gd name="T7" fmla="*/ 0 h 124"/>
                <a:gd name="T8" fmla="*/ 0 w 52"/>
                <a:gd name="T9" fmla="*/ 0 h 124"/>
                <a:gd name="T10" fmla="*/ 0 w 52"/>
                <a:gd name="T11" fmla="*/ 0 h 124"/>
                <a:gd name="T12" fmla="*/ 0 w 52"/>
                <a:gd name="T13" fmla="*/ 0 h 124"/>
                <a:gd name="T14" fmla="*/ 0 w 52"/>
                <a:gd name="T15" fmla="*/ 0 h 124"/>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124"/>
                <a:gd name="T26" fmla="*/ 52 w 52"/>
                <a:gd name="T27" fmla="*/ 124 h 1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124">
                  <a:moveTo>
                    <a:pt x="18" y="0"/>
                  </a:moveTo>
                  <a:lnTo>
                    <a:pt x="0" y="0"/>
                  </a:lnTo>
                  <a:lnTo>
                    <a:pt x="0" y="86"/>
                  </a:lnTo>
                  <a:lnTo>
                    <a:pt x="14" y="124"/>
                  </a:lnTo>
                  <a:lnTo>
                    <a:pt x="42" y="124"/>
                  </a:lnTo>
                  <a:lnTo>
                    <a:pt x="52" y="90"/>
                  </a:lnTo>
                  <a:lnTo>
                    <a:pt x="49" y="20"/>
                  </a:lnTo>
                  <a:lnTo>
                    <a:pt x="18"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5" name="Freeform 341">
              <a:extLst>
                <a:ext uri="{FF2B5EF4-FFF2-40B4-BE49-F238E27FC236}">
                  <a16:creationId xmlns:a16="http://schemas.microsoft.com/office/drawing/2014/main" id="{4C0CCB47-ACA5-5095-8B39-BD641D073CED}"/>
                </a:ext>
              </a:extLst>
            </p:cNvPr>
            <p:cNvSpPr>
              <a:spLocks noChangeAspect="1"/>
            </p:cNvSpPr>
            <p:nvPr userDrawn="1"/>
          </p:nvSpPr>
          <p:spPr bwMode="gray">
            <a:xfrm rot="20552049">
              <a:off x="3871929" y="3914216"/>
              <a:ext cx="2985" cy="10669"/>
            </a:xfrm>
            <a:custGeom>
              <a:avLst/>
              <a:gdLst>
                <a:gd name="T0" fmla="*/ 0 w 49"/>
                <a:gd name="T1" fmla="*/ 0 h 62"/>
                <a:gd name="T2" fmla="*/ 0 w 49"/>
                <a:gd name="T3" fmla="*/ 0 h 62"/>
                <a:gd name="T4" fmla="*/ 0 w 49"/>
                <a:gd name="T5" fmla="*/ 0 h 62"/>
                <a:gd name="T6" fmla="*/ 0 w 49"/>
                <a:gd name="T7" fmla="*/ 0 h 62"/>
                <a:gd name="T8" fmla="*/ 0 w 49"/>
                <a:gd name="T9" fmla="*/ 0 h 62"/>
                <a:gd name="T10" fmla="*/ 0 60000 65536"/>
                <a:gd name="T11" fmla="*/ 0 60000 65536"/>
                <a:gd name="T12" fmla="*/ 0 60000 65536"/>
                <a:gd name="T13" fmla="*/ 0 60000 65536"/>
                <a:gd name="T14" fmla="*/ 0 60000 65536"/>
                <a:gd name="T15" fmla="*/ 0 w 49"/>
                <a:gd name="T16" fmla="*/ 0 h 62"/>
                <a:gd name="T17" fmla="*/ 49 w 49"/>
                <a:gd name="T18" fmla="*/ 62 h 62"/>
              </a:gdLst>
              <a:ahLst/>
              <a:cxnLst>
                <a:cxn ang="T10">
                  <a:pos x="T0" y="T1"/>
                </a:cxn>
                <a:cxn ang="T11">
                  <a:pos x="T2" y="T3"/>
                </a:cxn>
                <a:cxn ang="T12">
                  <a:pos x="T4" y="T5"/>
                </a:cxn>
                <a:cxn ang="T13">
                  <a:pos x="T6" y="T7"/>
                </a:cxn>
                <a:cxn ang="T14">
                  <a:pos x="T8" y="T9"/>
                </a:cxn>
              </a:cxnLst>
              <a:rect l="T15" t="T16" r="T17" b="T18"/>
              <a:pathLst>
                <a:path w="49" h="62">
                  <a:moveTo>
                    <a:pt x="49" y="0"/>
                  </a:moveTo>
                  <a:lnTo>
                    <a:pt x="17" y="14"/>
                  </a:lnTo>
                  <a:lnTo>
                    <a:pt x="0" y="62"/>
                  </a:lnTo>
                  <a:lnTo>
                    <a:pt x="38" y="41"/>
                  </a:lnTo>
                  <a:lnTo>
                    <a:pt x="49"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6" name="Freeform 342">
              <a:extLst>
                <a:ext uri="{FF2B5EF4-FFF2-40B4-BE49-F238E27FC236}">
                  <a16:creationId xmlns:a16="http://schemas.microsoft.com/office/drawing/2014/main" id="{D3AB7557-9450-1D82-D5BC-71FED6BBA73C}"/>
                </a:ext>
              </a:extLst>
            </p:cNvPr>
            <p:cNvSpPr>
              <a:spLocks noChangeAspect="1"/>
            </p:cNvSpPr>
            <p:nvPr userDrawn="1"/>
          </p:nvSpPr>
          <p:spPr bwMode="gray">
            <a:xfrm rot="20552049">
              <a:off x="3358564" y="3603275"/>
              <a:ext cx="198481" cy="138704"/>
            </a:xfrm>
            <a:custGeom>
              <a:avLst/>
              <a:gdLst>
                <a:gd name="T0" fmla="*/ 0 w 3347"/>
                <a:gd name="T1" fmla="*/ 0 h 1123"/>
                <a:gd name="T2" fmla="*/ 0 w 3347"/>
                <a:gd name="T3" fmla="*/ 0 h 1123"/>
                <a:gd name="T4" fmla="*/ 0 w 3347"/>
                <a:gd name="T5" fmla="*/ 0 h 1123"/>
                <a:gd name="T6" fmla="*/ 0 w 3347"/>
                <a:gd name="T7" fmla="*/ 0 h 1123"/>
                <a:gd name="T8" fmla="*/ 0 w 3347"/>
                <a:gd name="T9" fmla="*/ 0 h 1123"/>
                <a:gd name="T10" fmla="*/ 0 w 3347"/>
                <a:gd name="T11" fmla="*/ 0 h 1123"/>
                <a:gd name="T12" fmla="*/ 0 w 3347"/>
                <a:gd name="T13" fmla="*/ 0 h 1123"/>
                <a:gd name="T14" fmla="*/ 0 w 3347"/>
                <a:gd name="T15" fmla="*/ 0 h 1123"/>
                <a:gd name="T16" fmla="*/ 0 w 3347"/>
                <a:gd name="T17" fmla="*/ 0 h 1123"/>
                <a:gd name="T18" fmla="*/ 0 w 3347"/>
                <a:gd name="T19" fmla="*/ 0 h 1123"/>
                <a:gd name="T20" fmla="*/ 0 w 3347"/>
                <a:gd name="T21" fmla="*/ 0 h 1123"/>
                <a:gd name="T22" fmla="*/ 0 w 3347"/>
                <a:gd name="T23" fmla="*/ 0 h 1123"/>
                <a:gd name="T24" fmla="*/ 0 w 3347"/>
                <a:gd name="T25" fmla="*/ 0 h 1123"/>
                <a:gd name="T26" fmla="*/ 0 w 3347"/>
                <a:gd name="T27" fmla="*/ 0 h 1123"/>
                <a:gd name="T28" fmla="*/ 0 w 3347"/>
                <a:gd name="T29" fmla="*/ 0 h 1123"/>
                <a:gd name="T30" fmla="*/ 0 w 3347"/>
                <a:gd name="T31" fmla="*/ 0 h 1123"/>
                <a:gd name="T32" fmla="*/ 0 w 3347"/>
                <a:gd name="T33" fmla="*/ 0 h 1123"/>
                <a:gd name="T34" fmla="*/ 0 w 3347"/>
                <a:gd name="T35" fmla="*/ 0 h 1123"/>
                <a:gd name="T36" fmla="*/ 0 w 3347"/>
                <a:gd name="T37" fmla="*/ 0 h 1123"/>
                <a:gd name="T38" fmla="*/ 0 w 3347"/>
                <a:gd name="T39" fmla="*/ 0 h 1123"/>
                <a:gd name="T40" fmla="*/ 0 w 3347"/>
                <a:gd name="T41" fmla="*/ 0 h 1123"/>
                <a:gd name="T42" fmla="*/ 0 w 3347"/>
                <a:gd name="T43" fmla="*/ 0 h 1123"/>
                <a:gd name="T44" fmla="*/ 0 w 3347"/>
                <a:gd name="T45" fmla="*/ 0 h 1123"/>
                <a:gd name="T46" fmla="*/ 0 w 3347"/>
                <a:gd name="T47" fmla="*/ 0 h 1123"/>
                <a:gd name="T48" fmla="*/ 0 w 3347"/>
                <a:gd name="T49" fmla="*/ 0 h 1123"/>
                <a:gd name="T50" fmla="*/ 0 w 3347"/>
                <a:gd name="T51" fmla="*/ 0 h 1123"/>
                <a:gd name="T52" fmla="*/ 0 w 3347"/>
                <a:gd name="T53" fmla="*/ 0 h 1123"/>
                <a:gd name="T54" fmla="*/ 0 w 3347"/>
                <a:gd name="T55" fmla="*/ 0 h 1123"/>
                <a:gd name="T56" fmla="*/ 0 w 3347"/>
                <a:gd name="T57" fmla="*/ 0 h 1123"/>
                <a:gd name="T58" fmla="*/ 0 w 3347"/>
                <a:gd name="T59" fmla="*/ 0 h 1123"/>
                <a:gd name="T60" fmla="*/ 0 w 3347"/>
                <a:gd name="T61" fmla="*/ 0 h 1123"/>
                <a:gd name="T62" fmla="*/ 0 w 3347"/>
                <a:gd name="T63" fmla="*/ 0 h 1123"/>
                <a:gd name="T64" fmla="*/ 0 w 3347"/>
                <a:gd name="T65" fmla="*/ 0 h 1123"/>
                <a:gd name="T66" fmla="*/ 0 w 3347"/>
                <a:gd name="T67" fmla="*/ 0 h 1123"/>
                <a:gd name="T68" fmla="*/ 0 w 3347"/>
                <a:gd name="T69" fmla="*/ 0 h 1123"/>
                <a:gd name="T70" fmla="*/ 0 w 3347"/>
                <a:gd name="T71" fmla="*/ 0 h 1123"/>
                <a:gd name="T72" fmla="*/ 0 w 3347"/>
                <a:gd name="T73" fmla="*/ 0 h 1123"/>
                <a:gd name="T74" fmla="*/ 0 w 3347"/>
                <a:gd name="T75" fmla="*/ 0 h 1123"/>
                <a:gd name="T76" fmla="*/ 0 w 3347"/>
                <a:gd name="T77" fmla="*/ 0 h 1123"/>
                <a:gd name="T78" fmla="*/ 0 w 3347"/>
                <a:gd name="T79" fmla="*/ 0 h 1123"/>
                <a:gd name="T80" fmla="*/ 0 w 3347"/>
                <a:gd name="T81" fmla="*/ 0 h 1123"/>
                <a:gd name="T82" fmla="*/ 0 w 3347"/>
                <a:gd name="T83" fmla="*/ 0 h 1123"/>
                <a:gd name="T84" fmla="*/ 0 w 3347"/>
                <a:gd name="T85" fmla="*/ 0 h 1123"/>
                <a:gd name="T86" fmla="*/ 0 w 3347"/>
                <a:gd name="T87" fmla="*/ 0 h 1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347"/>
                <a:gd name="T133" fmla="*/ 0 h 1123"/>
                <a:gd name="T134" fmla="*/ 3347 w 3347"/>
                <a:gd name="T135" fmla="*/ 1123 h 1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7" name="Freeform 343">
              <a:extLst>
                <a:ext uri="{FF2B5EF4-FFF2-40B4-BE49-F238E27FC236}">
                  <a16:creationId xmlns:a16="http://schemas.microsoft.com/office/drawing/2014/main" id="{612029D8-340F-5446-E36D-D319B7C51554}"/>
                </a:ext>
              </a:extLst>
            </p:cNvPr>
            <p:cNvSpPr>
              <a:spLocks noChangeAspect="1"/>
            </p:cNvSpPr>
            <p:nvPr userDrawn="1"/>
          </p:nvSpPr>
          <p:spPr bwMode="gray">
            <a:xfrm rot="20552049">
              <a:off x="3391395" y="3676437"/>
              <a:ext cx="7461" cy="15242"/>
            </a:xfrm>
            <a:custGeom>
              <a:avLst/>
              <a:gdLst>
                <a:gd name="T0" fmla="*/ 0 w 165"/>
                <a:gd name="T1" fmla="*/ 0 h 156"/>
                <a:gd name="T2" fmla="*/ 0 w 165"/>
                <a:gd name="T3" fmla="*/ 0 h 156"/>
                <a:gd name="T4" fmla="*/ 0 w 165"/>
                <a:gd name="T5" fmla="*/ 0 h 156"/>
                <a:gd name="T6" fmla="*/ 0 w 165"/>
                <a:gd name="T7" fmla="*/ 0 h 156"/>
                <a:gd name="T8" fmla="*/ 0 w 165"/>
                <a:gd name="T9" fmla="*/ 0 h 156"/>
                <a:gd name="T10" fmla="*/ 0 w 165"/>
                <a:gd name="T11" fmla="*/ 0 h 156"/>
                <a:gd name="T12" fmla="*/ 0 w 165"/>
                <a:gd name="T13" fmla="*/ 0 h 156"/>
                <a:gd name="T14" fmla="*/ 0 w 165"/>
                <a:gd name="T15" fmla="*/ 0 h 156"/>
                <a:gd name="T16" fmla="*/ 0 w 165"/>
                <a:gd name="T17" fmla="*/ 0 h 156"/>
                <a:gd name="T18" fmla="*/ 0 w 165"/>
                <a:gd name="T19" fmla="*/ 0 h 156"/>
                <a:gd name="T20" fmla="*/ 0 w 165"/>
                <a:gd name="T21" fmla="*/ 0 h 156"/>
                <a:gd name="T22" fmla="*/ 0 w 165"/>
                <a:gd name="T23" fmla="*/ 0 h 156"/>
                <a:gd name="T24" fmla="*/ 0 w 165"/>
                <a:gd name="T25" fmla="*/ 0 h 156"/>
                <a:gd name="T26" fmla="*/ 0 w 165"/>
                <a:gd name="T27" fmla="*/ 0 h 156"/>
                <a:gd name="T28" fmla="*/ 0 w 165"/>
                <a:gd name="T29" fmla="*/ 0 h 156"/>
                <a:gd name="T30" fmla="*/ 0 w 165"/>
                <a:gd name="T31" fmla="*/ 0 h 156"/>
                <a:gd name="T32" fmla="*/ 0 w 165"/>
                <a:gd name="T33" fmla="*/ 0 h 156"/>
                <a:gd name="T34" fmla="*/ 0 w 165"/>
                <a:gd name="T35" fmla="*/ 0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5"/>
                <a:gd name="T55" fmla="*/ 0 h 156"/>
                <a:gd name="T56" fmla="*/ 165 w 165"/>
                <a:gd name="T57" fmla="*/ 156 h 1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8" name="Freeform 344">
              <a:extLst>
                <a:ext uri="{FF2B5EF4-FFF2-40B4-BE49-F238E27FC236}">
                  <a16:creationId xmlns:a16="http://schemas.microsoft.com/office/drawing/2014/main" id="{143462B3-4086-D4AC-C1C4-23D1937682AB}"/>
                </a:ext>
              </a:extLst>
            </p:cNvPr>
            <p:cNvSpPr>
              <a:spLocks noChangeAspect="1"/>
            </p:cNvSpPr>
            <p:nvPr userDrawn="1"/>
          </p:nvSpPr>
          <p:spPr bwMode="gray">
            <a:xfrm rot="20552049">
              <a:off x="3463028" y="3620041"/>
              <a:ext cx="17908" cy="25912"/>
            </a:xfrm>
            <a:custGeom>
              <a:avLst/>
              <a:gdLst>
                <a:gd name="T0" fmla="*/ 0 w 317"/>
                <a:gd name="T1" fmla="*/ 0 h 201"/>
                <a:gd name="T2" fmla="*/ 0 w 317"/>
                <a:gd name="T3" fmla="*/ 0 h 201"/>
                <a:gd name="T4" fmla="*/ 0 w 317"/>
                <a:gd name="T5" fmla="*/ 0 h 201"/>
                <a:gd name="T6" fmla="*/ 0 w 317"/>
                <a:gd name="T7" fmla="*/ 0 h 201"/>
                <a:gd name="T8" fmla="*/ 0 w 317"/>
                <a:gd name="T9" fmla="*/ 0 h 201"/>
                <a:gd name="T10" fmla="*/ 0 w 317"/>
                <a:gd name="T11" fmla="*/ 0 h 201"/>
                <a:gd name="T12" fmla="*/ 0 w 317"/>
                <a:gd name="T13" fmla="*/ 0 h 201"/>
                <a:gd name="T14" fmla="*/ 0 w 317"/>
                <a:gd name="T15" fmla="*/ 0 h 201"/>
                <a:gd name="T16" fmla="*/ 0 w 317"/>
                <a:gd name="T17" fmla="*/ 0 h 201"/>
                <a:gd name="T18" fmla="*/ 0 w 317"/>
                <a:gd name="T19" fmla="*/ 0 h 201"/>
                <a:gd name="T20" fmla="*/ 0 w 317"/>
                <a:gd name="T21" fmla="*/ 0 h 201"/>
                <a:gd name="T22" fmla="*/ 0 w 317"/>
                <a:gd name="T23" fmla="*/ 0 h 201"/>
                <a:gd name="T24" fmla="*/ 0 w 317"/>
                <a:gd name="T25" fmla="*/ 0 h 201"/>
                <a:gd name="T26" fmla="*/ 0 w 317"/>
                <a:gd name="T27" fmla="*/ 0 h 201"/>
                <a:gd name="T28" fmla="*/ 0 w 317"/>
                <a:gd name="T29" fmla="*/ 0 h 2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7"/>
                <a:gd name="T46" fmla="*/ 0 h 201"/>
                <a:gd name="T47" fmla="*/ 317 w 317"/>
                <a:gd name="T48" fmla="*/ 201 h 2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19" name="Freeform 345">
              <a:extLst>
                <a:ext uri="{FF2B5EF4-FFF2-40B4-BE49-F238E27FC236}">
                  <a16:creationId xmlns:a16="http://schemas.microsoft.com/office/drawing/2014/main" id="{428F9684-476B-03E8-8310-45190D48DBB5}"/>
                </a:ext>
              </a:extLst>
            </p:cNvPr>
            <p:cNvSpPr>
              <a:spLocks noChangeAspect="1"/>
            </p:cNvSpPr>
            <p:nvPr userDrawn="1"/>
          </p:nvSpPr>
          <p:spPr bwMode="gray">
            <a:xfrm rot="20552049">
              <a:off x="3797312" y="3723688"/>
              <a:ext cx="0" cy="7622"/>
            </a:xfrm>
            <a:custGeom>
              <a:avLst/>
              <a:gdLst>
                <a:gd name="T0" fmla="*/ 0 w 46"/>
                <a:gd name="T1" fmla="*/ 0 h 47"/>
                <a:gd name="T2" fmla="*/ 0 w 46"/>
                <a:gd name="T3" fmla="*/ 0 h 47"/>
                <a:gd name="T4" fmla="*/ 0 w 46"/>
                <a:gd name="T5" fmla="*/ 0 h 47"/>
                <a:gd name="T6" fmla="*/ 0 w 46"/>
                <a:gd name="T7" fmla="*/ 0 h 47"/>
                <a:gd name="T8" fmla="*/ 0 w 46"/>
                <a:gd name="T9" fmla="*/ 0 h 47"/>
                <a:gd name="T10" fmla="*/ 0 w 46"/>
                <a:gd name="T11" fmla="*/ 0 h 47"/>
                <a:gd name="T12" fmla="*/ 0 w 46"/>
                <a:gd name="T13" fmla="*/ 0 h 47"/>
                <a:gd name="T14" fmla="*/ 0 60000 65536"/>
                <a:gd name="T15" fmla="*/ 0 60000 65536"/>
                <a:gd name="T16" fmla="*/ 0 60000 65536"/>
                <a:gd name="T17" fmla="*/ 0 60000 65536"/>
                <a:gd name="T18" fmla="*/ 0 60000 65536"/>
                <a:gd name="T19" fmla="*/ 0 60000 65536"/>
                <a:gd name="T20" fmla="*/ 0 60000 65536"/>
                <a:gd name="T21" fmla="*/ 0 w 46"/>
                <a:gd name="T22" fmla="*/ 0 h 47"/>
                <a:gd name="T23" fmla="*/ 0 w 46"/>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47">
                  <a:moveTo>
                    <a:pt x="34" y="2"/>
                  </a:moveTo>
                  <a:lnTo>
                    <a:pt x="0" y="0"/>
                  </a:lnTo>
                  <a:lnTo>
                    <a:pt x="11" y="30"/>
                  </a:lnTo>
                  <a:lnTo>
                    <a:pt x="31" y="47"/>
                  </a:lnTo>
                  <a:lnTo>
                    <a:pt x="46" y="42"/>
                  </a:lnTo>
                  <a:lnTo>
                    <a:pt x="46" y="10"/>
                  </a:lnTo>
                  <a:lnTo>
                    <a:pt x="34" y="2"/>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20" name="Freeform 346">
              <a:extLst>
                <a:ext uri="{FF2B5EF4-FFF2-40B4-BE49-F238E27FC236}">
                  <a16:creationId xmlns:a16="http://schemas.microsoft.com/office/drawing/2014/main" id="{95267F77-EA3F-0337-D88C-06A2C2216D41}"/>
                </a:ext>
              </a:extLst>
            </p:cNvPr>
            <p:cNvSpPr>
              <a:spLocks noChangeAspect="1"/>
            </p:cNvSpPr>
            <p:nvPr userDrawn="1"/>
          </p:nvSpPr>
          <p:spPr bwMode="gray">
            <a:xfrm rot="20552049">
              <a:off x="3865960" y="3842577"/>
              <a:ext cx="2985" cy="10670"/>
            </a:xfrm>
            <a:custGeom>
              <a:avLst/>
              <a:gdLst>
                <a:gd name="T0" fmla="*/ 0 w 45"/>
                <a:gd name="T1" fmla="*/ 0 h 103"/>
                <a:gd name="T2" fmla="*/ 0 w 45"/>
                <a:gd name="T3" fmla="*/ 0 h 103"/>
                <a:gd name="T4" fmla="*/ 0 w 45"/>
                <a:gd name="T5" fmla="*/ 0 h 103"/>
                <a:gd name="T6" fmla="*/ 0 w 45"/>
                <a:gd name="T7" fmla="*/ 0 h 103"/>
                <a:gd name="T8" fmla="*/ 0 w 45"/>
                <a:gd name="T9" fmla="*/ 0 h 103"/>
                <a:gd name="T10" fmla="*/ 0 w 45"/>
                <a:gd name="T11" fmla="*/ 0 h 103"/>
                <a:gd name="T12" fmla="*/ 0 w 45"/>
                <a:gd name="T13" fmla="*/ 0 h 103"/>
                <a:gd name="T14" fmla="*/ 0 60000 65536"/>
                <a:gd name="T15" fmla="*/ 0 60000 65536"/>
                <a:gd name="T16" fmla="*/ 0 60000 65536"/>
                <a:gd name="T17" fmla="*/ 0 60000 65536"/>
                <a:gd name="T18" fmla="*/ 0 60000 65536"/>
                <a:gd name="T19" fmla="*/ 0 60000 65536"/>
                <a:gd name="T20" fmla="*/ 0 60000 65536"/>
                <a:gd name="T21" fmla="*/ 0 w 45"/>
                <a:gd name="T22" fmla="*/ 0 h 103"/>
                <a:gd name="T23" fmla="*/ 45 w 45"/>
                <a:gd name="T24" fmla="*/ 103 h 10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103">
                  <a:moveTo>
                    <a:pt x="25" y="0"/>
                  </a:moveTo>
                  <a:lnTo>
                    <a:pt x="0" y="97"/>
                  </a:lnTo>
                  <a:lnTo>
                    <a:pt x="25" y="103"/>
                  </a:lnTo>
                  <a:lnTo>
                    <a:pt x="45" y="94"/>
                  </a:lnTo>
                  <a:lnTo>
                    <a:pt x="45" y="62"/>
                  </a:lnTo>
                  <a:lnTo>
                    <a:pt x="39" y="20"/>
                  </a:lnTo>
                  <a:lnTo>
                    <a:pt x="25" y="0"/>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sp>
          <p:nvSpPr>
            <p:cNvPr id="321" name="Freeform 54">
              <a:extLst>
                <a:ext uri="{FF2B5EF4-FFF2-40B4-BE49-F238E27FC236}">
                  <a16:creationId xmlns:a16="http://schemas.microsoft.com/office/drawing/2014/main" id="{AA32B0FB-FE5F-6EAE-80BA-877968CF1C48}"/>
                </a:ext>
              </a:extLst>
            </p:cNvPr>
            <p:cNvSpPr>
              <a:spLocks noChangeAspect="1"/>
            </p:cNvSpPr>
            <p:nvPr userDrawn="1"/>
          </p:nvSpPr>
          <p:spPr bwMode="gray">
            <a:xfrm>
              <a:off x="9081694" y="4674800"/>
              <a:ext cx="1183428" cy="984645"/>
            </a:xfrm>
            <a:custGeom>
              <a:avLst/>
              <a:gdLst>
                <a:gd name="T0" fmla="*/ 2147483647 w 2217"/>
                <a:gd name="T1" fmla="*/ 2147483647 h 1736"/>
                <a:gd name="T2" fmla="*/ 2147483647 w 2217"/>
                <a:gd name="T3" fmla="*/ 2147483647 h 1736"/>
                <a:gd name="T4" fmla="*/ 2147483647 w 2217"/>
                <a:gd name="T5" fmla="*/ 2147483647 h 1736"/>
                <a:gd name="T6" fmla="*/ 2147483647 w 2217"/>
                <a:gd name="T7" fmla="*/ 2147483647 h 1736"/>
                <a:gd name="T8" fmla="*/ 2147483647 w 2217"/>
                <a:gd name="T9" fmla="*/ 2147483647 h 1736"/>
                <a:gd name="T10" fmla="*/ 2147483647 w 2217"/>
                <a:gd name="T11" fmla="*/ 2147483647 h 1736"/>
                <a:gd name="T12" fmla="*/ 2147483647 w 2217"/>
                <a:gd name="T13" fmla="*/ 2147483647 h 1736"/>
                <a:gd name="T14" fmla="*/ 2147483647 w 2217"/>
                <a:gd name="T15" fmla="*/ 2147483647 h 1736"/>
                <a:gd name="T16" fmla="*/ 2147483647 w 2217"/>
                <a:gd name="T17" fmla="*/ 2147483647 h 1736"/>
                <a:gd name="T18" fmla="*/ 2147483647 w 2217"/>
                <a:gd name="T19" fmla="*/ 2147483647 h 1736"/>
                <a:gd name="T20" fmla="*/ 2147483647 w 2217"/>
                <a:gd name="T21" fmla="*/ 2147483647 h 1736"/>
                <a:gd name="T22" fmla="*/ 2147483647 w 2217"/>
                <a:gd name="T23" fmla="*/ 2147483647 h 1736"/>
                <a:gd name="T24" fmla="*/ 2147483647 w 2217"/>
                <a:gd name="T25" fmla="*/ 2147483647 h 1736"/>
                <a:gd name="T26" fmla="*/ 2147483647 w 2217"/>
                <a:gd name="T27" fmla="*/ 0 h 1736"/>
                <a:gd name="T28" fmla="*/ 2147483647 w 2217"/>
                <a:gd name="T29" fmla="*/ 0 h 1736"/>
                <a:gd name="T30" fmla="*/ 2147483647 w 2217"/>
                <a:gd name="T31" fmla="*/ 0 h 1736"/>
                <a:gd name="T32" fmla="*/ 2147483647 w 2217"/>
                <a:gd name="T33" fmla="*/ 2147483647 h 1736"/>
                <a:gd name="T34" fmla="*/ 2147483647 w 2217"/>
                <a:gd name="T35" fmla="*/ 2147483647 h 1736"/>
                <a:gd name="T36" fmla="*/ 2147483647 w 2217"/>
                <a:gd name="T37" fmla="*/ 2147483647 h 1736"/>
                <a:gd name="T38" fmla="*/ 2147483647 w 2217"/>
                <a:gd name="T39" fmla="*/ 2147483647 h 1736"/>
                <a:gd name="T40" fmla="*/ 2147483647 w 2217"/>
                <a:gd name="T41" fmla="*/ 2147483647 h 1736"/>
                <a:gd name="T42" fmla="*/ 2147483647 w 2217"/>
                <a:gd name="T43" fmla="*/ 2147483647 h 1736"/>
                <a:gd name="T44" fmla="*/ 2147483647 w 2217"/>
                <a:gd name="T45" fmla="*/ 2147483647 h 1736"/>
                <a:gd name="T46" fmla="*/ 2147483647 w 2217"/>
                <a:gd name="T47" fmla="*/ 0 h 1736"/>
                <a:gd name="T48" fmla="*/ 2147483647 w 2217"/>
                <a:gd name="T49" fmla="*/ 0 h 1736"/>
                <a:gd name="T50" fmla="*/ 2147483647 w 2217"/>
                <a:gd name="T51" fmla="*/ 2147483647 h 1736"/>
                <a:gd name="T52" fmla="*/ 2147483647 w 2217"/>
                <a:gd name="T53" fmla="*/ 2147483647 h 1736"/>
                <a:gd name="T54" fmla="*/ 2147483647 w 2217"/>
                <a:gd name="T55" fmla="*/ 2147483647 h 1736"/>
                <a:gd name="T56" fmla="*/ 2147483647 w 2217"/>
                <a:gd name="T57" fmla="*/ 2147483647 h 1736"/>
                <a:gd name="T58" fmla="*/ 2147483647 w 2217"/>
                <a:gd name="T59" fmla="*/ 2147483647 h 1736"/>
                <a:gd name="T60" fmla="*/ 2147483647 w 2217"/>
                <a:gd name="T61" fmla="*/ 2147483647 h 1736"/>
                <a:gd name="T62" fmla="*/ 2147483647 w 2217"/>
                <a:gd name="T63" fmla="*/ 2147483647 h 1736"/>
                <a:gd name="T64" fmla="*/ 2147483647 w 2217"/>
                <a:gd name="T65" fmla="*/ 2147483647 h 1736"/>
                <a:gd name="T66" fmla="*/ 2147483647 w 2217"/>
                <a:gd name="T67" fmla="*/ 2147483647 h 1736"/>
                <a:gd name="T68" fmla="*/ 2147483647 w 2217"/>
                <a:gd name="T69" fmla="*/ 2147483647 h 1736"/>
                <a:gd name="T70" fmla="*/ 2147483647 w 2217"/>
                <a:gd name="T71" fmla="*/ 2147483647 h 1736"/>
                <a:gd name="T72" fmla="*/ 2147483647 w 2217"/>
                <a:gd name="T73" fmla="*/ 2147483647 h 1736"/>
                <a:gd name="T74" fmla="*/ 2147483647 w 2217"/>
                <a:gd name="T75" fmla="*/ 2147483647 h 1736"/>
                <a:gd name="T76" fmla="*/ 2147483647 w 2217"/>
                <a:gd name="T77" fmla="*/ 2147483647 h 1736"/>
                <a:gd name="T78" fmla="*/ 2147483647 w 2217"/>
                <a:gd name="T79" fmla="*/ 2147483647 h 1736"/>
                <a:gd name="T80" fmla="*/ 2147483647 w 2217"/>
                <a:gd name="T81" fmla="*/ 2147483647 h 1736"/>
                <a:gd name="T82" fmla="*/ 2147483647 w 2217"/>
                <a:gd name="T83" fmla="*/ 2147483647 h 1736"/>
                <a:gd name="T84" fmla="*/ 2147483647 w 2217"/>
                <a:gd name="T85" fmla="*/ 2147483647 h 1736"/>
                <a:gd name="T86" fmla="*/ 2147483647 w 2217"/>
                <a:gd name="T87" fmla="*/ 2147483647 h 1736"/>
                <a:gd name="T88" fmla="*/ 2147483647 w 2217"/>
                <a:gd name="T89" fmla="*/ 2147483647 h 1736"/>
                <a:gd name="T90" fmla="*/ 2147483647 w 2217"/>
                <a:gd name="T91" fmla="*/ 2147483647 h 1736"/>
                <a:gd name="T92" fmla="*/ 2147483647 w 2217"/>
                <a:gd name="T93" fmla="*/ 2147483647 h 1736"/>
                <a:gd name="T94" fmla="*/ 2147483647 w 2217"/>
                <a:gd name="T95" fmla="*/ 2147483647 h 1736"/>
                <a:gd name="T96" fmla="*/ 2147483647 w 2217"/>
                <a:gd name="T97" fmla="*/ 2147483647 h 1736"/>
                <a:gd name="T98" fmla="*/ 2147483647 w 2217"/>
                <a:gd name="T99" fmla="*/ 2147483647 h 1736"/>
                <a:gd name="T100" fmla="*/ 2147483647 w 2217"/>
                <a:gd name="T101" fmla="*/ 2147483647 h 1736"/>
                <a:gd name="T102" fmla="*/ 2147483647 w 2217"/>
                <a:gd name="T103" fmla="*/ 2147483647 h 1736"/>
                <a:gd name="T104" fmla="*/ 2147483647 w 2217"/>
                <a:gd name="T105" fmla="*/ 2147483647 h 1736"/>
                <a:gd name="T106" fmla="*/ 2147483647 w 2217"/>
                <a:gd name="T107" fmla="*/ 2147483647 h 1736"/>
                <a:gd name="T108" fmla="*/ 2147483647 w 2217"/>
                <a:gd name="T109" fmla="*/ 2147483647 h 1736"/>
                <a:gd name="T110" fmla="*/ 2147483647 w 2217"/>
                <a:gd name="T111" fmla="*/ 2147483647 h 1736"/>
                <a:gd name="T112" fmla="*/ 2147483647 w 2217"/>
                <a:gd name="T113" fmla="*/ 2147483647 h 1736"/>
                <a:gd name="T114" fmla="*/ 2147483647 w 2217"/>
                <a:gd name="T115" fmla="*/ 2147483647 h 1736"/>
                <a:gd name="T116" fmla="*/ 0 w 2217"/>
                <a:gd name="T117" fmla="*/ 2147483647 h 1736"/>
                <a:gd name="T118" fmla="*/ 0 w 2217"/>
                <a:gd name="T119" fmla="*/ 2147483647 h 1736"/>
                <a:gd name="T120" fmla="*/ 0 w 2217"/>
                <a:gd name="T121" fmla="*/ 2147483647 h 17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17"/>
                <a:gd name="T184" fmla="*/ 0 h 1736"/>
                <a:gd name="T185" fmla="*/ 2217 w 2217"/>
                <a:gd name="T186" fmla="*/ 1736 h 17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solidFill>
              <a:schemeClr val="bg1">
                <a:lumMod val="50000"/>
                <a:alpha val="16000"/>
              </a:schemeClr>
            </a:solidFill>
            <a:ln w="6350">
              <a:solidFill>
                <a:schemeClr val="bg1"/>
              </a:solidFill>
              <a:round/>
              <a:headEnd/>
              <a:tailEnd/>
            </a:ln>
          </p:spPr>
          <p:txBody>
            <a:bodyPr/>
            <a:lstStyle/>
            <a:p>
              <a:pPr fontAlgn="auto">
                <a:spcBef>
                  <a:spcPts val="0"/>
                </a:spcBef>
                <a:spcAft>
                  <a:spcPts val="0"/>
                </a:spcAft>
                <a:defRPr/>
              </a:pPr>
              <a:endParaRPr lang="en-US" sz="1800" dirty="0">
                <a:solidFill>
                  <a:prstClr val="black"/>
                </a:solidFill>
                <a:latin typeface="Calibri"/>
                <a:cs typeface="+mn-cs"/>
              </a:endParaRPr>
            </a:p>
          </p:txBody>
        </p:sp>
        <p:cxnSp>
          <p:nvCxnSpPr>
            <p:cNvPr id="322" name="AutoShape 6">
              <a:extLst>
                <a:ext uri="{FF2B5EF4-FFF2-40B4-BE49-F238E27FC236}">
                  <a16:creationId xmlns:a16="http://schemas.microsoft.com/office/drawing/2014/main" id="{99003408-2D1E-5EAC-E36E-85214C080ACB}"/>
                </a:ext>
              </a:extLst>
            </p:cNvPr>
            <p:cNvCxnSpPr>
              <a:cxnSpLocks noChangeShapeType="1"/>
            </p:cNvCxnSpPr>
            <p:nvPr userDrawn="1"/>
          </p:nvCxnSpPr>
          <p:spPr bwMode="auto">
            <a:xfrm flipH="1">
              <a:off x="5861221" y="2339698"/>
              <a:ext cx="217882" cy="100598"/>
            </a:xfrm>
            <a:prstGeom prst="straightConnector1">
              <a:avLst/>
            </a:prstGeom>
            <a:solidFill>
              <a:schemeClr val="bg1">
                <a:lumMod val="50000"/>
              </a:schemeClr>
            </a:solidFill>
            <a:ln w="19080">
              <a:solidFill>
                <a:srgbClr val="FFFFFF"/>
              </a:solidFill>
              <a:round/>
              <a:headEnd type="triangle" w="med" len="med"/>
              <a:tailEnd/>
            </a:ln>
          </p:spPr>
        </p:cxnSp>
      </p:grpSp>
      <p:sp>
        <p:nvSpPr>
          <p:cNvPr id="4" name="Title 3">
            <a:extLst>
              <a:ext uri="{FF2B5EF4-FFF2-40B4-BE49-F238E27FC236}">
                <a16:creationId xmlns:a16="http://schemas.microsoft.com/office/drawing/2014/main" id="{54968733-400C-5979-E644-B56A408FA437}"/>
              </a:ext>
            </a:extLst>
          </p:cNvPr>
          <p:cNvSpPr>
            <a:spLocks noGrp="1"/>
          </p:cNvSpPr>
          <p:nvPr>
            <p:ph type="title"/>
          </p:nvPr>
        </p:nvSpPr>
        <p:spPr/>
        <p:txBody>
          <a:bodyPr>
            <a:noAutofit/>
          </a:bodyPr>
          <a:lstStyle/>
          <a:p>
            <a:r>
              <a:rPr lang="en-US"/>
              <a:t>Click to edit Master title style</a:t>
            </a:r>
          </a:p>
        </p:txBody>
      </p:sp>
      <p:sp>
        <p:nvSpPr>
          <p:cNvPr id="8" name="Text Placeholder 7">
            <a:extLst>
              <a:ext uri="{FF2B5EF4-FFF2-40B4-BE49-F238E27FC236}">
                <a16:creationId xmlns:a16="http://schemas.microsoft.com/office/drawing/2014/main" id="{22D4DD51-735A-7535-A95D-705BC060EA7D}"/>
              </a:ext>
            </a:extLst>
          </p:cNvPr>
          <p:cNvSpPr>
            <a:spLocks noGrp="1"/>
          </p:cNvSpPr>
          <p:nvPr>
            <p:ph type="body" sz="quarter" idx="13"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3" name="Date Placeholder 12">
            <a:extLst>
              <a:ext uri="{FF2B5EF4-FFF2-40B4-BE49-F238E27FC236}">
                <a16:creationId xmlns:a16="http://schemas.microsoft.com/office/drawing/2014/main" id="{799F83DB-AA7E-BB5E-7B33-972A27C7753A}"/>
              </a:ext>
            </a:extLst>
          </p:cNvPr>
          <p:cNvSpPr>
            <a:spLocks noGrp="1"/>
          </p:cNvSpPr>
          <p:nvPr>
            <p:ph type="dt" sz="half" idx="14"/>
          </p:nvPr>
        </p:nvSpPr>
        <p:spPr>
          <a:xfrm>
            <a:off x="10236555" y="136647"/>
            <a:ext cx="1345845" cy="153888"/>
          </a:xfrm>
        </p:spPr>
        <p:txBody>
          <a:bodyPr>
            <a:noAutofit/>
          </a:bodyPr>
          <a:lstStyle>
            <a:lvl1pPr>
              <a:defRPr>
                <a:solidFill>
                  <a:schemeClr val="tx1">
                    <a:lumMod val="75000"/>
                    <a:lumOff val="25000"/>
                  </a:schemeClr>
                </a:solidFill>
              </a:defRPr>
            </a:lvl1pPr>
          </a:lstStyle>
          <a:p>
            <a:fld id="{DBDD38F8-B076-4153-93C6-90795F887522}" type="datetime4">
              <a:rPr lang="en-US" smtClean="0"/>
              <a:t>May 17, 2025</a:t>
            </a:fld>
            <a:endParaRPr lang="en-US" dirty="0"/>
          </a:p>
        </p:txBody>
      </p:sp>
      <p:sp>
        <p:nvSpPr>
          <p:cNvPr id="14" name="Footer Placeholder 13">
            <a:extLst>
              <a:ext uri="{FF2B5EF4-FFF2-40B4-BE49-F238E27FC236}">
                <a16:creationId xmlns:a16="http://schemas.microsoft.com/office/drawing/2014/main" id="{1359ABA9-E719-0B1D-942C-C6EA5B5666DE}"/>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5 Guidehouse Inc.</a:t>
            </a:r>
          </a:p>
        </p:txBody>
      </p:sp>
      <p:sp>
        <p:nvSpPr>
          <p:cNvPr id="15" name="Slide Number Placeholder 14">
            <a:extLst>
              <a:ext uri="{FF2B5EF4-FFF2-40B4-BE49-F238E27FC236}">
                <a16:creationId xmlns:a16="http://schemas.microsoft.com/office/drawing/2014/main" id="{C05DBC64-9732-7E1D-33A5-8C08DBE34CE1}"/>
              </a:ext>
            </a:extLst>
          </p:cNvPr>
          <p:cNvSpPr>
            <a:spLocks noGrp="1"/>
          </p:cNvSpPr>
          <p:nvPr>
            <p:ph type="sldNum" sz="quarter" idx="16"/>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pic>
        <p:nvPicPr>
          <p:cNvPr id="3" name="Graphic 2">
            <a:extLst>
              <a:ext uri="{FF2B5EF4-FFF2-40B4-BE49-F238E27FC236}">
                <a16:creationId xmlns:a16="http://schemas.microsoft.com/office/drawing/2014/main" id="{9EECC099-23FB-6B9B-8617-EE5036B15E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03875" y="88565"/>
            <a:ext cx="984250" cy="250052"/>
          </a:xfrm>
          <a:prstGeom prst="rect">
            <a:avLst/>
          </a:prstGeom>
        </p:spPr>
      </p:pic>
      <p:cxnSp>
        <p:nvCxnSpPr>
          <p:cNvPr id="323" name="Straight Connector 322">
            <a:extLst>
              <a:ext uri="{FF2B5EF4-FFF2-40B4-BE49-F238E27FC236}">
                <a16:creationId xmlns:a16="http://schemas.microsoft.com/office/drawing/2014/main" id="{B678A9A4-7FD7-E1B9-4BE5-7A16BDAEA394}"/>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B1BDC16D-757D-CCF4-10B9-A6593882277F}"/>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106839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2_Cover 1 - Light">
    <p:bg>
      <p:bgPr>
        <a:solidFill>
          <a:schemeClr val="bg2"/>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4ADC32B5-6938-17C4-2DFC-3B7C1D44061F}"/>
              </a:ext>
            </a:extLst>
          </p:cNvPr>
          <p:cNvSpPr txBox="1">
            <a:spLocks noGrp="1" noRot="1" noMove="1" noResize="1" noEditPoints="1" noAdjustHandles="1" noChangeArrowheads="1" noChangeShapeType="1"/>
          </p:cNvSpPr>
          <p:nvPr userDrawn="1"/>
        </p:nvSpPr>
        <p:spPr>
          <a:xfrm>
            <a:off x="8710864" y="2586790"/>
            <a:ext cx="3092116" cy="1015663"/>
          </a:xfrm>
          <a:prstGeom prst="rect">
            <a:avLst/>
          </a:prstGeom>
          <a:noFill/>
        </p:spPr>
        <p:txBody>
          <a:bodyPr wrap="square" rtlCol="0">
            <a:spAutoFit/>
          </a:bodyPr>
          <a:lstStyle/>
          <a:p>
            <a:pPr algn="l"/>
            <a:r>
              <a:rPr lang="en-US" sz="6000" dirty="0"/>
              <a:t>Vision</a:t>
            </a:r>
          </a:p>
        </p:txBody>
      </p:sp>
      <p:sp>
        <p:nvSpPr>
          <p:cNvPr id="8" name="TextBox 7">
            <a:extLst>
              <a:ext uri="{FF2B5EF4-FFF2-40B4-BE49-F238E27FC236}">
                <a16:creationId xmlns:a16="http://schemas.microsoft.com/office/drawing/2014/main" id="{91E4B1B9-CCF8-13DC-9010-DF09F26923D6}"/>
              </a:ext>
            </a:extLst>
          </p:cNvPr>
          <p:cNvSpPr txBox="1">
            <a:spLocks noGrp="1" noRot="1" noMove="1" noResize="1" noEditPoints="1" noAdjustHandles="1" noChangeArrowheads="1" noChangeShapeType="1"/>
          </p:cNvSpPr>
          <p:nvPr userDrawn="1"/>
        </p:nvSpPr>
        <p:spPr>
          <a:xfrm>
            <a:off x="517358" y="2586790"/>
            <a:ext cx="3092116" cy="1015663"/>
          </a:xfrm>
          <a:prstGeom prst="rect">
            <a:avLst/>
          </a:prstGeom>
          <a:noFill/>
        </p:spPr>
        <p:txBody>
          <a:bodyPr wrap="square" rtlCol="0">
            <a:spAutoFit/>
          </a:bodyPr>
          <a:lstStyle/>
          <a:p>
            <a:pPr algn="l"/>
            <a:r>
              <a:rPr lang="en-US" sz="6000" dirty="0"/>
              <a:t>Mission</a:t>
            </a:r>
          </a:p>
        </p:txBody>
      </p:sp>
      <p:cxnSp>
        <p:nvCxnSpPr>
          <p:cNvPr id="3" name="Straight Connector 2">
            <a:extLst>
              <a:ext uri="{FF2B5EF4-FFF2-40B4-BE49-F238E27FC236}">
                <a16:creationId xmlns:a16="http://schemas.microsoft.com/office/drawing/2014/main" id="{D4CCA385-BADC-9412-0D5E-D86D6665ADB9}"/>
              </a:ext>
            </a:extLst>
          </p:cNvPr>
          <p:cNvCxnSpPr>
            <a:cxnSpLocks noGrp="1" noRot="1" noMove="1" noResize="1" noEditPoints="1" noAdjustHandles="1" noChangeArrowheads="1" noChangeShapeType="1"/>
          </p:cNvCxnSpPr>
          <p:nvPr/>
        </p:nvCxnSpPr>
        <p:spPr>
          <a:xfrm>
            <a:off x="609600" y="3730948"/>
            <a:ext cx="293624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5" name="Graphic 3">
            <a:extLst>
              <a:ext uri="{FF2B5EF4-FFF2-40B4-BE49-F238E27FC236}">
                <a16:creationId xmlns:a16="http://schemas.microsoft.com/office/drawing/2014/main" id="{B3F109DD-32AE-D92D-4621-BF43B58FB4A1}"/>
              </a:ext>
            </a:extLst>
          </p:cNvPr>
          <p:cNvGrpSpPr>
            <a:grpSpLocks noChangeAspect="1"/>
          </p:cNvGrpSpPr>
          <p:nvPr userDrawn="1"/>
        </p:nvGrpSpPr>
        <p:grpSpPr>
          <a:xfrm>
            <a:off x="609600" y="557212"/>
            <a:ext cx="1734668" cy="438912"/>
            <a:chOff x="609600" y="557212"/>
            <a:chExt cx="2667656" cy="674980"/>
          </a:xfrm>
        </p:grpSpPr>
        <p:sp>
          <p:nvSpPr>
            <p:cNvPr id="36" name="Freeform: Shape 35">
              <a:extLst>
                <a:ext uri="{FF2B5EF4-FFF2-40B4-BE49-F238E27FC236}">
                  <a16:creationId xmlns:a16="http://schemas.microsoft.com/office/drawing/2014/main" id="{8BF33003-98EC-AC6E-F2E8-D433A9977017}"/>
                </a:ext>
              </a:extLst>
            </p:cNvPr>
            <p:cNvSpPr/>
            <p:nvPr/>
          </p:nvSpPr>
          <p:spPr>
            <a:xfrm>
              <a:off x="1180659" y="790421"/>
              <a:ext cx="2096597" cy="283512"/>
            </a:xfrm>
            <a:custGeom>
              <a:avLst/>
              <a:gdLst>
                <a:gd name="connsiteX0" fmla="*/ 129433 w 2096597"/>
                <a:gd name="connsiteY0" fmla="*/ 283512 h 283512"/>
                <a:gd name="connsiteX1" fmla="*/ 76968 w 2096597"/>
                <a:gd name="connsiteY1" fmla="*/ 273567 h 283512"/>
                <a:gd name="connsiteX2" fmla="*/ 36610 w 2096597"/>
                <a:gd name="connsiteY2" fmla="*/ 245461 h 283512"/>
                <a:gd name="connsiteX3" fmla="*/ 9369 w 2096597"/>
                <a:gd name="connsiteY3" fmla="*/ 199770 h 283512"/>
                <a:gd name="connsiteX4" fmla="*/ 0 w 2096597"/>
                <a:gd name="connsiteY4" fmla="*/ 142260 h 283512"/>
                <a:gd name="connsiteX5" fmla="*/ 10522 w 2096597"/>
                <a:gd name="connsiteY5" fmla="*/ 82733 h 283512"/>
                <a:gd name="connsiteX6" fmla="*/ 40358 w 2096597"/>
                <a:gd name="connsiteY6" fmla="*/ 36178 h 283512"/>
                <a:gd name="connsiteX7" fmla="*/ 80715 w 2096597"/>
                <a:gd name="connsiteY7" fmla="*/ 9513 h 283512"/>
                <a:gd name="connsiteX8" fmla="*/ 133612 w 2096597"/>
                <a:gd name="connsiteY8" fmla="*/ 0 h 283512"/>
                <a:gd name="connsiteX9" fmla="*/ 180744 w 2096597"/>
                <a:gd name="connsiteY9" fmla="*/ 6630 h 283512"/>
                <a:gd name="connsiteX10" fmla="*/ 216922 w 2096597"/>
                <a:gd name="connsiteY10" fmla="*/ 25656 h 283512"/>
                <a:gd name="connsiteX11" fmla="*/ 241425 w 2096597"/>
                <a:gd name="connsiteY11" fmla="*/ 55492 h 283512"/>
                <a:gd name="connsiteX12" fmla="*/ 254109 w 2096597"/>
                <a:gd name="connsiteY12" fmla="*/ 94264 h 283512"/>
                <a:gd name="connsiteX13" fmla="*/ 188672 w 2096597"/>
                <a:gd name="connsiteY13" fmla="*/ 94264 h 283512"/>
                <a:gd name="connsiteX14" fmla="*/ 171520 w 2096597"/>
                <a:gd name="connsiteY14" fmla="*/ 66446 h 283512"/>
                <a:gd name="connsiteX15" fmla="*/ 135774 w 2096597"/>
                <a:gd name="connsiteY15" fmla="*/ 55348 h 283512"/>
                <a:gd name="connsiteX16" fmla="*/ 106227 w 2096597"/>
                <a:gd name="connsiteY16" fmla="*/ 61978 h 283512"/>
                <a:gd name="connsiteX17" fmla="*/ 85039 w 2096597"/>
                <a:gd name="connsiteY17" fmla="*/ 80283 h 283512"/>
                <a:gd name="connsiteX18" fmla="*/ 72500 w 2096597"/>
                <a:gd name="connsiteY18" fmla="*/ 107668 h 283512"/>
                <a:gd name="connsiteX19" fmla="*/ 68320 w 2096597"/>
                <a:gd name="connsiteY19" fmla="*/ 142116 h 283512"/>
                <a:gd name="connsiteX20" fmla="*/ 73076 w 2096597"/>
                <a:gd name="connsiteY20" fmla="*/ 176709 h 283512"/>
                <a:gd name="connsiteX21" fmla="*/ 86625 w 2096597"/>
                <a:gd name="connsiteY21" fmla="*/ 204238 h 283512"/>
                <a:gd name="connsiteX22" fmla="*/ 108101 w 2096597"/>
                <a:gd name="connsiteY22" fmla="*/ 222255 h 283512"/>
                <a:gd name="connsiteX23" fmla="*/ 136783 w 2096597"/>
                <a:gd name="connsiteY23" fmla="*/ 228741 h 283512"/>
                <a:gd name="connsiteX24" fmla="*/ 160566 w 2096597"/>
                <a:gd name="connsiteY24" fmla="*/ 224705 h 283512"/>
                <a:gd name="connsiteX25" fmla="*/ 178438 w 2096597"/>
                <a:gd name="connsiteY25" fmla="*/ 214039 h 283512"/>
                <a:gd name="connsiteX26" fmla="*/ 190257 w 2096597"/>
                <a:gd name="connsiteY26" fmla="*/ 198761 h 283512"/>
                <a:gd name="connsiteX27" fmla="*/ 195734 w 2096597"/>
                <a:gd name="connsiteY27" fmla="*/ 181033 h 283512"/>
                <a:gd name="connsiteX28" fmla="*/ 195734 w 2096597"/>
                <a:gd name="connsiteY28" fmla="*/ 180312 h 283512"/>
                <a:gd name="connsiteX29" fmla="*/ 144711 w 2096597"/>
                <a:gd name="connsiteY29" fmla="*/ 180312 h 283512"/>
                <a:gd name="connsiteX30" fmla="*/ 144711 w 2096597"/>
                <a:gd name="connsiteY30" fmla="*/ 130874 h 283512"/>
                <a:gd name="connsiteX31" fmla="*/ 258144 w 2096597"/>
                <a:gd name="connsiteY31" fmla="*/ 130874 h 283512"/>
                <a:gd name="connsiteX32" fmla="*/ 258144 w 2096597"/>
                <a:gd name="connsiteY32" fmla="*/ 277026 h 283512"/>
                <a:gd name="connsiteX33" fmla="*/ 211013 w 2096597"/>
                <a:gd name="connsiteY33" fmla="*/ 277026 h 283512"/>
                <a:gd name="connsiteX34" fmla="*/ 207265 w 2096597"/>
                <a:gd name="connsiteY34" fmla="*/ 244308 h 283512"/>
                <a:gd name="connsiteX35" fmla="*/ 206544 w 2096597"/>
                <a:gd name="connsiteY35" fmla="*/ 244308 h 283512"/>
                <a:gd name="connsiteX36" fmla="*/ 173682 w 2096597"/>
                <a:gd name="connsiteY36" fmla="*/ 274143 h 283512"/>
                <a:gd name="connsiteX37" fmla="*/ 129288 w 2096597"/>
                <a:gd name="connsiteY37" fmla="*/ 283080 h 283512"/>
                <a:gd name="connsiteX38" fmla="*/ 358029 w 2096597"/>
                <a:gd name="connsiteY38" fmla="*/ 282647 h 283512"/>
                <a:gd name="connsiteX39" fmla="*/ 306862 w 2096597"/>
                <a:gd name="connsiteY39" fmla="*/ 262613 h 283512"/>
                <a:gd name="connsiteX40" fmla="*/ 289566 w 2096597"/>
                <a:gd name="connsiteY40" fmla="*/ 209859 h 283512"/>
                <a:gd name="connsiteX41" fmla="*/ 289566 w 2096597"/>
                <a:gd name="connsiteY41" fmla="*/ 82012 h 283512"/>
                <a:gd name="connsiteX42" fmla="*/ 351255 w 2096597"/>
                <a:gd name="connsiteY42" fmla="*/ 82012 h 283512"/>
                <a:gd name="connsiteX43" fmla="*/ 351255 w 2096597"/>
                <a:gd name="connsiteY43" fmla="*/ 197032 h 283512"/>
                <a:gd name="connsiteX44" fmla="*/ 358462 w 2096597"/>
                <a:gd name="connsiteY44" fmla="*/ 221534 h 283512"/>
                <a:gd name="connsiteX45" fmla="*/ 380514 w 2096597"/>
                <a:gd name="connsiteY45" fmla="*/ 230038 h 283512"/>
                <a:gd name="connsiteX46" fmla="*/ 405594 w 2096597"/>
                <a:gd name="connsiteY46" fmla="*/ 219228 h 283512"/>
                <a:gd name="connsiteX47" fmla="*/ 414674 w 2096597"/>
                <a:gd name="connsiteY47" fmla="*/ 190834 h 283512"/>
                <a:gd name="connsiteX48" fmla="*/ 414674 w 2096597"/>
                <a:gd name="connsiteY48" fmla="*/ 82012 h 283512"/>
                <a:gd name="connsiteX49" fmla="*/ 476652 w 2096597"/>
                <a:gd name="connsiteY49" fmla="*/ 82012 h 283512"/>
                <a:gd name="connsiteX50" fmla="*/ 476652 w 2096597"/>
                <a:gd name="connsiteY50" fmla="*/ 276882 h 283512"/>
                <a:gd name="connsiteX51" fmla="*/ 417269 w 2096597"/>
                <a:gd name="connsiteY51" fmla="*/ 276882 h 283512"/>
                <a:gd name="connsiteX52" fmla="*/ 417269 w 2096597"/>
                <a:gd name="connsiteY52" fmla="*/ 252956 h 283512"/>
                <a:gd name="connsiteX53" fmla="*/ 416116 w 2096597"/>
                <a:gd name="connsiteY53" fmla="*/ 252956 h 283512"/>
                <a:gd name="connsiteX54" fmla="*/ 391901 w 2096597"/>
                <a:gd name="connsiteY54" fmla="*/ 275008 h 283512"/>
                <a:gd name="connsiteX55" fmla="*/ 357885 w 2096597"/>
                <a:gd name="connsiteY55" fmla="*/ 282647 h 283512"/>
                <a:gd name="connsiteX56" fmla="*/ 511965 w 2096597"/>
                <a:gd name="connsiteY56" fmla="*/ 2162 h 283512"/>
                <a:gd name="connsiteX57" fmla="*/ 573943 w 2096597"/>
                <a:gd name="connsiteY57" fmla="*/ 2162 h 283512"/>
                <a:gd name="connsiteX58" fmla="*/ 573943 w 2096597"/>
                <a:gd name="connsiteY58" fmla="*/ 55059 h 283512"/>
                <a:gd name="connsiteX59" fmla="*/ 511965 w 2096597"/>
                <a:gd name="connsiteY59" fmla="*/ 55059 h 283512"/>
                <a:gd name="connsiteX60" fmla="*/ 511965 w 2096597"/>
                <a:gd name="connsiteY60" fmla="*/ 2162 h 283512"/>
                <a:gd name="connsiteX61" fmla="*/ 511965 w 2096597"/>
                <a:gd name="connsiteY61" fmla="*/ 82012 h 283512"/>
                <a:gd name="connsiteX62" fmla="*/ 573943 w 2096597"/>
                <a:gd name="connsiteY62" fmla="*/ 82012 h 283512"/>
                <a:gd name="connsiteX63" fmla="*/ 573943 w 2096597"/>
                <a:gd name="connsiteY63" fmla="*/ 276882 h 283512"/>
                <a:gd name="connsiteX64" fmla="*/ 511965 w 2096597"/>
                <a:gd name="connsiteY64" fmla="*/ 276882 h 283512"/>
                <a:gd name="connsiteX65" fmla="*/ 511965 w 2096597"/>
                <a:gd name="connsiteY65" fmla="*/ 82012 h 283512"/>
                <a:gd name="connsiteX66" fmla="*/ 685935 w 2096597"/>
                <a:gd name="connsiteY66" fmla="*/ 282936 h 283512"/>
                <a:gd name="connsiteX67" fmla="*/ 651631 w 2096597"/>
                <a:gd name="connsiteY67" fmla="*/ 275873 h 283512"/>
                <a:gd name="connsiteX68" fmla="*/ 624678 w 2096597"/>
                <a:gd name="connsiteY68" fmla="*/ 255550 h 283512"/>
                <a:gd name="connsiteX69" fmla="*/ 606949 w 2096597"/>
                <a:gd name="connsiteY69" fmla="*/ 222976 h 283512"/>
                <a:gd name="connsiteX70" fmla="*/ 600607 w 2096597"/>
                <a:gd name="connsiteY70" fmla="*/ 179447 h 283512"/>
                <a:gd name="connsiteX71" fmla="*/ 606949 w 2096597"/>
                <a:gd name="connsiteY71" fmla="*/ 137504 h 283512"/>
                <a:gd name="connsiteX72" fmla="*/ 624390 w 2096597"/>
                <a:gd name="connsiteY72" fmla="*/ 104930 h 283512"/>
                <a:gd name="connsiteX73" fmla="*/ 651199 w 2096597"/>
                <a:gd name="connsiteY73" fmla="*/ 83742 h 283512"/>
                <a:gd name="connsiteX74" fmla="*/ 685791 w 2096597"/>
                <a:gd name="connsiteY74" fmla="*/ 76103 h 283512"/>
                <a:gd name="connsiteX75" fmla="*/ 718942 w 2096597"/>
                <a:gd name="connsiteY75" fmla="*/ 83886 h 283512"/>
                <a:gd name="connsiteX76" fmla="*/ 740273 w 2096597"/>
                <a:gd name="connsiteY76" fmla="*/ 103921 h 283512"/>
                <a:gd name="connsiteX77" fmla="*/ 741426 w 2096597"/>
                <a:gd name="connsiteY77" fmla="*/ 103921 h 283512"/>
                <a:gd name="connsiteX78" fmla="*/ 741426 w 2096597"/>
                <a:gd name="connsiteY78" fmla="*/ 1874 h 283512"/>
                <a:gd name="connsiteX79" fmla="*/ 803404 w 2096597"/>
                <a:gd name="connsiteY79" fmla="*/ 1874 h 283512"/>
                <a:gd name="connsiteX80" fmla="*/ 803404 w 2096597"/>
                <a:gd name="connsiteY80" fmla="*/ 276738 h 283512"/>
                <a:gd name="connsiteX81" fmla="*/ 744021 w 2096597"/>
                <a:gd name="connsiteY81" fmla="*/ 276738 h 283512"/>
                <a:gd name="connsiteX82" fmla="*/ 744021 w 2096597"/>
                <a:gd name="connsiteY82" fmla="*/ 250505 h 283512"/>
                <a:gd name="connsiteX83" fmla="*/ 743300 w 2096597"/>
                <a:gd name="connsiteY83" fmla="*/ 250505 h 283512"/>
                <a:gd name="connsiteX84" fmla="*/ 719951 w 2096597"/>
                <a:gd name="connsiteY84" fmla="*/ 274287 h 283512"/>
                <a:gd name="connsiteX85" fmla="*/ 685935 w 2096597"/>
                <a:gd name="connsiteY85" fmla="*/ 282791 h 283512"/>
                <a:gd name="connsiteX86" fmla="*/ 701934 w 2096597"/>
                <a:gd name="connsiteY86" fmla="*/ 233642 h 283512"/>
                <a:gd name="connsiteX87" fmla="*/ 732202 w 2096597"/>
                <a:gd name="connsiteY87" fmla="*/ 218363 h 283512"/>
                <a:gd name="connsiteX88" fmla="*/ 743012 w 2096597"/>
                <a:gd name="connsiteY88" fmla="*/ 179159 h 283512"/>
                <a:gd name="connsiteX89" fmla="*/ 740562 w 2096597"/>
                <a:gd name="connsiteY89" fmla="*/ 156530 h 283512"/>
                <a:gd name="connsiteX90" fmla="*/ 732923 w 2096597"/>
                <a:gd name="connsiteY90" fmla="*/ 138657 h 283512"/>
                <a:gd name="connsiteX91" fmla="*/ 720383 w 2096597"/>
                <a:gd name="connsiteY91" fmla="*/ 126982 h 283512"/>
                <a:gd name="connsiteX92" fmla="*/ 702654 w 2096597"/>
                <a:gd name="connsiteY92" fmla="*/ 122802 h 283512"/>
                <a:gd name="connsiteX93" fmla="*/ 673683 w 2096597"/>
                <a:gd name="connsiteY93" fmla="*/ 138225 h 283512"/>
                <a:gd name="connsiteX94" fmla="*/ 663450 w 2096597"/>
                <a:gd name="connsiteY94" fmla="*/ 178438 h 283512"/>
                <a:gd name="connsiteX95" fmla="*/ 673539 w 2096597"/>
                <a:gd name="connsiteY95" fmla="*/ 218796 h 283512"/>
                <a:gd name="connsiteX96" fmla="*/ 701934 w 2096597"/>
                <a:gd name="connsiteY96" fmla="*/ 233642 h 283512"/>
                <a:gd name="connsiteX97" fmla="*/ 930242 w 2096597"/>
                <a:gd name="connsiteY97" fmla="*/ 282359 h 283512"/>
                <a:gd name="connsiteX98" fmla="*/ 886858 w 2096597"/>
                <a:gd name="connsiteY98" fmla="*/ 274576 h 283512"/>
                <a:gd name="connsiteX99" fmla="*/ 854139 w 2096597"/>
                <a:gd name="connsiteY99" fmla="*/ 252811 h 283512"/>
                <a:gd name="connsiteX100" fmla="*/ 833528 w 2096597"/>
                <a:gd name="connsiteY100" fmla="*/ 219949 h 283512"/>
                <a:gd name="connsiteX101" fmla="*/ 826322 w 2096597"/>
                <a:gd name="connsiteY101" fmla="*/ 178871 h 283512"/>
                <a:gd name="connsiteX102" fmla="*/ 833528 w 2096597"/>
                <a:gd name="connsiteY102" fmla="*/ 138369 h 283512"/>
                <a:gd name="connsiteX103" fmla="*/ 854139 w 2096597"/>
                <a:gd name="connsiteY103" fmla="*/ 105650 h 283512"/>
                <a:gd name="connsiteX104" fmla="*/ 885705 w 2096597"/>
                <a:gd name="connsiteY104" fmla="*/ 84030 h 283512"/>
                <a:gd name="connsiteX105" fmla="*/ 926495 w 2096597"/>
                <a:gd name="connsiteY105" fmla="*/ 76247 h 283512"/>
                <a:gd name="connsiteX106" fmla="*/ 963970 w 2096597"/>
                <a:gd name="connsiteY106" fmla="*/ 82733 h 283512"/>
                <a:gd name="connsiteX107" fmla="*/ 993085 w 2096597"/>
                <a:gd name="connsiteY107" fmla="*/ 100606 h 283512"/>
                <a:gd name="connsiteX108" fmla="*/ 1019173 w 2096597"/>
                <a:gd name="connsiteY108" fmla="*/ 141107 h 283512"/>
                <a:gd name="connsiteX109" fmla="*/ 1027389 w 2096597"/>
                <a:gd name="connsiteY109" fmla="*/ 195302 h 283512"/>
                <a:gd name="connsiteX110" fmla="*/ 887290 w 2096597"/>
                <a:gd name="connsiteY110" fmla="*/ 195302 h 283512"/>
                <a:gd name="connsiteX111" fmla="*/ 900983 w 2096597"/>
                <a:gd name="connsiteY111" fmla="*/ 226579 h 283512"/>
                <a:gd name="connsiteX112" fmla="*/ 931107 w 2096597"/>
                <a:gd name="connsiteY112" fmla="*/ 237966 h 283512"/>
                <a:gd name="connsiteX113" fmla="*/ 951286 w 2096597"/>
                <a:gd name="connsiteY113" fmla="*/ 232777 h 283512"/>
                <a:gd name="connsiteX114" fmla="*/ 963393 w 2096597"/>
                <a:gd name="connsiteY114" fmla="*/ 218508 h 283512"/>
                <a:gd name="connsiteX115" fmla="*/ 1023930 w 2096597"/>
                <a:gd name="connsiteY115" fmla="*/ 218508 h 283512"/>
                <a:gd name="connsiteX116" fmla="*/ 1012543 w 2096597"/>
                <a:gd name="connsiteY116" fmla="*/ 243875 h 283512"/>
                <a:gd name="connsiteX117" fmla="*/ 991211 w 2096597"/>
                <a:gd name="connsiteY117" fmla="*/ 264630 h 283512"/>
                <a:gd name="connsiteX118" fmla="*/ 963970 w 2096597"/>
                <a:gd name="connsiteY118" fmla="*/ 277891 h 283512"/>
                <a:gd name="connsiteX119" fmla="*/ 930242 w 2096597"/>
                <a:gd name="connsiteY119" fmla="*/ 282503 h 283512"/>
                <a:gd name="connsiteX120" fmla="*/ 964546 w 2096597"/>
                <a:gd name="connsiteY120" fmla="*/ 158404 h 283512"/>
                <a:gd name="connsiteX121" fmla="*/ 952727 w 2096597"/>
                <a:gd name="connsiteY121" fmla="*/ 130586 h 283512"/>
                <a:gd name="connsiteX122" fmla="*/ 927648 w 2096597"/>
                <a:gd name="connsiteY122" fmla="*/ 120352 h 283512"/>
                <a:gd name="connsiteX123" fmla="*/ 900262 w 2096597"/>
                <a:gd name="connsiteY123" fmla="*/ 130586 h 283512"/>
                <a:gd name="connsiteX124" fmla="*/ 887723 w 2096597"/>
                <a:gd name="connsiteY124" fmla="*/ 158404 h 283512"/>
                <a:gd name="connsiteX125" fmla="*/ 964546 w 2096597"/>
                <a:gd name="connsiteY125" fmla="*/ 158404 h 283512"/>
                <a:gd name="connsiteX126" fmla="*/ 1050162 w 2096597"/>
                <a:gd name="connsiteY126" fmla="*/ 2018 h 283512"/>
                <a:gd name="connsiteX127" fmla="*/ 1112140 w 2096597"/>
                <a:gd name="connsiteY127" fmla="*/ 2018 h 283512"/>
                <a:gd name="connsiteX128" fmla="*/ 1112140 w 2096597"/>
                <a:gd name="connsiteY128" fmla="*/ 105939 h 283512"/>
                <a:gd name="connsiteX129" fmla="*/ 1113293 w 2096597"/>
                <a:gd name="connsiteY129" fmla="*/ 105939 h 283512"/>
                <a:gd name="connsiteX130" fmla="*/ 1137219 w 2096597"/>
                <a:gd name="connsiteY130" fmla="*/ 84030 h 283512"/>
                <a:gd name="connsiteX131" fmla="*/ 1171091 w 2096597"/>
                <a:gd name="connsiteY131" fmla="*/ 76247 h 283512"/>
                <a:gd name="connsiteX132" fmla="*/ 1199629 w 2096597"/>
                <a:gd name="connsiteY132" fmla="*/ 81724 h 283512"/>
                <a:gd name="connsiteX133" fmla="*/ 1220961 w 2096597"/>
                <a:gd name="connsiteY133" fmla="*/ 97002 h 283512"/>
                <a:gd name="connsiteX134" fmla="*/ 1234366 w 2096597"/>
                <a:gd name="connsiteY134" fmla="*/ 120208 h 283512"/>
                <a:gd name="connsiteX135" fmla="*/ 1238978 w 2096597"/>
                <a:gd name="connsiteY135" fmla="*/ 150044 h 283512"/>
                <a:gd name="connsiteX136" fmla="*/ 1238978 w 2096597"/>
                <a:gd name="connsiteY136" fmla="*/ 276738 h 283512"/>
                <a:gd name="connsiteX137" fmla="*/ 1177000 w 2096597"/>
                <a:gd name="connsiteY137" fmla="*/ 276738 h 283512"/>
                <a:gd name="connsiteX138" fmla="*/ 1177000 w 2096597"/>
                <a:gd name="connsiteY138" fmla="*/ 162583 h 283512"/>
                <a:gd name="connsiteX139" fmla="*/ 1169361 w 2096597"/>
                <a:gd name="connsiteY139" fmla="*/ 137504 h 283512"/>
                <a:gd name="connsiteX140" fmla="*/ 1146588 w 2096597"/>
                <a:gd name="connsiteY140" fmla="*/ 127991 h 283512"/>
                <a:gd name="connsiteX141" fmla="*/ 1121653 w 2096597"/>
                <a:gd name="connsiteY141" fmla="*/ 139378 h 283512"/>
                <a:gd name="connsiteX142" fmla="*/ 1112284 w 2096597"/>
                <a:gd name="connsiteY142" fmla="*/ 169069 h 283512"/>
                <a:gd name="connsiteX143" fmla="*/ 1112284 w 2096597"/>
                <a:gd name="connsiteY143" fmla="*/ 276738 h 283512"/>
                <a:gd name="connsiteX144" fmla="*/ 1050306 w 2096597"/>
                <a:gd name="connsiteY144" fmla="*/ 276738 h 283512"/>
                <a:gd name="connsiteX145" fmla="*/ 1050306 w 2096597"/>
                <a:gd name="connsiteY145" fmla="*/ 1874 h 283512"/>
                <a:gd name="connsiteX146" fmla="*/ 1362645 w 2096597"/>
                <a:gd name="connsiteY146" fmla="*/ 282936 h 283512"/>
                <a:gd name="connsiteX147" fmla="*/ 1319837 w 2096597"/>
                <a:gd name="connsiteY147" fmla="*/ 275152 h 283512"/>
                <a:gd name="connsiteX148" fmla="*/ 1286830 w 2096597"/>
                <a:gd name="connsiteY148" fmla="*/ 253388 h 283512"/>
                <a:gd name="connsiteX149" fmla="*/ 1265787 w 2096597"/>
                <a:gd name="connsiteY149" fmla="*/ 220670 h 283512"/>
                <a:gd name="connsiteX150" fmla="*/ 1258292 w 2096597"/>
                <a:gd name="connsiteY150" fmla="*/ 179735 h 283512"/>
                <a:gd name="connsiteX151" fmla="*/ 1265787 w 2096597"/>
                <a:gd name="connsiteY151" fmla="*/ 138801 h 283512"/>
                <a:gd name="connsiteX152" fmla="*/ 1286830 w 2096597"/>
                <a:gd name="connsiteY152" fmla="*/ 106083 h 283512"/>
                <a:gd name="connsiteX153" fmla="*/ 1319837 w 2096597"/>
                <a:gd name="connsiteY153" fmla="*/ 84463 h 283512"/>
                <a:gd name="connsiteX154" fmla="*/ 1362645 w 2096597"/>
                <a:gd name="connsiteY154" fmla="*/ 76679 h 283512"/>
                <a:gd name="connsiteX155" fmla="*/ 1405453 w 2096597"/>
                <a:gd name="connsiteY155" fmla="*/ 84463 h 283512"/>
                <a:gd name="connsiteX156" fmla="*/ 1438171 w 2096597"/>
                <a:gd name="connsiteY156" fmla="*/ 106083 h 283512"/>
                <a:gd name="connsiteX157" fmla="*/ 1459071 w 2096597"/>
                <a:gd name="connsiteY157" fmla="*/ 138801 h 283512"/>
                <a:gd name="connsiteX158" fmla="*/ 1466422 w 2096597"/>
                <a:gd name="connsiteY158" fmla="*/ 179735 h 283512"/>
                <a:gd name="connsiteX159" fmla="*/ 1459071 w 2096597"/>
                <a:gd name="connsiteY159" fmla="*/ 220670 h 283512"/>
                <a:gd name="connsiteX160" fmla="*/ 1438171 w 2096597"/>
                <a:gd name="connsiteY160" fmla="*/ 253388 h 283512"/>
                <a:gd name="connsiteX161" fmla="*/ 1405453 w 2096597"/>
                <a:gd name="connsiteY161" fmla="*/ 275152 h 283512"/>
                <a:gd name="connsiteX162" fmla="*/ 1362645 w 2096597"/>
                <a:gd name="connsiteY162" fmla="*/ 282936 h 283512"/>
                <a:gd name="connsiteX163" fmla="*/ 1362213 w 2096597"/>
                <a:gd name="connsiteY163" fmla="*/ 238830 h 283512"/>
                <a:gd name="connsiteX164" fmla="*/ 1393201 w 2096597"/>
                <a:gd name="connsiteY164" fmla="*/ 222687 h 283512"/>
                <a:gd name="connsiteX165" fmla="*/ 1403723 w 2096597"/>
                <a:gd name="connsiteY165" fmla="*/ 179880 h 283512"/>
                <a:gd name="connsiteX166" fmla="*/ 1393201 w 2096597"/>
                <a:gd name="connsiteY166" fmla="*/ 136928 h 283512"/>
                <a:gd name="connsiteX167" fmla="*/ 1362213 w 2096597"/>
                <a:gd name="connsiteY167" fmla="*/ 120496 h 283512"/>
                <a:gd name="connsiteX168" fmla="*/ 1331368 w 2096597"/>
                <a:gd name="connsiteY168" fmla="*/ 136928 h 283512"/>
                <a:gd name="connsiteX169" fmla="*/ 1321134 w 2096597"/>
                <a:gd name="connsiteY169" fmla="*/ 179880 h 283512"/>
                <a:gd name="connsiteX170" fmla="*/ 1331368 w 2096597"/>
                <a:gd name="connsiteY170" fmla="*/ 222687 h 283512"/>
                <a:gd name="connsiteX171" fmla="*/ 1362213 w 2096597"/>
                <a:gd name="connsiteY171" fmla="*/ 238830 h 283512"/>
                <a:gd name="connsiteX172" fmla="*/ 1554488 w 2096597"/>
                <a:gd name="connsiteY172" fmla="*/ 282647 h 283512"/>
                <a:gd name="connsiteX173" fmla="*/ 1503320 w 2096597"/>
                <a:gd name="connsiteY173" fmla="*/ 262613 h 283512"/>
                <a:gd name="connsiteX174" fmla="*/ 1486024 w 2096597"/>
                <a:gd name="connsiteY174" fmla="*/ 209859 h 283512"/>
                <a:gd name="connsiteX175" fmla="*/ 1486024 w 2096597"/>
                <a:gd name="connsiteY175" fmla="*/ 82012 h 283512"/>
                <a:gd name="connsiteX176" fmla="*/ 1547713 w 2096597"/>
                <a:gd name="connsiteY176" fmla="*/ 82012 h 283512"/>
                <a:gd name="connsiteX177" fmla="*/ 1547713 w 2096597"/>
                <a:gd name="connsiteY177" fmla="*/ 197032 h 283512"/>
                <a:gd name="connsiteX178" fmla="*/ 1554920 w 2096597"/>
                <a:gd name="connsiteY178" fmla="*/ 221534 h 283512"/>
                <a:gd name="connsiteX179" fmla="*/ 1576973 w 2096597"/>
                <a:gd name="connsiteY179" fmla="*/ 230038 h 283512"/>
                <a:gd name="connsiteX180" fmla="*/ 1602052 w 2096597"/>
                <a:gd name="connsiteY180" fmla="*/ 219228 h 283512"/>
                <a:gd name="connsiteX181" fmla="*/ 1611132 w 2096597"/>
                <a:gd name="connsiteY181" fmla="*/ 190834 h 283512"/>
                <a:gd name="connsiteX182" fmla="*/ 1611132 w 2096597"/>
                <a:gd name="connsiteY182" fmla="*/ 82012 h 283512"/>
                <a:gd name="connsiteX183" fmla="*/ 1673110 w 2096597"/>
                <a:gd name="connsiteY183" fmla="*/ 82012 h 283512"/>
                <a:gd name="connsiteX184" fmla="*/ 1673110 w 2096597"/>
                <a:gd name="connsiteY184" fmla="*/ 276882 h 283512"/>
                <a:gd name="connsiteX185" fmla="*/ 1613727 w 2096597"/>
                <a:gd name="connsiteY185" fmla="*/ 276882 h 283512"/>
                <a:gd name="connsiteX186" fmla="*/ 1613727 w 2096597"/>
                <a:gd name="connsiteY186" fmla="*/ 252956 h 283512"/>
                <a:gd name="connsiteX187" fmla="*/ 1612574 w 2096597"/>
                <a:gd name="connsiteY187" fmla="*/ 252956 h 283512"/>
                <a:gd name="connsiteX188" fmla="*/ 1588359 w 2096597"/>
                <a:gd name="connsiteY188" fmla="*/ 275008 h 283512"/>
                <a:gd name="connsiteX189" fmla="*/ 1554344 w 2096597"/>
                <a:gd name="connsiteY189" fmla="*/ 282647 h 283512"/>
                <a:gd name="connsiteX190" fmla="*/ 1789571 w 2096597"/>
                <a:gd name="connsiteY190" fmla="*/ 283080 h 283512"/>
                <a:gd name="connsiteX191" fmla="*/ 1721395 w 2096597"/>
                <a:gd name="connsiteY191" fmla="*/ 264630 h 283512"/>
                <a:gd name="connsiteX192" fmla="*/ 1694730 w 2096597"/>
                <a:gd name="connsiteY192" fmla="*/ 213751 h 283512"/>
                <a:gd name="connsiteX193" fmla="*/ 1753393 w 2096597"/>
                <a:gd name="connsiteY193" fmla="*/ 213751 h 283512"/>
                <a:gd name="connsiteX194" fmla="*/ 1764491 w 2096597"/>
                <a:gd name="connsiteY194" fmla="*/ 235515 h 283512"/>
                <a:gd name="connsiteX195" fmla="*/ 1789282 w 2096597"/>
                <a:gd name="connsiteY195" fmla="*/ 242722 h 283512"/>
                <a:gd name="connsiteX196" fmla="*/ 1811479 w 2096597"/>
                <a:gd name="connsiteY196" fmla="*/ 237821 h 283512"/>
                <a:gd name="connsiteX197" fmla="*/ 1819695 w 2096597"/>
                <a:gd name="connsiteY197" fmla="*/ 223408 h 283512"/>
                <a:gd name="connsiteX198" fmla="*/ 1815515 w 2096597"/>
                <a:gd name="connsiteY198" fmla="*/ 212886 h 283512"/>
                <a:gd name="connsiteX199" fmla="*/ 1804416 w 2096597"/>
                <a:gd name="connsiteY199" fmla="*/ 206400 h 283512"/>
                <a:gd name="connsiteX200" fmla="*/ 1788562 w 2096597"/>
                <a:gd name="connsiteY200" fmla="*/ 202653 h 283512"/>
                <a:gd name="connsiteX201" fmla="*/ 1770112 w 2096597"/>
                <a:gd name="connsiteY201" fmla="*/ 199482 h 283512"/>
                <a:gd name="connsiteX202" fmla="*/ 1745033 w 2096597"/>
                <a:gd name="connsiteY202" fmla="*/ 194005 h 283512"/>
                <a:gd name="connsiteX203" fmla="*/ 1722404 w 2096597"/>
                <a:gd name="connsiteY203" fmla="*/ 184348 h 283512"/>
                <a:gd name="connsiteX204" fmla="*/ 1706261 w 2096597"/>
                <a:gd name="connsiteY204" fmla="*/ 167052 h 283512"/>
                <a:gd name="connsiteX205" fmla="*/ 1700207 w 2096597"/>
                <a:gd name="connsiteY205" fmla="*/ 139090 h 283512"/>
                <a:gd name="connsiteX206" fmla="*/ 1706837 w 2096597"/>
                <a:gd name="connsiteY206" fmla="*/ 111992 h 283512"/>
                <a:gd name="connsiteX207" fmla="*/ 1724999 w 2096597"/>
                <a:gd name="connsiteY207" fmla="*/ 92390 h 283512"/>
                <a:gd name="connsiteX208" fmla="*/ 1751808 w 2096597"/>
                <a:gd name="connsiteY208" fmla="*/ 80571 h 283512"/>
                <a:gd name="connsiteX209" fmla="*/ 1784382 w 2096597"/>
                <a:gd name="connsiteY209" fmla="*/ 76535 h 283512"/>
                <a:gd name="connsiteX210" fmla="*/ 1847945 w 2096597"/>
                <a:gd name="connsiteY210" fmla="*/ 93255 h 283512"/>
                <a:gd name="connsiteX211" fmla="*/ 1872304 w 2096597"/>
                <a:gd name="connsiteY211" fmla="*/ 138945 h 283512"/>
                <a:gd name="connsiteX212" fmla="*/ 1815226 w 2096597"/>
                <a:gd name="connsiteY212" fmla="*/ 138945 h 283512"/>
                <a:gd name="connsiteX213" fmla="*/ 1805137 w 2096597"/>
                <a:gd name="connsiteY213" fmla="*/ 120929 h 283512"/>
                <a:gd name="connsiteX214" fmla="*/ 1783949 w 2096597"/>
                <a:gd name="connsiteY214" fmla="*/ 116172 h 283512"/>
                <a:gd name="connsiteX215" fmla="*/ 1764780 w 2096597"/>
                <a:gd name="connsiteY215" fmla="*/ 120496 h 283512"/>
                <a:gd name="connsiteX216" fmla="*/ 1756996 w 2096597"/>
                <a:gd name="connsiteY216" fmla="*/ 134045 h 283512"/>
                <a:gd name="connsiteX217" fmla="*/ 1760744 w 2096597"/>
                <a:gd name="connsiteY217" fmla="*/ 142405 h 283512"/>
                <a:gd name="connsiteX218" fmla="*/ 1770977 w 2096597"/>
                <a:gd name="connsiteY218" fmla="*/ 147593 h 283512"/>
                <a:gd name="connsiteX219" fmla="*/ 1785967 w 2096597"/>
                <a:gd name="connsiteY219" fmla="*/ 151197 h 283512"/>
                <a:gd name="connsiteX220" fmla="*/ 1803696 w 2096597"/>
                <a:gd name="connsiteY220" fmla="*/ 154224 h 283512"/>
                <a:gd name="connsiteX221" fmla="*/ 1829784 w 2096597"/>
                <a:gd name="connsiteY221" fmla="*/ 159701 h 283512"/>
                <a:gd name="connsiteX222" fmla="*/ 1853710 w 2096597"/>
                <a:gd name="connsiteY222" fmla="*/ 169790 h 283512"/>
                <a:gd name="connsiteX223" fmla="*/ 1871439 w 2096597"/>
                <a:gd name="connsiteY223" fmla="*/ 188239 h 283512"/>
                <a:gd name="connsiteX224" fmla="*/ 1878357 w 2096597"/>
                <a:gd name="connsiteY224" fmla="*/ 218508 h 283512"/>
                <a:gd name="connsiteX225" fmla="*/ 1871727 w 2096597"/>
                <a:gd name="connsiteY225" fmla="*/ 246614 h 283512"/>
                <a:gd name="connsiteX226" fmla="*/ 1853278 w 2096597"/>
                <a:gd name="connsiteY226" fmla="*/ 266792 h 283512"/>
                <a:gd name="connsiteX227" fmla="*/ 1825172 w 2096597"/>
                <a:gd name="connsiteY227" fmla="*/ 279044 h 283512"/>
                <a:gd name="connsiteX228" fmla="*/ 1789715 w 2096597"/>
                <a:gd name="connsiteY228" fmla="*/ 283224 h 283512"/>
                <a:gd name="connsiteX229" fmla="*/ 1999430 w 2096597"/>
                <a:gd name="connsiteY229" fmla="*/ 282791 h 283512"/>
                <a:gd name="connsiteX230" fmla="*/ 1956046 w 2096597"/>
                <a:gd name="connsiteY230" fmla="*/ 275008 h 283512"/>
                <a:gd name="connsiteX231" fmla="*/ 1923327 w 2096597"/>
                <a:gd name="connsiteY231" fmla="*/ 253244 h 283512"/>
                <a:gd name="connsiteX232" fmla="*/ 1902716 w 2096597"/>
                <a:gd name="connsiteY232" fmla="*/ 220381 h 283512"/>
                <a:gd name="connsiteX233" fmla="*/ 1895509 w 2096597"/>
                <a:gd name="connsiteY233" fmla="*/ 179303 h 283512"/>
                <a:gd name="connsiteX234" fmla="*/ 1902716 w 2096597"/>
                <a:gd name="connsiteY234" fmla="*/ 138801 h 283512"/>
                <a:gd name="connsiteX235" fmla="*/ 1923327 w 2096597"/>
                <a:gd name="connsiteY235" fmla="*/ 106083 h 283512"/>
                <a:gd name="connsiteX236" fmla="*/ 1954893 w 2096597"/>
                <a:gd name="connsiteY236" fmla="*/ 84463 h 283512"/>
                <a:gd name="connsiteX237" fmla="*/ 1995683 w 2096597"/>
                <a:gd name="connsiteY237" fmla="*/ 76679 h 283512"/>
                <a:gd name="connsiteX238" fmla="*/ 2033157 w 2096597"/>
                <a:gd name="connsiteY238" fmla="*/ 83165 h 283512"/>
                <a:gd name="connsiteX239" fmla="*/ 2062273 w 2096597"/>
                <a:gd name="connsiteY239" fmla="*/ 101038 h 283512"/>
                <a:gd name="connsiteX240" fmla="*/ 2088361 w 2096597"/>
                <a:gd name="connsiteY240" fmla="*/ 141540 h 283512"/>
                <a:gd name="connsiteX241" fmla="*/ 2096577 w 2096597"/>
                <a:gd name="connsiteY241" fmla="*/ 195734 h 283512"/>
                <a:gd name="connsiteX242" fmla="*/ 1956478 w 2096597"/>
                <a:gd name="connsiteY242" fmla="*/ 195734 h 283512"/>
                <a:gd name="connsiteX243" fmla="*/ 1970171 w 2096597"/>
                <a:gd name="connsiteY243" fmla="*/ 227011 h 283512"/>
                <a:gd name="connsiteX244" fmla="*/ 2000295 w 2096597"/>
                <a:gd name="connsiteY244" fmla="*/ 238398 h 283512"/>
                <a:gd name="connsiteX245" fmla="*/ 2020474 w 2096597"/>
                <a:gd name="connsiteY245" fmla="*/ 233209 h 283512"/>
                <a:gd name="connsiteX246" fmla="*/ 2032725 w 2096597"/>
                <a:gd name="connsiteY246" fmla="*/ 218940 h 283512"/>
                <a:gd name="connsiteX247" fmla="*/ 2093262 w 2096597"/>
                <a:gd name="connsiteY247" fmla="*/ 218940 h 283512"/>
                <a:gd name="connsiteX248" fmla="*/ 2081875 w 2096597"/>
                <a:gd name="connsiteY248" fmla="*/ 244308 h 283512"/>
                <a:gd name="connsiteX249" fmla="*/ 2060543 w 2096597"/>
                <a:gd name="connsiteY249" fmla="*/ 265063 h 283512"/>
                <a:gd name="connsiteX250" fmla="*/ 2033302 w 2096597"/>
                <a:gd name="connsiteY250" fmla="*/ 278323 h 283512"/>
                <a:gd name="connsiteX251" fmla="*/ 1999574 w 2096597"/>
                <a:gd name="connsiteY251" fmla="*/ 282936 h 283512"/>
                <a:gd name="connsiteX252" fmla="*/ 2033878 w 2096597"/>
                <a:gd name="connsiteY252" fmla="*/ 158836 h 283512"/>
                <a:gd name="connsiteX253" fmla="*/ 2022059 w 2096597"/>
                <a:gd name="connsiteY253" fmla="*/ 131018 h 283512"/>
                <a:gd name="connsiteX254" fmla="*/ 1996980 w 2096597"/>
                <a:gd name="connsiteY254" fmla="*/ 120784 h 283512"/>
                <a:gd name="connsiteX255" fmla="*/ 1969594 w 2096597"/>
                <a:gd name="connsiteY255" fmla="*/ 131018 h 283512"/>
                <a:gd name="connsiteX256" fmla="*/ 1957055 w 2096597"/>
                <a:gd name="connsiteY256" fmla="*/ 158836 h 283512"/>
                <a:gd name="connsiteX257" fmla="*/ 2033878 w 2096597"/>
                <a:gd name="connsiteY257" fmla="*/ 15883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6597" h="283512">
                  <a:moveTo>
                    <a:pt x="129433" y="283512"/>
                  </a:moveTo>
                  <a:cubicBezTo>
                    <a:pt x="109830" y="283512"/>
                    <a:pt x="92390" y="280197"/>
                    <a:pt x="76968" y="273567"/>
                  </a:cubicBezTo>
                  <a:cubicBezTo>
                    <a:pt x="61545" y="266937"/>
                    <a:pt x="47997" y="257568"/>
                    <a:pt x="36610" y="245461"/>
                  </a:cubicBezTo>
                  <a:cubicBezTo>
                    <a:pt x="24647" y="232489"/>
                    <a:pt x="15567" y="217354"/>
                    <a:pt x="9369" y="199770"/>
                  </a:cubicBezTo>
                  <a:cubicBezTo>
                    <a:pt x="3171" y="182330"/>
                    <a:pt x="0" y="163160"/>
                    <a:pt x="0" y="142260"/>
                  </a:cubicBezTo>
                  <a:cubicBezTo>
                    <a:pt x="0" y="121361"/>
                    <a:pt x="3459" y="100894"/>
                    <a:pt x="10522" y="82733"/>
                  </a:cubicBezTo>
                  <a:cubicBezTo>
                    <a:pt x="17440" y="64572"/>
                    <a:pt x="27386" y="49006"/>
                    <a:pt x="40358" y="36178"/>
                  </a:cubicBezTo>
                  <a:cubicBezTo>
                    <a:pt x="51744" y="24791"/>
                    <a:pt x="65149" y="15855"/>
                    <a:pt x="80715" y="9513"/>
                  </a:cubicBezTo>
                  <a:cubicBezTo>
                    <a:pt x="96138" y="3171"/>
                    <a:pt x="113866" y="0"/>
                    <a:pt x="133612" y="0"/>
                  </a:cubicBezTo>
                  <a:cubicBezTo>
                    <a:pt x="151053" y="0"/>
                    <a:pt x="166907" y="2162"/>
                    <a:pt x="180744" y="6630"/>
                  </a:cubicBezTo>
                  <a:cubicBezTo>
                    <a:pt x="194725" y="11098"/>
                    <a:pt x="206833" y="17440"/>
                    <a:pt x="216922" y="25656"/>
                  </a:cubicBezTo>
                  <a:cubicBezTo>
                    <a:pt x="227011" y="33872"/>
                    <a:pt x="235227" y="43817"/>
                    <a:pt x="241425" y="55492"/>
                  </a:cubicBezTo>
                  <a:cubicBezTo>
                    <a:pt x="247623" y="67167"/>
                    <a:pt x="251947" y="80139"/>
                    <a:pt x="254109" y="94264"/>
                  </a:cubicBezTo>
                  <a:lnTo>
                    <a:pt x="188672" y="94264"/>
                  </a:lnTo>
                  <a:cubicBezTo>
                    <a:pt x="186077" y="83165"/>
                    <a:pt x="180456" y="73797"/>
                    <a:pt x="171520" y="66446"/>
                  </a:cubicBezTo>
                  <a:cubicBezTo>
                    <a:pt x="162583" y="59095"/>
                    <a:pt x="150764" y="55348"/>
                    <a:pt x="135774" y="55348"/>
                  </a:cubicBezTo>
                  <a:cubicBezTo>
                    <a:pt x="124532" y="55348"/>
                    <a:pt x="114731" y="57654"/>
                    <a:pt x="106227" y="61978"/>
                  </a:cubicBezTo>
                  <a:cubicBezTo>
                    <a:pt x="97723" y="66446"/>
                    <a:pt x="90660" y="72500"/>
                    <a:pt x="85039" y="80283"/>
                  </a:cubicBezTo>
                  <a:cubicBezTo>
                    <a:pt x="79418" y="88066"/>
                    <a:pt x="75238" y="97146"/>
                    <a:pt x="72500" y="107668"/>
                  </a:cubicBezTo>
                  <a:cubicBezTo>
                    <a:pt x="69761" y="118190"/>
                    <a:pt x="68320" y="129721"/>
                    <a:pt x="68320" y="142116"/>
                  </a:cubicBezTo>
                  <a:cubicBezTo>
                    <a:pt x="68320" y="154512"/>
                    <a:pt x="69905" y="166043"/>
                    <a:pt x="73076" y="176709"/>
                  </a:cubicBezTo>
                  <a:cubicBezTo>
                    <a:pt x="76247" y="187375"/>
                    <a:pt x="80715" y="196599"/>
                    <a:pt x="86625" y="204238"/>
                  </a:cubicBezTo>
                  <a:cubicBezTo>
                    <a:pt x="92534" y="212021"/>
                    <a:pt x="99597" y="218075"/>
                    <a:pt x="108101" y="222255"/>
                  </a:cubicBezTo>
                  <a:cubicBezTo>
                    <a:pt x="116605" y="226579"/>
                    <a:pt x="126117" y="228741"/>
                    <a:pt x="136783" y="228741"/>
                  </a:cubicBezTo>
                  <a:cubicBezTo>
                    <a:pt x="145576" y="228741"/>
                    <a:pt x="153647" y="227444"/>
                    <a:pt x="160566" y="224705"/>
                  </a:cubicBezTo>
                  <a:cubicBezTo>
                    <a:pt x="167484" y="222111"/>
                    <a:pt x="173538" y="218508"/>
                    <a:pt x="178438" y="214039"/>
                  </a:cubicBezTo>
                  <a:cubicBezTo>
                    <a:pt x="183339" y="209571"/>
                    <a:pt x="187375" y="204526"/>
                    <a:pt x="190257" y="198761"/>
                  </a:cubicBezTo>
                  <a:cubicBezTo>
                    <a:pt x="193140" y="193140"/>
                    <a:pt x="195014" y="187230"/>
                    <a:pt x="195734" y="181033"/>
                  </a:cubicBezTo>
                  <a:lnTo>
                    <a:pt x="195734" y="180312"/>
                  </a:lnTo>
                  <a:lnTo>
                    <a:pt x="144711" y="180312"/>
                  </a:lnTo>
                  <a:lnTo>
                    <a:pt x="144711" y="130874"/>
                  </a:lnTo>
                  <a:lnTo>
                    <a:pt x="258144" y="130874"/>
                  </a:lnTo>
                  <a:lnTo>
                    <a:pt x="258144" y="277026"/>
                  </a:lnTo>
                  <a:lnTo>
                    <a:pt x="211013" y="277026"/>
                  </a:lnTo>
                  <a:lnTo>
                    <a:pt x="207265" y="244308"/>
                  </a:lnTo>
                  <a:lnTo>
                    <a:pt x="206544" y="244308"/>
                  </a:lnTo>
                  <a:cubicBezTo>
                    <a:pt x="197608" y="258289"/>
                    <a:pt x="186654" y="268234"/>
                    <a:pt x="173682" y="274143"/>
                  </a:cubicBezTo>
                  <a:cubicBezTo>
                    <a:pt x="160566" y="280053"/>
                    <a:pt x="145864" y="283080"/>
                    <a:pt x="129288" y="283080"/>
                  </a:cubicBezTo>
                  <a:moveTo>
                    <a:pt x="358029" y="282647"/>
                  </a:moveTo>
                  <a:cubicBezTo>
                    <a:pt x="335400" y="282647"/>
                    <a:pt x="318393" y="276017"/>
                    <a:pt x="306862" y="262613"/>
                  </a:cubicBezTo>
                  <a:cubicBezTo>
                    <a:pt x="295331" y="249352"/>
                    <a:pt x="289566" y="231768"/>
                    <a:pt x="289566" y="209859"/>
                  </a:cubicBezTo>
                  <a:lnTo>
                    <a:pt x="289566" y="82012"/>
                  </a:lnTo>
                  <a:lnTo>
                    <a:pt x="351255" y="82012"/>
                  </a:lnTo>
                  <a:lnTo>
                    <a:pt x="351255" y="197032"/>
                  </a:lnTo>
                  <a:cubicBezTo>
                    <a:pt x="351255" y="207697"/>
                    <a:pt x="353705" y="215913"/>
                    <a:pt x="358462" y="221534"/>
                  </a:cubicBezTo>
                  <a:cubicBezTo>
                    <a:pt x="363218" y="227300"/>
                    <a:pt x="370713" y="230038"/>
                    <a:pt x="380514" y="230038"/>
                  </a:cubicBezTo>
                  <a:cubicBezTo>
                    <a:pt x="391180" y="230038"/>
                    <a:pt x="399540" y="226435"/>
                    <a:pt x="405594" y="219228"/>
                  </a:cubicBezTo>
                  <a:cubicBezTo>
                    <a:pt x="411647" y="212021"/>
                    <a:pt x="414674" y="202509"/>
                    <a:pt x="414674" y="190834"/>
                  </a:cubicBezTo>
                  <a:lnTo>
                    <a:pt x="414674" y="82012"/>
                  </a:lnTo>
                  <a:lnTo>
                    <a:pt x="476652" y="82012"/>
                  </a:lnTo>
                  <a:lnTo>
                    <a:pt x="476652" y="276882"/>
                  </a:lnTo>
                  <a:lnTo>
                    <a:pt x="417269" y="276882"/>
                  </a:lnTo>
                  <a:lnTo>
                    <a:pt x="417269" y="252956"/>
                  </a:lnTo>
                  <a:lnTo>
                    <a:pt x="416116" y="252956"/>
                  </a:lnTo>
                  <a:cubicBezTo>
                    <a:pt x="409053" y="262613"/>
                    <a:pt x="400981" y="269963"/>
                    <a:pt x="391901" y="275008"/>
                  </a:cubicBezTo>
                  <a:cubicBezTo>
                    <a:pt x="382965" y="280053"/>
                    <a:pt x="371578" y="282647"/>
                    <a:pt x="357885" y="282647"/>
                  </a:cubicBezTo>
                  <a:moveTo>
                    <a:pt x="511965" y="2162"/>
                  </a:moveTo>
                  <a:lnTo>
                    <a:pt x="573943" y="2162"/>
                  </a:lnTo>
                  <a:lnTo>
                    <a:pt x="573943" y="55059"/>
                  </a:lnTo>
                  <a:lnTo>
                    <a:pt x="511965" y="55059"/>
                  </a:lnTo>
                  <a:lnTo>
                    <a:pt x="511965" y="2162"/>
                  </a:lnTo>
                  <a:close/>
                  <a:moveTo>
                    <a:pt x="511965" y="82012"/>
                  </a:moveTo>
                  <a:lnTo>
                    <a:pt x="573943" y="82012"/>
                  </a:lnTo>
                  <a:lnTo>
                    <a:pt x="573943" y="276882"/>
                  </a:lnTo>
                  <a:lnTo>
                    <a:pt x="511965" y="276882"/>
                  </a:lnTo>
                  <a:lnTo>
                    <a:pt x="511965" y="82012"/>
                  </a:lnTo>
                  <a:close/>
                  <a:moveTo>
                    <a:pt x="685935" y="282936"/>
                  </a:moveTo>
                  <a:cubicBezTo>
                    <a:pt x="673539" y="282936"/>
                    <a:pt x="662009" y="280629"/>
                    <a:pt x="651631" y="275873"/>
                  </a:cubicBezTo>
                  <a:cubicBezTo>
                    <a:pt x="641253" y="271117"/>
                    <a:pt x="632173" y="264342"/>
                    <a:pt x="624678" y="255550"/>
                  </a:cubicBezTo>
                  <a:cubicBezTo>
                    <a:pt x="617039" y="246614"/>
                    <a:pt x="611129" y="235804"/>
                    <a:pt x="606949" y="222976"/>
                  </a:cubicBezTo>
                  <a:cubicBezTo>
                    <a:pt x="602769" y="210148"/>
                    <a:pt x="600607" y="195590"/>
                    <a:pt x="600607" y="179447"/>
                  </a:cubicBezTo>
                  <a:cubicBezTo>
                    <a:pt x="600607" y="164169"/>
                    <a:pt x="602769" y="150332"/>
                    <a:pt x="606949" y="137504"/>
                  </a:cubicBezTo>
                  <a:cubicBezTo>
                    <a:pt x="611129" y="124820"/>
                    <a:pt x="617039" y="114010"/>
                    <a:pt x="624390" y="104930"/>
                  </a:cubicBezTo>
                  <a:cubicBezTo>
                    <a:pt x="631884" y="95993"/>
                    <a:pt x="640821" y="88931"/>
                    <a:pt x="651199" y="83742"/>
                  </a:cubicBezTo>
                  <a:cubicBezTo>
                    <a:pt x="661576" y="78697"/>
                    <a:pt x="673107" y="76103"/>
                    <a:pt x="685791" y="76103"/>
                  </a:cubicBezTo>
                  <a:cubicBezTo>
                    <a:pt x="699483" y="76103"/>
                    <a:pt x="710582" y="78697"/>
                    <a:pt x="718942" y="83886"/>
                  </a:cubicBezTo>
                  <a:cubicBezTo>
                    <a:pt x="727301" y="89075"/>
                    <a:pt x="734364" y="95705"/>
                    <a:pt x="740273" y="103921"/>
                  </a:cubicBezTo>
                  <a:lnTo>
                    <a:pt x="741426" y="103921"/>
                  </a:lnTo>
                  <a:lnTo>
                    <a:pt x="741426" y="1874"/>
                  </a:lnTo>
                  <a:lnTo>
                    <a:pt x="803404" y="1874"/>
                  </a:lnTo>
                  <a:lnTo>
                    <a:pt x="803404" y="276738"/>
                  </a:lnTo>
                  <a:lnTo>
                    <a:pt x="744021" y="276738"/>
                  </a:lnTo>
                  <a:lnTo>
                    <a:pt x="744021" y="250505"/>
                  </a:lnTo>
                  <a:lnTo>
                    <a:pt x="743300" y="250505"/>
                  </a:lnTo>
                  <a:cubicBezTo>
                    <a:pt x="737535" y="260595"/>
                    <a:pt x="729607" y="268522"/>
                    <a:pt x="719951" y="274287"/>
                  </a:cubicBezTo>
                  <a:cubicBezTo>
                    <a:pt x="710149" y="280053"/>
                    <a:pt x="698907" y="282791"/>
                    <a:pt x="685935" y="282791"/>
                  </a:cubicBezTo>
                  <a:moveTo>
                    <a:pt x="701934" y="233642"/>
                  </a:moveTo>
                  <a:cubicBezTo>
                    <a:pt x="714906" y="233642"/>
                    <a:pt x="724995" y="228597"/>
                    <a:pt x="732202" y="218363"/>
                  </a:cubicBezTo>
                  <a:cubicBezTo>
                    <a:pt x="739409" y="208274"/>
                    <a:pt x="743012" y="195158"/>
                    <a:pt x="743012" y="179159"/>
                  </a:cubicBezTo>
                  <a:cubicBezTo>
                    <a:pt x="743012" y="171087"/>
                    <a:pt x="742147" y="163448"/>
                    <a:pt x="740562" y="156530"/>
                  </a:cubicBezTo>
                  <a:cubicBezTo>
                    <a:pt x="738976" y="149611"/>
                    <a:pt x="736382" y="143558"/>
                    <a:pt x="732923" y="138657"/>
                  </a:cubicBezTo>
                  <a:cubicBezTo>
                    <a:pt x="729463" y="133757"/>
                    <a:pt x="725284" y="129865"/>
                    <a:pt x="720383" y="126982"/>
                  </a:cubicBezTo>
                  <a:cubicBezTo>
                    <a:pt x="715482" y="124244"/>
                    <a:pt x="709573" y="122802"/>
                    <a:pt x="702654" y="122802"/>
                  </a:cubicBezTo>
                  <a:cubicBezTo>
                    <a:pt x="690259" y="122802"/>
                    <a:pt x="680602" y="127991"/>
                    <a:pt x="673683" y="138225"/>
                  </a:cubicBezTo>
                  <a:cubicBezTo>
                    <a:pt x="666765" y="148458"/>
                    <a:pt x="663450" y="161863"/>
                    <a:pt x="663450" y="178438"/>
                  </a:cubicBezTo>
                  <a:cubicBezTo>
                    <a:pt x="663450" y="195014"/>
                    <a:pt x="666765" y="208851"/>
                    <a:pt x="673539" y="218796"/>
                  </a:cubicBezTo>
                  <a:cubicBezTo>
                    <a:pt x="680314" y="228741"/>
                    <a:pt x="689682" y="233642"/>
                    <a:pt x="701934" y="233642"/>
                  </a:cubicBezTo>
                  <a:moveTo>
                    <a:pt x="930242" y="282359"/>
                  </a:moveTo>
                  <a:cubicBezTo>
                    <a:pt x="914243" y="282359"/>
                    <a:pt x="899830" y="279765"/>
                    <a:pt x="886858" y="274576"/>
                  </a:cubicBezTo>
                  <a:cubicBezTo>
                    <a:pt x="873886" y="269387"/>
                    <a:pt x="862932" y="262180"/>
                    <a:pt x="854139" y="252811"/>
                  </a:cubicBezTo>
                  <a:cubicBezTo>
                    <a:pt x="845203" y="243587"/>
                    <a:pt x="838429" y="232633"/>
                    <a:pt x="833528" y="219949"/>
                  </a:cubicBezTo>
                  <a:cubicBezTo>
                    <a:pt x="828772" y="207265"/>
                    <a:pt x="826322" y="193572"/>
                    <a:pt x="826322" y="178871"/>
                  </a:cubicBezTo>
                  <a:cubicBezTo>
                    <a:pt x="826322" y="164169"/>
                    <a:pt x="828772" y="150909"/>
                    <a:pt x="833528" y="138369"/>
                  </a:cubicBezTo>
                  <a:cubicBezTo>
                    <a:pt x="838285" y="125829"/>
                    <a:pt x="845203" y="114875"/>
                    <a:pt x="854139" y="105650"/>
                  </a:cubicBezTo>
                  <a:cubicBezTo>
                    <a:pt x="863076" y="96426"/>
                    <a:pt x="873598" y="89219"/>
                    <a:pt x="885705" y="84030"/>
                  </a:cubicBezTo>
                  <a:cubicBezTo>
                    <a:pt x="897812" y="78841"/>
                    <a:pt x="911505" y="76247"/>
                    <a:pt x="926495" y="76247"/>
                  </a:cubicBezTo>
                  <a:cubicBezTo>
                    <a:pt x="940476" y="76247"/>
                    <a:pt x="953016" y="78409"/>
                    <a:pt x="963970" y="82733"/>
                  </a:cubicBezTo>
                  <a:cubicBezTo>
                    <a:pt x="975068" y="87057"/>
                    <a:pt x="984725" y="92967"/>
                    <a:pt x="993085" y="100606"/>
                  </a:cubicBezTo>
                  <a:cubicBezTo>
                    <a:pt x="1004760" y="111272"/>
                    <a:pt x="1013408" y="124820"/>
                    <a:pt x="1019173" y="141107"/>
                  </a:cubicBezTo>
                  <a:cubicBezTo>
                    <a:pt x="1024939" y="157539"/>
                    <a:pt x="1027533" y="175556"/>
                    <a:pt x="1027389" y="195302"/>
                  </a:cubicBezTo>
                  <a:lnTo>
                    <a:pt x="887290" y="195302"/>
                  </a:lnTo>
                  <a:cubicBezTo>
                    <a:pt x="889308" y="208562"/>
                    <a:pt x="893921" y="218940"/>
                    <a:pt x="900983" y="226579"/>
                  </a:cubicBezTo>
                  <a:cubicBezTo>
                    <a:pt x="908046" y="234218"/>
                    <a:pt x="918135" y="237966"/>
                    <a:pt x="931107" y="237966"/>
                  </a:cubicBezTo>
                  <a:cubicBezTo>
                    <a:pt x="939179" y="237966"/>
                    <a:pt x="945953" y="236236"/>
                    <a:pt x="951286" y="232777"/>
                  </a:cubicBezTo>
                  <a:cubicBezTo>
                    <a:pt x="956619" y="229318"/>
                    <a:pt x="960655" y="224561"/>
                    <a:pt x="963393" y="218508"/>
                  </a:cubicBezTo>
                  <a:lnTo>
                    <a:pt x="1023930" y="218508"/>
                  </a:lnTo>
                  <a:cubicBezTo>
                    <a:pt x="1021912" y="227444"/>
                    <a:pt x="1018020" y="235804"/>
                    <a:pt x="1012543" y="243875"/>
                  </a:cubicBezTo>
                  <a:cubicBezTo>
                    <a:pt x="1006922" y="251803"/>
                    <a:pt x="999859" y="258721"/>
                    <a:pt x="991211" y="264630"/>
                  </a:cubicBezTo>
                  <a:cubicBezTo>
                    <a:pt x="983140" y="270540"/>
                    <a:pt x="974059" y="274864"/>
                    <a:pt x="963970" y="277891"/>
                  </a:cubicBezTo>
                  <a:cubicBezTo>
                    <a:pt x="954024" y="280918"/>
                    <a:pt x="942782" y="282503"/>
                    <a:pt x="930242" y="282503"/>
                  </a:cubicBezTo>
                  <a:moveTo>
                    <a:pt x="964546" y="158404"/>
                  </a:moveTo>
                  <a:cubicBezTo>
                    <a:pt x="963249" y="146729"/>
                    <a:pt x="959357" y="137504"/>
                    <a:pt x="952727" y="130586"/>
                  </a:cubicBezTo>
                  <a:cubicBezTo>
                    <a:pt x="946097" y="123811"/>
                    <a:pt x="937737" y="120352"/>
                    <a:pt x="927648" y="120352"/>
                  </a:cubicBezTo>
                  <a:cubicBezTo>
                    <a:pt x="915685" y="120352"/>
                    <a:pt x="906604" y="123811"/>
                    <a:pt x="900262" y="130586"/>
                  </a:cubicBezTo>
                  <a:cubicBezTo>
                    <a:pt x="893921" y="137504"/>
                    <a:pt x="889741" y="146729"/>
                    <a:pt x="887723" y="158404"/>
                  </a:cubicBezTo>
                  <a:lnTo>
                    <a:pt x="964546" y="158404"/>
                  </a:lnTo>
                  <a:close/>
                  <a:moveTo>
                    <a:pt x="1050162" y="2018"/>
                  </a:moveTo>
                  <a:lnTo>
                    <a:pt x="1112140" y="2018"/>
                  </a:lnTo>
                  <a:lnTo>
                    <a:pt x="1112140" y="105939"/>
                  </a:lnTo>
                  <a:lnTo>
                    <a:pt x="1113293" y="105939"/>
                  </a:lnTo>
                  <a:cubicBezTo>
                    <a:pt x="1120355" y="96570"/>
                    <a:pt x="1128427" y="89219"/>
                    <a:pt x="1137219" y="84030"/>
                  </a:cubicBezTo>
                  <a:cubicBezTo>
                    <a:pt x="1146155" y="78841"/>
                    <a:pt x="1157398" y="76247"/>
                    <a:pt x="1171091" y="76247"/>
                  </a:cubicBezTo>
                  <a:cubicBezTo>
                    <a:pt x="1181757" y="76247"/>
                    <a:pt x="1191269" y="78121"/>
                    <a:pt x="1199629" y="81724"/>
                  </a:cubicBezTo>
                  <a:cubicBezTo>
                    <a:pt x="1207989" y="85327"/>
                    <a:pt x="1215052" y="90516"/>
                    <a:pt x="1220961" y="97002"/>
                  </a:cubicBezTo>
                  <a:cubicBezTo>
                    <a:pt x="1226871" y="103488"/>
                    <a:pt x="1231195" y="111272"/>
                    <a:pt x="1234366" y="120208"/>
                  </a:cubicBezTo>
                  <a:cubicBezTo>
                    <a:pt x="1237392" y="129144"/>
                    <a:pt x="1238978" y="139234"/>
                    <a:pt x="1238978" y="150044"/>
                  </a:cubicBezTo>
                  <a:lnTo>
                    <a:pt x="1238978" y="276738"/>
                  </a:lnTo>
                  <a:lnTo>
                    <a:pt x="1177000" y="276738"/>
                  </a:lnTo>
                  <a:lnTo>
                    <a:pt x="1177000" y="162583"/>
                  </a:lnTo>
                  <a:cubicBezTo>
                    <a:pt x="1177000" y="152206"/>
                    <a:pt x="1174406" y="143846"/>
                    <a:pt x="1169361" y="137504"/>
                  </a:cubicBezTo>
                  <a:cubicBezTo>
                    <a:pt x="1164316" y="131162"/>
                    <a:pt x="1156677" y="127991"/>
                    <a:pt x="1146588" y="127991"/>
                  </a:cubicBezTo>
                  <a:cubicBezTo>
                    <a:pt x="1136498" y="127991"/>
                    <a:pt x="1127850" y="131739"/>
                    <a:pt x="1121653" y="139378"/>
                  </a:cubicBezTo>
                  <a:cubicBezTo>
                    <a:pt x="1115455" y="147017"/>
                    <a:pt x="1112284" y="156962"/>
                    <a:pt x="1112284" y="169069"/>
                  </a:cubicBezTo>
                  <a:lnTo>
                    <a:pt x="1112284" y="276738"/>
                  </a:lnTo>
                  <a:lnTo>
                    <a:pt x="1050306" y="276738"/>
                  </a:lnTo>
                  <a:lnTo>
                    <a:pt x="1050306" y="1874"/>
                  </a:lnTo>
                  <a:close/>
                  <a:moveTo>
                    <a:pt x="1362645" y="282936"/>
                  </a:moveTo>
                  <a:cubicBezTo>
                    <a:pt x="1346935" y="282936"/>
                    <a:pt x="1332665" y="280341"/>
                    <a:pt x="1319837" y="275152"/>
                  </a:cubicBezTo>
                  <a:cubicBezTo>
                    <a:pt x="1307009" y="269963"/>
                    <a:pt x="1296055" y="262757"/>
                    <a:pt x="1286830" y="253388"/>
                  </a:cubicBezTo>
                  <a:cubicBezTo>
                    <a:pt x="1277750" y="244163"/>
                    <a:pt x="1270687" y="233209"/>
                    <a:pt x="1265787" y="220670"/>
                  </a:cubicBezTo>
                  <a:cubicBezTo>
                    <a:pt x="1260886" y="208130"/>
                    <a:pt x="1258292" y="194437"/>
                    <a:pt x="1258292" y="179735"/>
                  </a:cubicBezTo>
                  <a:cubicBezTo>
                    <a:pt x="1258292" y="165034"/>
                    <a:pt x="1260742" y="151341"/>
                    <a:pt x="1265787" y="138801"/>
                  </a:cubicBezTo>
                  <a:cubicBezTo>
                    <a:pt x="1270687" y="126262"/>
                    <a:pt x="1277750" y="115307"/>
                    <a:pt x="1286830" y="106083"/>
                  </a:cubicBezTo>
                  <a:cubicBezTo>
                    <a:pt x="1295911" y="96858"/>
                    <a:pt x="1307009" y="89651"/>
                    <a:pt x="1319837" y="84463"/>
                  </a:cubicBezTo>
                  <a:cubicBezTo>
                    <a:pt x="1332665" y="79274"/>
                    <a:pt x="1346935" y="76679"/>
                    <a:pt x="1362645" y="76679"/>
                  </a:cubicBezTo>
                  <a:cubicBezTo>
                    <a:pt x="1378356" y="76679"/>
                    <a:pt x="1392625" y="79274"/>
                    <a:pt x="1405453" y="84463"/>
                  </a:cubicBezTo>
                  <a:cubicBezTo>
                    <a:pt x="1418281" y="89651"/>
                    <a:pt x="1429235" y="96858"/>
                    <a:pt x="1438171" y="106083"/>
                  </a:cubicBezTo>
                  <a:cubicBezTo>
                    <a:pt x="1447108" y="115307"/>
                    <a:pt x="1454170" y="126262"/>
                    <a:pt x="1459071" y="138801"/>
                  </a:cubicBezTo>
                  <a:cubicBezTo>
                    <a:pt x="1463971" y="151341"/>
                    <a:pt x="1466422" y="165034"/>
                    <a:pt x="1466422" y="179735"/>
                  </a:cubicBezTo>
                  <a:cubicBezTo>
                    <a:pt x="1466422" y="194437"/>
                    <a:pt x="1463971" y="208130"/>
                    <a:pt x="1459071" y="220670"/>
                  </a:cubicBezTo>
                  <a:cubicBezTo>
                    <a:pt x="1454170" y="233209"/>
                    <a:pt x="1447108" y="244163"/>
                    <a:pt x="1438171" y="253388"/>
                  </a:cubicBezTo>
                  <a:cubicBezTo>
                    <a:pt x="1429235" y="262613"/>
                    <a:pt x="1418281" y="269819"/>
                    <a:pt x="1405453" y="275152"/>
                  </a:cubicBezTo>
                  <a:cubicBezTo>
                    <a:pt x="1392625" y="280341"/>
                    <a:pt x="1378356" y="282936"/>
                    <a:pt x="1362645" y="282936"/>
                  </a:cubicBezTo>
                  <a:moveTo>
                    <a:pt x="1362213" y="238830"/>
                  </a:moveTo>
                  <a:cubicBezTo>
                    <a:pt x="1375905" y="238830"/>
                    <a:pt x="1386283" y="233497"/>
                    <a:pt x="1393201" y="222687"/>
                  </a:cubicBezTo>
                  <a:cubicBezTo>
                    <a:pt x="1400264" y="211877"/>
                    <a:pt x="1403723" y="197608"/>
                    <a:pt x="1403723" y="179880"/>
                  </a:cubicBezTo>
                  <a:cubicBezTo>
                    <a:pt x="1403723" y="162151"/>
                    <a:pt x="1400264" y="147738"/>
                    <a:pt x="1393201" y="136928"/>
                  </a:cubicBezTo>
                  <a:cubicBezTo>
                    <a:pt x="1386283" y="125973"/>
                    <a:pt x="1375905" y="120496"/>
                    <a:pt x="1362213" y="120496"/>
                  </a:cubicBezTo>
                  <a:cubicBezTo>
                    <a:pt x="1348520" y="120496"/>
                    <a:pt x="1338286" y="125973"/>
                    <a:pt x="1331368" y="136928"/>
                  </a:cubicBezTo>
                  <a:cubicBezTo>
                    <a:pt x="1324594" y="147882"/>
                    <a:pt x="1321134" y="162151"/>
                    <a:pt x="1321134" y="179880"/>
                  </a:cubicBezTo>
                  <a:cubicBezTo>
                    <a:pt x="1321134" y="197608"/>
                    <a:pt x="1324594" y="211877"/>
                    <a:pt x="1331368" y="222687"/>
                  </a:cubicBezTo>
                  <a:cubicBezTo>
                    <a:pt x="1338286" y="233497"/>
                    <a:pt x="1348520" y="238830"/>
                    <a:pt x="1362213" y="238830"/>
                  </a:cubicBezTo>
                  <a:moveTo>
                    <a:pt x="1554488" y="282647"/>
                  </a:moveTo>
                  <a:cubicBezTo>
                    <a:pt x="1531859" y="282647"/>
                    <a:pt x="1514851" y="276017"/>
                    <a:pt x="1503320" y="262613"/>
                  </a:cubicBezTo>
                  <a:cubicBezTo>
                    <a:pt x="1491789" y="249352"/>
                    <a:pt x="1486024" y="231768"/>
                    <a:pt x="1486024" y="209859"/>
                  </a:cubicBezTo>
                  <a:lnTo>
                    <a:pt x="1486024" y="82012"/>
                  </a:lnTo>
                  <a:lnTo>
                    <a:pt x="1547713" y="82012"/>
                  </a:lnTo>
                  <a:lnTo>
                    <a:pt x="1547713" y="197032"/>
                  </a:lnTo>
                  <a:cubicBezTo>
                    <a:pt x="1547713" y="207697"/>
                    <a:pt x="1550164" y="215913"/>
                    <a:pt x="1554920" y="221534"/>
                  </a:cubicBezTo>
                  <a:cubicBezTo>
                    <a:pt x="1559677" y="227300"/>
                    <a:pt x="1567172" y="230038"/>
                    <a:pt x="1576973" y="230038"/>
                  </a:cubicBezTo>
                  <a:cubicBezTo>
                    <a:pt x="1587639" y="230038"/>
                    <a:pt x="1595998" y="226435"/>
                    <a:pt x="1602052" y="219228"/>
                  </a:cubicBezTo>
                  <a:cubicBezTo>
                    <a:pt x="1608106" y="212021"/>
                    <a:pt x="1611132" y="202509"/>
                    <a:pt x="1611132" y="190834"/>
                  </a:cubicBezTo>
                  <a:lnTo>
                    <a:pt x="1611132" y="82012"/>
                  </a:lnTo>
                  <a:lnTo>
                    <a:pt x="1673110" y="82012"/>
                  </a:lnTo>
                  <a:lnTo>
                    <a:pt x="1673110" y="276882"/>
                  </a:lnTo>
                  <a:lnTo>
                    <a:pt x="1613727" y="276882"/>
                  </a:lnTo>
                  <a:lnTo>
                    <a:pt x="1613727" y="252956"/>
                  </a:lnTo>
                  <a:lnTo>
                    <a:pt x="1612574" y="252956"/>
                  </a:lnTo>
                  <a:cubicBezTo>
                    <a:pt x="1605511" y="262613"/>
                    <a:pt x="1597440" y="269963"/>
                    <a:pt x="1588359" y="275008"/>
                  </a:cubicBezTo>
                  <a:cubicBezTo>
                    <a:pt x="1579423" y="280053"/>
                    <a:pt x="1568036" y="282647"/>
                    <a:pt x="1554344" y="282647"/>
                  </a:cubicBezTo>
                  <a:moveTo>
                    <a:pt x="1789571" y="283080"/>
                  </a:moveTo>
                  <a:cubicBezTo>
                    <a:pt x="1760888" y="283080"/>
                    <a:pt x="1738259" y="276882"/>
                    <a:pt x="1721395" y="264630"/>
                  </a:cubicBezTo>
                  <a:cubicBezTo>
                    <a:pt x="1704676" y="252379"/>
                    <a:pt x="1695739" y="235371"/>
                    <a:pt x="1694730" y="213751"/>
                  </a:cubicBezTo>
                  <a:lnTo>
                    <a:pt x="1753393" y="213751"/>
                  </a:lnTo>
                  <a:cubicBezTo>
                    <a:pt x="1754690" y="223408"/>
                    <a:pt x="1758294" y="230615"/>
                    <a:pt x="1764491" y="235515"/>
                  </a:cubicBezTo>
                  <a:cubicBezTo>
                    <a:pt x="1770545" y="240272"/>
                    <a:pt x="1778761" y="242722"/>
                    <a:pt x="1789282" y="242722"/>
                  </a:cubicBezTo>
                  <a:cubicBezTo>
                    <a:pt x="1798651" y="242722"/>
                    <a:pt x="1806146" y="241137"/>
                    <a:pt x="1811479" y="237821"/>
                  </a:cubicBezTo>
                  <a:cubicBezTo>
                    <a:pt x="1816956" y="234506"/>
                    <a:pt x="1819695" y="229750"/>
                    <a:pt x="1819695" y="223408"/>
                  </a:cubicBezTo>
                  <a:cubicBezTo>
                    <a:pt x="1819695" y="219084"/>
                    <a:pt x="1818253" y="215625"/>
                    <a:pt x="1815515" y="212886"/>
                  </a:cubicBezTo>
                  <a:cubicBezTo>
                    <a:pt x="1812776" y="210292"/>
                    <a:pt x="1809029" y="208130"/>
                    <a:pt x="1804416" y="206400"/>
                  </a:cubicBezTo>
                  <a:cubicBezTo>
                    <a:pt x="1799804" y="204815"/>
                    <a:pt x="1794615" y="203518"/>
                    <a:pt x="1788562" y="202653"/>
                  </a:cubicBezTo>
                  <a:cubicBezTo>
                    <a:pt x="1782652" y="201788"/>
                    <a:pt x="1776454" y="200635"/>
                    <a:pt x="1770112" y="199482"/>
                  </a:cubicBezTo>
                  <a:cubicBezTo>
                    <a:pt x="1761753" y="197896"/>
                    <a:pt x="1753393" y="196167"/>
                    <a:pt x="1745033" y="194005"/>
                  </a:cubicBezTo>
                  <a:cubicBezTo>
                    <a:pt x="1736673" y="191843"/>
                    <a:pt x="1729178" y="188672"/>
                    <a:pt x="1722404" y="184348"/>
                  </a:cubicBezTo>
                  <a:cubicBezTo>
                    <a:pt x="1715630" y="180024"/>
                    <a:pt x="1710297" y="174258"/>
                    <a:pt x="1706261" y="167052"/>
                  </a:cubicBezTo>
                  <a:cubicBezTo>
                    <a:pt x="1702225" y="159845"/>
                    <a:pt x="1700207" y="150476"/>
                    <a:pt x="1700207" y="139090"/>
                  </a:cubicBezTo>
                  <a:cubicBezTo>
                    <a:pt x="1700207" y="129000"/>
                    <a:pt x="1702369" y="119920"/>
                    <a:pt x="1706837" y="111992"/>
                  </a:cubicBezTo>
                  <a:cubicBezTo>
                    <a:pt x="1711306" y="104209"/>
                    <a:pt x="1717359" y="97579"/>
                    <a:pt x="1724999" y="92390"/>
                  </a:cubicBezTo>
                  <a:cubicBezTo>
                    <a:pt x="1732638" y="87201"/>
                    <a:pt x="1741574" y="83310"/>
                    <a:pt x="1751808" y="80571"/>
                  </a:cubicBezTo>
                  <a:cubicBezTo>
                    <a:pt x="1762041" y="77977"/>
                    <a:pt x="1772995" y="76535"/>
                    <a:pt x="1784382" y="76535"/>
                  </a:cubicBezTo>
                  <a:cubicBezTo>
                    <a:pt x="1812056" y="76535"/>
                    <a:pt x="1833243" y="82157"/>
                    <a:pt x="1847945" y="93255"/>
                  </a:cubicBezTo>
                  <a:cubicBezTo>
                    <a:pt x="1862647" y="104353"/>
                    <a:pt x="1870718" y="119631"/>
                    <a:pt x="1872304" y="138945"/>
                  </a:cubicBezTo>
                  <a:lnTo>
                    <a:pt x="1815226" y="138945"/>
                  </a:lnTo>
                  <a:cubicBezTo>
                    <a:pt x="1813929" y="130009"/>
                    <a:pt x="1810614" y="124100"/>
                    <a:pt x="1805137" y="120929"/>
                  </a:cubicBezTo>
                  <a:cubicBezTo>
                    <a:pt x="1799660" y="117758"/>
                    <a:pt x="1792598" y="116172"/>
                    <a:pt x="1783949" y="116172"/>
                  </a:cubicBezTo>
                  <a:cubicBezTo>
                    <a:pt x="1776310" y="116172"/>
                    <a:pt x="1769968" y="117614"/>
                    <a:pt x="1764780" y="120496"/>
                  </a:cubicBezTo>
                  <a:cubicBezTo>
                    <a:pt x="1759591" y="123379"/>
                    <a:pt x="1756996" y="127847"/>
                    <a:pt x="1756996" y="134045"/>
                  </a:cubicBezTo>
                  <a:cubicBezTo>
                    <a:pt x="1756996" y="137648"/>
                    <a:pt x="1758294" y="140387"/>
                    <a:pt x="1760744" y="142405"/>
                  </a:cubicBezTo>
                  <a:cubicBezTo>
                    <a:pt x="1763338" y="144423"/>
                    <a:pt x="1766653" y="146152"/>
                    <a:pt x="1770977" y="147593"/>
                  </a:cubicBezTo>
                  <a:cubicBezTo>
                    <a:pt x="1775301" y="149035"/>
                    <a:pt x="1780346" y="150188"/>
                    <a:pt x="1785967" y="151197"/>
                  </a:cubicBezTo>
                  <a:cubicBezTo>
                    <a:pt x="1791733" y="152206"/>
                    <a:pt x="1797642" y="153215"/>
                    <a:pt x="1803696" y="154224"/>
                  </a:cubicBezTo>
                  <a:cubicBezTo>
                    <a:pt x="1812344" y="155665"/>
                    <a:pt x="1820992" y="157539"/>
                    <a:pt x="1829784" y="159701"/>
                  </a:cubicBezTo>
                  <a:cubicBezTo>
                    <a:pt x="1838576" y="161863"/>
                    <a:pt x="1846504" y="165178"/>
                    <a:pt x="1853710" y="169790"/>
                  </a:cubicBezTo>
                  <a:cubicBezTo>
                    <a:pt x="1860917" y="174402"/>
                    <a:pt x="1866827" y="180456"/>
                    <a:pt x="1871439" y="188239"/>
                  </a:cubicBezTo>
                  <a:cubicBezTo>
                    <a:pt x="1876051" y="196023"/>
                    <a:pt x="1878357" y="206112"/>
                    <a:pt x="1878357" y="218508"/>
                  </a:cubicBezTo>
                  <a:cubicBezTo>
                    <a:pt x="1878357" y="229173"/>
                    <a:pt x="1876051" y="238542"/>
                    <a:pt x="1871727" y="246614"/>
                  </a:cubicBezTo>
                  <a:cubicBezTo>
                    <a:pt x="1867259" y="254685"/>
                    <a:pt x="1861061" y="261460"/>
                    <a:pt x="1853278" y="266792"/>
                  </a:cubicBezTo>
                  <a:cubicBezTo>
                    <a:pt x="1845350" y="272125"/>
                    <a:pt x="1835982" y="276161"/>
                    <a:pt x="1825172" y="279044"/>
                  </a:cubicBezTo>
                  <a:cubicBezTo>
                    <a:pt x="1814218" y="281782"/>
                    <a:pt x="1802399" y="283224"/>
                    <a:pt x="1789715" y="283224"/>
                  </a:cubicBezTo>
                  <a:moveTo>
                    <a:pt x="1999430" y="282791"/>
                  </a:moveTo>
                  <a:cubicBezTo>
                    <a:pt x="1983431" y="282791"/>
                    <a:pt x="1969018" y="280197"/>
                    <a:pt x="1956046" y="275008"/>
                  </a:cubicBezTo>
                  <a:cubicBezTo>
                    <a:pt x="1943073" y="269819"/>
                    <a:pt x="1932263" y="262613"/>
                    <a:pt x="1923327" y="253244"/>
                  </a:cubicBezTo>
                  <a:cubicBezTo>
                    <a:pt x="1914391" y="244019"/>
                    <a:pt x="1907617" y="233065"/>
                    <a:pt x="1902716" y="220381"/>
                  </a:cubicBezTo>
                  <a:cubicBezTo>
                    <a:pt x="1897960" y="207697"/>
                    <a:pt x="1895509" y="194005"/>
                    <a:pt x="1895509" y="179303"/>
                  </a:cubicBezTo>
                  <a:cubicBezTo>
                    <a:pt x="1895509" y="164601"/>
                    <a:pt x="1897960" y="151341"/>
                    <a:pt x="1902716" y="138801"/>
                  </a:cubicBezTo>
                  <a:cubicBezTo>
                    <a:pt x="1907473" y="126262"/>
                    <a:pt x="1914391" y="115307"/>
                    <a:pt x="1923327" y="106083"/>
                  </a:cubicBezTo>
                  <a:cubicBezTo>
                    <a:pt x="1932263" y="96858"/>
                    <a:pt x="1942785" y="89651"/>
                    <a:pt x="1954893" y="84463"/>
                  </a:cubicBezTo>
                  <a:cubicBezTo>
                    <a:pt x="1967144" y="79274"/>
                    <a:pt x="1980693" y="76679"/>
                    <a:pt x="1995683" y="76679"/>
                  </a:cubicBezTo>
                  <a:cubicBezTo>
                    <a:pt x="2009664" y="76679"/>
                    <a:pt x="2022059" y="78841"/>
                    <a:pt x="2033157" y="83165"/>
                  </a:cubicBezTo>
                  <a:cubicBezTo>
                    <a:pt x="2044256" y="87489"/>
                    <a:pt x="2053913" y="93399"/>
                    <a:pt x="2062273" y="101038"/>
                  </a:cubicBezTo>
                  <a:cubicBezTo>
                    <a:pt x="2073947" y="111704"/>
                    <a:pt x="2082596" y="125253"/>
                    <a:pt x="2088361" y="141540"/>
                  </a:cubicBezTo>
                  <a:cubicBezTo>
                    <a:pt x="2094126" y="157971"/>
                    <a:pt x="2096865" y="175988"/>
                    <a:pt x="2096577" y="195734"/>
                  </a:cubicBezTo>
                  <a:lnTo>
                    <a:pt x="1956478" y="195734"/>
                  </a:lnTo>
                  <a:cubicBezTo>
                    <a:pt x="1958496" y="208995"/>
                    <a:pt x="1963108" y="219372"/>
                    <a:pt x="1970171" y="227011"/>
                  </a:cubicBezTo>
                  <a:cubicBezTo>
                    <a:pt x="1977233" y="234651"/>
                    <a:pt x="1987323" y="238398"/>
                    <a:pt x="2000295" y="238398"/>
                  </a:cubicBezTo>
                  <a:cubicBezTo>
                    <a:pt x="2008366" y="238398"/>
                    <a:pt x="2015141" y="236668"/>
                    <a:pt x="2020474" y="233209"/>
                  </a:cubicBezTo>
                  <a:cubicBezTo>
                    <a:pt x="2025807" y="229750"/>
                    <a:pt x="2029842" y="224994"/>
                    <a:pt x="2032725" y="218940"/>
                  </a:cubicBezTo>
                  <a:lnTo>
                    <a:pt x="2093262" y="218940"/>
                  </a:lnTo>
                  <a:cubicBezTo>
                    <a:pt x="2091244" y="227876"/>
                    <a:pt x="2087496" y="236236"/>
                    <a:pt x="2081875" y="244308"/>
                  </a:cubicBezTo>
                  <a:cubicBezTo>
                    <a:pt x="2076254" y="252379"/>
                    <a:pt x="2069191" y="259153"/>
                    <a:pt x="2060543" y="265063"/>
                  </a:cubicBezTo>
                  <a:cubicBezTo>
                    <a:pt x="2052472" y="270972"/>
                    <a:pt x="2043391" y="275296"/>
                    <a:pt x="2033302" y="278323"/>
                  </a:cubicBezTo>
                  <a:cubicBezTo>
                    <a:pt x="2023212" y="281350"/>
                    <a:pt x="2011970" y="282936"/>
                    <a:pt x="1999574" y="282936"/>
                  </a:cubicBezTo>
                  <a:moveTo>
                    <a:pt x="2033878" y="158836"/>
                  </a:moveTo>
                  <a:cubicBezTo>
                    <a:pt x="2032581" y="147161"/>
                    <a:pt x="2028689" y="137936"/>
                    <a:pt x="2022059" y="131018"/>
                  </a:cubicBezTo>
                  <a:cubicBezTo>
                    <a:pt x="2015429" y="124244"/>
                    <a:pt x="2007069" y="120784"/>
                    <a:pt x="1996980" y="120784"/>
                  </a:cubicBezTo>
                  <a:cubicBezTo>
                    <a:pt x="1985017" y="120784"/>
                    <a:pt x="1975936" y="124244"/>
                    <a:pt x="1969594" y="131018"/>
                  </a:cubicBezTo>
                  <a:cubicBezTo>
                    <a:pt x="1963252" y="137936"/>
                    <a:pt x="1959072" y="147161"/>
                    <a:pt x="1957055" y="158836"/>
                  </a:cubicBezTo>
                  <a:lnTo>
                    <a:pt x="2033878" y="158836"/>
                  </a:lnTo>
                  <a:close/>
                </a:path>
              </a:pathLst>
            </a:custGeom>
            <a:solidFill>
              <a:srgbClr val="000000"/>
            </a:solidFill>
            <a:ln w="0"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15457261-1C34-087B-4575-1B5E779EBBAB}"/>
                </a:ext>
              </a:extLst>
            </p:cNvPr>
            <p:cNvSpPr/>
            <p:nvPr/>
          </p:nvSpPr>
          <p:spPr>
            <a:xfrm>
              <a:off x="882878" y="557212"/>
              <a:ext cx="273278" cy="674980"/>
            </a:xfrm>
            <a:custGeom>
              <a:avLst/>
              <a:gdLst>
                <a:gd name="connsiteX0" fmla="*/ 0 w 273278"/>
                <a:gd name="connsiteY0" fmla="*/ 0 h 674980"/>
                <a:gd name="connsiteX1" fmla="*/ 0 w 273278"/>
                <a:gd name="connsiteY1" fmla="*/ 476508 h 674980"/>
                <a:gd name="connsiteX2" fmla="*/ 272558 w 273278"/>
                <a:gd name="connsiteY2" fmla="*/ 674981 h 674980"/>
                <a:gd name="connsiteX3" fmla="*/ 273278 w 273278"/>
                <a:gd name="connsiteY3" fmla="*/ 674260 h 674980"/>
                <a:gd name="connsiteX4" fmla="*/ 0 w 273278"/>
                <a:gd name="connsiteY4" fmla="*/ 0 h 674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980">
                  <a:moveTo>
                    <a:pt x="0" y="0"/>
                  </a:moveTo>
                  <a:lnTo>
                    <a:pt x="0" y="476508"/>
                  </a:lnTo>
                  <a:lnTo>
                    <a:pt x="272558" y="674981"/>
                  </a:lnTo>
                  <a:cubicBezTo>
                    <a:pt x="272558" y="674981"/>
                    <a:pt x="273134" y="674404"/>
                    <a:pt x="273278" y="674260"/>
                  </a:cubicBezTo>
                  <a:lnTo>
                    <a:pt x="0" y="0"/>
                  </a:lnTo>
                  <a:close/>
                </a:path>
              </a:pathLst>
            </a:custGeom>
            <a:solidFill>
              <a:srgbClr val="93D500"/>
            </a:solidFill>
            <a:ln w="0"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CDB77CD-C5E1-9227-DF1A-82C8E96E04A3}"/>
                </a:ext>
              </a:extLst>
            </p:cNvPr>
            <p:cNvSpPr/>
            <p:nvPr/>
          </p:nvSpPr>
          <p:spPr>
            <a:xfrm>
              <a:off x="609600" y="557212"/>
              <a:ext cx="273278" cy="674836"/>
            </a:xfrm>
            <a:custGeom>
              <a:avLst/>
              <a:gdLst>
                <a:gd name="connsiteX0" fmla="*/ 0 w 273278"/>
                <a:gd name="connsiteY0" fmla="*/ 674116 h 674836"/>
                <a:gd name="connsiteX1" fmla="*/ 721 w 273278"/>
                <a:gd name="connsiteY1" fmla="*/ 674837 h 674836"/>
                <a:gd name="connsiteX2" fmla="*/ 273278 w 273278"/>
                <a:gd name="connsiteY2" fmla="*/ 476364 h 674836"/>
                <a:gd name="connsiteX3" fmla="*/ 273278 w 273278"/>
                <a:gd name="connsiteY3" fmla="*/ 0 h 674836"/>
                <a:gd name="connsiteX4" fmla="*/ 0 w 273278"/>
                <a:gd name="connsiteY4" fmla="*/ 674116 h 674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836">
                  <a:moveTo>
                    <a:pt x="0" y="674116"/>
                  </a:moveTo>
                  <a:cubicBezTo>
                    <a:pt x="0" y="674116"/>
                    <a:pt x="577" y="674692"/>
                    <a:pt x="721" y="674837"/>
                  </a:cubicBezTo>
                  <a:lnTo>
                    <a:pt x="273278" y="476364"/>
                  </a:lnTo>
                  <a:lnTo>
                    <a:pt x="273278" y="0"/>
                  </a:lnTo>
                  <a:lnTo>
                    <a:pt x="0" y="674116"/>
                  </a:lnTo>
                  <a:close/>
                </a:path>
              </a:pathLst>
            </a:custGeom>
            <a:solidFill>
              <a:srgbClr val="000000"/>
            </a:solidFill>
            <a:ln w="0" cap="flat">
              <a:noFill/>
              <a:prstDash val="solid"/>
              <a:miter/>
            </a:ln>
          </p:spPr>
          <p:txBody>
            <a:bodyPr rtlCol="0" anchor="ctr"/>
            <a:lstStyle/>
            <a:p>
              <a:endParaRPr lang="en-US" dirty="0"/>
            </a:p>
          </p:txBody>
        </p:sp>
      </p:grpSp>
      <p:pic>
        <p:nvPicPr>
          <p:cNvPr id="6" name="Graphic 5">
            <a:extLst>
              <a:ext uri="{FF2B5EF4-FFF2-40B4-BE49-F238E27FC236}">
                <a16:creationId xmlns:a16="http://schemas.microsoft.com/office/drawing/2014/main" id="{0DBEBFD3-3735-BFC8-D7E6-A618637D48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cxnSp>
        <p:nvCxnSpPr>
          <p:cNvPr id="7" name="Straight Connector 6">
            <a:extLst>
              <a:ext uri="{FF2B5EF4-FFF2-40B4-BE49-F238E27FC236}">
                <a16:creationId xmlns:a16="http://schemas.microsoft.com/office/drawing/2014/main" id="{C6D9E022-BE89-FB15-252F-12F87B4655DB}"/>
              </a:ext>
            </a:extLst>
          </p:cNvPr>
          <p:cNvCxnSpPr>
            <a:cxnSpLocks noGrp="1" noRot="1" noMove="1" noResize="1" noEditPoints="1" noAdjustHandles="1" noChangeArrowheads="1" noChangeShapeType="1"/>
          </p:cNvCxnSpPr>
          <p:nvPr userDrawn="1"/>
        </p:nvCxnSpPr>
        <p:spPr>
          <a:xfrm>
            <a:off x="8802624" y="3730948"/>
            <a:ext cx="2688336"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4" name="Picture 13" descr="A green and black triangle&#10;&#10;Description automatically generated">
            <a:extLst>
              <a:ext uri="{FF2B5EF4-FFF2-40B4-BE49-F238E27FC236}">
                <a16:creationId xmlns:a16="http://schemas.microsoft.com/office/drawing/2014/main" id="{A86F892C-2F81-39A8-7421-B03C5A21711B}"/>
              </a:ext>
            </a:extLst>
          </p:cNvPr>
          <p:cNvPicPr>
            <a:picLocks noGrp="1" noRot="1" noChangeAspect="1" noMove="1" noResize="1" noEditPoints="1" noAdjustHandles="1" noChangeArrowheads="1" noChangeShapeType="1" noCrop="1"/>
          </p:cNvPicPr>
          <p:nvPr userDrawn="1"/>
        </p:nvPicPr>
        <p:blipFill>
          <a:blip r:embed="rId4">
            <a:extLst>
              <a:ext uri="{28A0092B-C50C-407E-A947-70E740481C1C}">
                <a14:useLocalDpi xmlns:a14="http://schemas.microsoft.com/office/drawing/2010/main" val="0"/>
              </a:ext>
            </a:extLst>
          </a:blip>
          <a:stretch>
            <a:fillRect/>
          </a:stretch>
        </p:blipFill>
        <p:spPr>
          <a:xfrm>
            <a:off x="3370432" y="0"/>
            <a:ext cx="5577121" cy="6858000"/>
          </a:xfrm>
          <a:prstGeom prst="rect">
            <a:avLst/>
          </a:prstGeom>
        </p:spPr>
      </p:pic>
      <p:sp>
        <p:nvSpPr>
          <p:cNvPr id="12" name="TextBox 11">
            <a:extLst>
              <a:ext uri="{FF2B5EF4-FFF2-40B4-BE49-F238E27FC236}">
                <a16:creationId xmlns:a16="http://schemas.microsoft.com/office/drawing/2014/main" id="{3DC0E9AD-7754-6000-D95A-ABDACDA8FEC3}"/>
              </a:ext>
            </a:extLst>
          </p:cNvPr>
          <p:cNvSpPr txBox="1">
            <a:spLocks noGrp="1" noRot="1" noMove="1" noResize="1" noEditPoints="1" noAdjustHandles="1" noChangeArrowheads="1" noChangeShapeType="1"/>
          </p:cNvSpPr>
          <p:nvPr userDrawn="1"/>
        </p:nvSpPr>
        <p:spPr>
          <a:xfrm>
            <a:off x="8710864" y="3962402"/>
            <a:ext cx="3092116" cy="1200329"/>
          </a:xfrm>
          <a:prstGeom prst="rect">
            <a:avLst/>
          </a:prstGeom>
          <a:noFill/>
        </p:spPr>
        <p:txBody>
          <a:bodyPr wrap="square" rtlCol="0">
            <a:spAutoFit/>
          </a:bodyPr>
          <a:lstStyle/>
          <a:p>
            <a:pPr algn="l"/>
            <a:r>
              <a:rPr lang="en-US" sz="1800" dirty="0"/>
              <a:t>To earn a seat at the table for our clients’ most complex issues, creating meaningful opportunities and impact.</a:t>
            </a:r>
          </a:p>
        </p:txBody>
      </p:sp>
      <p:sp>
        <p:nvSpPr>
          <p:cNvPr id="13" name="TextBox 12">
            <a:extLst>
              <a:ext uri="{FF2B5EF4-FFF2-40B4-BE49-F238E27FC236}">
                <a16:creationId xmlns:a16="http://schemas.microsoft.com/office/drawing/2014/main" id="{ACFBA21A-B743-3338-65FE-BEC48305E79C}"/>
              </a:ext>
            </a:extLst>
          </p:cNvPr>
          <p:cNvSpPr txBox="1">
            <a:spLocks noGrp="1" noRot="1" noMove="1" noResize="1" noEditPoints="1" noAdjustHandles="1" noChangeArrowheads="1" noChangeShapeType="1"/>
          </p:cNvSpPr>
          <p:nvPr userDrawn="1"/>
        </p:nvSpPr>
        <p:spPr>
          <a:xfrm>
            <a:off x="517358" y="3962402"/>
            <a:ext cx="3092116" cy="923330"/>
          </a:xfrm>
          <a:prstGeom prst="rect">
            <a:avLst/>
          </a:prstGeom>
          <a:noFill/>
        </p:spPr>
        <p:txBody>
          <a:bodyPr wrap="square" rtlCol="0">
            <a:spAutoFit/>
          </a:bodyPr>
          <a:lstStyle/>
          <a:p>
            <a:pPr marL="0" lvl="1" indent="0"/>
            <a:r>
              <a:rPr lang="en-US" sz="1800" dirty="0"/>
              <a:t>To solve big problems, build trust in society, and empower clients to shape the future.</a:t>
            </a:r>
          </a:p>
        </p:txBody>
      </p:sp>
    </p:spTree>
    <p:extLst>
      <p:ext uri="{BB962C8B-B14F-4D97-AF65-F5344CB8AC3E}">
        <p14:creationId xmlns:p14="http://schemas.microsoft.com/office/powerpoint/2010/main" val="288194142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Divider 1 - Dark">
    <p:bg>
      <p:bgPr>
        <a:solidFill>
          <a:schemeClr val="tx2"/>
        </a:solidFill>
        <a:effectLst/>
      </p:bgPr>
    </p:bg>
    <p:spTree>
      <p:nvGrpSpPr>
        <p:cNvPr id="1" name=""/>
        <p:cNvGrpSpPr/>
        <p:nvPr/>
      </p:nvGrpSpPr>
      <p:grpSpPr>
        <a:xfrm>
          <a:off x="0" y="0"/>
          <a:ext cx="0" cy="0"/>
          <a:chOff x="0" y="0"/>
          <a:chExt cx="0" cy="0"/>
        </a:xfrm>
      </p:grpSpPr>
      <p:grpSp>
        <p:nvGrpSpPr>
          <p:cNvPr id="3" name="Graphic 11">
            <a:extLst>
              <a:ext uri="{FF2B5EF4-FFF2-40B4-BE49-F238E27FC236}">
                <a16:creationId xmlns:a16="http://schemas.microsoft.com/office/drawing/2014/main" id="{248DABC0-B10B-ADFA-8C8B-A0111C99B2DE}"/>
              </a:ext>
            </a:extLst>
          </p:cNvPr>
          <p:cNvGrpSpPr/>
          <p:nvPr userDrawn="1"/>
        </p:nvGrpSpPr>
        <p:grpSpPr>
          <a:xfrm>
            <a:off x="714011" y="455159"/>
            <a:ext cx="2071862" cy="524230"/>
            <a:chOff x="609600" y="1268899"/>
            <a:chExt cx="2071862" cy="524230"/>
          </a:xfrm>
        </p:grpSpPr>
        <p:sp>
          <p:nvSpPr>
            <p:cNvPr id="4" name="Freeform: Shape 3">
              <a:extLst>
                <a:ext uri="{FF2B5EF4-FFF2-40B4-BE49-F238E27FC236}">
                  <a16:creationId xmlns:a16="http://schemas.microsoft.com/office/drawing/2014/main" id="{B3C4B9F6-530D-7134-4B8B-AC949109E499}"/>
                </a:ext>
              </a:extLst>
            </p:cNvPr>
            <p:cNvSpPr/>
            <p:nvPr/>
          </p:nvSpPr>
          <p:spPr>
            <a:xfrm>
              <a:off x="1053119" y="1450023"/>
              <a:ext cx="1628343" cy="220192"/>
            </a:xfrm>
            <a:custGeom>
              <a:avLst/>
              <a:gdLst>
                <a:gd name="connsiteX0" fmla="*/ 100525 w 1628343"/>
                <a:gd name="connsiteY0" fmla="*/ 220192 h 220192"/>
                <a:gd name="connsiteX1" fmla="*/ 59778 w 1628343"/>
                <a:gd name="connsiteY1" fmla="*/ 212468 h 220192"/>
                <a:gd name="connsiteX2" fmla="*/ 28434 w 1628343"/>
                <a:gd name="connsiteY2" fmla="*/ 190639 h 220192"/>
                <a:gd name="connsiteX3" fmla="*/ 7276 w 1628343"/>
                <a:gd name="connsiteY3" fmla="*/ 155153 h 220192"/>
                <a:gd name="connsiteX4" fmla="*/ 0 w 1628343"/>
                <a:gd name="connsiteY4" fmla="*/ 110488 h 220192"/>
                <a:gd name="connsiteX5" fmla="*/ 8172 w 1628343"/>
                <a:gd name="connsiteY5" fmla="*/ 64255 h 220192"/>
                <a:gd name="connsiteX6" fmla="*/ 31344 w 1628343"/>
                <a:gd name="connsiteY6" fmla="*/ 28098 h 220192"/>
                <a:gd name="connsiteX7" fmla="*/ 62688 w 1628343"/>
                <a:gd name="connsiteY7" fmla="*/ 7388 h 220192"/>
                <a:gd name="connsiteX8" fmla="*/ 103771 w 1628343"/>
                <a:gd name="connsiteY8" fmla="*/ 0 h 220192"/>
                <a:gd name="connsiteX9" fmla="*/ 140377 w 1628343"/>
                <a:gd name="connsiteY9" fmla="*/ 5149 h 220192"/>
                <a:gd name="connsiteX10" fmla="*/ 168475 w 1628343"/>
                <a:gd name="connsiteY10" fmla="*/ 19926 h 220192"/>
                <a:gd name="connsiteX11" fmla="*/ 187505 w 1628343"/>
                <a:gd name="connsiteY11" fmla="*/ 43098 h 220192"/>
                <a:gd name="connsiteX12" fmla="*/ 197356 w 1628343"/>
                <a:gd name="connsiteY12" fmla="*/ 73211 h 220192"/>
                <a:gd name="connsiteX13" fmla="*/ 146534 w 1628343"/>
                <a:gd name="connsiteY13" fmla="*/ 73211 h 220192"/>
                <a:gd name="connsiteX14" fmla="*/ 133213 w 1628343"/>
                <a:gd name="connsiteY14" fmla="*/ 51606 h 220192"/>
                <a:gd name="connsiteX15" fmla="*/ 105451 w 1628343"/>
                <a:gd name="connsiteY15" fmla="*/ 42986 h 220192"/>
                <a:gd name="connsiteX16" fmla="*/ 82502 w 1628343"/>
                <a:gd name="connsiteY16" fmla="*/ 48136 h 220192"/>
                <a:gd name="connsiteX17" fmla="*/ 66047 w 1628343"/>
                <a:gd name="connsiteY17" fmla="*/ 62352 h 220192"/>
                <a:gd name="connsiteX18" fmla="*/ 56308 w 1628343"/>
                <a:gd name="connsiteY18" fmla="*/ 83622 h 220192"/>
                <a:gd name="connsiteX19" fmla="*/ 53061 w 1628343"/>
                <a:gd name="connsiteY19" fmla="*/ 110376 h 220192"/>
                <a:gd name="connsiteX20" fmla="*/ 56755 w 1628343"/>
                <a:gd name="connsiteY20" fmla="*/ 137242 h 220192"/>
                <a:gd name="connsiteX21" fmla="*/ 67278 w 1628343"/>
                <a:gd name="connsiteY21" fmla="*/ 158624 h 220192"/>
                <a:gd name="connsiteX22" fmla="*/ 83957 w 1628343"/>
                <a:gd name="connsiteY22" fmla="*/ 172616 h 220192"/>
                <a:gd name="connsiteX23" fmla="*/ 106234 w 1628343"/>
                <a:gd name="connsiteY23" fmla="*/ 177654 h 220192"/>
                <a:gd name="connsiteX24" fmla="*/ 124705 w 1628343"/>
                <a:gd name="connsiteY24" fmla="*/ 174519 h 220192"/>
                <a:gd name="connsiteX25" fmla="*/ 138586 w 1628343"/>
                <a:gd name="connsiteY25" fmla="*/ 166236 h 220192"/>
                <a:gd name="connsiteX26" fmla="*/ 147765 w 1628343"/>
                <a:gd name="connsiteY26" fmla="*/ 154370 h 220192"/>
                <a:gd name="connsiteX27" fmla="*/ 152019 w 1628343"/>
                <a:gd name="connsiteY27" fmla="*/ 140601 h 220192"/>
                <a:gd name="connsiteX28" fmla="*/ 152019 w 1628343"/>
                <a:gd name="connsiteY28" fmla="*/ 140041 h 220192"/>
                <a:gd name="connsiteX29" fmla="*/ 112391 w 1628343"/>
                <a:gd name="connsiteY29" fmla="*/ 140041 h 220192"/>
                <a:gd name="connsiteX30" fmla="*/ 112391 w 1628343"/>
                <a:gd name="connsiteY30" fmla="*/ 101644 h 220192"/>
                <a:gd name="connsiteX31" fmla="*/ 200490 w 1628343"/>
                <a:gd name="connsiteY31" fmla="*/ 101644 h 220192"/>
                <a:gd name="connsiteX32" fmla="*/ 200490 w 1628343"/>
                <a:gd name="connsiteY32" fmla="*/ 215155 h 220192"/>
                <a:gd name="connsiteX33" fmla="*/ 163885 w 1628343"/>
                <a:gd name="connsiteY33" fmla="*/ 215155 h 220192"/>
                <a:gd name="connsiteX34" fmla="*/ 160974 w 1628343"/>
                <a:gd name="connsiteY34" fmla="*/ 189744 h 220192"/>
                <a:gd name="connsiteX35" fmla="*/ 160415 w 1628343"/>
                <a:gd name="connsiteY35" fmla="*/ 189744 h 220192"/>
                <a:gd name="connsiteX36" fmla="*/ 134892 w 1628343"/>
                <a:gd name="connsiteY36" fmla="*/ 212916 h 220192"/>
                <a:gd name="connsiteX37" fmla="*/ 100413 w 1628343"/>
                <a:gd name="connsiteY37" fmla="*/ 219856 h 220192"/>
                <a:gd name="connsiteX38" fmla="*/ 278067 w 1628343"/>
                <a:gd name="connsiteY38" fmla="*/ 219521 h 220192"/>
                <a:gd name="connsiteX39" fmla="*/ 238327 w 1628343"/>
                <a:gd name="connsiteY39" fmla="*/ 203961 h 220192"/>
                <a:gd name="connsiteX40" fmla="*/ 224894 w 1628343"/>
                <a:gd name="connsiteY40" fmla="*/ 162989 h 220192"/>
                <a:gd name="connsiteX41" fmla="*/ 224894 w 1628343"/>
                <a:gd name="connsiteY41" fmla="*/ 63696 h 220192"/>
                <a:gd name="connsiteX42" fmla="*/ 272806 w 1628343"/>
                <a:gd name="connsiteY42" fmla="*/ 63696 h 220192"/>
                <a:gd name="connsiteX43" fmla="*/ 272806 w 1628343"/>
                <a:gd name="connsiteY43" fmla="*/ 153026 h 220192"/>
                <a:gd name="connsiteX44" fmla="*/ 278403 w 1628343"/>
                <a:gd name="connsiteY44" fmla="*/ 172057 h 220192"/>
                <a:gd name="connsiteX45" fmla="*/ 295530 w 1628343"/>
                <a:gd name="connsiteY45" fmla="*/ 178661 h 220192"/>
                <a:gd name="connsiteX46" fmla="*/ 315008 w 1628343"/>
                <a:gd name="connsiteY46" fmla="*/ 170266 h 220192"/>
                <a:gd name="connsiteX47" fmla="*/ 322061 w 1628343"/>
                <a:gd name="connsiteY47" fmla="*/ 148213 h 220192"/>
                <a:gd name="connsiteX48" fmla="*/ 322061 w 1628343"/>
                <a:gd name="connsiteY48" fmla="*/ 63696 h 220192"/>
                <a:gd name="connsiteX49" fmla="*/ 370197 w 1628343"/>
                <a:gd name="connsiteY49" fmla="*/ 63696 h 220192"/>
                <a:gd name="connsiteX50" fmla="*/ 370197 w 1628343"/>
                <a:gd name="connsiteY50" fmla="*/ 215043 h 220192"/>
                <a:gd name="connsiteX51" fmla="*/ 324076 w 1628343"/>
                <a:gd name="connsiteY51" fmla="*/ 215043 h 220192"/>
                <a:gd name="connsiteX52" fmla="*/ 324076 w 1628343"/>
                <a:gd name="connsiteY52" fmla="*/ 196460 h 220192"/>
                <a:gd name="connsiteX53" fmla="*/ 323180 w 1628343"/>
                <a:gd name="connsiteY53" fmla="*/ 196460 h 220192"/>
                <a:gd name="connsiteX54" fmla="*/ 304374 w 1628343"/>
                <a:gd name="connsiteY54" fmla="*/ 213588 h 220192"/>
                <a:gd name="connsiteX55" fmla="*/ 277955 w 1628343"/>
                <a:gd name="connsiteY55" fmla="*/ 219521 h 220192"/>
                <a:gd name="connsiteX56" fmla="*/ 397623 w 1628343"/>
                <a:gd name="connsiteY56" fmla="*/ 1679 h 220192"/>
                <a:gd name="connsiteX57" fmla="*/ 445758 w 1628343"/>
                <a:gd name="connsiteY57" fmla="*/ 1679 h 220192"/>
                <a:gd name="connsiteX58" fmla="*/ 445758 w 1628343"/>
                <a:gd name="connsiteY58" fmla="*/ 42762 h 220192"/>
                <a:gd name="connsiteX59" fmla="*/ 397623 w 1628343"/>
                <a:gd name="connsiteY59" fmla="*/ 42762 h 220192"/>
                <a:gd name="connsiteX60" fmla="*/ 397623 w 1628343"/>
                <a:gd name="connsiteY60" fmla="*/ 1679 h 220192"/>
                <a:gd name="connsiteX61" fmla="*/ 397623 w 1628343"/>
                <a:gd name="connsiteY61" fmla="*/ 63696 h 220192"/>
                <a:gd name="connsiteX62" fmla="*/ 445758 w 1628343"/>
                <a:gd name="connsiteY62" fmla="*/ 63696 h 220192"/>
                <a:gd name="connsiteX63" fmla="*/ 445758 w 1628343"/>
                <a:gd name="connsiteY63" fmla="*/ 215043 h 220192"/>
                <a:gd name="connsiteX64" fmla="*/ 397623 w 1628343"/>
                <a:gd name="connsiteY64" fmla="*/ 215043 h 220192"/>
                <a:gd name="connsiteX65" fmla="*/ 397623 w 1628343"/>
                <a:gd name="connsiteY65" fmla="*/ 63696 h 220192"/>
                <a:gd name="connsiteX66" fmla="*/ 532738 w 1628343"/>
                <a:gd name="connsiteY66" fmla="*/ 219745 h 220192"/>
                <a:gd name="connsiteX67" fmla="*/ 506096 w 1628343"/>
                <a:gd name="connsiteY67" fmla="*/ 214259 h 220192"/>
                <a:gd name="connsiteX68" fmla="*/ 485162 w 1628343"/>
                <a:gd name="connsiteY68" fmla="*/ 198475 h 220192"/>
                <a:gd name="connsiteX69" fmla="*/ 471393 w 1628343"/>
                <a:gd name="connsiteY69" fmla="*/ 173176 h 220192"/>
                <a:gd name="connsiteX70" fmla="*/ 466468 w 1628343"/>
                <a:gd name="connsiteY70" fmla="*/ 139369 h 220192"/>
                <a:gd name="connsiteX71" fmla="*/ 471393 w 1628343"/>
                <a:gd name="connsiteY71" fmla="*/ 106794 h 220192"/>
                <a:gd name="connsiteX72" fmla="*/ 484938 w 1628343"/>
                <a:gd name="connsiteY72" fmla="*/ 81495 h 220192"/>
                <a:gd name="connsiteX73" fmla="*/ 505760 w 1628343"/>
                <a:gd name="connsiteY73" fmla="*/ 65039 h 220192"/>
                <a:gd name="connsiteX74" fmla="*/ 532626 w 1628343"/>
                <a:gd name="connsiteY74" fmla="*/ 59106 h 220192"/>
                <a:gd name="connsiteX75" fmla="*/ 558373 w 1628343"/>
                <a:gd name="connsiteY75" fmla="*/ 65151 h 220192"/>
                <a:gd name="connsiteX76" fmla="*/ 574941 w 1628343"/>
                <a:gd name="connsiteY76" fmla="*/ 80711 h 220192"/>
                <a:gd name="connsiteX77" fmla="*/ 575836 w 1628343"/>
                <a:gd name="connsiteY77" fmla="*/ 80711 h 220192"/>
                <a:gd name="connsiteX78" fmla="*/ 575836 w 1628343"/>
                <a:gd name="connsiteY78" fmla="*/ 1455 h 220192"/>
                <a:gd name="connsiteX79" fmla="*/ 623972 w 1628343"/>
                <a:gd name="connsiteY79" fmla="*/ 1455 h 220192"/>
                <a:gd name="connsiteX80" fmla="*/ 623972 w 1628343"/>
                <a:gd name="connsiteY80" fmla="*/ 214931 h 220192"/>
                <a:gd name="connsiteX81" fmla="*/ 577851 w 1628343"/>
                <a:gd name="connsiteY81" fmla="*/ 214931 h 220192"/>
                <a:gd name="connsiteX82" fmla="*/ 577851 w 1628343"/>
                <a:gd name="connsiteY82" fmla="*/ 194557 h 220192"/>
                <a:gd name="connsiteX83" fmla="*/ 577292 w 1628343"/>
                <a:gd name="connsiteY83" fmla="*/ 194557 h 220192"/>
                <a:gd name="connsiteX84" fmla="*/ 559157 w 1628343"/>
                <a:gd name="connsiteY84" fmla="*/ 213028 h 220192"/>
                <a:gd name="connsiteX85" fmla="*/ 532738 w 1628343"/>
                <a:gd name="connsiteY85" fmla="*/ 219633 h 220192"/>
                <a:gd name="connsiteX86" fmla="*/ 545164 w 1628343"/>
                <a:gd name="connsiteY86" fmla="*/ 181460 h 220192"/>
                <a:gd name="connsiteX87" fmla="*/ 568672 w 1628343"/>
                <a:gd name="connsiteY87" fmla="*/ 169594 h 220192"/>
                <a:gd name="connsiteX88" fmla="*/ 577068 w 1628343"/>
                <a:gd name="connsiteY88" fmla="*/ 139145 h 220192"/>
                <a:gd name="connsiteX89" fmla="*/ 575165 w 1628343"/>
                <a:gd name="connsiteY89" fmla="*/ 121570 h 220192"/>
                <a:gd name="connsiteX90" fmla="*/ 569232 w 1628343"/>
                <a:gd name="connsiteY90" fmla="*/ 107689 h 220192"/>
                <a:gd name="connsiteX91" fmla="*/ 559493 w 1628343"/>
                <a:gd name="connsiteY91" fmla="*/ 98622 h 220192"/>
                <a:gd name="connsiteX92" fmla="*/ 545724 w 1628343"/>
                <a:gd name="connsiteY92" fmla="*/ 95376 h 220192"/>
                <a:gd name="connsiteX93" fmla="*/ 523223 w 1628343"/>
                <a:gd name="connsiteY93" fmla="*/ 107354 h 220192"/>
                <a:gd name="connsiteX94" fmla="*/ 515275 w 1628343"/>
                <a:gd name="connsiteY94" fmla="*/ 138586 h 220192"/>
                <a:gd name="connsiteX95" fmla="*/ 523111 w 1628343"/>
                <a:gd name="connsiteY95" fmla="*/ 169930 h 220192"/>
                <a:gd name="connsiteX96" fmla="*/ 545164 w 1628343"/>
                <a:gd name="connsiteY96" fmla="*/ 181460 h 220192"/>
                <a:gd name="connsiteX97" fmla="*/ 722482 w 1628343"/>
                <a:gd name="connsiteY97" fmla="*/ 219297 h 220192"/>
                <a:gd name="connsiteX98" fmla="*/ 688787 w 1628343"/>
                <a:gd name="connsiteY98" fmla="*/ 213252 h 220192"/>
                <a:gd name="connsiteX99" fmla="*/ 663376 w 1628343"/>
                <a:gd name="connsiteY99" fmla="*/ 196348 h 220192"/>
                <a:gd name="connsiteX100" fmla="*/ 647368 w 1628343"/>
                <a:gd name="connsiteY100" fmla="*/ 170825 h 220192"/>
                <a:gd name="connsiteX101" fmla="*/ 641771 w 1628343"/>
                <a:gd name="connsiteY101" fmla="*/ 138922 h 220192"/>
                <a:gd name="connsiteX102" fmla="*/ 647368 w 1628343"/>
                <a:gd name="connsiteY102" fmla="*/ 107465 h 220192"/>
                <a:gd name="connsiteX103" fmla="*/ 663376 w 1628343"/>
                <a:gd name="connsiteY103" fmla="*/ 82054 h 220192"/>
                <a:gd name="connsiteX104" fmla="*/ 687892 w 1628343"/>
                <a:gd name="connsiteY104" fmla="*/ 65263 h 220192"/>
                <a:gd name="connsiteX105" fmla="*/ 719572 w 1628343"/>
                <a:gd name="connsiteY105" fmla="*/ 59218 h 220192"/>
                <a:gd name="connsiteX106" fmla="*/ 748677 w 1628343"/>
                <a:gd name="connsiteY106" fmla="*/ 64255 h 220192"/>
                <a:gd name="connsiteX107" fmla="*/ 771289 w 1628343"/>
                <a:gd name="connsiteY107" fmla="*/ 78136 h 220192"/>
                <a:gd name="connsiteX108" fmla="*/ 791551 w 1628343"/>
                <a:gd name="connsiteY108" fmla="*/ 109592 h 220192"/>
                <a:gd name="connsiteX109" fmla="*/ 797932 w 1628343"/>
                <a:gd name="connsiteY109" fmla="*/ 151683 h 220192"/>
                <a:gd name="connsiteX110" fmla="*/ 689123 w 1628343"/>
                <a:gd name="connsiteY110" fmla="*/ 151683 h 220192"/>
                <a:gd name="connsiteX111" fmla="*/ 699758 w 1628343"/>
                <a:gd name="connsiteY111" fmla="*/ 175975 h 220192"/>
                <a:gd name="connsiteX112" fmla="*/ 723154 w 1628343"/>
                <a:gd name="connsiteY112" fmla="*/ 184818 h 220192"/>
                <a:gd name="connsiteX113" fmla="*/ 738826 w 1628343"/>
                <a:gd name="connsiteY113" fmla="*/ 180788 h 220192"/>
                <a:gd name="connsiteX114" fmla="*/ 748229 w 1628343"/>
                <a:gd name="connsiteY114" fmla="*/ 169706 h 220192"/>
                <a:gd name="connsiteX115" fmla="*/ 795245 w 1628343"/>
                <a:gd name="connsiteY115" fmla="*/ 169706 h 220192"/>
                <a:gd name="connsiteX116" fmla="*/ 786402 w 1628343"/>
                <a:gd name="connsiteY116" fmla="*/ 189408 h 220192"/>
                <a:gd name="connsiteX117" fmla="*/ 769834 w 1628343"/>
                <a:gd name="connsiteY117" fmla="*/ 205528 h 220192"/>
                <a:gd name="connsiteX118" fmla="*/ 748677 w 1628343"/>
                <a:gd name="connsiteY118" fmla="*/ 215827 h 220192"/>
                <a:gd name="connsiteX119" fmla="*/ 722482 w 1628343"/>
                <a:gd name="connsiteY119" fmla="*/ 219409 h 220192"/>
                <a:gd name="connsiteX120" fmla="*/ 749125 w 1628343"/>
                <a:gd name="connsiteY120" fmla="*/ 123026 h 220192"/>
                <a:gd name="connsiteX121" fmla="*/ 739945 w 1628343"/>
                <a:gd name="connsiteY121" fmla="*/ 101421 h 220192"/>
                <a:gd name="connsiteX122" fmla="*/ 720467 w 1628343"/>
                <a:gd name="connsiteY122" fmla="*/ 93473 h 220192"/>
                <a:gd name="connsiteX123" fmla="*/ 699198 w 1628343"/>
                <a:gd name="connsiteY123" fmla="*/ 101421 h 220192"/>
                <a:gd name="connsiteX124" fmla="*/ 689459 w 1628343"/>
                <a:gd name="connsiteY124" fmla="*/ 123026 h 220192"/>
                <a:gd name="connsiteX125" fmla="*/ 749125 w 1628343"/>
                <a:gd name="connsiteY125" fmla="*/ 123026 h 220192"/>
                <a:gd name="connsiteX126" fmla="*/ 815619 w 1628343"/>
                <a:gd name="connsiteY126" fmla="*/ 1567 h 220192"/>
                <a:gd name="connsiteX127" fmla="*/ 863755 w 1628343"/>
                <a:gd name="connsiteY127" fmla="*/ 1567 h 220192"/>
                <a:gd name="connsiteX128" fmla="*/ 863755 w 1628343"/>
                <a:gd name="connsiteY128" fmla="*/ 82278 h 220192"/>
                <a:gd name="connsiteX129" fmla="*/ 864650 w 1628343"/>
                <a:gd name="connsiteY129" fmla="*/ 82278 h 220192"/>
                <a:gd name="connsiteX130" fmla="*/ 883233 w 1628343"/>
                <a:gd name="connsiteY130" fmla="*/ 65263 h 220192"/>
                <a:gd name="connsiteX131" fmla="*/ 909539 w 1628343"/>
                <a:gd name="connsiteY131" fmla="*/ 59218 h 220192"/>
                <a:gd name="connsiteX132" fmla="*/ 931704 w 1628343"/>
                <a:gd name="connsiteY132" fmla="*/ 63472 h 220192"/>
                <a:gd name="connsiteX133" fmla="*/ 948272 w 1628343"/>
                <a:gd name="connsiteY133" fmla="*/ 75338 h 220192"/>
                <a:gd name="connsiteX134" fmla="*/ 958682 w 1628343"/>
                <a:gd name="connsiteY134" fmla="*/ 93361 h 220192"/>
                <a:gd name="connsiteX135" fmla="*/ 962265 w 1628343"/>
                <a:gd name="connsiteY135" fmla="*/ 116533 h 220192"/>
                <a:gd name="connsiteX136" fmla="*/ 962265 w 1628343"/>
                <a:gd name="connsiteY136" fmla="*/ 214931 h 220192"/>
                <a:gd name="connsiteX137" fmla="*/ 914129 w 1628343"/>
                <a:gd name="connsiteY137" fmla="*/ 214931 h 220192"/>
                <a:gd name="connsiteX138" fmla="*/ 914129 w 1628343"/>
                <a:gd name="connsiteY138" fmla="*/ 126272 h 220192"/>
                <a:gd name="connsiteX139" fmla="*/ 908196 w 1628343"/>
                <a:gd name="connsiteY139" fmla="*/ 106794 h 220192"/>
                <a:gd name="connsiteX140" fmla="*/ 890509 w 1628343"/>
                <a:gd name="connsiteY140" fmla="*/ 99406 h 220192"/>
                <a:gd name="connsiteX141" fmla="*/ 871143 w 1628343"/>
                <a:gd name="connsiteY141" fmla="*/ 108249 h 220192"/>
                <a:gd name="connsiteX142" fmla="*/ 863866 w 1628343"/>
                <a:gd name="connsiteY142" fmla="*/ 131309 h 220192"/>
                <a:gd name="connsiteX143" fmla="*/ 863866 w 1628343"/>
                <a:gd name="connsiteY143" fmla="*/ 214931 h 220192"/>
                <a:gd name="connsiteX144" fmla="*/ 815731 w 1628343"/>
                <a:gd name="connsiteY144" fmla="*/ 214931 h 220192"/>
                <a:gd name="connsiteX145" fmla="*/ 815731 w 1628343"/>
                <a:gd name="connsiteY145" fmla="*/ 1455 h 220192"/>
                <a:gd name="connsiteX146" fmla="*/ 1058312 w 1628343"/>
                <a:gd name="connsiteY146" fmla="*/ 219745 h 220192"/>
                <a:gd name="connsiteX147" fmla="*/ 1025065 w 1628343"/>
                <a:gd name="connsiteY147" fmla="*/ 213700 h 220192"/>
                <a:gd name="connsiteX148" fmla="*/ 999430 w 1628343"/>
                <a:gd name="connsiteY148" fmla="*/ 196796 h 220192"/>
                <a:gd name="connsiteX149" fmla="*/ 983086 w 1628343"/>
                <a:gd name="connsiteY149" fmla="*/ 171385 h 220192"/>
                <a:gd name="connsiteX150" fmla="*/ 977265 w 1628343"/>
                <a:gd name="connsiteY150" fmla="*/ 139593 h 220192"/>
                <a:gd name="connsiteX151" fmla="*/ 983086 w 1628343"/>
                <a:gd name="connsiteY151" fmla="*/ 107801 h 220192"/>
                <a:gd name="connsiteX152" fmla="*/ 999430 w 1628343"/>
                <a:gd name="connsiteY152" fmla="*/ 82390 h 220192"/>
                <a:gd name="connsiteX153" fmla="*/ 1025065 w 1628343"/>
                <a:gd name="connsiteY153" fmla="*/ 65599 h 220192"/>
                <a:gd name="connsiteX154" fmla="*/ 1058312 w 1628343"/>
                <a:gd name="connsiteY154" fmla="*/ 59554 h 220192"/>
                <a:gd name="connsiteX155" fmla="*/ 1091559 w 1628343"/>
                <a:gd name="connsiteY155" fmla="*/ 65599 h 220192"/>
                <a:gd name="connsiteX156" fmla="*/ 1116970 w 1628343"/>
                <a:gd name="connsiteY156" fmla="*/ 82390 h 220192"/>
                <a:gd name="connsiteX157" fmla="*/ 1133202 w 1628343"/>
                <a:gd name="connsiteY157" fmla="*/ 107801 h 220192"/>
                <a:gd name="connsiteX158" fmla="*/ 1138911 w 1628343"/>
                <a:gd name="connsiteY158" fmla="*/ 139593 h 220192"/>
                <a:gd name="connsiteX159" fmla="*/ 1133202 w 1628343"/>
                <a:gd name="connsiteY159" fmla="*/ 171385 h 220192"/>
                <a:gd name="connsiteX160" fmla="*/ 1116970 w 1628343"/>
                <a:gd name="connsiteY160" fmla="*/ 196796 h 220192"/>
                <a:gd name="connsiteX161" fmla="*/ 1091559 w 1628343"/>
                <a:gd name="connsiteY161" fmla="*/ 213700 h 220192"/>
                <a:gd name="connsiteX162" fmla="*/ 1058312 w 1628343"/>
                <a:gd name="connsiteY162" fmla="*/ 219745 h 220192"/>
                <a:gd name="connsiteX163" fmla="*/ 1057976 w 1628343"/>
                <a:gd name="connsiteY163" fmla="*/ 185490 h 220192"/>
                <a:gd name="connsiteX164" fmla="*/ 1082044 w 1628343"/>
                <a:gd name="connsiteY164" fmla="*/ 172952 h 220192"/>
                <a:gd name="connsiteX165" fmla="*/ 1090216 w 1628343"/>
                <a:gd name="connsiteY165" fmla="*/ 139705 h 220192"/>
                <a:gd name="connsiteX166" fmla="*/ 1082044 w 1628343"/>
                <a:gd name="connsiteY166" fmla="*/ 106346 h 220192"/>
                <a:gd name="connsiteX167" fmla="*/ 1057976 w 1628343"/>
                <a:gd name="connsiteY167" fmla="*/ 93585 h 220192"/>
                <a:gd name="connsiteX168" fmla="*/ 1034020 w 1628343"/>
                <a:gd name="connsiteY168" fmla="*/ 106346 h 220192"/>
                <a:gd name="connsiteX169" fmla="*/ 1026072 w 1628343"/>
                <a:gd name="connsiteY169" fmla="*/ 139705 h 220192"/>
                <a:gd name="connsiteX170" fmla="*/ 1034020 w 1628343"/>
                <a:gd name="connsiteY170" fmla="*/ 172952 h 220192"/>
                <a:gd name="connsiteX171" fmla="*/ 1057976 w 1628343"/>
                <a:gd name="connsiteY171" fmla="*/ 185490 h 220192"/>
                <a:gd name="connsiteX172" fmla="*/ 1207309 w 1628343"/>
                <a:gd name="connsiteY172" fmla="*/ 219521 h 220192"/>
                <a:gd name="connsiteX173" fmla="*/ 1167569 w 1628343"/>
                <a:gd name="connsiteY173" fmla="*/ 203961 h 220192"/>
                <a:gd name="connsiteX174" fmla="*/ 1154136 w 1628343"/>
                <a:gd name="connsiteY174" fmla="*/ 162989 h 220192"/>
                <a:gd name="connsiteX175" fmla="*/ 1154136 w 1628343"/>
                <a:gd name="connsiteY175" fmla="*/ 63696 h 220192"/>
                <a:gd name="connsiteX176" fmla="*/ 1202047 w 1628343"/>
                <a:gd name="connsiteY176" fmla="*/ 63696 h 220192"/>
                <a:gd name="connsiteX177" fmla="*/ 1202047 w 1628343"/>
                <a:gd name="connsiteY177" fmla="*/ 153026 h 220192"/>
                <a:gd name="connsiteX178" fmla="*/ 1207644 w 1628343"/>
                <a:gd name="connsiteY178" fmla="*/ 172057 h 220192"/>
                <a:gd name="connsiteX179" fmla="*/ 1224772 w 1628343"/>
                <a:gd name="connsiteY179" fmla="*/ 178661 h 220192"/>
                <a:gd name="connsiteX180" fmla="*/ 1244250 w 1628343"/>
                <a:gd name="connsiteY180" fmla="*/ 170266 h 220192"/>
                <a:gd name="connsiteX181" fmla="*/ 1251302 w 1628343"/>
                <a:gd name="connsiteY181" fmla="*/ 148213 h 220192"/>
                <a:gd name="connsiteX182" fmla="*/ 1251302 w 1628343"/>
                <a:gd name="connsiteY182" fmla="*/ 63696 h 220192"/>
                <a:gd name="connsiteX183" fmla="*/ 1299438 w 1628343"/>
                <a:gd name="connsiteY183" fmla="*/ 63696 h 220192"/>
                <a:gd name="connsiteX184" fmla="*/ 1299438 w 1628343"/>
                <a:gd name="connsiteY184" fmla="*/ 215043 h 220192"/>
                <a:gd name="connsiteX185" fmla="*/ 1253317 w 1628343"/>
                <a:gd name="connsiteY185" fmla="*/ 215043 h 220192"/>
                <a:gd name="connsiteX186" fmla="*/ 1253317 w 1628343"/>
                <a:gd name="connsiteY186" fmla="*/ 196460 h 220192"/>
                <a:gd name="connsiteX187" fmla="*/ 1252422 w 1628343"/>
                <a:gd name="connsiteY187" fmla="*/ 196460 h 220192"/>
                <a:gd name="connsiteX188" fmla="*/ 1233615 w 1628343"/>
                <a:gd name="connsiteY188" fmla="*/ 213588 h 220192"/>
                <a:gd name="connsiteX189" fmla="*/ 1207197 w 1628343"/>
                <a:gd name="connsiteY189" fmla="*/ 219521 h 220192"/>
                <a:gd name="connsiteX190" fmla="*/ 1389888 w 1628343"/>
                <a:gd name="connsiteY190" fmla="*/ 219856 h 220192"/>
                <a:gd name="connsiteX191" fmla="*/ 1336939 w 1628343"/>
                <a:gd name="connsiteY191" fmla="*/ 205528 h 220192"/>
                <a:gd name="connsiteX192" fmla="*/ 1316229 w 1628343"/>
                <a:gd name="connsiteY192" fmla="*/ 166012 h 220192"/>
                <a:gd name="connsiteX193" fmla="*/ 1361790 w 1628343"/>
                <a:gd name="connsiteY193" fmla="*/ 166012 h 220192"/>
                <a:gd name="connsiteX194" fmla="*/ 1370410 w 1628343"/>
                <a:gd name="connsiteY194" fmla="*/ 182915 h 220192"/>
                <a:gd name="connsiteX195" fmla="*/ 1389664 w 1628343"/>
                <a:gd name="connsiteY195" fmla="*/ 188512 h 220192"/>
                <a:gd name="connsiteX196" fmla="*/ 1406903 w 1628343"/>
                <a:gd name="connsiteY196" fmla="*/ 184706 h 220192"/>
                <a:gd name="connsiteX197" fmla="*/ 1413284 w 1628343"/>
                <a:gd name="connsiteY197" fmla="*/ 173512 h 220192"/>
                <a:gd name="connsiteX198" fmla="*/ 1410038 w 1628343"/>
                <a:gd name="connsiteY198" fmla="*/ 165340 h 220192"/>
                <a:gd name="connsiteX199" fmla="*/ 1401418 w 1628343"/>
                <a:gd name="connsiteY199" fmla="*/ 160303 h 220192"/>
                <a:gd name="connsiteX200" fmla="*/ 1389105 w 1628343"/>
                <a:gd name="connsiteY200" fmla="*/ 157392 h 220192"/>
                <a:gd name="connsiteX201" fmla="*/ 1374776 w 1628343"/>
                <a:gd name="connsiteY201" fmla="*/ 154929 h 220192"/>
                <a:gd name="connsiteX202" fmla="*/ 1355298 w 1628343"/>
                <a:gd name="connsiteY202" fmla="*/ 150676 h 220192"/>
                <a:gd name="connsiteX203" fmla="*/ 1337722 w 1628343"/>
                <a:gd name="connsiteY203" fmla="*/ 143175 h 220192"/>
                <a:gd name="connsiteX204" fmla="*/ 1325185 w 1628343"/>
                <a:gd name="connsiteY204" fmla="*/ 129742 h 220192"/>
                <a:gd name="connsiteX205" fmla="*/ 1320483 w 1628343"/>
                <a:gd name="connsiteY205" fmla="*/ 108025 h 220192"/>
                <a:gd name="connsiteX206" fmla="*/ 1325633 w 1628343"/>
                <a:gd name="connsiteY206" fmla="*/ 86980 h 220192"/>
                <a:gd name="connsiteX207" fmla="*/ 1339738 w 1628343"/>
                <a:gd name="connsiteY207" fmla="*/ 71756 h 220192"/>
                <a:gd name="connsiteX208" fmla="*/ 1360559 w 1628343"/>
                <a:gd name="connsiteY208" fmla="*/ 62576 h 220192"/>
                <a:gd name="connsiteX209" fmla="*/ 1385858 w 1628343"/>
                <a:gd name="connsiteY209" fmla="*/ 59442 h 220192"/>
                <a:gd name="connsiteX210" fmla="*/ 1435225 w 1628343"/>
                <a:gd name="connsiteY210" fmla="*/ 72427 h 220192"/>
                <a:gd name="connsiteX211" fmla="*/ 1454144 w 1628343"/>
                <a:gd name="connsiteY211" fmla="*/ 107913 h 220192"/>
                <a:gd name="connsiteX212" fmla="*/ 1409814 w 1628343"/>
                <a:gd name="connsiteY212" fmla="*/ 107913 h 220192"/>
                <a:gd name="connsiteX213" fmla="*/ 1401978 w 1628343"/>
                <a:gd name="connsiteY213" fmla="*/ 93920 h 220192"/>
                <a:gd name="connsiteX214" fmla="*/ 1385522 w 1628343"/>
                <a:gd name="connsiteY214" fmla="*/ 90226 h 220192"/>
                <a:gd name="connsiteX215" fmla="*/ 1370634 w 1628343"/>
                <a:gd name="connsiteY215" fmla="*/ 93585 h 220192"/>
                <a:gd name="connsiteX216" fmla="*/ 1364589 w 1628343"/>
                <a:gd name="connsiteY216" fmla="*/ 104107 h 220192"/>
                <a:gd name="connsiteX217" fmla="*/ 1367499 w 1628343"/>
                <a:gd name="connsiteY217" fmla="*/ 110600 h 220192"/>
                <a:gd name="connsiteX218" fmla="*/ 1375447 w 1628343"/>
                <a:gd name="connsiteY218" fmla="*/ 114630 h 220192"/>
                <a:gd name="connsiteX219" fmla="*/ 1387089 w 1628343"/>
                <a:gd name="connsiteY219" fmla="*/ 117428 h 220192"/>
                <a:gd name="connsiteX220" fmla="*/ 1400858 w 1628343"/>
                <a:gd name="connsiteY220" fmla="*/ 119779 h 220192"/>
                <a:gd name="connsiteX221" fmla="*/ 1421120 w 1628343"/>
                <a:gd name="connsiteY221" fmla="*/ 124033 h 220192"/>
                <a:gd name="connsiteX222" fmla="*/ 1439703 w 1628343"/>
                <a:gd name="connsiteY222" fmla="*/ 131869 h 220192"/>
                <a:gd name="connsiteX223" fmla="*/ 1453472 w 1628343"/>
                <a:gd name="connsiteY223" fmla="*/ 146198 h 220192"/>
                <a:gd name="connsiteX224" fmla="*/ 1458845 w 1628343"/>
                <a:gd name="connsiteY224" fmla="*/ 169706 h 220192"/>
                <a:gd name="connsiteX225" fmla="*/ 1453696 w 1628343"/>
                <a:gd name="connsiteY225" fmla="*/ 191535 h 220192"/>
                <a:gd name="connsiteX226" fmla="*/ 1439367 w 1628343"/>
                <a:gd name="connsiteY226" fmla="*/ 207207 h 220192"/>
                <a:gd name="connsiteX227" fmla="*/ 1417538 w 1628343"/>
                <a:gd name="connsiteY227" fmla="*/ 216722 h 220192"/>
                <a:gd name="connsiteX228" fmla="*/ 1390000 w 1628343"/>
                <a:gd name="connsiteY228" fmla="*/ 219968 h 220192"/>
                <a:gd name="connsiteX229" fmla="*/ 1552877 w 1628343"/>
                <a:gd name="connsiteY229" fmla="*/ 219633 h 220192"/>
                <a:gd name="connsiteX230" fmla="*/ 1519183 w 1628343"/>
                <a:gd name="connsiteY230" fmla="*/ 213588 h 220192"/>
                <a:gd name="connsiteX231" fmla="*/ 1493771 w 1628343"/>
                <a:gd name="connsiteY231" fmla="*/ 196684 h 220192"/>
                <a:gd name="connsiteX232" fmla="*/ 1477764 w 1628343"/>
                <a:gd name="connsiteY232" fmla="*/ 171161 h 220192"/>
                <a:gd name="connsiteX233" fmla="*/ 1472166 w 1628343"/>
                <a:gd name="connsiteY233" fmla="*/ 139257 h 220192"/>
                <a:gd name="connsiteX234" fmla="*/ 1477764 w 1628343"/>
                <a:gd name="connsiteY234" fmla="*/ 107801 h 220192"/>
                <a:gd name="connsiteX235" fmla="*/ 1493771 w 1628343"/>
                <a:gd name="connsiteY235" fmla="*/ 82390 h 220192"/>
                <a:gd name="connsiteX236" fmla="*/ 1518287 w 1628343"/>
                <a:gd name="connsiteY236" fmla="*/ 65599 h 220192"/>
                <a:gd name="connsiteX237" fmla="*/ 1549967 w 1628343"/>
                <a:gd name="connsiteY237" fmla="*/ 59554 h 220192"/>
                <a:gd name="connsiteX238" fmla="*/ 1579072 w 1628343"/>
                <a:gd name="connsiteY238" fmla="*/ 64591 h 220192"/>
                <a:gd name="connsiteX239" fmla="*/ 1601685 w 1628343"/>
                <a:gd name="connsiteY239" fmla="*/ 78472 h 220192"/>
                <a:gd name="connsiteX240" fmla="*/ 1621946 w 1628343"/>
                <a:gd name="connsiteY240" fmla="*/ 109928 h 220192"/>
                <a:gd name="connsiteX241" fmla="*/ 1628327 w 1628343"/>
                <a:gd name="connsiteY241" fmla="*/ 152019 h 220192"/>
                <a:gd name="connsiteX242" fmla="*/ 1519518 w 1628343"/>
                <a:gd name="connsiteY242" fmla="*/ 152019 h 220192"/>
                <a:gd name="connsiteX243" fmla="*/ 1530153 w 1628343"/>
                <a:gd name="connsiteY243" fmla="*/ 176311 h 220192"/>
                <a:gd name="connsiteX244" fmla="*/ 1553549 w 1628343"/>
                <a:gd name="connsiteY244" fmla="*/ 185154 h 220192"/>
                <a:gd name="connsiteX245" fmla="*/ 1569221 w 1628343"/>
                <a:gd name="connsiteY245" fmla="*/ 181124 h 220192"/>
                <a:gd name="connsiteX246" fmla="*/ 1578736 w 1628343"/>
                <a:gd name="connsiteY246" fmla="*/ 170042 h 220192"/>
                <a:gd name="connsiteX247" fmla="*/ 1625753 w 1628343"/>
                <a:gd name="connsiteY247" fmla="*/ 170042 h 220192"/>
                <a:gd name="connsiteX248" fmla="*/ 1616909 w 1628343"/>
                <a:gd name="connsiteY248" fmla="*/ 189744 h 220192"/>
                <a:gd name="connsiteX249" fmla="*/ 1600341 w 1628343"/>
                <a:gd name="connsiteY249" fmla="*/ 205864 h 220192"/>
                <a:gd name="connsiteX250" fmla="*/ 1579184 w 1628343"/>
                <a:gd name="connsiteY250" fmla="*/ 216162 h 220192"/>
                <a:gd name="connsiteX251" fmla="*/ 1552990 w 1628343"/>
                <a:gd name="connsiteY251" fmla="*/ 219745 h 220192"/>
                <a:gd name="connsiteX252" fmla="*/ 1579632 w 1628343"/>
                <a:gd name="connsiteY252" fmla="*/ 123361 h 220192"/>
                <a:gd name="connsiteX253" fmla="*/ 1570453 w 1628343"/>
                <a:gd name="connsiteY253" fmla="*/ 101756 h 220192"/>
                <a:gd name="connsiteX254" fmla="*/ 1550974 w 1628343"/>
                <a:gd name="connsiteY254" fmla="*/ 93808 h 220192"/>
                <a:gd name="connsiteX255" fmla="*/ 1529705 w 1628343"/>
                <a:gd name="connsiteY255" fmla="*/ 101756 h 220192"/>
                <a:gd name="connsiteX256" fmla="*/ 1519966 w 1628343"/>
                <a:gd name="connsiteY256" fmla="*/ 123361 h 220192"/>
                <a:gd name="connsiteX257" fmla="*/ 1579632 w 1628343"/>
                <a:gd name="connsiteY257" fmla="*/ 123361 h 22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628343" h="220192">
                  <a:moveTo>
                    <a:pt x="100525" y="220192"/>
                  </a:moveTo>
                  <a:cubicBezTo>
                    <a:pt x="85301" y="220192"/>
                    <a:pt x="71756" y="217618"/>
                    <a:pt x="59778" y="212468"/>
                  </a:cubicBezTo>
                  <a:cubicBezTo>
                    <a:pt x="47800" y="207319"/>
                    <a:pt x="37277" y="200043"/>
                    <a:pt x="28434" y="190639"/>
                  </a:cubicBezTo>
                  <a:cubicBezTo>
                    <a:pt x="19142" y="180564"/>
                    <a:pt x="12090" y="168810"/>
                    <a:pt x="7276" y="155153"/>
                  </a:cubicBezTo>
                  <a:cubicBezTo>
                    <a:pt x="2463" y="141608"/>
                    <a:pt x="0" y="126720"/>
                    <a:pt x="0" y="110488"/>
                  </a:cubicBezTo>
                  <a:cubicBezTo>
                    <a:pt x="0" y="94256"/>
                    <a:pt x="2687" y="78360"/>
                    <a:pt x="8172" y="64255"/>
                  </a:cubicBezTo>
                  <a:cubicBezTo>
                    <a:pt x="13545" y="50151"/>
                    <a:pt x="21269" y="38061"/>
                    <a:pt x="31344" y="28098"/>
                  </a:cubicBezTo>
                  <a:cubicBezTo>
                    <a:pt x="40188" y="19254"/>
                    <a:pt x="50598" y="12314"/>
                    <a:pt x="62688" y="7388"/>
                  </a:cubicBezTo>
                  <a:cubicBezTo>
                    <a:pt x="74666" y="2463"/>
                    <a:pt x="88435" y="0"/>
                    <a:pt x="103771" y="0"/>
                  </a:cubicBezTo>
                  <a:cubicBezTo>
                    <a:pt x="117317" y="0"/>
                    <a:pt x="129630" y="1679"/>
                    <a:pt x="140377" y="5149"/>
                  </a:cubicBezTo>
                  <a:cubicBezTo>
                    <a:pt x="151235" y="8620"/>
                    <a:pt x="160639" y="13545"/>
                    <a:pt x="168475" y="19926"/>
                  </a:cubicBezTo>
                  <a:cubicBezTo>
                    <a:pt x="176311" y="26307"/>
                    <a:pt x="182691" y="34031"/>
                    <a:pt x="187505" y="43098"/>
                  </a:cubicBezTo>
                  <a:cubicBezTo>
                    <a:pt x="192319" y="52166"/>
                    <a:pt x="195677" y="62240"/>
                    <a:pt x="197356" y="73211"/>
                  </a:cubicBezTo>
                  <a:lnTo>
                    <a:pt x="146534" y="73211"/>
                  </a:lnTo>
                  <a:cubicBezTo>
                    <a:pt x="144519" y="64591"/>
                    <a:pt x="140153" y="57315"/>
                    <a:pt x="133213" y="51606"/>
                  </a:cubicBezTo>
                  <a:cubicBezTo>
                    <a:pt x="126272" y="45897"/>
                    <a:pt x="117093" y="42986"/>
                    <a:pt x="105451" y="42986"/>
                  </a:cubicBezTo>
                  <a:cubicBezTo>
                    <a:pt x="96719" y="42986"/>
                    <a:pt x="89107" y="44777"/>
                    <a:pt x="82502" y="48136"/>
                  </a:cubicBezTo>
                  <a:cubicBezTo>
                    <a:pt x="75898" y="51606"/>
                    <a:pt x="70412" y="56307"/>
                    <a:pt x="66047" y="62352"/>
                  </a:cubicBezTo>
                  <a:cubicBezTo>
                    <a:pt x="61681" y="68397"/>
                    <a:pt x="58434" y="75450"/>
                    <a:pt x="56308" y="83622"/>
                  </a:cubicBezTo>
                  <a:cubicBezTo>
                    <a:pt x="54181" y="91793"/>
                    <a:pt x="53061" y="100749"/>
                    <a:pt x="53061" y="110376"/>
                  </a:cubicBezTo>
                  <a:cubicBezTo>
                    <a:pt x="53061" y="120003"/>
                    <a:pt x="54293" y="128959"/>
                    <a:pt x="56755" y="137242"/>
                  </a:cubicBezTo>
                  <a:cubicBezTo>
                    <a:pt x="59218" y="145526"/>
                    <a:pt x="62688" y="152691"/>
                    <a:pt x="67278" y="158624"/>
                  </a:cubicBezTo>
                  <a:cubicBezTo>
                    <a:pt x="71868" y="164668"/>
                    <a:pt x="77353" y="169370"/>
                    <a:pt x="83957" y="172616"/>
                  </a:cubicBezTo>
                  <a:cubicBezTo>
                    <a:pt x="90562" y="175975"/>
                    <a:pt x="97950" y="177654"/>
                    <a:pt x="106234" y="177654"/>
                  </a:cubicBezTo>
                  <a:cubicBezTo>
                    <a:pt x="113063" y="177654"/>
                    <a:pt x="119332" y="176646"/>
                    <a:pt x="124705" y="174519"/>
                  </a:cubicBezTo>
                  <a:cubicBezTo>
                    <a:pt x="130078" y="172505"/>
                    <a:pt x="134780" y="169706"/>
                    <a:pt x="138586" y="166236"/>
                  </a:cubicBezTo>
                  <a:cubicBezTo>
                    <a:pt x="142392" y="162765"/>
                    <a:pt x="145526" y="158847"/>
                    <a:pt x="147765" y="154370"/>
                  </a:cubicBezTo>
                  <a:cubicBezTo>
                    <a:pt x="150004" y="150004"/>
                    <a:pt x="151459" y="145414"/>
                    <a:pt x="152019" y="140601"/>
                  </a:cubicBezTo>
                  <a:lnTo>
                    <a:pt x="152019" y="140041"/>
                  </a:lnTo>
                  <a:lnTo>
                    <a:pt x="112391" y="140041"/>
                  </a:lnTo>
                  <a:lnTo>
                    <a:pt x="112391" y="101644"/>
                  </a:lnTo>
                  <a:lnTo>
                    <a:pt x="200490" y="101644"/>
                  </a:lnTo>
                  <a:lnTo>
                    <a:pt x="200490" y="215155"/>
                  </a:lnTo>
                  <a:lnTo>
                    <a:pt x="163885" y="215155"/>
                  </a:lnTo>
                  <a:lnTo>
                    <a:pt x="160974" y="189744"/>
                  </a:lnTo>
                  <a:lnTo>
                    <a:pt x="160415" y="189744"/>
                  </a:lnTo>
                  <a:cubicBezTo>
                    <a:pt x="153474" y="200602"/>
                    <a:pt x="144967" y="208326"/>
                    <a:pt x="134892" y="212916"/>
                  </a:cubicBezTo>
                  <a:cubicBezTo>
                    <a:pt x="124705" y="217506"/>
                    <a:pt x="113287" y="219856"/>
                    <a:pt x="100413" y="219856"/>
                  </a:cubicBezTo>
                  <a:moveTo>
                    <a:pt x="278067" y="219521"/>
                  </a:moveTo>
                  <a:cubicBezTo>
                    <a:pt x="260492" y="219521"/>
                    <a:pt x="247283" y="214371"/>
                    <a:pt x="238327" y="203961"/>
                  </a:cubicBezTo>
                  <a:cubicBezTo>
                    <a:pt x="229372" y="193662"/>
                    <a:pt x="224894" y="180005"/>
                    <a:pt x="224894" y="162989"/>
                  </a:cubicBezTo>
                  <a:lnTo>
                    <a:pt x="224894" y="63696"/>
                  </a:lnTo>
                  <a:lnTo>
                    <a:pt x="272806" y="63696"/>
                  </a:lnTo>
                  <a:lnTo>
                    <a:pt x="272806" y="153026"/>
                  </a:lnTo>
                  <a:cubicBezTo>
                    <a:pt x="272806" y="161310"/>
                    <a:pt x="274709" y="167691"/>
                    <a:pt x="278403" y="172057"/>
                  </a:cubicBezTo>
                  <a:cubicBezTo>
                    <a:pt x="282097" y="176534"/>
                    <a:pt x="287918" y="178661"/>
                    <a:pt x="295530" y="178661"/>
                  </a:cubicBezTo>
                  <a:cubicBezTo>
                    <a:pt x="303814" y="178661"/>
                    <a:pt x="310307" y="175863"/>
                    <a:pt x="315008" y="170266"/>
                  </a:cubicBezTo>
                  <a:cubicBezTo>
                    <a:pt x="319710" y="164668"/>
                    <a:pt x="322061" y="157280"/>
                    <a:pt x="322061" y="148213"/>
                  </a:cubicBezTo>
                  <a:lnTo>
                    <a:pt x="322061" y="63696"/>
                  </a:lnTo>
                  <a:lnTo>
                    <a:pt x="370197" y="63696"/>
                  </a:lnTo>
                  <a:lnTo>
                    <a:pt x="370197" y="215043"/>
                  </a:lnTo>
                  <a:lnTo>
                    <a:pt x="324076" y="215043"/>
                  </a:lnTo>
                  <a:lnTo>
                    <a:pt x="324076" y="196460"/>
                  </a:lnTo>
                  <a:lnTo>
                    <a:pt x="323180" y="196460"/>
                  </a:lnTo>
                  <a:cubicBezTo>
                    <a:pt x="317695" y="203961"/>
                    <a:pt x="311426" y="209670"/>
                    <a:pt x="304374" y="213588"/>
                  </a:cubicBezTo>
                  <a:cubicBezTo>
                    <a:pt x="297433" y="217506"/>
                    <a:pt x="288590" y="219521"/>
                    <a:pt x="277955" y="219521"/>
                  </a:cubicBezTo>
                  <a:moveTo>
                    <a:pt x="397623" y="1679"/>
                  </a:moveTo>
                  <a:lnTo>
                    <a:pt x="445758" y="1679"/>
                  </a:lnTo>
                  <a:lnTo>
                    <a:pt x="445758" y="42762"/>
                  </a:lnTo>
                  <a:lnTo>
                    <a:pt x="397623" y="42762"/>
                  </a:lnTo>
                  <a:lnTo>
                    <a:pt x="397623" y="1679"/>
                  </a:lnTo>
                  <a:close/>
                  <a:moveTo>
                    <a:pt x="397623" y="63696"/>
                  </a:moveTo>
                  <a:lnTo>
                    <a:pt x="445758" y="63696"/>
                  </a:lnTo>
                  <a:lnTo>
                    <a:pt x="445758" y="215043"/>
                  </a:lnTo>
                  <a:lnTo>
                    <a:pt x="397623" y="215043"/>
                  </a:lnTo>
                  <a:lnTo>
                    <a:pt x="397623" y="63696"/>
                  </a:lnTo>
                  <a:close/>
                  <a:moveTo>
                    <a:pt x="532738" y="219745"/>
                  </a:moveTo>
                  <a:cubicBezTo>
                    <a:pt x="523111" y="219745"/>
                    <a:pt x="514156" y="217953"/>
                    <a:pt x="506096" y="214259"/>
                  </a:cubicBezTo>
                  <a:cubicBezTo>
                    <a:pt x="498036" y="210565"/>
                    <a:pt x="490983" y="205304"/>
                    <a:pt x="485162" y="198475"/>
                  </a:cubicBezTo>
                  <a:cubicBezTo>
                    <a:pt x="479229" y="191535"/>
                    <a:pt x="474640" y="183139"/>
                    <a:pt x="471393" y="173176"/>
                  </a:cubicBezTo>
                  <a:cubicBezTo>
                    <a:pt x="468147" y="163213"/>
                    <a:pt x="466468" y="151907"/>
                    <a:pt x="466468" y="139369"/>
                  </a:cubicBezTo>
                  <a:cubicBezTo>
                    <a:pt x="466468" y="127503"/>
                    <a:pt x="468147" y="116757"/>
                    <a:pt x="471393" y="106794"/>
                  </a:cubicBezTo>
                  <a:cubicBezTo>
                    <a:pt x="474640" y="96943"/>
                    <a:pt x="479229" y="88547"/>
                    <a:pt x="484938" y="81495"/>
                  </a:cubicBezTo>
                  <a:cubicBezTo>
                    <a:pt x="490759" y="74554"/>
                    <a:pt x="497700" y="69069"/>
                    <a:pt x="505760" y="65039"/>
                  </a:cubicBezTo>
                  <a:cubicBezTo>
                    <a:pt x="513820" y="61121"/>
                    <a:pt x="522775" y="59106"/>
                    <a:pt x="532626" y="59106"/>
                  </a:cubicBezTo>
                  <a:cubicBezTo>
                    <a:pt x="543261" y="59106"/>
                    <a:pt x="551880" y="61121"/>
                    <a:pt x="558373" y="65151"/>
                  </a:cubicBezTo>
                  <a:cubicBezTo>
                    <a:pt x="564866" y="69181"/>
                    <a:pt x="570351" y="74330"/>
                    <a:pt x="574941" y="80711"/>
                  </a:cubicBezTo>
                  <a:lnTo>
                    <a:pt x="575836" y="80711"/>
                  </a:lnTo>
                  <a:lnTo>
                    <a:pt x="575836" y="1455"/>
                  </a:lnTo>
                  <a:lnTo>
                    <a:pt x="623972" y="1455"/>
                  </a:lnTo>
                  <a:lnTo>
                    <a:pt x="623972" y="214931"/>
                  </a:lnTo>
                  <a:lnTo>
                    <a:pt x="577851" y="214931"/>
                  </a:lnTo>
                  <a:lnTo>
                    <a:pt x="577851" y="194557"/>
                  </a:lnTo>
                  <a:lnTo>
                    <a:pt x="577292" y="194557"/>
                  </a:lnTo>
                  <a:cubicBezTo>
                    <a:pt x="572814" y="202393"/>
                    <a:pt x="566657" y="208550"/>
                    <a:pt x="559157" y="213028"/>
                  </a:cubicBezTo>
                  <a:cubicBezTo>
                    <a:pt x="551545" y="217506"/>
                    <a:pt x="542813" y="219633"/>
                    <a:pt x="532738" y="219633"/>
                  </a:cubicBezTo>
                  <a:moveTo>
                    <a:pt x="545164" y="181460"/>
                  </a:moveTo>
                  <a:cubicBezTo>
                    <a:pt x="555239" y="181460"/>
                    <a:pt x="563075" y="177542"/>
                    <a:pt x="568672" y="169594"/>
                  </a:cubicBezTo>
                  <a:cubicBezTo>
                    <a:pt x="574269" y="161758"/>
                    <a:pt x="577068" y="151571"/>
                    <a:pt x="577068" y="139145"/>
                  </a:cubicBezTo>
                  <a:cubicBezTo>
                    <a:pt x="577068" y="132877"/>
                    <a:pt x="576396" y="126944"/>
                    <a:pt x="575165" y="121570"/>
                  </a:cubicBezTo>
                  <a:cubicBezTo>
                    <a:pt x="573933" y="116197"/>
                    <a:pt x="571918" y="111495"/>
                    <a:pt x="569232" y="107689"/>
                  </a:cubicBezTo>
                  <a:cubicBezTo>
                    <a:pt x="566545" y="103883"/>
                    <a:pt x="563299" y="100861"/>
                    <a:pt x="559493" y="98622"/>
                  </a:cubicBezTo>
                  <a:cubicBezTo>
                    <a:pt x="555687" y="96495"/>
                    <a:pt x="551097" y="95376"/>
                    <a:pt x="545724" y="95376"/>
                  </a:cubicBezTo>
                  <a:cubicBezTo>
                    <a:pt x="536097" y="95376"/>
                    <a:pt x="528596" y="99406"/>
                    <a:pt x="523223" y="107354"/>
                  </a:cubicBezTo>
                  <a:cubicBezTo>
                    <a:pt x="517850" y="115302"/>
                    <a:pt x="515275" y="125712"/>
                    <a:pt x="515275" y="138586"/>
                  </a:cubicBezTo>
                  <a:cubicBezTo>
                    <a:pt x="515275" y="151459"/>
                    <a:pt x="517850" y="162206"/>
                    <a:pt x="523111" y="169930"/>
                  </a:cubicBezTo>
                  <a:cubicBezTo>
                    <a:pt x="528372" y="177654"/>
                    <a:pt x="535649" y="181460"/>
                    <a:pt x="545164" y="181460"/>
                  </a:cubicBezTo>
                  <a:moveTo>
                    <a:pt x="722482" y="219297"/>
                  </a:moveTo>
                  <a:cubicBezTo>
                    <a:pt x="710056" y="219297"/>
                    <a:pt x="698862" y="217282"/>
                    <a:pt x="688787" y="213252"/>
                  </a:cubicBezTo>
                  <a:cubicBezTo>
                    <a:pt x="678712" y="209222"/>
                    <a:pt x="670205" y="203625"/>
                    <a:pt x="663376" y="196348"/>
                  </a:cubicBezTo>
                  <a:cubicBezTo>
                    <a:pt x="656436" y="189184"/>
                    <a:pt x="651174" y="180676"/>
                    <a:pt x="647368" y="170825"/>
                  </a:cubicBezTo>
                  <a:cubicBezTo>
                    <a:pt x="643674" y="160974"/>
                    <a:pt x="641771" y="150340"/>
                    <a:pt x="641771" y="138922"/>
                  </a:cubicBezTo>
                  <a:cubicBezTo>
                    <a:pt x="641771" y="127503"/>
                    <a:pt x="643674" y="117205"/>
                    <a:pt x="647368" y="107465"/>
                  </a:cubicBezTo>
                  <a:cubicBezTo>
                    <a:pt x="651062" y="97726"/>
                    <a:pt x="656436" y="89219"/>
                    <a:pt x="663376" y="82054"/>
                  </a:cubicBezTo>
                  <a:cubicBezTo>
                    <a:pt x="670317" y="74890"/>
                    <a:pt x="678488" y="69293"/>
                    <a:pt x="687892" y="65263"/>
                  </a:cubicBezTo>
                  <a:cubicBezTo>
                    <a:pt x="697295" y="61233"/>
                    <a:pt x="707929" y="59218"/>
                    <a:pt x="719572" y="59218"/>
                  </a:cubicBezTo>
                  <a:cubicBezTo>
                    <a:pt x="730430" y="59218"/>
                    <a:pt x="740169" y="60897"/>
                    <a:pt x="748677" y="64255"/>
                  </a:cubicBezTo>
                  <a:cubicBezTo>
                    <a:pt x="757296" y="67614"/>
                    <a:pt x="764797" y="72203"/>
                    <a:pt x="771289" y="78136"/>
                  </a:cubicBezTo>
                  <a:cubicBezTo>
                    <a:pt x="780357" y="86420"/>
                    <a:pt x="787073" y="96943"/>
                    <a:pt x="791551" y="109592"/>
                  </a:cubicBezTo>
                  <a:cubicBezTo>
                    <a:pt x="796029" y="122354"/>
                    <a:pt x="798044" y="136347"/>
                    <a:pt x="797932" y="151683"/>
                  </a:cubicBezTo>
                  <a:lnTo>
                    <a:pt x="689123" y="151683"/>
                  </a:lnTo>
                  <a:cubicBezTo>
                    <a:pt x="690690" y="161982"/>
                    <a:pt x="694272" y="170042"/>
                    <a:pt x="699758" y="175975"/>
                  </a:cubicBezTo>
                  <a:cubicBezTo>
                    <a:pt x="705243" y="181908"/>
                    <a:pt x="713079" y="184818"/>
                    <a:pt x="723154" y="184818"/>
                  </a:cubicBezTo>
                  <a:cubicBezTo>
                    <a:pt x="729423" y="184818"/>
                    <a:pt x="734684" y="183475"/>
                    <a:pt x="738826" y="180788"/>
                  </a:cubicBezTo>
                  <a:cubicBezTo>
                    <a:pt x="742968" y="178102"/>
                    <a:pt x="746102" y="174408"/>
                    <a:pt x="748229" y="169706"/>
                  </a:cubicBezTo>
                  <a:lnTo>
                    <a:pt x="795245" y="169706"/>
                  </a:lnTo>
                  <a:cubicBezTo>
                    <a:pt x="793678" y="176646"/>
                    <a:pt x="790656" y="183139"/>
                    <a:pt x="786402" y="189408"/>
                  </a:cubicBezTo>
                  <a:cubicBezTo>
                    <a:pt x="782036" y="195565"/>
                    <a:pt x="776551" y="200938"/>
                    <a:pt x="769834" y="205528"/>
                  </a:cubicBezTo>
                  <a:cubicBezTo>
                    <a:pt x="763565" y="210117"/>
                    <a:pt x="756513" y="213476"/>
                    <a:pt x="748677" y="215827"/>
                  </a:cubicBezTo>
                  <a:cubicBezTo>
                    <a:pt x="740953" y="218177"/>
                    <a:pt x="732221" y="219409"/>
                    <a:pt x="722482" y="219409"/>
                  </a:cubicBezTo>
                  <a:moveTo>
                    <a:pt x="749125" y="123026"/>
                  </a:moveTo>
                  <a:cubicBezTo>
                    <a:pt x="748117" y="113958"/>
                    <a:pt x="745095" y="106794"/>
                    <a:pt x="739945" y="101421"/>
                  </a:cubicBezTo>
                  <a:cubicBezTo>
                    <a:pt x="734796" y="96159"/>
                    <a:pt x="728303" y="93473"/>
                    <a:pt x="720467" y="93473"/>
                  </a:cubicBezTo>
                  <a:cubicBezTo>
                    <a:pt x="711176" y="93473"/>
                    <a:pt x="704123" y="96159"/>
                    <a:pt x="699198" y="101421"/>
                  </a:cubicBezTo>
                  <a:cubicBezTo>
                    <a:pt x="694272" y="106794"/>
                    <a:pt x="691026" y="113958"/>
                    <a:pt x="689459" y="123026"/>
                  </a:cubicBezTo>
                  <a:lnTo>
                    <a:pt x="749125" y="123026"/>
                  </a:lnTo>
                  <a:close/>
                  <a:moveTo>
                    <a:pt x="815619" y="1567"/>
                  </a:moveTo>
                  <a:lnTo>
                    <a:pt x="863755" y="1567"/>
                  </a:lnTo>
                  <a:lnTo>
                    <a:pt x="863755" y="82278"/>
                  </a:lnTo>
                  <a:lnTo>
                    <a:pt x="864650" y="82278"/>
                  </a:lnTo>
                  <a:cubicBezTo>
                    <a:pt x="870135" y="75002"/>
                    <a:pt x="876404" y="69293"/>
                    <a:pt x="883233" y="65263"/>
                  </a:cubicBezTo>
                  <a:cubicBezTo>
                    <a:pt x="890173" y="61233"/>
                    <a:pt x="898905" y="59218"/>
                    <a:pt x="909539" y="59218"/>
                  </a:cubicBezTo>
                  <a:cubicBezTo>
                    <a:pt x="917823" y="59218"/>
                    <a:pt x="925211" y="60673"/>
                    <a:pt x="931704" y="63472"/>
                  </a:cubicBezTo>
                  <a:cubicBezTo>
                    <a:pt x="938197" y="66270"/>
                    <a:pt x="943682" y="70300"/>
                    <a:pt x="948272" y="75338"/>
                  </a:cubicBezTo>
                  <a:cubicBezTo>
                    <a:pt x="952861" y="80375"/>
                    <a:pt x="956220" y="86420"/>
                    <a:pt x="958682" y="93361"/>
                  </a:cubicBezTo>
                  <a:cubicBezTo>
                    <a:pt x="961033" y="100301"/>
                    <a:pt x="962265" y="108137"/>
                    <a:pt x="962265" y="116533"/>
                  </a:cubicBezTo>
                  <a:lnTo>
                    <a:pt x="962265" y="214931"/>
                  </a:lnTo>
                  <a:lnTo>
                    <a:pt x="914129" y="214931"/>
                  </a:lnTo>
                  <a:lnTo>
                    <a:pt x="914129" y="126272"/>
                  </a:lnTo>
                  <a:cubicBezTo>
                    <a:pt x="914129" y="118212"/>
                    <a:pt x="912114" y="111719"/>
                    <a:pt x="908196" y="106794"/>
                  </a:cubicBezTo>
                  <a:cubicBezTo>
                    <a:pt x="904278" y="101868"/>
                    <a:pt x="898345" y="99406"/>
                    <a:pt x="890509" y="99406"/>
                  </a:cubicBezTo>
                  <a:cubicBezTo>
                    <a:pt x="882673" y="99406"/>
                    <a:pt x="875956" y="102316"/>
                    <a:pt x="871143" y="108249"/>
                  </a:cubicBezTo>
                  <a:cubicBezTo>
                    <a:pt x="866329" y="114182"/>
                    <a:pt x="863866" y="121906"/>
                    <a:pt x="863866" y="131309"/>
                  </a:cubicBezTo>
                  <a:lnTo>
                    <a:pt x="863866" y="214931"/>
                  </a:lnTo>
                  <a:lnTo>
                    <a:pt x="815731" y="214931"/>
                  </a:lnTo>
                  <a:lnTo>
                    <a:pt x="815731" y="1455"/>
                  </a:lnTo>
                  <a:close/>
                  <a:moveTo>
                    <a:pt x="1058312" y="219745"/>
                  </a:moveTo>
                  <a:cubicBezTo>
                    <a:pt x="1046110" y="219745"/>
                    <a:pt x="1035028" y="217730"/>
                    <a:pt x="1025065" y="213700"/>
                  </a:cubicBezTo>
                  <a:cubicBezTo>
                    <a:pt x="1015102" y="209670"/>
                    <a:pt x="1006594" y="204072"/>
                    <a:pt x="999430" y="196796"/>
                  </a:cubicBezTo>
                  <a:cubicBezTo>
                    <a:pt x="992377" y="189632"/>
                    <a:pt x="986892" y="181124"/>
                    <a:pt x="983086" y="171385"/>
                  </a:cubicBezTo>
                  <a:cubicBezTo>
                    <a:pt x="979280" y="161646"/>
                    <a:pt x="977265" y="151011"/>
                    <a:pt x="977265" y="139593"/>
                  </a:cubicBezTo>
                  <a:cubicBezTo>
                    <a:pt x="977265" y="128175"/>
                    <a:pt x="979168" y="117540"/>
                    <a:pt x="983086" y="107801"/>
                  </a:cubicBezTo>
                  <a:cubicBezTo>
                    <a:pt x="986892" y="98062"/>
                    <a:pt x="992377" y="89555"/>
                    <a:pt x="999430" y="82390"/>
                  </a:cubicBezTo>
                  <a:cubicBezTo>
                    <a:pt x="1006482" y="75226"/>
                    <a:pt x="1015102" y="69629"/>
                    <a:pt x="1025065" y="65599"/>
                  </a:cubicBezTo>
                  <a:cubicBezTo>
                    <a:pt x="1035028" y="61569"/>
                    <a:pt x="1046110" y="59554"/>
                    <a:pt x="1058312" y="59554"/>
                  </a:cubicBezTo>
                  <a:cubicBezTo>
                    <a:pt x="1070514" y="59554"/>
                    <a:pt x="1081596" y="61569"/>
                    <a:pt x="1091559" y="65599"/>
                  </a:cubicBezTo>
                  <a:cubicBezTo>
                    <a:pt x="1101522" y="69629"/>
                    <a:pt x="1110030" y="75226"/>
                    <a:pt x="1116970" y="82390"/>
                  </a:cubicBezTo>
                  <a:cubicBezTo>
                    <a:pt x="1123911" y="89555"/>
                    <a:pt x="1129396" y="98062"/>
                    <a:pt x="1133202" y="107801"/>
                  </a:cubicBezTo>
                  <a:cubicBezTo>
                    <a:pt x="1137008" y="117540"/>
                    <a:pt x="1138911" y="128175"/>
                    <a:pt x="1138911" y="139593"/>
                  </a:cubicBezTo>
                  <a:cubicBezTo>
                    <a:pt x="1138911" y="151011"/>
                    <a:pt x="1137008" y="161646"/>
                    <a:pt x="1133202" y="171385"/>
                  </a:cubicBezTo>
                  <a:cubicBezTo>
                    <a:pt x="1129396" y="181124"/>
                    <a:pt x="1123911" y="189632"/>
                    <a:pt x="1116970" y="196796"/>
                  </a:cubicBezTo>
                  <a:cubicBezTo>
                    <a:pt x="1110030" y="203961"/>
                    <a:pt x="1101522" y="209558"/>
                    <a:pt x="1091559" y="213700"/>
                  </a:cubicBezTo>
                  <a:cubicBezTo>
                    <a:pt x="1081596" y="217730"/>
                    <a:pt x="1070514" y="219745"/>
                    <a:pt x="1058312" y="219745"/>
                  </a:cubicBezTo>
                  <a:moveTo>
                    <a:pt x="1057976" y="185490"/>
                  </a:moveTo>
                  <a:cubicBezTo>
                    <a:pt x="1068611" y="185490"/>
                    <a:pt x="1076671" y="181348"/>
                    <a:pt x="1082044" y="172952"/>
                  </a:cubicBezTo>
                  <a:cubicBezTo>
                    <a:pt x="1087529" y="164557"/>
                    <a:pt x="1090216" y="153474"/>
                    <a:pt x="1090216" y="139705"/>
                  </a:cubicBezTo>
                  <a:cubicBezTo>
                    <a:pt x="1090216" y="125936"/>
                    <a:pt x="1087529" y="114742"/>
                    <a:pt x="1082044" y="106346"/>
                  </a:cubicBezTo>
                  <a:cubicBezTo>
                    <a:pt x="1076671" y="97838"/>
                    <a:pt x="1068611" y="93585"/>
                    <a:pt x="1057976" y="93585"/>
                  </a:cubicBezTo>
                  <a:cubicBezTo>
                    <a:pt x="1047341" y="93585"/>
                    <a:pt x="1039394" y="97838"/>
                    <a:pt x="1034020" y="106346"/>
                  </a:cubicBezTo>
                  <a:cubicBezTo>
                    <a:pt x="1028759" y="114854"/>
                    <a:pt x="1026072" y="125936"/>
                    <a:pt x="1026072" y="139705"/>
                  </a:cubicBezTo>
                  <a:cubicBezTo>
                    <a:pt x="1026072" y="153474"/>
                    <a:pt x="1028759" y="164557"/>
                    <a:pt x="1034020" y="172952"/>
                  </a:cubicBezTo>
                  <a:cubicBezTo>
                    <a:pt x="1039394" y="181348"/>
                    <a:pt x="1047341" y="185490"/>
                    <a:pt x="1057976" y="185490"/>
                  </a:cubicBezTo>
                  <a:moveTo>
                    <a:pt x="1207309" y="219521"/>
                  </a:moveTo>
                  <a:cubicBezTo>
                    <a:pt x="1189733" y="219521"/>
                    <a:pt x="1176524" y="214371"/>
                    <a:pt x="1167569" y="203961"/>
                  </a:cubicBezTo>
                  <a:cubicBezTo>
                    <a:pt x="1158613" y="193662"/>
                    <a:pt x="1154136" y="180005"/>
                    <a:pt x="1154136" y="162989"/>
                  </a:cubicBezTo>
                  <a:lnTo>
                    <a:pt x="1154136" y="63696"/>
                  </a:lnTo>
                  <a:lnTo>
                    <a:pt x="1202047" y="63696"/>
                  </a:lnTo>
                  <a:lnTo>
                    <a:pt x="1202047" y="153026"/>
                  </a:lnTo>
                  <a:cubicBezTo>
                    <a:pt x="1202047" y="161310"/>
                    <a:pt x="1203950" y="167691"/>
                    <a:pt x="1207644" y="172057"/>
                  </a:cubicBezTo>
                  <a:cubicBezTo>
                    <a:pt x="1211339" y="176534"/>
                    <a:pt x="1217160" y="178661"/>
                    <a:pt x="1224772" y="178661"/>
                  </a:cubicBezTo>
                  <a:cubicBezTo>
                    <a:pt x="1233056" y="178661"/>
                    <a:pt x="1239548" y="175863"/>
                    <a:pt x="1244250" y="170266"/>
                  </a:cubicBezTo>
                  <a:cubicBezTo>
                    <a:pt x="1248951" y="164668"/>
                    <a:pt x="1251302" y="157280"/>
                    <a:pt x="1251302" y="148213"/>
                  </a:cubicBezTo>
                  <a:lnTo>
                    <a:pt x="1251302" y="63696"/>
                  </a:lnTo>
                  <a:lnTo>
                    <a:pt x="1299438" y="63696"/>
                  </a:lnTo>
                  <a:lnTo>
                    <a:pt x="1299438" y="215043"/>
                  </a:lnTo>
                  <a:lnTo>
                    <a:pt x="1253317" y="215043"/>
                  </a:lnTo>
                  <a:lnTo>
                    <a:pt x="1253317" y="196460"/>
                  </a:lnTo>
                  <a:lnTo>
                    <a:pt x="1252422" y="196460"/>
                  </a:lnTo>
                  <a:cubicBezTo>
                    <a:pt x="1246936" y="203961"/>
                    <a:pt x="1240668" y="209670"/>
                    <a:pt x="1233615" y="213588"/>
                  </a:cubicBezTo>
                  <a:cubicBezTo>
                    <a:pt x="1226675" y="217506"/>
                    <a:pt x="1217831" y="219521"/>
                    <a:pt x="1207197" y="219521"/>
                  </a:cubicBezTo>
                  <a:moveTo>
                    <a:pt x="1389888" y="219856"/>
                  </a:moveTo>
                  <a:cubicBezTo>
                    <a:pt x="1367611" y="219856"/>
                    <a:pt x="1350036" y="215043"/>
                    <a:pt x="1336939" y="205528"/>
                  </a:cubicBezTo>
                  <a:cubicBezTo>
                    <a:pt x="1323953" y="196013"/>
                    <a:pt x="1317013" y="182803"/>
                    <a:pt x="1316229" y="166012"/>
                  </a:cubicBezTo>
                  <a:lnTo>
                    <a:pt x="1361790" y="166012"/>
                  </a:lnTo>
                  <a:cubicBezTo>
                    <a:pt x="1362798" y="173512"/>
                    <a:pt x="1365596" y="179109"/>
                    <a:pt x="1370410" y="182915"/>
                  </a:cubicBezTo>
                  <a:cubicBezTo>
                    <a:pt x="1375112" y="186609"/>
                    <a:pt x="1381492" y="188512"/>
                    <a:pt x="1389664" y="188512"/>
                  </a:cubicBezTo>
                  <a:cubicBezTo>
                    <a:pt x="1396941" y="188512"/>
                    <a:pt x="1402761" y="187281"/>
                    <a:pt x="1406903" y="184706"/>
                  </a:cubicBezTo>
                  <a:cubicBezTo>
                    <a:pt x="1411157" y="182132"/>
                    <a:pt x="1413284" y="178437"/>
                    <a:pt x="1413284" y="173512"/>
                  </a:cubicBezTo>
                  <a:cubicBezTo>
                    <a:pt x="1413284" y="170154"/>
                    <a:pt x="1412165" y="167467"/>
                    <a:pt x="1410038" y="165340"/>
                  </a:cubicBezTo>
                  <a:cubicBezTo>
                    <a:pt x="1407911" y="163325"/>
                    <a:pt x="1405000" y="161646"/>
                    <a:pt x="1401418" y="160303"/>
                  </a:cubicBezTo>
                  <a:cubicBezTo>
                    <a:pt x="1397836" y="159071"/>
                    <a:pt x="1393806" y="158064"/>
                    <a:pt x="1389105" y="157392"/>
                  </a:cubicBezTo>
                  <a:cubicBezTo>
                    <a:pt x="1384515" y="156721"/>
                    <a:pt x="1379701" y="155825"/>
                    <a:pt x="1374776" y="154929"/>
                  </a:cubicBezTo>
                  <a:cubicBezTo>
                    <a:pt x="1368283" y="153698"/>
                    <a:pt x="1361790" y="152355"/>
                    <a:pt x="1355298" y="150676"/>
                  </a:cubicBezTo>
                  <a:cubicBezTo>
                    <a:pt x="1348805" y="148996"/>
                    <a:pt x="1342984" y="146534"/>
                    <a:pt x="1337722" y="143175"/>
                  </a:cubicBezTo>
                  <a:cubicBezTo>
                    <a:pt x="1332461" y="139817"/>
                    <a:pt x="1328319" y="135339"/>
                    <a:pt x="1325185" y="129742"/>
                  </a:cubicBezTo>
                  <a:cubicBezTo>
                    <a:pt x="1322050" y="124145"/>
                    <a:pt x="1320483" y="116869"/>
                    <a:pt x="1320483" y="108025"/>
                  </a:cubicBezTo>
                  <a:cubicBezTo>
                    <a:pt x="1320483" y="100189"/>
                    <a:pt x="1322162" y="93137"/>
                    <a:pt x="1325633" y="86980"/>
                  </a:cubicBezTo>
                  <a:cubicBezTo>
                    <a:pt x="1329103" y="80935"/>
                    <a:pt x="1333805" y="75786"/>
                    <a:pt x="1339738" y="71756"/>
                  </a:cubicBezTo>
                  <a:cubicBezTo>
                    <a:pt x="1345670" y="67726"/>
                    <a:pt x="1352611" y="64703"/>
                    <a:pt x="1360559" y="62576"/>
                  </a:cubicBezTo>
                  <a:cubicBezTo>
                    <a:pt x="1368507" y="60561"/>
                    <a:pt x="1377015" y="59442"/>
                    <a:pt x="1385858" y="59442"/>
                  </a:cubicBezTo>
                  <a:cubicBezTo>
                    <a:pt x="1407351" y="59442"/>
                    <a:pt x="1423807" y="63808"/>
                    <a:pt x="1435225" y="72427"/>
                  </a:cubicBezTo>
                  <a:cubicBezTo>
                    <a:pt x="1446643" y="81047"/>
                    <a:pt x="1452912" y="92913"/>
                    <a:pt x="1454144" y="107913"/>
                  </a:cubicBezTo>
                  <a:lnTo>
                    <a:pt x="1409814" y="107913"/>
                  </a:lnTo>
                  <a:cubicBezTo>
                    <a:pt x="1408807" y="100973"/>
                    <a:pt x="1406232" y="96383"/>
                    <a:pt x="1401978" y="93920"/>
                  </a:cubicBezTo>
                  <a:cubicBezTo>
                    <a:pt x="1397724" y="91458"/>
                    <a:pt x="1392239" y="90226"/>
                    <a:pt x="1385522" y="90226"/>
                  </a:cubicBezTo>
                  <a:cubicBezTo>
                    <a:pt x="1379589" y="90226"/>
                    <a:pt x="1374664" y="91346"/>
                    <a:pt x="1370634" y="93585"/>
                  </a:cubicBezTo>
                  <a:cubicBezTo>
                    <a:pt x="1366604" y="95823"/>
                    <a:pt x="1364589" y="99294"/>
                    <a:pt x="1364589" y="104107"/>
                  </a:cubicBezTo>
                  <a:cubicBezTo>
                    <a:pt x="1364589" y="106906"/>
                    <a:pt x="1365596" y="109033"/>
                    <a:pt x="1367499" y="110600"/>
                  </a:cubicBezTo>
                  <a:cubicBezTo>
                    <a:pt x="1369514" y="112167"/>
                    <a:pt x="1372089" y="113510"/>
                    <a:pt x="1375447" y="114630"/>
                  </a:cubicBezTo>
                  <a:cubicBezTo>
                    <a:pt x="1378806" y="115749"/>
                    <a:pt x="1382724" y="116645"/>
                    <a:pt x="1387089" y="117428"/>
                  </a:cubicBezTo>
                  <a:cubicBezTo>
                    <a:pt x="1391567" y="118212"/>
                    <a:pt x="1396157" y="118996"/>
                    <a:pt x="1400858" y="119779"/>
                  </a:cubicBezTo>
                  <a:cubicBezTo>
                    <a:pt x="1407575" y="120899"/>
                    <a:pt x="1414292" y="122354"/>
                    <a:pt x="1421120" y="124033"/>
                  </a:cubicBezTo>
                  <a:cubicBezTo>
                    <a:pt x="1427949" y="125712"/>
                    <a:pt x="1434106" y="128287"/>
                    <a:pt x="1439703" y="131869"/>
                  </a:cubicBezTo>
                  <a:cubicBezTo>
                    <a:pt x="1445300" y="135451"/>
                    <a:pt x="1449890" y="140153"/>
                    <a:pt x="1453472" y="146198"/>
                  </a:cubicBezTo>
                  <a:cubicBezTo>
                    <a:pt x="1457054" y="152243"/>
                    <a:pt x="1458845" y="160079"/>
                    <a:pt x="1458845" y="169706"/>
                  </a:cubicBezTo>
                  <a:cubicBezTo>
                    <a:pt x="1458845" y="177990"/>
                    <a:pt x="1457054" y="185266"/>
                    <a:pt x="1453696" y="191535"/>
                  </a:cubicBezTo>
                  <a:cubicBezTo>
                    <a:pt x="1450225" y="197804"/>
                    <a:pt x="1445412" y="203065"/>
                    <a:pt x="1439367" y="207207"/>
                  </a:cubicBezTo>
                  <a:cubicBezTo>
                    <a:pt x="1433210" y="211349"/>
                    <a:pt x="1425934" y="214483"/>
                    <a:pt x="1417538" y="216722"/>
                  </a:cubicBezTo>
                  <a:cubicBezTo>
                    <a:pt x="1409030" y="218849"/>
                    <a:pt x="1399851" y="219968"/>
                    <a:pt x="1390000" y="219968"/>
                  </a:cubicBezTo>
                  <a:moveTo>
                    <a:pt x="1552877" y="219633"/>
                  </a:moveTo>
                  <a:cubicBezTo>
                    <a:pt x="1540452" y="219633"/>
                    <a:pt x="1529257" y="217618"/>
                    <a:pt x="1519183" y="213588"/>
                  </a:cubicBezTo>
                  <a:cubicBezTo>
                    <a:pt x="1509108" y="209558"/>
                    <a:pt x="1500712" y="203961"/>
                    <a:pt x="1493771" y="196684"/>
                  </a:cubicBezTo>
                  <a:cubicBezTo>
                    <a:pt x="1486831" y="189520"/>
                    <a:pt x="1481570" y="181012"/>
                    <a:pt x="1477764" y="171161"/>
                  </a:cubicBezTo>
                  <a:cubicBezTo>
                    <a:pt x="1474069" y="161310"/>
                    <a:pt x="1472166" y="150676"/>
                    <a:pt x="1472166" y="139257"/>
                  </a:cubicBezTo>
                  <a:cubicBezTo>
                    <a:pt x="1472166" y="127839"/>
                    <a:pt x="1474069" y="117540"/>
                    <a:pt x="1477764" y="107801"/>
                  </a:cubicBezTo>
                  <a:cubicBezTo>
                    <a:pt x="1481458" y="98062"/>
                    <a:pt x="1486831" y="89555"/>
                    <a:pt x="1493771" y="82390"/>
                  </a:cubicBezTo>
                  <a:cubicBezTo>
                    <a:pt x="1500712" y="75226"/>
                    <a:pt x="1508884" y="69629"/>
                    <a:pt x="1518287" y="65599"/>
                  </a:cubicBezTo>
                  <a:cubicBezTo>
                    <a:pt x="1527802" y="61569"/>
                    <a:pt x="1538325" y="59554"/>
                    <a:pt x="1549967" y="59554"/>
                  </a:cubicBezTo>
                  <a:cubicBezTo>
                    <a:pt x="1560826" y="59554"/>
                    <a:pt x="1570453" y="61233"/>
                    <a:pt x="1579072" y="64591"/>
                  </a:cubicBezTo>
                  <a:cubicBezTo>
                    <a:pt x="1587692" y="67950"/>
                    <a:pt x="1595192" y="72539"/>
                    <a:pt x="1601685" y="78472"/>
                  </a:cubicBezTo>
                  <a:cubicBezTo>
                    <a:pt x="1610752" y="86756"/>
                    <a:pt x="1617469" y="97279"/>
                    <a:pt x="1621946" y="109928"/>
                  </a:cubicBezTo>
                  <a:cubicBezTo>
                    <a:pt x="1626424" y="122690"/>
                    <a:pt x="1628551" y="136683"/>
                    <a:pt x="1628327" y="152019"/>
                  </a:cubicBezTo>
                  <a:lnTo>
                    <a:pt x="1519518" y="152019"/>
                  </a:lnTo>
                  <a:cubicBezTo>
                    <a:pt x="1521086" y="162318"/>
                    <a:pt x="1524668" y="170378"/>
                    <a:pt x="1530153" y="176311"/>
                  </a:cubicBezTo>
                  <a:cubicBezTo>
                    <a:pt x="1535638" y="182244"/>
                    <a:pt x="1543474" y="185154"/>
                    <a:pt x="1553549" y="185154"/>
                  </a:cubicBezTo>
                  <a:cubicBezTo>
                    <a:pt x="1559818" y="185154"/>
                    <a:pt x="1565079" y="183811"/>
                    <a:pt x="1569221" y="181124"/>
                  </a:cubicBezTo>
                  <a:cubicBezTo>
                    <a:pt x="1573363" y="178437"/>
                    <a:pt x="1576498" y="174743"/>
                    <a:pt x="1578736" y="170042"/>
                  </a:cubicBezTo>
                  <a:lnTo>
                    <a:pt x="1625753" y="170042"/>
                  </a:lnTo>
                  <a:cubicBezTo>
                    <a:pt x="1624185" y="176982"/>
                    <a:pt x="1621275" y="183475"/>
                    <a:pt x="1616909" y="189744"/>
                  </a:cubicBezTo>
                  <a:cubicBezTo>
                    <a:pt x="1612543" y="196013"/>
                    <a:pt x="1607058" y="201274"/>
                    <a:pt x="1600341" y="205864"/>
                  </a:cubicBezTo>
                  <a:cubicBezTo>
                    <a:pt x="1594073" y="210453"/>
                    <a:pt x="1587020" y="213812"/>
                    <a:pt x="1579184" y="216162"/>
                  </a:cubicBezTo>
                  <a:cubicBezTo>
                    <a:pt x="1571348" y="218513"/>
                    <a:pt x="1562617" y="219745"/>
                    <a:pt x="1552990" y="219745"/>
                  </a:cubicBezTo>
                  <a:moveTo>
                    <a:pt x="1579632" y="123361"/>
                  </a:moveTo>
                  <a:cubicBezTo>
                    <a:pt x="1578624" y="114294"/>
                    <a:pt x="1575602" y="107130"/>
                    <a:pt x="1570453" y="101756"/>
                  </a:cubicBezTo>
                  <a:cubicBezTo>
                    <a:pt x="1565303" y="96495"/>
                    <a:pt x="1558810" y="93808"/>
                    <a:pt x="1550974" y="93808"/>
                  </a:cubicBezTo>
                  <a:cubicBezTo>
                    <a:pt x="1541683" y="93808"/>
                    <a:pt x="1534631" y="96495"/>
                    <a:pt x="1529705" y="101756"/>
                  </a:cubicBezTo>
                  <a:cubicBezTo>
                    <a:pt x="1524780" y="107130"/>
                    <a:pt x="1521533" y="114294"/>
                    <a:pt x="1519966" y="123361"/>
                  </a:cubicBezTo>
                  <a:lnTo>
                    <a:pt x="1579632" y="12336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9937AC71-AA29-4D58-AD0B-48517DBE7D0D}"/>
                </a:ext>
              </a:extLst>
            </p:cNvPr>
            <p:cNvSpPr/>
            <p:nvPr/>
          </p:nvSpPr>
          <p:spPr>
            <a:xfrm>
              <a:off x="821844" y="1268899"/>
              <a:ext cx="212244" cy="524230"/>
            </a:xfrm>
            <a:custGeom>
              <a:avLst/>
              <a:gdLst>
                <a:gd name="connsiteX0" fmla="*/ 0 w 212244"/>
                <a:gd name="connsiteY0" fmla="*/ 0 h 524230"/>
                <a:gd name="connsiteX1" fmla="*/ 0 w 212244"/>
                <a:gd name="connsiteY1" fmla="*/ 370084 h 524230"/>
                <a:gd name="connsiteX2" fmla="*/ 211685 w 212244"/>
                <a:gd name="connsiteY2" fmla="*/ 524230 h 524230"/>
                <a:gd name="connsiteX3" fmla="*/ 212244 w 212244"/>
                <a:gd name="connsiteY3" fmla="*/ 523670 h 524230"/>
                <a:gd name="connsiteX4" fmla="*/ 0 w 212244"/>
                <a:gd name="connsiteY4" fmla="*/ 0 h 5242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244" h="524230">
                  <a:moveTo>
                    <a:pt x="0" y="0"/>
                  </a:moveTo>
                  <a:lnTo>
                    <a:pt x="0" y="370084"/>
                  </a:lnTo>
                  <a:lnTo>
                    <a:pt x="211685" y="524230"/>
                  </a:lnTo>
                  <a:cubicBezTo>
                    <a:pt x="211685" y="524230"/>
                    <a:pt x="212133" y="523782"/>
                    <a:pt x="212244" y="523670"/>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8444F99-FB38-E917-2CC6-6F787458E4AC}"/>
                </a:ext>
              </a:extLst>
            </p:cNvPr>
            <p:cNvSpPr/>
            <p:nvPr/>
          </p:nvSpPr>
          <p:spPr>
            <a:xfrm>
              <a:off x="609600" y="1268899"/>
              <a:ext cx="212244" cy="524118"/>
            </a:xfrm>
            <a:custGeom>
              <a:avLst/>
              <a:gdLst>
                <a:gd name="connsiteX0" fmla="*/ 0 w 212244"/>
                <a:gd name="connsiteY0" fmla="*/ 523558 h 524118"/>
                <a:gd name="connsiteX1" fmla="*/ 560 w 212244"/>
                <a:gd name="connsiteY1" fmla="*/ 524118 h 524118"/>
                <a:gd name="connsiteX2" fmla="*/ 212244 w 212244"/>
                <a:gd name="connsiteY2" fmla="*/ 369972 h 524118"/>
                <a:gd name="connsiteX3" fmla="*/ 212244 w 212244"/>
                <a:gd name="connsiteY3" fmla="*/ 0 h 524118"/>
                <a:gd name="connsiteX4" fmla="*/ 0 w 212244"/>
                <a:gd name="connsiteY4" fmla="*/ 523558 h 524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244" h="524118">
                  <a:moveTo>
                    <a:pt x="0" y="523558"/>
                  </a:moveTo>
                  <a:cubicBezTo>
                    <a:pt x="0" y="523558"/>
                    <a:pt x="448" y="524006"/>
                    <a:pt x="560" y="524118"/>
                  </a:cubicBezTo>
                  <a:lnTo>
                    <a:pt x="212244" y="369972"/>
                  </a:lnTo>
                  <a:lnTo>
                    <a:pt x="212244" y="0"/>
                  </a:lnTo>
                  <a:lnTo>
                    <a:pt x="0" y="523558"/>
                  </a:lnTo>
                  <a:close/>
                </a:path>
              </a:pathLst>
            </a:custGeom>
            <a:solidFill>
              <a:srgbClr val="FFFFFF"/>
            </a:solidFill>
            <a:ln w="0" cap="flat">
              <a:noFill/>
              <a:prstDash val="solid"/>
              <a:miter/>
            </a:ln>
          </p:spPr>
          <p:txBody>
            <a:bodyPr rtlCol="0" anchor="ctr"/>
            <a:lstStyle/>
            <a:p>
              <a:endParaRPr lang="en-US" dirty="0"/>
            </a:p>
          </p:txBody>
        </p:sp>
      </p:grpSp>
      <p:grpSp>
        <p:nvGrpSpPr>
          <p:cNvPr id="30" name="Group 29">
            <a:extLst>
              <a:ext uri="{FF2B5EF4-FFF2-40B4-BE49-F238E27FC236}">
                <a16:creationId xmlns:a16="http://schemas.microsoft.com/office/drawing/2014/main" id="{BE1A85A9-E412-184D-B6CF-A3DDA62221B1}"/>
              </a:ext>
            </a:extLst>
          </p:cNvPr>
          <p:cNvGrpSpPr/>
          <p:nvPr userDrawn="1"/>
        </p:nvGrpSpPr>
        <p:grpSpPr>
          <a:xfrm>
            <a:off x="-120073" y="3696853"/>
            <a:ext cx="12358258" cy="0"/>
            <a:chOff x="-101601" y="3429000"/>
            <a:chExt cx="12358258" cy="0"/>
          </a:xfrm>
        </p:grpSpPr>
        <p:cxnSp>
          <p:nvCxnSpPr>
            <p:cNvPr id="7" name="Straight Connector 6">
              <a:extLst>
                <a:ext uri="{FF2B5EF4-FFF2-40B4-BE49-F238E27FC236}">
                  <a16:creationId xmlns:a16="http://schemas.microsoft.com/office/drawing/2014/main" id="{59921AC8-C103-F58B-120C-B7CFBE7BC436}"/>
                </a:ext>
              </a:extLst>
            </p:cNvPr>
            <p:cNvCxnSpPr>
              <a:cxnSpLocks/>
            </p:cNvCxnSpPr>
            <p:nvPr userDrawn="1"/>
          </p:nvCxnSpPr>
          <p:spPr>
            <a:xfrm rot="5400000" flipH="1">
              <a:off x="6077528" y="-2750129"/>
              <a:ext cx="0" cy="12358258"/>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0C0EA49-8A32-C756-AB52-CAF0DA226BF2}"/>
                </a:ext>
              </a:extLst>
            </p:cNvPr>
            <p:cNvCxnSpPr>
              <a:cxnSpLocks/>
            </p:cNvCxnSpPr>
            <p:nvPr userDrawn="1"/>
          </p:nvCxnSpPr>
          <p:spPr>
            <a:xfrm flipH="1">
              <a:off x="741170"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7089442-D37C-DDCD-AA7F-039483C52870}"/>
                </a:ext>
              </a:extLst>
            </p:cNvPr>
            <p:cNvCxnSpPr>
              <a:cxnSpLocks/>
            </p:cNvCxnSpPr>
            <p:nvPr userDrawn="1"/>
          </p:nvCxnSpPr>
          <p:spPr>
            <a:xfrm flipH="1">
              <a:off x="2990579"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C0C59B0-181B-CE20-F495-AE8E9203425B}"/>
                </a:ext>
              </a:extLst>
            </p:cNvPr>
            <p:cNvCxnSpPr>
              <a:cxnSpLocks/>
            </p:cNvCxnSpPr>
            <p:nvPr userDrawn="1"/>
          </p:nvCxnSpPr>
          <p:spPr>
            <a:xfrm flipH="1">
              <a:off x="5239988"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F99DE1E-1074-A94A-CBEF-769216EB1FAF}"/>
                </a:ext>
              </a:extLst>
            </p:cNvPr>
            <p:cNvCxnSpPr>
              <a:cxnSpLocks/>
            </p:cNvCxnSpPr>
            <p:nvPr userDrawn="1"/>
          </p:nvCxnSpPr>
          <p:spPr>
            <a:xfrm flipH="1">
              <a:off x="7489397"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52E6928-4DB5-1504-5281-265B9F9F0382}"/>
                </a:ext>
              </a:extLst>
            </p:cNvPr>
            <p:cNvCxnSpPr>
              <a:cxnSpLocks/>
            </p:cNvCxnSpPr>
            <p:nvPr userDrawn="1"/>
          </p:nvCxnSpPr>
          <p:spPr>
            <a:xfrm flipH="1">
              <a:off x="9738806" y="3429000"/>
              <a:ext cx="173538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7" name="TextBox 46">
            <a:extLst>
              <a:ext uri="{FF2B5EF4-FFF2-40B4-BE49-F238E27FC236}">
                <a16:creationId xmlns:a16="http://schemas.microsoft.com/office/drawing/2014/main" id="{C0998D65-616E-0544-CFBF-4F22B57FB601}"/>
              </a:ext>
            </a:extLst>
          </p:cNvPr>
          <p:cNvSpPr txBox="1"/>
          <p:nvPr userDrawn="1"/>
        </p:nvSpPr>
        <p:spPr>
          <a:xfrm>
            <a:off x="624840" y="1544542"/>
            <a:ext cx="7786913" cy="923330"/>
          </a:xfrm>
          <a:prstGeom prst="rect">
            <a:avLst/>
          </a:prstGeom>
          <a:noFill/>
        </p:spPr>
        <p:txBody>
          <a:bodyPr wrap="square" rtlCol="0">
            <a:noAutofit/>
          </a:bodyPr>
          <a:lstStyle/>
          <a:p>
            <a:pPr algn="l"/>
            <a:r>
              <a:rPr lang="en-US" sz="5400" b="0" dirty="0">
                <a:solidFill>
                  <a:schemeClr val="bg1"/>
                </a:solidFill>
                <a:latin typeface="+mn-lt"/>
              </a:rPr>
              <a:t>Our RI</a:t>
            </a:r>
            <a:r>
              <a:rPr lang="en-US" sz="5400" b="0" baseline="30000" dirty="0">
                <a:solidFill>
                  <a:schemeClr val="bg1"/>
                </a:solidFill>
                <a:latin typeface="+mn-lt"/>
              </a:rPr>
              <a:t>2</a:t>
            </a:r>
            <a:r>
              <a:rPr lang="en-US" sz="5400" b="0" dirty="0">
                <a:solidFill>
                  <a:schemeClr val="bg1"/>
                </a:solidFill>
                <a:latin typeface="+mn-lt"/>
              </a:rPr>
              <a:t>SE Values</a:t>
            </a:r>
          </a:p>
        </p:txBody>
      </p:sp>
      <p:sp>
        <p:nvSpPr>
          <p:cNvPr id="48" name="TextBox 47">
            <a:extLst>
              <a:ext uri="{FF2B5EF4-FFF2-40B4-BE49-F238E27FC236}">
                <a16:creationId xmlns:a16="http://schemas.microsoft.com/office/drawing/2014/main" id="{E90715F3-2E35-1487-3E72-E475416EBD74}"/>
              </a:ext>
            </a:extLst>
          </p:cNvPr>
          <p:cNvSpPr txBox="1"/>
          <p:nvPr userDrawn="1"/>
        </p:nvSpPr>
        <p:spPr>
          <a:xfrm>
            <a:off x="722699" y="3976370"/>
            <a:ext cx="1730696" cy="1028580"/>
          </a:xfrm>
          <a:prstGeom prst="rect">
            <a:avLst/>
          </a:prstGeom>
          <a:noFill/>
        </p:spPr>
        <p:txBody>
          <a:bodyPr wrap="square" lIns="0" tIns="0" rIns="0" bIns="0" rtlCol="0">
            <a:noAutofit/>
          </a:bodyPr>
          <a:lstStyle/>
          <a:p>
            <a:pPr algn="ctr"/>
            <a:r>
              <a:rPr lang="en-US" sz="1400" dirty="0">
                <a:solidFill>
                  <a:schemeClr val="bg1"/>
                </a:solidFill>
              </a:rPr>
              <a:t>We rise by illuminating the diversity each person brings, ensuring all can shine</a:t>
            </a:r>
          </a:p>
        </p:txBody>
      </p:sp>
      <p:sp>
        <p:nvSpPr>
          <p:cNvPr id="49" name="TextBox 48">
            <a:extLst>
              <a:ext uri="{FF2B5EF4-FFF2-40B4-BE49-F238E27FC236}">
                <a16:creationId xmlns:a16="http://schemas.microsoft.com/office/drawing/2014/main" id="{AC9B60FB-96B4-5C92-B2D2-0AD07845F907}"/>
              </a:ext>
            </a:extLst>
          </p:cNvPr>
          <p:cNvSpPr txBox="1"/>
          <p:nvPr userDrawn="1"/>
        </p:nvSpPr>
        <p:spPr>
          <a:xfrm>
            <a:off x="2975568" y="3976370"/>
            <a:ext cx="1730696" cy="1028580"/>
          </a:xfrm>
          <a:prstGeom prst="rect">
            <a:avLst/>
          </a:prstGeom>
          <a:noFill/>
        </p:spPr>
        <p:txBody>
          <a:bodyPr wrap="square" lIns="0" tIns="0" rIns="0" bIns="0" rtlCol="0">
            <a:noAutofit/>
          </a:bodyPr>
          <a:lstStyle/>
          <a:p>
            <a:pPr algn="ctr"/>
            <a:r>
              <a:rPr lang="en-US" sz="1400" dirty="0">
                <a:solidFill>
                  <a:schemeClr val="bg1"/>
                </a:solidFill>
              </a:rPr>
              <a:t>We rise by being courageously ethical and charting the right course</a:t>
            </a:r>
          </a:p>
        </p:txBody>
      </p:sp>
      <p:sp>
        <p:nvSpPr>
          <p:cNvPr id="50" name="TextBox 49">
            <a:extLst>
              <a:ext uri="{FF2B5EF4-FFF2-40B4-BE49-F238E27FC236}">
                <a16:creationId xmlns:a16="http://schemas.microsoft.com/office/drawing/2014/main" id="{5407A776-ADF6-731C-C564-F9C461585D11}"/>
              </a:ext>
            </a:extLst>
          </p:cNvPr>
          <p:cNvSpPr txBox="1"/>
          <p:nvPr userDrawn="1"/>
        </p:nvSpPr>
        <p:spPr>
          <a:xfrm>
            <a:off x="5173980" y="3976370"/>
            <a:ext cx="1828800" cy="1028580"/>
          </a:xfrm>
          <a:prstGeom prst="rect">
            <a:avLst/>
          </a:prstGeom>
          <a:noFill/>
        </p:spPr>
        <p:txBody>
          <a:bodyPr wrap="square" lIns="0" tIns="0" rIns="0" bIns="0" rtlCol="0">
            <a:noAutofit/>
          </a:bodyPr>
          <a:lstStyle/>
          <a:p>
            <a:pPr algn="ctr"/>
            <a:r>
              <a:rPr lang="en-US" sz="1400" dirty="0">
                <a:solidFill>
                  <a:schemeClr val="bg1"/>
                </a:solidFill>
              </a:rPr>
              <a:t>We rise by combining deep expertise with boundless creativity to deliver outstanding results</a:t>
            </a:r>
          </a:p>
          <a:p>
            <a:pPr algn="ctr"/>
            <a:endParaRPr lang="en-US" sz="1400" dirty="0">
              <a:solidFill>
                <a:schemeClr val="bg1"/>
              </a:solidFill>
            </a:endParaRPr>
          </a:p>
        </p:txBody>
      </p:sp>
      <p:sp>
        <p:nvSpPr>
          <p:cNvPr id="52" name="TextBox 51">
            <a:extLst>
              <a:ext uri="{FF2B5EF4-FFF2-40B4-BE49-F238E27FC236}">
                <a16:creationId xmlns:a16="http://schemas.microsoft.com/office/drawing/2014/main" id="{475B8F4F-1627-77BE-CAB4-1A53859D524A}"/>
              </a:ext>
            </a:extLst>
          </p:cNvPr>
          <p:cNvSpPr txBox="1"/>
          <p:nvPr userDrawn="1"/>
        </p:nvSpPr>
        <p:spPr>
          <a:xfrm>
            <a:off x="7426678" y="3976370"/>
            <a:ext cx="1828800" cy="1028580"/>
          </a:xfrm>
          <a:prstGeom prst="rect">
            <a:avLst/>
          </a:prstGeom>
          <a:noFill/>
        </p:spPr>
        <p:txBody>
          <a:bodyPr wrap="square" lIns="0" tIns="0" rIns="0" bIns="0" rtlCol="0">
            <a:noAutofit/>
          </a:bodyPr>
          <a:lstStyle/>
          <a:p>
            <a:pPr algn="ctr"/>
            <a:r>
              <a:rPr lang="en-US" sz="1400" dirty="0">
                <a:solidFill>
                  <a:schemeClr val="bg1"/>
                </a:solidFill>
              </a:rPr>
              <a:t>We rise by helping our people grow, our business succeed, and communities thrive</a:t>
            </a:r>
          </a:p>
        </p:txBody>
      </p:sp>
      <p:sp>
        <p:nvSpPr>
          <p:cNvPr id="53" name="TextBox 52">
            <a:extLst>
              <a:ext uri="{FF2B5EF4-FFF2-40B4-BE49-F238E27FC236}">
                <a16:creationId xmlns:a16="http://schemas.microsoft.com/office/drawing/2014/main" id="{977142E8-BF39-3704-D734-F26D2F15AC5C}"/>
              </a:ext>
            </a:extLst>
          </p:cNvPr>
          <p:cNvSpPr txBox="1"/>
          <p:nvPr userDrawn="1"/>
        </p:nvSpPr>
        <p:spPr>
          <a:xfrm>
            <a:off x="9738605" y="3975100"/>
            <a:ext cx="1730696" cy="1028580"/>
          </a:xfrm>
          <a:prstGeom prst="rect">
            <a:avLst/>
          </a:prstGeom>
          <a:noFill/>
        </p:spPr>
        <p:txBody>
          <a:bodyPr wrap="square" lIns="0" tIns="0" rIns="0" bIns="0" rtlCol="0">
            <a:noAutofit/>
          </a:bodyPr>
          <a:lstStyle/>
          <a:p>
            <a:pPr algn="ctr"/>
            <a:r>
              <a:rPr lang="en-US" sz="1400" dirty="0">
                <a:solidFill>
                  <a:schemeClr val="bg1"/>
                </a:solidFill>
              </a:rPr>
              <a:t>We rise by being committed, refusing average and constantly evolving</a:t>
            </a:r>
          </a:p>
        </p:txBody>
      </p:sp>
      <p:sp>
        <p:nvSpPr>
          <p:cNvPr id="54" name="TextBox 53">
            <a:extLst>
              <a:ext uri="{FF2B5EF4-FFF2-40B4-BE49-F238E27FC236}">
                <a16:creationId xmlns:a16="http://schemas.microsoft.com/office/drawing/2014/main" id="{826B11BF-32DA-DB30-52D3-8B7F0B0AEDB5}"/>
              </a:ext>
            </a:extLst>
          </p:cNvPr>
          <p:cNvSpPr txBox="1"/>
          <p:nvPr userDrawn="1"/>
        </p:nvSpPr>
        <p:spPr>
          <a:xfrm>
            <a:off x="722699" y="3288853"/>
            <a:ext cx="1730696" cy="322995"/>
          </a:xfrm>
          <a:prstGeom prst="rect">
            <a:avLst/>
          </a:prstGeom>
          <a:noFill/>
        </p:spPr>
        <p:txBody>
          <a:bodyPr wrap="square" lIns="0" tIns="0" rIns="0" bIns="0" rtlCol="0" anchor="ctr">
            <a:noAutofit/>
          </a:bodyPr>
          <a:lstStyle/>
          <a:p>
            <a:pPr algn="ctr"/>
            <a:r>
              <a:rPr lang="en-US" sz="1400" dirty="0">
                <a:solidFill>
                  <a:schemeClr val="bg1"/>
                </a:solidFill>
              </a:rPr>
              <a:t>Be a Beacon</a:t>
            </a:r>
          </a:p>
        </p:txBody>
      </p:sp>
      <p:sp>
        <p:nvSpPr>
          <p:cNvPr id="55" name="TextBox 54">
            <a:extLst>
              <a:ext uri="{FF2B5EF4-FFF2-40B4-BE49-F238E27FC236}">
                <a16:creationId xmlns:a16="http://schemas.microsoft.com/office/drawing/2014/main" id="{C8ACB2CF-A52D-85B1-CB5D-FE93578E648C}"/>
              </a:ext>
            </a:extLst>
          </p:cNvPr>
          <p:cNvSpPr txBox="1"/>
          <p:nvPr userDrawn="1"/>
        </p:nvSpPr>
        <p:spPr>
          <a:xfrm>
            <a:off x="2975568" y="3288853"/>
            <a:ext cx="1730696" cy="322995"/>
          </a:xfrm>
          <a:prstGeom prst="rect">
            <a:avLst/>
          </a:prstGeom>
          <a:noFill/>
        </p:spPr>
        <p:txBody>
          <a:bodyPr wrap="square" lIns="0" tIns="0" rIns="0" bIns="0" rtlCol="0" anchor="ctr">
            <a:noAutofit/>
          </a:bodyPr>
          <a:lstStyle/>
          <a:p>
            <a:pPr algn="ctr"/>
            <a:r>
              <a:rPr lang="en-US" sz="1400" dirty="0">
                <a:solidFill>
                  <a:schemeClr val="bg1"/>
                </a:solidFill>
              </a:rPr>
              <a:t>Be a Compass</a:t>
            </a:r>
          </a:p>
        </p:txBody>
      </p:sp>
      <p:sp>
        <p:nvSpPr>
          <p:cNvPr id="56" name="TextBox 55">
            <a:extLst>
              <a:ext uri="{FF2B5EF4-FFF2-40B4-BE49-F238E27FC236}">
                <a16:creationId xmlns:a16="http://schemas.microsoft.com/office/drawing/2014/main" id="{F1614595-B2A2-3775-14C9-0C1C887B0ED9}"/>
              </a:ext>
            </a:extLst>
          </p:cNvPr>
          <p:cNvSpPr txBox="1"/>
          <p:nvPr userDrawn="1"/>
        </p:nvSpPr>
        <p:spPr>
          <a:xfrm>
            <a:off x="5220809" y="3288853"/>
            <a:ext cx="1735142" cy="322995"/>
          </a:xfrm>
          <a:prstGeom prst="rect">
            <a:avLst/>
          </a:prstGeom>
          <a:noFill/>
        </p:spPr>
        <p:txBody>
          <a:bodyPr wrap="square" lIns="0" tIns="0" rIns="0" bIns="0" rtlCol="0" anchor="ctr">
            <a:noAutofit/>
          </a:bodyPr>
          <a:lstStyle/>
          <a:p>
            <a:pPr algn="ctr"/>
            <a:r>
              <a:rPr lang="en-US" sz="1400" dirty="0">
                <a:solidFill>
                  <a:schemeClr val="bg1"/>
                </a:solidFill>
              </a:rPr>
              <a:t>Ignite Change</a:t>
            </a:r>
          </a:p>
        </p:txBody>
      </p:sp>
      <p:sp>
        <p:nvSpPr>
          <p:cNvPr id="57" name="TextBox 56">
            <a:extLst>
              <a:ext uri="{FF2B5EF4-FFF2-40B4-BE49-F238E27FC236}">
                <a16:creationId xmlns:a16="http://schemas.microsoft.com/office/drawing/2014/main" id="{7D5CF787-BF98-A33F-7BCB-54A67FB3F341}"/>
              </a:ext>
            </a:extLst>
          </p:cNvPr>
          <p:cNvSpPr txBox="1"/>
          <p:nvPr userDrawn="1"/>
        </p:nvSpPr>
        <p:spPr>
          <a:xfrm>
            <a:off x="7426678" y="3288853"/>
            <a:ext cx="1828800" cy="322995"/>
          </a:xfrm>
          <a:prstGeom prst="rect">
            <a:avLst/>
          </a:prstGeom>
          <a:noFill/>
        </p:spPr>
        <p:txBody>
          <a:bodyPr wrap="square" lIns="0" tIns="0" rIns="0" bIns="0" rtlCol="0" anchor="ctr">
            <a:noAutofit/>
          </a:bodyPr>
          <a:lstStyle/>
          <a:p>
            <a:pPr algn="ctr"/>
            <a:r>
              <a:rPr lang="en-US" sz="1400" dirty="0">
                <a:solidFill>
                  <a:schemeClr val="bg1"/>
                </a:solidFill>
              </a:rPr>
              <a:t>Be a Guardian</a:t>
            </a:r>
          </a:p>
        </p:txBody>
      </p:sp>
      <p:sp>
        <p:nvSpPr>
          <p:cNvPr id="58" name="TextBox 57">
            <a:extLst>
              <a:ext uri="{FF2B5EF4-FFF2-40B4-BE49-F238E27FC236}">
                <a16:creationId xmlns:a16="http://schemas.microsoft.com/office/drawing/2014/main" id="{1456B281-119F-E674-9B15-1100FE3AECF0}"/>
              </a:ext>
            </a:extLst>
          </p:cNvPr>
          <p:cNvSpPr txBox="1"/>
          <p:nvPr userDrawn="1"/>
        </p:nvSpPr>
        <p:spPr>
          <a:xfrm>
            <a:off x="9738605" y="3283773"/>
            <a:ext cx="1730696" cy="322995"/>
          </a:xfrm>
          <a:prstGeom prst="rect">
            <a:avLst/>
          </a:prstGeom>
          <a:noFill/>
        </p:spPr>
        <p:txBody>
          <a:bodyPr wrap="square" lIns="0" tIns="0" rIns="0" bIns="0" rtlCol="0" anchor="ctr">
            <a:noAutofit/>
          </a:bodyPr>
          <a:lstStyle/>
          <a:p>
            <a:pPr algn="ctr"/>
            <a:r>
              <a:rPr lang="en-US" sz="1400" dirty="0">
                <a:solidFill>
                  <a:schemeClr val="bg1"/>
                </a:solidFill>
              </a:rPr>
              <a:t>Pursue Perfection</a:t>
            </a:r>
          </a:p>
        </p:txBody>
      </p:sp>
      <p:sp>
        <p:nvSpPr>
          <p:cNvPr id="59" name="TextBox 58">
            <a:extLst>
              <a:ext uri="{FF2B5EF4-FFF2-40B4-BE49-F238E27FC236}">
                <a16:creationId xmlns:a16="http://schemas.microsoft.com/office/drawing/2014/main" id="{B465B399-4870-D1BB-A832-0927DCBCF0D7}"/>
              </a:ext>
            </a:extLst>
          </p:cNvPr>
          <p:cNvSpPr txBox="1"/>
          <p:nvPr userDrawn="1"/>
        </p:nvSpPr>
        <p:spPr>
          <a:xfrm>
            <a:off x="722699" y="2980206"/>
            <a:ext cx="1730696"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RESPECT</a:t>
            </a:r>
          </a:p>
        </p:txBody>
      </p:sp>
      <p:sp>
        <p:nvSpPr>
          <p:cNvPr id="64" name="TextBox 63">
            <a:extLst>
              <a:ext uri="{FF2B5EF4-FFF2-40B4-BE49-F238E27FC236}">
                <a16:creationId xmlns:a16="http://schemas.microsoft.com/office/drawing/2014/main" id="{E3F5DE07-9F0A-5EDD-E853-A2098DF5E0C2}"/>
              </a:ext>
            </a:extLst>
          </p:cNvPr>
          <p:cNvSpPr txBox="1"/>
          <p:nvPr userDrawn="1"/>
        </p:nvSpPr>
        <p:spPr>
          <a:xfrm>
            <a:off x="2975568" y="2980206"/>
            <a:ext cx="1730696"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INTEGRITY</a:t>
            </a:r>
          </a:p>
        </p:txBody>
      </p:sp>
      <p:sp>
        <p:nvSpPr>
          <p:cNvPr id="65" name="TextBox 64">
            <a:extLst>
              <a:ext uri="{FF2B5EF4-FFF2-40B4-BE49-F238E27FC236}">
                <a16:creationId xmlns:a16="http://schemas.microsoft.com/office/drawing/2014/main" id="{BAF1FCA1-D7DB-8168-B80D-7635325208DC}"/>
              </a:ext>
            </a:extLst>
          </p:cNvPr>
          <p:cNvSpPr txBox="1"/>
          <p:nvPr userDrawn="1"/>
        </p:nvSpPr>
        <p:spPr>
          <a:xfrm>
            <a:off x="5212855" y="2980206"/>
            <a:ext cx="1730696"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INNOVATION</a:t>
            </a:r>
          </a:p>
        </p:txBody>
      </p:sp>
      <p:sp>
        <p:nvSpPr>
          <p:cNvPr id="66" name="TextBox 65">
            <a:extLst>
              <a:ext uri="{FF2B5EF4-FFF2-40B4-BE49-F238E27FC236}">
                <a16:creationId xmlns:a16="http://schemas.microsoft.com/office/drawing/2014/main" id="{8AE0B2FA-B360-131B-57F4-FD13D1D78419}"/>
              </a:ext>
            </a:extLst>
          </p:cNvPr>
          <p:cNvSpPr txBox="1"/>
          <p:nvPr userDrawn="1"/>
        </p:nvSpPr>
        <p:spPr>
          <a:xfrm>
            <a:off x="7374092" y="2980206"/>
            <a:ext cx="1933738"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STEWARDSHIP</a:t>
            </a:r>
          </a:p>
        </p:txBody>
      </p:sp>
      <p:sp>
        <p:nvSpPr>
          <p:cNvPr id="67" name="TextBox 66">
            <a:extLst>
              <a:ext uri="{FF2B5EF4-FFF2-40B4-BE49-F238E27FC236}">
                <a16:creationId xmlns:a16="http://schemas.microsoft.com/office/drawing/2014/main" id="{008C5AD4-4C58-C754-3E81-DB46F852A24F}"/>
              </a:ext>
            </a:extLst>
          </p:cNvPr>
          <p:cNvSpPr txBox="1"/>
          <p:nvPr userDrawn="1"/>
        </p:nvSpPr>
        <p:spPr>
          <a:xfrm>
            <a:off x="9621157" y="2980206"/>
            <a:ext cx="1933738" cy="322995"/>
          </a:xfrm>
          <a:prstGeom prst="rect">
            <a:avLst/>
          </a:prstGeom>
          <a:noFill/>
        </p:spPr>
        <p:txBody>
          <a:bodyPr wrap="square" lIns="0" tIns="0" rIns="0" bIns="0" rtlCol="0" anchor="b">
            <a:noAutofit/>
          </a:bodyPr>
          <a:lstStyle/>
          <a:p>
            <a:pPr algn="ctr"/>
            <a:r>
              <a:rPr lang="en-US" sz="1600" b="1" spc="300" baseline="0" dirty="0">
                <a:solidFill>
                  <a:schemeClr val="accent1"/>
                </a:solidFill>
                <a:latin typeface="+mj-lt"/>
              </a:rPr>
              <a:t>EXCELLENCE</a:t>
            </a:r>
          </a:p>
        </p:txBody>
      </p:sp>
    </p:spTree>
    <p:extLst>
      <p:ext uri="{BB962C8B-B14F-4D97-AF65-F5344CB8AC3E}">
        <p14:creationId xmlns:p14="http://schemas.microsoft.com/office/powerpoint/2010/main" val="3278332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ver 1 - Dark">
    <p:bg>
      <p:bgPr>
        <a:solidFill>
          <a:schemeClr val="tx2"/>
        </a:solidFill>
        <a:effectLst/>
      </p:bgPr>
    </p:bg>
    <p:spTree>
      <p:nvGrpSpPr>
        <p:cNvPr id="1" name=""/>
        <p:cNvGrpSpPr/>
        <p:nvPr/>
      </p:nvGrpSpPr>
      <p:grpSpPr>
        <a:xfrm>
          <a:off x="0" y="0"/>
          <a:ext cx="0" cy="0"/>
          <a:chOff x="0" y="0"/>
          <a:chExt cx="0" cy="0"/>
        </a:xfrm>
      </p:grpSpPr>
      <p:grpSp>
        <p:nvGrpSpPr>
          <p:cNvPr id="3" name="Graphic 7">
            <a:extLst>
              <a:ext uri="{FF2B5EF4-FFF2-40B4-BE49-F238E27FC236}">
                <a16:creationId xmlns:a16="http://schemas.microsoft.com/office/drawing/2014/main" id="{C5A0A539-4BAC-8953-4BBA-6D59087AD769}"/>
              </a:ext>
            </a:extLst>
          </p:cNvPr>
          <p:cNvGrpSpPr/>
          <p:nvPr userDrawn="1"/>
        </p:nvGrpSpPr>
        <p:grpSpPr>
          <a:xfrm>
            <a:off x="609600" y="557212"/>
            <a:ext cx="1729317" cy="437558"/>
            <a:chOff x="609600" y="557212"/>
            <a:chExt cx="2670098" cy="675598"/>
          </a:xfrm>
        </p:grpSpPr>
        <p:sp>
          <p:nvSpPr>
            <p:cNvPr id="4" name="Freeform: Shape 3">
              <a:extLst>
                <a:ext uri="{FF2B5EF4-FFF2-40B4-BE49-F238E27FC236}">
                  <a16:creationId xmlns:a16="http://schemas.microsoft.com/office/drawing/2014/main" id="{CABD304E-130C-E81B-7AD9-4DF1D35529F5}"/>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420A9100-D517-D472-CEFD-D0D3A5BCF545}"/>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A4E6CE2-336C-0213-9FF5-26E16386C047}"/>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dirty="0"/>
            </a:p>
          </p:txBody>
        </p:sp>
      </p:grpSp>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4594548"/>
            <a:ext cx="5376672"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B7C6D37C-C62C-7CA0-D32B-2D5DC88A0F3A}"/>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9837" r="8121" b="7745"/>
          <a:stretch/>
        </p:blipFill>
        <p:spPr>
          <a:xfrm>
            <a:off x="5996682" y="-1"/>
            <a:ext cx="6195318" cy="6858001"/>
          </a:xfrm>
          <a:prstGeom prst="rect">
            <a:avLst/>
          </a:prstGeom>
        </p:spPr>
      </p:pic>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sp>
        <p:nvSpPr>
          <p:cNvPr id="18" name="Text Placeholder 16">
            <a:extLst>
              <a:ext uri="{FF2B5EF4-FFF2-40B4-BE49-F238E27FC236}">
                <a16:creationId xmlns:a16="http://schemas.microsoft.com/office/drawing/2014/main" id="{F2A9289B-23E0-657B-DF89-7F9B74F7660F}"/>
              </a:ext>
            </a:extLst>
          </p:cNvPr>
          <p:cNvSpPr>
            <a:spLocks noGrp="1"/>
          </p:cNvSpPr>
          <p:nvPr>
            <p:ph type="body" sz="quarter" idx="12" hasCustomPrompt="1"/>
          </p:nvPr>
        </p:nvSpPr>
        <p:spPr>
          <a:xfrm>
            <a:off x="609600" y="1523079"/>
            <a:ext cx="2468880" cy="223908"/>
          </a:xfrm>
        </p:spPr>
        <p:txBody>
          <a:bodyPr wrap="square">
            <a:noAutofit/>
          </a:bodyPr>
          <a:lstStyle>
            <a:lvl1pPr algn="l">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
        <p:nvSpPr>
          <p:cNvPr id="34" name="Text Placeholder 33">
            <a:extLst>
              <a:ext uri="{FF2B5EF4-FFF2-40B4-BE49-F238E27FC236}">
                <a16:creationId xmlns:a16="http://schemas.microsoft.com/office/drawing/2014/main" id="{D7147827-288A-C738-6D39-15FD117D3583}"/>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9600" y="6090476"/>
            <a:ext cx="1834388" cy="210312"/>
          </a:xfrm>
          <a:prstGeom prst="rect">
            <a:avLst/>
          </a:prstGeom>
        </p:spPr>
      </p:pic>
      <p:cxnSp>
        <p:nvCxnSpPr>
          <p:cNvPr id="2" name="Straight Connector 1">
            <a:extLst>
              <a:ext uri="{FF2B5EF4-FFF2-40B4-BE49-F238E27FC236}">
                <a16:creationId xmlns:a16="http://schemas.microsoft.com/office/drawing/2014/main" id="{6FCC54D6-1CD8-DA15-70A3-BCCDE81CDB97}"/>
              </a:ext>
            </a:extLst>
          </p:cNvPr>
          <p:cNvCxnSpPr>
            <a:cxnSpLocks/>
          </p:cNvCxnSpPr>
          <p:nvPr userDrawn="1"/>
        </p:nvCxnSpPr>
        <p:spPr>
          <a:xfrm>
            <a:off x="609600" y="4594548"/>
            <a:ext cx="5376672"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33">
            <a:extLst>
              <a:ext uri="{FF2B5EF4-FFF2-40B4-BE49-F238E27FC236}">
                <a16:creationId xmlns:a16="http://schemas.microsoft.com/office/drawing/2014/main" id="{AAE1FF1D-0F56-F757-7130-3FB597422C07}"/>
              </a:ext>
            </a:extLst>
          </p:cNvPr>
          <p:cNvSpPr>
            <a:spLocks noGrp="1"/>
          </p:cNvSpPr>
          <p:nvPr>
            <p:ph type="body" sz="quarter" idx="16"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33670993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1 with image - Dark ">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A42ED-98C2-0925-4548-9A57C0E8C3BF}"/>
              </a:ext>
            </a:extLst>
          </p:cNvPr>
          <p:cNvSpPr/>
          <p:nvPr/>
        </p:nvSpPr>
        <p:spPr>
          <a:xfrm>
            <a:off x="0" y="0"/>
            <a:ext cx="66294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aphic 7">
            <a:extLst>
              <a:ext uri="{FF2B5EF4-FFF2-40B4-BE49-F238E27FC236}">
                <a16:creationId xmlns:a16="http://schemas.microsoft.com/office/drawing/2014/main" id="{C5A0A539-4BAC-8953-4BBA-6D59087AD769}"/>
              </a:ext>
            </a:extLst>
          </p:cNvPr>
          <p:cNvGrpSpPr/>
          <p:nvPr userDrawn="1"/>
        </p:nvGrpSpPr>
        <p:grpSpPr>
          <a:xfrm>
            <a:off x="609600" y="557212"/>
            <a:ext cx="1729317" cy="437558"/>
            <a:chOff x="609600" y="557212"/>
            <a:chExt cx="2670098" cy="675598"/>
          </a:xfrm>
        </p:grpSpPr>
        <p:sp>
          <p:nvSpPr>
            <p:cNvPr id="4" name="Freeform: Shape 3">
              <a:extLst>
                <a:ext uri="{FF2B5EF4-FFF2-40B4-BE49-F238E27FC236}">
                  <a16:creationId xmlns:a16="http://schemas.microsoft.com/office/drawing/2014/main" id="{CABD304E-130C-E81B-7AD9-4DF1D35529F5}"/>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420A9100-D517-D472-CEFD-D0D3A5BCF545}"/>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A4E6CE2-336C-0213-9FF5-26E16386C047}"/>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dirty="0"/>
            </a:p>
          </p:txBody>
        </p:sp>
      </p:grpSp>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4594548"/>
            <a:ext cx="5376672"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sp>
        <p:nvSpPr>
          <p:cNvPr id="18" name="Text Placeholder 16">
            <a:extLst>
              <a:ext uri="{FF2B5EF4-FFF2-40B4-BE49-F238E27FC236}">
                <a16:creationId xmlns:a16="http://schemas.microsoft.com/office/drawing/2014/main" id="{F2A9289B-23E0-657B-DF89-7F9B74F7660F}"/>
              </a:ext>
            </a:extLst>
          </p:cNvPr>
          <p:cNvSpPr>
            <a:spLocks noGrp="1"/>
          </p:cNvSpPr>
          <p:nvPr>
            <p:ph type="body" sz="quarter" idx="12" hasCustomPrompt="1"/>
          </p:nvPr>
        </p:nvSpPr>
        <p:spPr>
          <a:xfrm>
            <a:off x="609600" y="1523079"/>
            <a:ext cx="2468880" cy="223908"/>
          </a:xfrm>
        </p:spPr>
        <p:txBody>
          <a:bodyPr wrap="square">
            <a:noAutofit/>
          </a:bodyPr>
          <a:lstStyle>
            <a:lvl1pPr algn="l">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err="1"/>
              <a:t>DatE</a:t>
            </a:r>
            <a:endParaRPr lang="en-US"/>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sp>
        <p:nvSpPr>
          <p:cNvPr id="11" name="Picture Placeholder 6">
            <a:extLst>
              <a:ext uri="{FF2B5EF4-FFF2-40B4-BE49-F238E27FC236}">
                <a16:creationId xmlns:a16="http://schemas.microsoft.com/office/drawing/2014/main" id="{106BDF57-DECC-8B8C-6F4A-719D8D26FC25}"/>
              </a:ext>
            </a:extLst>
          </p:cNvPr>
          <p:cNvSpPr>
            <a:spLocks noGrp="1"/>
          </p:cNvSpPr>
          <p:nvPr>
            <p:ph type="pic" sz="quarter" idx="16" hasCustomPrompt="1"/>
          </p:nvPr>
        </p:nvSpPr>
        <p:spPr>
          <a:xfrm>
            <a:off x="6645285" y="0"/>
            <a:ext cx="5546715" cy="6858000"/>
          </a:xfrm>
          <a:solidFill>
            <a:schemeClr val="bg1">
              <a:lumMod val="75000"/>
            </a:schemeClr>
          </a:solidFill>
        </p:spPr>
        <p:txBody>
          <a:bodyPr anchor="ctr"/>
          <a:lstStyle>
            <a:lvl1pPr algn="ctr">
              <a:defRPr sz="1000" b="0"/>
            </a:lvl1pPr>
          </a:lstStyle>
          <a:p>
            <a:r>
              <a:rPr lang="en-US" dirty="0"/>
              <a:t>Insert Photo</a:t>
            </a:r>
          </a:p>
        </p:txBody>
      </p:sp>
      <p:sp>
        <p:nvSpPr>
          <p:cNvPr id="8" name="Text Placeholder 33">
            <a:extLst>
              <a:ext uri="{FF2B5EF4-FFF2-40B4-BE49-F238E27FC236}">
                <a16:creationId xmlns:a16="http://schemas.microsoft.com/office/drawing/2014/main" id="{805160F1-65BE-F6D3-F761-0B231F0F9CEF}"/>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9" name="Text Placeholder 33">
            <a:extLst>
              <a:ext uri="{FF2B5EF4-FFF2-40B4-BE49-F238E27FC236}">
                <a16:creationId xmlns:a16="http://schemas.microsoft.com/office/drawing/2014/main" id="{7B7818B6-ABA3-F1C8-1165-F681F91DF041}"/>
              </a:ext>
            </a:extLst>
          </p:cNvPr>
          <p:cNvSpPr>
            <a:spLocks noGrp="1"/>
          </p:cNvSpPr>
          <p:nvPr>
            <p:ph type="body" sz="quarter" idx="17"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71032546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ver 1 - Light">
    <p:bg>
      <p:bgPr>
        <a:solidFill>
          <a:schemeClr val="bg2"/>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cxnSp>
        <p:nvCxnSpPr>
          <p:cNvPr id="3" name="Straight Connector 2">
            <a:extLst>
              <a:ext uri="{FF2B5EF4-FFF2-40B4-BE49-F238E27FC236}">
                <a16:creationId xmlns:a16="http://schemas.microsoft.com/office/drawing/2014/main" id="{D4CCA385-BADC-9412-0D5E-D86D6665ADB9}"/>
              </a:ext>
            </a:extLst>
          </p:cNvPr>
          <p:cNvCxnSpPr>
            <a:cxnSpLocks/>
          </p:cNvCxnSpPr>
          <p:nvPr/>
        </p:nvCxnSpPr>
        <p:spPr>
          <a:xfrm>
            <a:off x="609600" y="4594548"/>
            <a:ext cx="537667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5" name="Graphic 3">
            <a:extLst>
              <a:ext uri="{FF2B5EF4-FFF2-40B4-BE49-F238E27FC236}">
                <a16:creationId xmlns:a16="http://schemas.microsoft.com/office/drawing/2014/main" id="{B3F109DD-32AE-D92D-4621-BF43B58FB4A1}"/>
              </a:ext>
            </a:extLst>
          </p:cNvPr>
          <p:cNvGrpSpPr>
            <a:grpSpLocks noChangeAspect="1"/>
          </p:cNvGrpSpPr>
          <p:nvPr userDrawn="1"/>
        </p:nvGrpSpPr>
        <p:grpSpPr>
          <a:xfrm>
            <a:off x="609600" y="557212"/>
            <a:ext cx="1734668" cy="438912"/>
            <a:chOff x="609600" y="557212"/>
            <a:chExt cx="2667656" cy="674980"/>
          </a:xfrm>
        </p:grpSpPr>
        <p:sp>
          <p:nvSpPr>
            <p:cNvPr id="36" name="Freeform: Shape 35">
              <a:extLst>
                <a:ext uri="{FF2B5EF4-FFF2-40B4-BE49-F238E27FC236}">
                  <a16:creationId xmlns:a16="http://schemas.microsoft.com/office/drawing/2014/main" id="{8BF33003-98EC-AC6E-F2E8-D433A9977017}"/>
                </a:ext>
              </a:extLst>
            </p:cNvPr>
            <p:cNvSpPr/>
            <p:nvPr/>
          </p:nvSpPr>
          <p:spPr>
            <a:xfrm>
              <a:off x="1180659" y="790421"/>
              <a:ext cx="2096597" cy="283512"/>
            </a:xfrm>
            <a:custGeom>
              <a:avLst/>
              <a:gdLst>
                <a:gd name="connsiteX0" fmla="*/ 129433 w 2096597"/>
                <a:gd name="connsiteY0" fmla="*/ 283512 h 283512"/>
                <a:gd name="connsiteX1" fmla="*/ 76968 w 2096597"/>
                <a:gd name="connsiteY1" fmla="*/ 273567 h 283512"/>
                <a:gd name="connsiteX2" fmla="*/ 36610 w 2096597"/>
                <a:gd name="connsiteY2" fmla="*/ 245461 h 283512"/>
                <a:gd name="connsiteX3" fmla="*/ 9369 w 2096597"/>
                <a:gd name="connsiteY3" fmla="*/ 199770 h 283512"/>
                <a:gd name="connsiteX4" fmla="*/ 0 w 2096597"/>
                <a:gd name="connsiteY4" fmla="*/ 142260 h 283512"/>
                <a:gd name="connsiteX5" fmla="*/ 10522 w 2096597"/>
                <a:gd name="connsiteY5" fmla="*/ 82733 h 283512"/>
                <a:gd name="connsiteX6" fmla="*/ 40358 w 2096597"/>
                <a:gd name="connsiteY6" fmla="*/ 36178 h 283512"/>
                <a:gd name="connsiteX7" fmla="*/ 80715 w 2096597"/>
                <a:gd name="connsiteY7" fmla="*/ 9513 h 283512"/>
                <a:gd name="connsiteX8" fmla="*/ 133612 w 2096597"/>
                <a:gd name="connsiteY8" fmla="*/ 0 h 283512"/>
                <a:gd name="connsiteX9" fmla="*/ 180744 w 2096597"/>
                <a:gd name="connsiteY9" fmla="*/ 6630 h 283512"/>
                <a:gd name="connsiteX10" fmla="*/ 216922 w 2096597"/>
                <a:gd name="connsiteY10" fmla="*/ 25656 h 283512"/>
                <a:gd name="connsiteX11" fmla="*/ 241425 w 2096597"/>
                <a:gd name="connsiteY11" fmla="*/ 55492 h 283512"/>
                <a:gd name="connsiteX12" fmla="*/ 254109 w 2096597"/>
                <a:gd name="connsiteY12" fmla="*/ 94264 h 283512"/>
                <a:gd name="connsiteX13" fmla="*/ 188672 w 2096597"/>
                <a:gd name="connsiteY13" fmla="*/ 94264 h 283512"/>
                <a:gd name="connsiteX14" fmla="*/ 171520 w 2096597"/>
                <a:gd name="connsiteY14" fmla="*/ 66446 h 283512"/>
                <a:gd name="connsiteX15" fmla="*/ 135774 w 2096597"/>
                <a:gd name="connsiteY15" fmla="*/ 55348 h 283512"/>
                <a:gd name="connsiteX16" fmla="*/ 106227 w 2096597"/>
                <a:gd name="connsiteY16" fmla="*/ 61978 h 283512"/>
                <a:gd name="connsiteX17" fmla="*/ 85039 w 2096597"/>
                <a:gd name="connsiteY17" fmla="*/ 80283 h 283512"/>
                <a:gd name="connsiteX18" fmla="*/ 72500 w 2096597"/>
                <a:gd name="connsiteY18" fmla="*/ 107668 h 283512"/>
                <a:gd name="connsiteX19" fmla="*/ 68320 w 2096597"/>
                <a:gd name="connsiteY19" fmla="*/ 142116 h 283512"/>
                <a:gd name="connsiteX20" fmla="*/ 73076 w 2096597"/>
                <a:gd name="connsiteY20" fmla="*/ 176709 h 283512"/>
                <a:gd name="connsiteX21" fmla="*/ 86625 w 2096597"/>
                <a:gd name="connsiteY21" fmla="*/ 204238 h 283512"/>
                <a:gd name="connsiteX22" fmla="*/ 108101 w 2096597"/>
                <a:gd name="connsiteY22" fmla="*/ 222255 h 283512"/>
                <a:gd name="connsiteX23" fmla="*/ 136783 w 2096597"/>
                <a:gd name="connsiteY23" fmla="*/ 228741 h 283512"/>
                <a:gd name="connsiteX24" fmla="*/ 160566 w 2096597"/>
                <a:gd name="connsiteY24" fmla="*/ 224705 h 283512"/>
                <a:gd name="connsiteX25" fmla="*/ 178438 w 2096597"/>
                <a:gd name="connsiteY25" fmla="*/ 214039 h 283512"/>
                <a:gd name="connsiteX26" fmla="*/ 190257 w 2096597"/>
                <a:gd name="connsiteY26" fmla="*/ 198761 h 283512"/>
                <a:gd name="connsiteX27" fmla="*/ 195734 w 2096597"/>
                <a:gd name="connsiteY27" fmla="*/ 181033 h 283512"/>
                <a:gd name="connsiteX28" fmla="*/ 195734 w 2096597"/>
                <a:gd name="connsiteY28" fmla="*/ 180312 h 283512"/>
                <a:gd name="connsiteX29" fmla="*/ 144711 w 2096597"/>
                <a:gd name="connsiteY29" fmla="*/ 180312 h 283512"/>
                <a:gd name="connsiteX30" fmla="*/ 144711 w 2096597"/>
                <a:gd name="connsiteY30" fmla="*/ 130874 h 283512"/>
                <a:gd name="connsiteX31" fmla="*/ 258144 w 2096597"/>
                <a:gd name="connsiteY31" fmla="*/ 130874 h 283512"/>
                <a:gd name="connsiteX32" fmla="*/ 258144 w 2096597"/>
                <a:gd name="connsiteY32" fmla="*/ 277026 h 283512"/>
                <a:gd name="connsiteX33" fmla="*/ 211013 w 2096597"/>
                <a:gd name="connsiteY33" fmla="*/ 277026 h 283512"/>
                <a:gd name="connsiteX34" fmla="*/ 207265 w 2096597"/>
                <a:gd name="connsiteY34" fmla="*/ 244308 h 283512"/>
                <a:gd name="connsiteX35" fmla="*/ 206544 w 2096597"/>
                <a:gd name="connsiteY35" fmla="*/ 244308 h 283512"/>
                <a:gd name="connsiteX36" fmla="*/ 173682 w 2096597"/>
                <a:gd name="connsiteY36" fmla="*/ 274143 h 283512"/>
                <a:gd name="connsiteX37" fmla="*/ 129288 w 2096597"/>
                <a:gd name="connsiteY37" fmla="*/ 283080 h 283512"/>
                <a:gd name="connsiteX38" fmla="*/ 358029 w 2096597"/>
                <a:gd name="connsiteY38" fmla="*/ 282647 h 283512"/>
                <a:gd name="connsiteX39" fmla="*/ 306862 w 2096597"/>
                <a:gd name="connsiteY39" fmla="*/ 262613 h 283512"/>
                <a:gd name="connsiteX40" fmla="*/ 289566 w 2096597"/>
                <a:gd name="connsiteY40" fmla="*/ 209859 h 283512"/>
                <a:gd name="connsiteX41" fmla="*/ 289566 w 2096597"/>
                <a:gd name="connsiteY41" fmla="*/ 82012 h 283512"/>
                <a:gd name="connsiteX42" fmla="*/ 351255 w 2096597"/>
                <a:gd name="connsiteY42" fmla="*/ 82012 h 283512"/>
                <a:gd name="connsiteX43" fmla="*/ 351255 w 2096597"/>
                <a:gd name="connsiteY43" fmla="*/ 197032 h 283512"/>
                <a:gd name="connsiteX44" fmla="*/ 358462 w 2096597"/>
                <a:gd name="connsiteY44" fmla="*/ 221534 h 283512"/>
                <a:gd name="connsiteX45" fmla="*/ 380514 w 2096597"/>
                <a:gd name="connsiteY45" fmla="*/ 230038 h 283512"/>
                <a:gd name="connsiteX46" fmla="*/ 405594 w 2096597"/>
                <a:gd name="connsiteY46" fmla="*/ 219228 h 283512"/>
                <a:gd name="connsiteX47" fmla="*/ 414674 w 2096597"/>
                <a:gd name="connsiteY47" fmla="*/ 190834 h 283512"/>
                <a:gd name="connsiteX48" fmla="*/ 414674 w 2096597"/>
                <a:gd name="connsiteY48" fmla="*/ 82012 h 283512"/>
                <a:gd name="connsiteX49" fmla="*/ 476652 w 2096597"/>
                <a:gd name="connsiteY49" fmla="*/ 82012 h 283512"/>
                <a:gd name="connsiteX50" fmla="*/ 476652 w 2096597"/>
                <a:gd name="connsiteY50" fmla="*/ 276882 h 283512"/>
                <a:gd name="connsiteX51" fmla="*/ 417269 w 2096597"/>
                <a:gd name="connsiteY51" fmla="*/ 276882 h 283512"/>
                <a:gd name="connsiteX52" fmla="*/ 417269 w 2096597"/>
                <a:gd name="connsiteY52" fmla="*/ 252956 h 283512"/>
                <a:gd name="connsiteX53" fmla="*/ 416116 w 2096597"/>
                <a:gd name="connsiteY53" fmla="*/ 252956 h 283512"/>
                <a:gd name="connsiteX54" fmla="*/ 391901 w 2096597"/>
                <a:gd name="connsiteY54" fmla="*/ 275008 h 283512"/>
                <a:gd name="connsiteX55" fmla="*/ 357885 w 2096597"/>
                <a:gd name="connsiteY55" fmla="*/ 282647 h 283512"/>
                <a:gd name="connsiteX56" fmla="*/ 511965 w 2096597"/>
                <a:gd name="connsiteY56" fmla="*/ 2162 h 283512"/>
                <a:gd name="connsiteX57" fmla="*/ 573943 w 2096597"/>
                <a:gd name="connsiteY57" fmla="*/ 2162 h 283512"/>
                <a:gd name="connsiteX58" fmla="*/ 573943 w 2096597"/>
                <a:gd name="connsiteY58" fmla="*/ 55059 h 283512"/>
                <a:gd name="connsiteX59" fmla="*/ 511965 w 2096597"/>
                <a:gd name="connsiteY59" fmla="*/ 55059 h 283512"/>
                <a:gd name="connsiteX60" fmla="*/ 511965 w 2096597"/>
                <a:gd name="connsiteY60" fmla="*/ 2162 h 283512"/>
                <a:gd name="connsiteX61" fmla="*/ 511965 w 2096597"/>
                <a:gd name="connsiteY61" fmla="*/ 82012 h 283512"/>
                <a:gd name="connsiteX62" fmla="*/ 573943 w 2096597"/>
                <a:gd name="connsiteY62" fmla="*/ 82012 h 283512"/>
                <a:gd name="connsiteX63" fmla="*/ 573943 w 2096597"/>
                <a:gd name="connsiteY63" fmla="*/ 276882 h 283512"/>
                <a:gd name="connsiteX64" fmla="*/ 511965 w 2096597"/>
                <a:gd name="connsiteY64" fmla="*/ 276882 h 283512"/>
                <a:gd name="connsiteX65" fmla="*/ 511965 w 2096597"/>
                <a:gd name="connsiteY65" fmla="*/ 82012 h 283512"/>
                <a:gd name="connsiteX66" fmla="*/ 685935 w 2096597"/>
                <a:gd name="connsiteY66" fmla="*/ 282936 h 283512"/>
                <a:gd name="connsiteX67" fmla="*/ 651631 w 2096597"/>
                <a:gd name="connsiteY67" fmla="*/ 275873 h 283512"/>
                <a:gd name="connsiteX68" fmla="*/ 624678 w 2096597"/>
                <a:gd name="connsiteY68" fmla="*/ 255550 h 283512"/>
                <a:gd name="connsiteX69" fmla="*/ 606949 w 2096597"/>
                <a:gd name="connsiteY69" fmla="*/ 222976 h 283512"/>
                <a:gd name="connsiteX70" fmla="*/ 600607 w 2096597"/>
                <a:gd name="connsiteY70" fmla="*/ 179447 h 283512"/>
                <a:gd name="connsiteX71" fmla="*/ 606949 w 2096597"/>
                <a:gd name="connsiteY71" fmla="*/ 137504 h 283512"/>
                <a:gd name="connsiteX72" fmla="*/ 624390 w 2096597"/>
                <a:gd name="connsiteY72" fmla="*/ 104930 h 283512"/>
                <a:gd name="connsiteX73" fmla="*/ 651199 w 2096597"/>
                <a:gd name="connsiteY73" fmla="*/ 83742 h 283512"/>
                <a:gd name="connsiteX74" fmla="*/ 685791 w 2096597"/>
                <a:gd name="connsiteY74" fmla="*/ 76103 h 283512"/>
                <a:gd name="connsiteX75" fmla="*/ 718942 w 2096597"/>
                <a:gd name="connsiteY75" fmla="*/ 83886 h 283512"/>
                <a:gd name="connsiteX76" fmla="*/ 740273 w 2096597"/>
                <a:gd name="connsiteY76" fmla="*/ 103921 h 283512"/>
                <a:gd name="connsiteX77" fmla="*/ 741426 w 2096597"/>
                <a:gd name="connsiteY77" fmla="*/ 103921 h 283512"/>
                <a:gd name="connsiteX78" fmla="*/ 741426 w 2096597"/>
                <a:gd name="connsiteY78" fmla="*/ 1874 h 283512"/>
                <a:gd name="connsiteX79" fmla="*/ 803404 w 2096597"/>
                <a:gd name="connsiteY79" fmla="*/ 1874 h 283512"/>
                <a:gd name="connsiteX80" fmla="*/ 803404 w 2096597"/>
                <a:gd name="connsiteY80" fmla="*/ 276738 h 283512"/>
                <a:gd name="connsiteX81" fmla="*/ 744021 w 2096597"/>
                <a:gd name="connsiteY81" fmla="*/ 276738 h 283512"/>
                <a:gd name="connsiteX82" fmla="*/ 744021 w 2096597"/>
                <a:gd name="connsiteY82" fmla="*/ 250505 h 283512"/>
                <a:gd name="connsiteX83" fmla="*/ 743300 w 2096597"/>
                <a:gd name="connsiteY83" fmla="*/ 250505 h 283512"/>
                <a:gd name="connsiteX84" fmla="*/ 719951 w 2096597"/>
                <a:gd name="connsiteY84" fmla="*/ 274287 h 283512"/>
                <a:gd name="connsiteX85" fmla="*/ 685935 w 2096597"/>
                <a:gd name="connsiteY85" fmla="*/ 282791 h 283512"/>
                <a:gd name="connsiteX86" fmla="*/ 701934 w 2096597"/>
                <a:gd name="connsiteY86" fmla="*/ 233642 h 283512"/>
                <a:gd name="connsiteX87" fmla="*/ 732202 w 2096597"/>
                <a:gd name="connsiteY87" fmla="*/ 218363 h 283512"/>
                <a:gd name="connsiteX88" fmla="*/ 743012 w 2096597"/>
                <a:gd name="connsiteY88" fmla="*/ 179159 h 283512"/>
                <a:gd name="connsiteX89" fmla="*/ 740562 w 2096597"/>
                <a:gd name="connsiteY89" fmla="*/ 156530 h 283512"/>
                <a:gd name="connsiteX90" fmla="*/ 732923 w 2096597"/>
                <a:gd name="connsiteY90" fmla="*/ 138657 h 283512"/>
                <a:gd name="connsiteX91" fmla="*/ 720383 w 2096597"/>
                <a:gd name="connsiteY91" fmla="*/ 126982 h 283512"/>
                <a:gd name="connsiteX92" fmla="*/ 702654 w 2096597"/>
                <a:gd name="connsiteY92" fmla="*/ 122802 h 283512"/>
                <a:gd name="connsiteX93" fmla="*/ 673683 w 2096597"/>
                <a:gd name="connsiteY93" fmla="*/ 138225 h 283512"/>
                <a:gd name="connsiteX94" fmla="*/ 663450 w 2096597"/>
                <a:gd name="connsiteY94" fmla="*/ 178438 h 283512"/>
                <a:gd name="connsiteX95" fmla="*/ 673539 w 2096597"/>
                <a:gd name="connsiteY95" fmla="*/ 218796 h 283512"/>
                <a:gd name="connsiteX96" fmla="*/ 701934 w 2096597"/>
                <a:gd name="connsiteY96" fmla="*/ 233642 h 283512"/>
                <a:gd name="connsiteX97" fmla="*/ 930242 w 2096597"/>
                <a:gd name="connsiteY97" fmla="*/ 282359 h 283512"/>
                <a:gd name="connsiteX98" fmla="*/ 886858 w 2096597"/>
                <a:gd name="connsiteY98" fmla="*/ 274576 h 283512"/>
                <a:gd name="connsiteX99" fmla="*/ 854139 w 2096597"/>
                <a:gd name="connsiteY99" fmla="*/ 252811 h 283512"/>
                <a:gd name="connsiteX100" fmla="*/ 833528 w 2096597"/>
                <a:gd name="connsiteY100" fmla="*/ 219949 h 283512"/>
                <a:gd name="connsiteX101" fmla="*/ 826322 w 2096597"/>
                <a:gd name="connsiteY101" fmla="*/ 178871 h 283512"/>
                <a:gd name="connsiteX102" fmla="*/ 833528 w 2096597"/>
                <a:gd name="connsiteY102" fmla="*/ 138369 h 283512"/>
                <a:gd name="connsiteX103" fmla="*/ 854139 w 2096597"/>
                <a:gd name="connsiteY103" fmla="*/ 105650 h 283512"/>
                <a:gd name="connsiteX104" fmla="*/ 885705 w 2096597"/>
                <a:gd name="connsiteY104" fmla="*/ 84030 h 283512"/>
                <a:gd name="connsiteX105" fmla="*/ 926495 w 2096597"/>
                <a:gd name="connsiteY105" fmla="*/ 76247 h 283512"/>
                <a:gd name="connsiteX106" fmla="*/ 963970 w 2096597"/>
                <a:gd name="connsiteY106" fmla="*/ 82733 h 283512"/>
                <a:gd name="connsiteX107" fmla="*/ 993085 w 2096597"/>
                <a:gd name="connsiteY107" fmla="*/ 100606 h 283512"/>
                <a:gd name="connsiteX108" fmla="*/ 1019173 w 2096597"/>
                <a:gd name="connsiteY108" fmla="*/ 141107 h 283512"/>
                <a:gd name="connsiteX109" fmla="*/ 1027389 w 2096597"/>
                <a:gd name="connsiteY109" fmla="*/ 195302 h 283512"/>
                <a:gd name="connsiteX110" fmla="*/ 887290 w 2096597"/>
                <a:gd name="connsiteY110" fmla="*/ 195302 h 283512"/>
                <a:gd name="connsiteX111" fmla="*/ 900983 w 2096597"/>
                <a:gd name="connsiteY111" fmla="*/ 226579 h 283512"/>
                <a:gd name="connsiteX112" fmla="*/ 931107 w 2096597"/>
                <a:gd name="connsiteY112" fmla="*/ 237966 h 283512"/>
                <a:gd name="connsiteX113" fmla="*/ 951286 w 2096597"/>
                <a:gd name="connsiteY113" fmla="*/ 232777 h 283512"/>
                <a:gd name="connsiteX114" fmla="*/ 963393 w 2096597"/>
                <a:gd name="connsiteY114" fmla="*/ 218508 h 283512"/>
                <a:gd name="connsiteX115" fmla="*/ 1023930 w 2096597"/>
                <a:gd name="connsiteY115" fmla="*/ 218508 h 283512"/>
                <a:gd name="connsiteX116" fmla="*/ 1012543 w 2096597"/>
                <a:gd name="connsiteY116" fmla="*/ 243875 h 283512"/>
                <a:gd name="connsiteX117" fmla="*/ 991211 w 2096597"/>
                <a:gd name="connsiteY117" fmla="*/ 264630 h 283512"/>
                <a:gd name="connsiteX118" fmla="*/ 963970 w 2096597"/>
                <a:gd name="connsiteY118" fmla="*/ 277891 h 283512"/>
                <a:gd name="connsiteX119" fmla="*/ 930242 w 2096597"/>
                <a:gd name="connsiteY119" fmla="*/ 282503 h 283512"/>
                <a:gd name="connsiteX120" fmla="*/ 964546 w 2096597"/>
                <a:gd name="connsiteY120" fmla="*/ 158404 h 283512"/>
                <a:gd name="connsiteX121" fmla="*/ 952727 w 2096597"/>
                <a:gd name="connsiteY121" fmla="*/ 130586 h 283512"/>
                <a:gd name="connsiteX122" fmla="*/ 927648 w 2096597"/>
                <a:gd name="connsiteY122" fmla="*/ 120352 h 283512"/>
                <a:gd name="connsiteX123" fmla="*/ 900262 w 2096597"/>
                <a:gd name="connsiteY123" fmla="*/ 130586 h 283512"/>
                <a:gd name="connsiteX124" fmla="*/ 887723 w 2096597"/>
                <a:gd name="connsiteY124" fmla="*/ 158404 h 283512"/>
                <a:gd name="connsiteX125" fmla="*/ 964546 w 2096597"/>
                <a:gd name="connsiteY125" fmla="*/ 158404 h 283512"/>
                <a:gd name="connsiteX126" fmla="*/ 1050162 w 2096597"/>
                <a:gd name="connsiteY126" fmla="*/ 2018 h 283512"/>
                <a:gd name="connsiteX127" fmla="*/ 1112140 w 2096597"/>
                <a:gd name="connsiteY127" fmla="*/ 2018 h 283512"/>
                <a:gd name="connsiteX128" fmla="*/ 1112140 w 2096597"/>
                <a:gd name="connsiteY128" fmla="*/ 105939 h 283512"/>
                <a:gd name="connsiteX129" fmla="*/ 1113293 w 2096597"/>
                <a:gd name="connsiteY129" fmla="*/ 105939 h 283512"/>
                <a:gd name="connsiteX130" fmla="*/ 1137219 w 2096597"/>
                <a:gd name="connsiteY130" fmla="*/ 84030 h 283512"/>
                <a:gd name="connsiteX131" fmla="*/ 1171091 w 2096597"/>
                <a:gd name="connsiteY131" fmla="*/ 76247 h 283512"/>
                <a:gd name="connsiteX132" fmla="*/ 1199629 w 2096597"/>
                <a:gd name="connsiteY132" fmla="*/ 81724 h 283512"/>
                <a:gd name="connsiteX133" fmla="*/ 1220961 w 2096597"/>
                <a:gd name="connsiteY133" fmla="*/ 97002 h 283512"/>
                <a:gd name="connsiteX134" fmla="*/ 1234366 w 2096597"/>
                <a:gd name="connsiteY134" fmla="*/ 120208 h 283512"/>
                <a:gd name="connsiteX135" fmla="*/ 1238978 w 2096597"/>
                <a:gd name="connsiteY135" fmla="*/ 150044 h 283512"/>
                <a:gd name="connsiteX136" fmla="*/ 1238978 w 2096597"/>
                <a:gd name="connsiteY136" fmla="*/ 276738 h 283512"/>
                <a:gd name="connsiteX137" fmla="*/ 1177000 w 2096597"/>
                <a:gd name="connsiteY137" fmla="*/ 276738 h 283512"/>
                <a:gd name="connsiteX138" fmla="*/ 1177000 w 2096597"/>
                <a:gd name="connsiteY138" fmla="*/ 162583 h 283512"/>
                <a:gd name="connsiteX139" fmla="*/ 1169361 w 2096597"/>
                <a:gd name="connsiteY139" fmla="*/ 137504 h 283512"/>
                <a:gd name="connsiteX140" fmla="*/ 1146588 w 2096597"/>
                <a:gd name="connsiteY140" fmla="*/ 127991 h 283512"/>
                <a:gd name="connsiteX141" fmla="*/ 1121653 w 2096597"/>
                <a:gd name="connsiteY141" fmla="*/ 139378 h 283512"/>
                <a:gd name="connsiteX142" fmla="*/ 1112284 w 2096597"/>
                <a:gd name="connsiteY142" fmla="*/ 169069 h 283512"/>
                <a:gd name="connsiteX143" fmla="*/ 1112284 w 2096597"/>
                <a:gd name="connsiteY143" fmla="*/ 276738 h 283512"/>
                <a:gd name="connsiteX144" fmla="*/ 1050306 w 2096597"/>
                <a:gd name="connsiteY144" fmla="*/ 276738 h 283512"/>
                <a:gd name="connsiteX145" fmla="*/ 1050306 w 2096597"/>
                <a:gd name="connsiteY145" fmla="*/ 1874 h 283512"/>
                <a:gd name="connsiteX146" fmla="*/ 1362645 w 2096597"/>
                <a:gd name="connsiteY146" fmla="*/ 282936 h 283512"/>
                <a:gd name="connsiteX147" fmla="*/ 1319837 w 2096597"/>
                <a:gd name="connsiteY147" fmla="*/ 275152 h 283512"/>
                <a:gd name="connsiteX148" fmla="*/ 1286830 w 2096597"/>
                <a:gd name="connsiteY148" fmla="*/ 253388 h 283512"/>
                <a:gd name="connsiteX149" fmla="*/ 1265787 w 2096597"/>
                <a:gd name="connsiteY149" fmla="*/ 220670 h 283512"/>
                <a:gd name="connsiteX150" fmla="*/ 1258292 w 2096597"/>
                <a:gd name="connsiteY150" fmla="*/ 179735 h 283512"/>
                <a:gd name="connsiteX151" fmla="*/ 1265787 w 2096597"/>
                <a:gd name="connsiteY151" fmla="*/ 138801 h 283512"/>
                <a:gd name="connsiteX152" fmla="*/ 1286830 w 2096597"/>
                <a:gd name="connsiteY152" fmla="*/ 106083 h 283512"/>
                <a:gd name="connsiteX153" fmla="*/ 1319837 w 2096597"/>
                <a:gd name="connsiteY153" fmla="*/ 84463 h 283512"/>
                <a:gd name="connsiteX154" fmla="*/ 1362645 w 2096597"/>
                <a:gd name="connsiteY154" fmla="*/ 76679 h 283512"/>
                <a:gd name="connsiteX155" fmla="*/ 1405453 w 2096597"/>
                <a:gd name="connsiteY155" fmla="*/ 84463 h 283512"/>
                <a:gd name="connsiteX156" fmla="*/ 1438171 w 2096597"/>
                <a:gd name="connsiteY156" fmla="*/ 106083 h 283512"/>
                <a:gd name="connsiteX157" fmla="*/ 1459071 w 2096597"/>
                <a:gd name="connsiteY157" fmla="*/ 138801 h 283512"/>
                <a:gd name="connsiteX158" fmla="*/ 1466422 w 2096597"/>
                <a:gd name="connsiteY158" fmla="*/ 179735 h 283512"/>
                <a:gd name="connsiteX159" fmla="*/ 1459071 w 2096597"/>
                <a:gd name="connsiteY159" fmla="*/ 220670 h 283512"/>
                <a:gd name="connsiteX160" fmla="*/ 1438171 w 2096597"/>
                <a:gd name="connsiteY160" fmla="*/ 253388 h 283512"/>
                <a:gd name="connsiteX161" fmla="*/ 1405453 w 2096597"/>
                <a:gd name="connsiteY161" fmla="*/ 275152 h 283512"/>
                <a:gd name="connsiteX162" fmla="*/ 1362645 w 2096597"/>
                <a:gd name="connsiteY162" fmla="*/ 282936 h 283512"/>
                <a:gd name="connsiteX163" fmla="*/ 1362213 w 2096597"/>
                <a:gd name="connsiteY163" fmla="*/ 238830 h 283512"/>
                <a:gd name="connsiteX164" fmla="*/ 1393201 w 2096597"/>
                <a:gd name="connsiteY164" fmla="*/ 222687 h 283512"/>
                <a:gd name="connsiteX165" fmla="*/ 1403723 w 2096597"/>
                <a:gd name="connsiteY165" fmla="*/ 179880 h 283512"/>
                <a:gd name="connsiteX166" fmla="*/ 1393201 w 2096597"/>
                <a:gd name="connsiteY166" fmla="*/ 136928 h 283512"/>
                <a:gd name="connsiteX167" fmla="*/ 1362213 w 2096597"/>
                <a:gd name="connsiteY167" fmla="*/ 120496 h 283512"/>
                <a:gd name="connsiteX168" fmla="*/ 1331368 w 2096597"/>
                <a:gd name="connsiteY168" fmla="*/ 136928 h 283512"/>
                <a:gd name="connsiteX169" fmla="*/ 1321134 w 2096597"/>
                <a:gd name="connsiteY169" fmla="*/ 179880 h 283512"/>
                <a:gd name="connsiteX170" fmla="*/ 1331368 w 2096597"/>
                <a:gd name="connsiteY170" fmla="*/ 222687 h 283512"/>
                <a:gd name="connsiteX171" fmla="*/ 1362213 w 2096597"/>
                <a:gd name="connsiteY171" fmla="*/ 238830 h 283512"/>
                <a:gd name="connsiteX172" fmla="*/ 1554488 w 2096597"/>
                <a:gd name="connsiteY172" fmla="*/ 282647 h 283512"/>
                <a:gd name="connsiteX173" fmla="*/ 1503320 w 2096597"/>
                <a:gd name="connsiteY173" fmla="*/ 262613 h 283512"/>
                <a:gd name="connsiteX174" fmla="*/ 1486024 w 2096597"/>
                <a:gd name="connsiteY174" fmla="*/ 209859 h 283512"/>
                <a:gd name="connsiteX175" fmla="*/ 1486024 w 2096597"/>
                <a:gd name="connsiteY175" fmla="*/ 82012 h 283512"/>
                <a:gd name="connsiteX176" fmla="*/ 1547713 w 2096597"/>
                <a:gd name="connsiteY176" fmla="*/ 82012 h 283512"/>
                <a:gd name="connsiteX177" fmla="*/ 1547713 w 2096597"/>
                <a:gd name="connsiteY177" fmla="*/ 197032 h 283512"/>
                <a:gd name="connsiteX178" fmla="*/ 1554920 w 2096597"/>
                <a:gd name="connsiteY178" fmla="*/ 221534 h 283512"/>
                <a:gd name="connsiteX179" fmla="*/ 1576973 w 2096597"/>
                <a:gd name="connsiteY179" fmla="*/ 230038 h 283512"/>
                <a:gd name="connsiteX180" fmla="*/ 1602052 w 2096597"/>
                <a:gd name="connsiteY180" fmla="*/ 219228 h 283512"/>
                <a:gd name="connsiteX181" fmla="*/ 1611132 w 2096597"/>
                <a:gd name="connsiteY181" fmla="*/ 190834 h 283512"/>
                <a:gd name="connsiteX182" fmla="*/ 1611132 w 2096597"/>
                <a:gd name="connsiteY182" fmla="*/ 82012 h 283512"/>
                <a:gd name="connsiteX183" fmla="*/ 1673110 w 2096597"/>
                <a:gd name="connsiteY183" fmla="*/ 82012 h 283512"/>
                <a:gd name="connsiteX184" fmla="*/ 1673110 w 2096597"/>
                <a:gd name="connsiteY184" fmla="*/ 276882 h 283512"/>
                <a:gd name="connsiteX185" fmla="*/ 1613727 w 2096597"/>
                <a:gd name="connsiteY185" fmla="*/ 276882 h 283512"/>
                <a:gd name="connsiteX186" fmla="*/ 1613727 w 2096597"/>
                <a:gd name="connsiteY186" fmla="*/ 252956 h 283512"/>
                <a:gd name="connsiteX187" fmla="*/ 1612574 w 2096597"/>
                <a:gd name="connsiteY187" fmla="*/ 252956 h 283512"/>
                <a:gd name="connsiteX188" fmla="*/ 1588359 w 2096597"/>
                <a:gd name="connsiteY188" fmla="*/ 275008 h 283512"/>
                <a:gd name="connsiteX189" fmla="*/ 1554344 w 2096597"/>
                <a:gd name="connsiteY189" fmla="*/ 282647 h 283512"/>
                <a:gd name="connsiteX190" fmla="*/ 1789571 w 2096597"/>
                <a:gd name="connsiteY190" fmla="*/ 283080 h 283512"/>
                <a:gd name="connsiteX191" fmla="*/ 1721395 w 2096597"/>
                <a:gd name="connsiteY191" fmla="*/ 264630 h 283512"/>
                <a:gd name="connsiteX192" fmla="*/ 1694730 w 2096597"/>
                <a:gd name="connsiteY192" fmla="*/ 213751 h 283512"/>
                <a:gd name="connsiteX193" fmla="*/ 1753393 w 2096597"/>
                <a:gd name="connsiteY193" fmla="*/ 213751 h 283512"/>
                <a:gd name="connsiteX194" fmla="*/ 1764491 w 2096597"/>
                <a:gd name="connsiteY194" fmla="*/ 235515 h 283512"/>
                <a:gd name="connsiteX195" fmla="*/ 1789282 w 2096597"/>
                <a:gd name="connsiteY195" fmla="*/ 242722 h 283512"/>
                <a:gd name="connsiteX196" fmla="*/ 1811479 w 2096597"/>
                <a:gd name="connsiteY196" fmla="*/ 237821 h 283512"/>
                <a:gd name="connsiteX197" fmla="*/ 1819695 w 2096597"/>
                <a:gd name="connsiteY197" fmla="*/ 223408 h 283512"/>
                <a:gd name="connsiteX198" fmla="*/ 1815515 w 2096597"/>
                <a:gd name="connsiteY198" fmla="*/ 212886 h 283512"/>
                <a:gd name="connsiteX199" fmla="*/ 1804416 w 2096597"/>
                <a:gd name="connsiteY199" fmla="*/ 206400 h 283512"/>
                <a:gd name="connsiteX200" fmla="*/ 1788562 w 2096597"/>
                <a:gd name="connsiteY200" fmla="*/ 202653 h 283512"/>
                <a:gd name="connsiteX201" fmla="*/ 1770112 w 2096597"/>
                <a:gd name="connsiteY201" fmla="*/ 199482 h 283512"/>
                <a:gd name="connsiteX202" fmla="*/ 1745033 w 2096597"/>
                <a:gd name="connsiteY202" fmla="*/ 194005 h 283512"/>
                <a:gd name="connsiteX203" fmla="*/ 1722404 w 2096597"/>
                <a:gd name="connsiteY203" fmla="*/ 184348 h 283512"/>
                <a:gd name="connsiteX204" fmla="*/ 1706261 w 2096597"/>
                <a:gd name="connsiteY204" fmla="*/ 167052 h 283512"/>
                <a:gd name="connsiteX205" fmla="*/ 1700207 w 2096597"/>
                <a:gd name="connsiteY205" fmla="*/ 139090 h 283512"/>
                <a:gd name="connsiteX206" fmla="*/ 1706837 w 2096597"/>
                <a:gd name="connsiteY206" fmla="*/ 111992 h 283512"/>
                <a:gd name="connsiteX207" fmla="*/ 1724999 w 2096597"/>
                <a:gd name="connsiteY207" fmla="*/ 92390 h 283512"/>
                <a:gd name="connsiteX208" fmla="*/ 1751808 w 2096597"/>
                <a:gd name="connsiteY208" fmla="*/ 80571 h 283512"/>
                <a:gd name="connsiteX209" fmla="*/ 1784382 w 2096597"/>
                <a:gd name="connsiteY209" fmla="*/ 76535 h 283512"/>
                <a:gd name="connsiteX210" fmla="*/ 1847945 w 2096597"/>
                <a:gd name="connsiteY210" fmla="*/ 93255 h 283512"/>
                <a:gd name="connsiteX211" fmla="*/ 1872304 w 2096597"/>
                <a:gd name="connsiteY211" fmla="*/ 138945 h 283512"/>
                <a:gd name="connsiteX212" fmla="*/ 1815226 w 2096597"/>
                <a:gd name="connsiteY212" fmla="*/ 138945 h 283512"/>
                <a:gd name="connsiteX213" fmla="*/ 1805137 w 2096597"/>
                <a:gd name="connsiteY213" fmla="*/ 120929 h 283512"/>
                <a:gd name="connsiteX214" fmla="*/ 1783949 w 2096597"/>
                <a:gd name="connsiteY214" fmla="*/ 116172 h 283512"/>
                <a:gd name="connsiteX215" fmla="*/ 1764780 w 2096597"/>
                <a:gd name="connsiteY215" fmla="*/ 120496 h 283512"/>
                <a:gd name="connsiteX216" fmla="*/ 1756996 w 2096597"/>
                <a:gd name="connsiteY216" fmla="*/ 134045 h 283512"/>
                <a:gd name="connsiteX217" fmla="*/ 1760744 w 2096597"/>
                <a:gd name="connsiteY217" fmla="*/ 142405 h 283512"/>
                <a:gd name="connsiteX218" fmla="*/ 1770977 w 2096597"/>
                <a:gd name="connsiteY218" fmla="*/ 147593 h 283512"/>
                <a:gd name="connsiteX219" fmla="*/ 1785967 w 2096597"/>
                <a:gd name="connsiteY219" fmla="*/ 151197 h 283512"/>
                <a:gd name="connsiteX220" fmla="*/ 1803696 w 2096597"/>
                <a:gd name="connsiteY220" fmla="*/ 154224 h 283512"/>
                <a:gd name="connsiteX221" fmla="*/ 1829784 w 2096597"/>
                <a:gd name="connsiteY221" fmla="*/ 159701 h 283512"/>
                <a:gd name="connsiteX222" fmla="*/ 1853710 w 2096597"/>
                <a:gd name="connsiteY222" fmla="*/ 169790 h 283512"/>
                <a:gd name="connsiteX223" fmla="*/ 1871439 w 2096597"/>
                <a:gd name="connsiteY223" fmla="*/ 188239 h 283512"/>
                <a:gd name="connsiteX224" fmla="*/ 1878357 w 2096597"/>
                <a:gd name="connsiteY224" fmla="*/ 218508 h 283512"/>
                <a:gd name="connsiteX225" fmla="*/ 1871727 w 2096597"/>
                <a:gd name="connsiteY225" fmla="*/ 246614 h 283512"/>
                <a:gd name="connsiteX226" fmla="*/ 1853278 w 2096597"/>
                <a:gd name="connsiteY226" fmla="*/ 266792 h 283512"/>
                <a:gd name="connsiteX227" fmla="*/ 1825172 w 2096597"/>
                <a:gd name="connsiteY227" fmla="*/ 279044 h 283512"/>
                <a:gd name="connsiteX228" fmla="*/ 1789715 w 2096597"/>
                <a:gd name="connsiteY228" fmla="*/ 283224 h 283512"/>
                <a:gd name="connsiteX229" fmla="*/ 1999430 w 2096597"/>
                <a:gd name="connsiteY229" fmla="*/ 282791 h 283512"/>
                <a:gd name="connsiteX230" fmla="*/ 1956046 w 2096597"/>
                <a:gd name="connsiteY230" fmla="*/ 275008 h 283512"/>
                <a:gd name="connsiteX231" fmla="*/ 1923327 w 2096597"/>
                <a:gd name="connsiteY231" fmla="*/ 253244 h 283512"/>
                <a:gd name="connsiteX232" fmla="*/ 1902716 w 2096597"/>
                <a:gd name="connsiteY232" fmla="*/ 220381 h 283512"/>
                <a:gd name="connsiteX233" fmla="*/ 1895509 w 2096597"/>
                <a:gd name="connsiteY233" fmla="*/ 179303 h 283512"/>
                <a:gd name="connsiteX234" fmla="*/ 1902716 w 2096597"/>
                <a:gd name="connsiteY234" fmla="*/ 138801 h 283512"/>
                <a:gd name="connsiteX235" fmla="*/ 1923327 w 2096597"/>
                <a:gd name="connsiteY235" fmla="*/ 106083 h 283512"/>
                <a:gd name="connsiteX236" fmla="*/ 1954893 w 2096597"/>
                <a:gd name="connsiteY236" fmla="*/ 84463 h 283512"/>
                <a:gd name="connsiteX237" fmla="*/ 1995683 w 2096597"/>
                <a:gd name="connsiteY237" fmla="*/ 76679 h 283512"/>
                <a:gd name="connsiteX238" fmla="*/ 2033157 w 2096597"/>
                <a:gd name="connsiteY238" fmla="*/ 83165 h 283512"/>
                <a:gd name="connsiteX239" fmla="*/ 2062273 w 2096597"/>
                <a:gd name="connsiteY239" fmla="*/ 101038 h 283512"/>
                <a:gd name="connsiteX240" fmla="*/ 2088361 w 2096597"/>
                <a:gd name="connsiteY240" fmla="*/ 141540 h 283512"/>
                <a:gd name="connsiteX241" fmla="*/ 2096577 w 2096597"/>
                <a:gd name="connsiteY241" fmla="*/ 195734 h 283512"/>
                <a:gd name="connsiteX242" fmla="*/ 1956478 w 2096597"/>
                <a:gd name="connsiteY242" fmla="*/ 195734 h 283512"/>
                <a:gd name="connsiteX243" fmla="*/ 1970171 w 2096597"/>
                <a:gd name="connsiteY243" fmla="*/ 227011 h 283512"/>
                <a:gd name="connsiteX244" fmla="*/ 2000295 w 2096597"/>
                <a:gd name="connsiteY244" fmla="*/ 238398 h 283512"/>
                <a:gd name="connsiteX245" fmla="*/ 2020474 w 2096597"/>
                <a:gd name="connsiteY245" fmla="*/ 233209 h 283512"/>
                <a:gd name="connsiteX246" fmla="*/ 2032725 w 2096597"/>
                <a:gd name="connsiteY246" fmla="*/ 218940 h 283512"/>
                <a:gd name="connsiteX247" fmla="*/ 2093262 w 2096597"/>
                <a:gd name="connsiteY247" fmla="*/ 218940 h 283512"/>
                <a:gd name="connsiteX248" fmla="*/ 2081875 w 2096597"/>
                <a:gd name="connsiteY248" fmla="*/ 244308 h 283512"/>
                <a:gd name="connsiteX249" fmla="*/ 2060543 w 2096597"/>
                <a:gd name="connsiteY249" fmla="*/ 265063 h 283512"/>
                <a:gd name="connsiteX250" fmla="*/ 2033302 w 2096597"/>
                <a:gd name="connsiteY250" fmla="*/ 278323 h 283512"/>
                <a:gd name="connsiteX251" fmla="*/ 1999574 w 2096597"/>
                <a:gd name="connsiteY251" fmla="*/ 282936 h 283512"/>
                <a:gd name="connsiteX252" fmla="*/ 2033878 w 2096597"/>
                <a:gd name="connsiteY252" fmla="*/ 158836 h 283512"/>
                <a:gd name="connsiteX253" fmla="*/ 2022059 w 2096597"/>
                <a:gd name="connsiteY253" fmla="*/ 131018 h 283512"/>
                <a:gd name="connsiteX254" fmla="*/ 1996980 w 2096597"/>
                <a:gd name="connsiteY254" fmla="*/ 120784 h 283512"/>
                <a:gd name="connsiteX255" fmla="*/ 1969594 w 2096597"/>
                <a:gd name="connsiteY255" fmla="*/ 131018 h 283512"/>
                <a:gd name="connsiteX256" fmla="*/ 1957055 w 2096597"/>
                <a:gd name="connsiteY256" fmla="*/ 158836 h 283512"/>
                <a:gd name="connsiteX257" fmla="*/ 2033878 w 2096597"/>
                <a:gd name="connsiteY257" fmla="*/ 15883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6597" h="283512">
                  <a:moveTo>
                    <a:pt x="129433" y="283512"/>
                  </a:moveTo>
                  <a:cubicBezTo>
                    <a:pt x="109830" y="283512"/>
                    <a:pt x="92390" y="280197"/>
                    <a:pt x="76968" y="273567"/>
                  </a:cubicBezTo>
                  <a:cubicBezTo>
                    <a:pt x="61545" y="266937"/>
                    <a:pt x="47997" y="257568"/>
                    <a:pt x="36610" y="245461"/>
                  </a:cubicBezTo>
                  <a:cubicBezTo>
                    <a:pt x="24647" y="232489"/>
                    <a:pt x="15567" y="217354"/>
                    <a:pt x="9369" y="199770"/>
                  </a:cubicBezTo>
                  <a:cubicBezTo>
                    <a:pt x="3171" y="182330"/>
                    <a:pt x="0" y="163160"/>
                    <a:pt x="0" y="142260"/>
                  </a:cubicBezTo>
                  <a:cubicBezTo>
                    <a:pt x="0" y="121361"/>
                    <a:pt x="3459" y="100894"/>
                    <a:pt x="10522" y="82733"/>
                  </a:cubicBezTo>
                  <a:cubicBezTo>
                    <a:pt x="17440" y="64572"/>
                    <a:pt x="27386" y="49006"/>
                    <a:pt x="40358" y="36178"/>
                  </a:cubicBezTo>
                  <a:cubicBezTo>
                    <a:pt x="51744" y="24791"/>
                    <a:pt x="65149" y="15855"/>
                    <a:pt x="80715" y="9513"/>
                  </a:cubicBezTo>
                  <a:cubicBezTo>
                    <a:pt x="96138" y="3171"/>
                    <a:pt x="113866" y="0"/>
                    <a:pt x="133612" y="0"/>
                  </a:cubicBezTo>
                  <a:cubicBezTo>
                    <a:pt x="151053" y="0"/>
                    <a:pt x="166907" y="2162"/>
                    <a:pt x="180744" y="6630"/>
                  </a:cubicBezTo>
                  <a:cubicBezTo>
                    <a:pt x="194725" y="11098"/>
                    <a:pt x="206833" y="17440"/>
                    <a:pt x="216922" y="25656"/>
                  </a:cubicBezTo>
                  <a:cubicBezTo>
                    <a:pt x="227011" y="33872"/>
                    <a:pt x="235227" y="43817"/>
                    <a:pt x="241425" y="55492"/>
                  </a:cubicBezTo>
                  <a:cubicBezTo>
                    <a:pt x="247623" y="67167"/>
                    <a:pt x="251947" y="80139"/>
                    <a:pt x="254109" y="94264"/>
                  </a:cubicBezTo>
                  <a:lnTo>
                    <a:pt x="188672" y="94264"/>
                  </a:lnTo>
                  <a:cubicBezTo>
                    <a:pt x="186077" y="83165"/>
                    <a:pt x="180456" y="73797"/>
                    <a:pt x="171520" y="66446"/>
                  </a:cubicBezTo>
                  <a:cubicBezTo>
                    <a:pt x="162583" y="59095"/>
                    <a:pt x="150764" y="55348"/>
                    <a:pt x="135774" y="55348"/>
                  </a:cubicBezTo>
                  <a:cubicBezTo>
                    <a:pt x="124532" y="55348"/>
                    <a:pt x="114731" y="57654"/>
                    <a:pt x="106227" y="61978"/>
                  </a:cubicBezTo>
                  <a:cubicBezTo>
                    <a:pt x="97723" y="66446"/>
                    <a:pt x="90660" y="72500"/>
                    <a:pt x="85039" y="80283"/>
                  </a:cubicBezTo>
                  <a:cubicBezTo>
                    <a:pt x="79418" y="88066"/>
                    <a:pt x="75238" y="97146"/>
                    <a:pt x="72500" y="107668"/>
                  </a:cubicBezTo>
                  <a:cubicBezTo>
                    <a:pt x="69761" y="118190"/>
                    <a:pt x="68320" y="129721"/>
                    <a:pt x="68320" y="142116"/>
                  </a:cubicBezTo>
                  <a:cubicBezTo>
                    <a:pt x="68320" y="154512"/>
                    <a:pt x="69905" y="166043"/>
                    <a:pt x="73076" y="176709"/>
                  </a:cubicBezTo>
                  <a:cubicBezTo>
                    <a:pt x="76247" y="187375"/>
                    <a:pt x="80715" y="196599"/>
                    <a:pt x="86625" y="204238"/>
                  </a:cubicBezTo>
                  <a:cubicBezTo>
                    <a:pt x="92534" y="212021"/>
                    <a:pt x="99597" y="218075"/>
                    <a:pt x="108101" y="222255"/>
                  </a:cubicBezTo>
                  <a:cubicBezTo>
                    <a:pt x="116605" y="226579"/>
                    <a:pt x="126117" y="228741"/>
                    <a:pt x="136783" y="228741"/>
                  </a:cubicBezTo>
                  <a:cubicBezTo>
                    <a:pt x="145576" y="228741"/>
                    <a:pt x="153647" y="227444"/>
                    <a:pt x="160566" y="224705"/>
                  </a:cubicBezTo>
                  <a:cubicBezTo>
                    <a:pt x="167484" y="222111"/>
                    <a:pt x="173538" y="218508"/>
                    <a:pt x="178438" y="214039"/>
                  </a:cubicBezTo>
                  <a:cubicBezTo>
                    <a:pt x="183339" y="209571"/>
                    <a:pt x="187375" y="204526"/>
                    <a:pt x="190257" y="198761"/>
                  </a:cubicBezTo>
                  <a:cubicBezTo>
                    <a:pt x="193140" y="193140"/>
                    <a:pt x="195014" y="187230"/>
                    <a:pt x="195734" y="181033"/>
                  </a:cubicBezTo>
                  <a:lnTo>
                    <a:pt x="195734" y="180312"/>
                  </a:lnTo>
                  <a:lnTo>
                    <a:pt x="144711" y="180312"/>
                  </a:lnTo>
                  <a:lnTo>
                    <a:pt x="144711" y="130874"/>
                  </a:lnTo>
                  <a:lnTo>
                    <a:pt x="258144" y="130874"/>
                  </a:lnTo>
                  <a:lnTo>
                    <a:pt x="258144" y="277026"/>
                  </a:lnTo>
                  <a:lnTo>
                    <a:pt x="211013" y="277026"/>
                  </a:lnTo>
                  <a:lnTo>
                    <a:pt x="207265" y="244308"/>
                  </a:lnTo>
                  <a:lnTo>
                    <a:pt x="206544" y="244308"/>
                  </a:lnTo>
                  <a:cubicBezTo>
                    <a:pt x="197608" y="258289"/>
                    <a:pt x="186654" y="268234"/>
                    <a:pt x="173682" y="274143"/>
                  </a:cubicBezTo>
                  <a:cubicBezTo>
                    <a:pt x="160566" y="280053"/>
                    <a:pt x="145864" y="283080"/>
                    <a:pt x="129288" y="283080"/>
                  </a:cubicBezTo>
                  <a:moveTo>
                    <a:pt x="358029" y="282647"/>
                  </a:moveTo>
                  <a:cubicBezTo>
                    <a:pt x="335400" y="282647"/>
                    <a:pt x="318393" y="276017"/>
                    <a:pt x="306862" y="262613"/>
                  </a:cubicBezTo>
                  <a:cubicBezTo>
                    <a:pt x="295331" y="249352"/>
                    <a:pt x="289566" y="231768"/>
                    <a:pt x="289566" y="209859"/>
                  </a:cubicBezTo>
                  <a:lnTo>
                    <a:pt x="289566" y="82012"/>
                  </a:lnTo>
                  <a:lnTo>
                    <a:pt x="351255" y="82012"/>
                  </a:lnTo>
                  <a:lnTo>
                    <a:pt x="351255" y="197032"/>
                  </a:lnTo>
                  <a:cubicBezTo>
                    <a:pt x="351255" y="207697"/>
                    <a:pt x="353705" y="215913"/>
                    <a:pt x="358462" y="221534"/>
                  </a:cubicBezTo>
                  <a:cubicBezTo>
                    <a:pt x="363218" y="227300"/>
                    <a:pt x="370713" y="230038"/>
                    <a:pt x="380514" y="230038"/>
                  </a:cubicBezTo>
                  <a:cubicBezTo>
                    <a:pt x="391180" y="230038"/>
                    <a:pt x="399540" y="226435"/>
                    <a:pt x="405594" y="219228"/>
                  </a:cubicBezTo>
                  <a:cubicBezTo>
                    <a:pt x="411647" y="212021"/>
                    <a:pt x="414674" y="202509"/>
                    <a:pt x="414674" y="190834"/>
                  </a:cubicBezTo>
                  <a:lnTo>
                    <a:pt x="414674" y="82012"/>
                  </a:lnTo>
                  <a:lnTo>
                    <a:pt x="476652" y="82012"/>
                  </a:lnTo>
                  <a:lnTo>
                    <a:pt x="476652" y="276882"/>
                  </a:lnTo>
                  <a:lnTo>
                    <a:pt x="417269" y="276882"/>
                  </a:lnTo>
                  <a:lnTo>
                    <a:pt x="417269" y="252956"/>
                  </a:lnTo>
                  <a:lnTo>
                    <a:pt x="416116" y="252956"/>
                  </a:lnTo>
                  <a:cubicBezTo>
                    <a:pt x="409053" y="262613"/>
                    <a:pt x="400981" y="269963"/>
                    <a:pt x="391901" y="275008"/>
                  </a:cubicBezTo>
                  <a:cubicBezTo>
                    <a:pt x="382965" y="280053"/>
                    <a:pt x="371578" y="282647"/>
                    <a:pt x="357885" y="282647"/>
                  </a:cubicBezTo>
                  <a:moveTo>
                    <a:pt x="511965" y="2162"/>
                  </a:moveTo>
                  <a:lnTo>
                    <a:pt x="573943" y="2162"/>
                  </a:lnTo>
                  <a:lnTo>
                    <a:pt x="573943" y="55059"/>
                  </a:lnTo>
                  <a:lnTo>
                    <a:pt x="511965" y="55059"/>
                  </a:lnTo>
                  <a:lnTo>
                    <a:pt x="511965" y="2162"/>
                  </a:lnTo>
                  <a:close/>
                  <a:moveTo>
                    <a:pt x="511965" y="82012"/>
                  </a:moveTo>
                  <a:lnTo>
                    <a:pt x="573943" y="82012"/>
                  </a:lnTo>
                  <a:lnTo>
                    <a:pt x="573943" y="276882"/>
                  </a:lnTo>
                  <a:lnTo>
                    <a:pt x="511965" y="276882"/>
                  </a:lnTo>
                  <a:lnTo>
                    <a:pt x="511965" y="82012"/>
                  </a:lnTo>
                  <a:close/>
                  <a:moveTo>
                    <a:pt x="685935" y="282936"/>
                  </a:moveTo>
                  <a:cubicBezTo>
                    <a:pt x="673539" y="282936"/>
                    <a:pt x="662009" y="280629"/>
                    <a:pt x="651631" y="275873"/>
                  </a:cubicBezTo>
                  <a:cubicBezTo>
                    <a:pt x="641253" y="271117"/>
                    <a:pt x="632173" y="264342"/>
                    <a:pt x="624678" y="255550"/>
                  </a:cubicBezTo>
                  <a:cubicBezTo>
                    <a:pt x="617039" y="246614"/>
                    <a:pt x="611129" y="235804"/>
                    <a:pt x="606949" y="222976"/>
                  </a:cubicBezTo>
                  <a:cubicBezTo>
                    <a:pt x="602769" y="210148"/>
                    <a:pt x="600607" y="195590"/>
                    <a:pt x="600607" y="179447"/>
                  </a:cubicBezTo>
                  <a:cubicBezTo>
                    <a:pt x="600607" y="164169"/>
                    <a:pt x="602769" y="150332"/>
                    <a:pt x="606949" y="137504"/>
                  </a:cubicBezTo>
                  <a:cubicBezTo>
                    <a:pt x="611129" y="124820"/>
                    <a:pt x="617039" y="114010"/>
                    <a:pt x="624390" y="104930"/>
                  </a:cubicBezTo>
                  <a:cubicBezTo>
                    <a:pt x="631884" y="95993"/>
                    <a:pt x="640821" y="88931"/>
                    <a:pt x="651199" y="83742"/>
                  </a:cubicBezTo>
                  <a:cubicBezTo>
                    <a:pt x="661576" y="78697"/>
                    <a:pt x="673107" y="76103"/>
                    <a:pt x="685791" y="76103"/>
                  </a:cubicBezTo>
                  <a:cubicBezTo>
                    <a:pt x="699483" y="76103"/>
                    <a:pt x="710582" y="78697"/>
                    <a:pt x="718942" y="83886"/>
                  </a:cubicBezTo>
                  <a:cubicBezTo>
                    <a:pt x="727301" y="89075"/>
                    <a:pt x="734364" y="95705"/>
                    <a:pt x="740273" y="103921"/>
                  </a:cubicBezTo>
                  <a:lnTo>
                    <a:pt x="741426" y="103921"/>
                  </a:lnTo>
                  <a:lnTo>
                    <a:pt x="741426" y="1874"/>
                  </a:lnTo>
                  <a:lnTo>
                    <a:pt x="803404" y="1874"/>
                  </a:lnTo>
                  <a:lnTo>
                    <a:pt x="803404" y="276738"/>
                  </a:lnTo>
                  <a:lnTo>
                    <a:pt x="744021" y="276738"/>
                  </a:lnTo>
                  <a:lnTo>
                    <a:pt x="744021" y="250505"/>
                  </a:lnTo>
                  <a:lnTo>
                    <a:pt x="743300" y="250505"/>
                  </a:lnTo>
                  <a:cubicBezTo>
                    <a:pt x="737535" y="260595"/>
                    <a:pt x="729607" y="268522"/>
                    <a:pt x="719951" y="274287"/>
                  </a:cubicBezTo>
                  <a:cubicBezTo>
                    <a:pt x="710149" y="280053"/>
                    <a:pt x="698907" y="282791"/>
                    <a:pt x="685935" y="282791"/>
                  </a:cubicBezTo>
                  <a:moveTo>
                    <a:pt x="701934" y="233642"/>
                  </a:moveTo>
                  <a:cubicBezTo>
                    <a:pt x="714906" y="233642"/>
                    <a:pt x="724995" y="228597"/>
                    <a:pt x="732202" y="218363"/>
                  </a:cubicBezTo>
                  <a:cubicBezTo>
                    <a:pt x="739409" y="208274"/>
                    <a:pt x="743012" y="195158"/>
                    <a:pt x="743012" y="179159"/>
                  </a:cubicBezTo>
                  <a:cubicBezTo>
                    <a:pt x="743012" y="171087"/>
                    <a:pt x="742147" y="163448"/>
                    <a:pt x="740562" y="156530"/>
                  </a:cubicBezTo>
                  <a:cubicBezTo>
                    <a:pt x="738976" y="149611"/>
                    <a:pt x="736382" y="143558"/>
                    <a:pt x="732923" y="138657"/>
                  </a:cubicBezTo>
                  <a:cubicBezTo>
                    <a:pt x="729463" y="133757"/>
                    <a:pt x="725284" y="129865"/>
                    <a:pt x="720383" y="126982"/>
                  </a:cubicBezTo>
                  <a:cubicBezTo>
                    <a:pt x="715482" y="124244"/>
                    <a:pt x="709573" y="122802"/>
                    <a:pt x="702654" y="122802"/>
                  </a:cubicBezTo>
                  <a:cubicBezTo>
                    <a:pt x="690259" y="122802"/>
                    <a:pt x="680602" y="127991"/>
                    <a:pt x="673683" y="138225"/>
                  </a:cubicBezTo>
                  <a:cubicBezTo>
                    <a:pt x="666765" y="148458"/>
                    <a:pt x="663450" y="161863"/>
                    <a:pt x="663450" y="178438"/>
                  </a:cubicBezTo>
                  <a:cubicBezTo>
                    <a:pt x="663450" y="195014"/>
                    <a:pt x="666765" y="208851"/>
                    <a:pt x="673539" y="218796"/>
                  </a:cubicBezTo>
                  <a:cubicBezTo>
                    <a:pt x="680314" y="228741"/>
                    <a:pt x="689682" y="233642"/>
                    <a:pt x="701934" y="233642"/>
                  </a:cubicBezTo>
                  <a:moveTo>
                    <a:pt x="930242" y="282359"/>
                  </a:moveTo>
                  <a:cubicBezTo>
                    <a:pt x="914243" y="282359"/>
                    <a:pt x="899830" y="279765"/>
                    <a:pt x="886858" y="274576"/>
                  </a:cubicBezTo>
                  <a:cubicBezTo>
                    <a:pt x="873886" y="269387"/>
                    <a:pt x="862932" y="262180"/>
                    <a:pt x="854139" y="252811"/>
                  </a:cubicBezTo>
                  <a:cubicBezTo>
                    <a:pt x="845203" y="243587"/>
                    <a:pt x="838429" y="232633"/>
                    <a:pt x="833528" y="219949"/>
                  </a:cubicBezTo>
                  <a:cubicBezTo>
                    <a:pt x="828772" y="207265"/>
                    <a:pt x="826322" y="193572"/>
                    <a:pt x="826322" y="178871"/>
                  </a:cubicBezTo>
                  <a:cubicBezTo>
                    <a:pt x="826322" y="164169"/>
                    <a:pt x="828772" y="150909"/>
                    <a:pt x="833528" y="138369"/>
                  </a:cubicBezTo>
                  <a:cubicBezTo>
                    <a:pt x="838285" y="125829"/>
                    <a:pt x="845203" y="114875"/>
                    <a:pt x="854139" y="105650"/>
                  </a:cubicBezTo>
                  <a:cubicBezTo>
                    <a:pt x="863076" y="96426"/>
                    <a:pt x="873598" y="89219"/>
                    <a:pt x="885705" y="84030"/>
                  </a:cubicBezTo>
                  <a:cubicBezTo>
                    <a:pt x="897812" y="78841"/>
                    <a:pt x="911505" y="76247"/>
                    <a:pt x="926495" y="76247"/>
                  </a:cubicBezTo>
                  <a:cubicBezTo>
                    <a:pt x="940476" y="76247"/>
                    <a:pt x="953016" y="78409"/>
                    <a:pt x="963970" y="82733"/>
                  </a:cubicBezTo>
                  <a:cubicBezTo>
                    <a:pt x="975068" y="87057"/>
                    <a:pt x="984725" y="92967"/>
                    <a:pt x="993085" y="100606"/>
                  </a:cubicBezTo>
                  <a:cubicBezTo>
                    <a:pt x="1004760" y="111272"/>
                    <a:pt x="1013408" y="124820"/>
                    <a:pt x="1019173" y="141107"/>
                  </a:cubicBezTo>
                  <a:cubicBezTo>
                    <a:pt x="1024939" y="157539"/>
                    <a:pt x="1027533" y="175556"/>
                    <a:pt x="1027389" y="195302"/>
                  </a:cubicBezTo>
                  <a:lnTo>
                    <a:pt x="887290" y="195302"/>
                  </a:lnTo>
                  <a:cubicBezTo>
                    <a:pt x="889308" y="208562"/>
                    <a:pt x="893921" y="218940"/>
                    <a:pt x="900983" y="226579"/>
                  </a:cubicBezTo>
                  <a:cubicBezTo>
                    <a:pt x="908046" y="234218"/>
                    <a:pt x="918135" y="237966"/>
                    <a:pt x="931107" y="237966"/>
                  </a:cubicBezTo>
                  <a:cubicBezTo>
                    <a:pt x="939179" y="237966"/>
                    <a:pt x="945953" y="236236"/>
                    <a:pt x="951286" y="232777"/>
                  </a:cubicBezTo>
                  <a:cubicBezTo>
                    <a:pt x="956619" y="229318"/>
                    <a:pt x="960655" y="224561"/>
                    <a:pt x="963393" y="218508"/>
                  </a:cubicBezTo>
                  <a:lnTo>
                    <a:pt x="1023930" y="218508"/>
                  </a:lnTo>
                  <a:cubicBezTo>
                    <a:pt x="1021912" y="227444"/>
                    <a:pt x="1018020" y="235804"/>
                    <a:pt x="1012543" y="243875"/>
                  </a:cubicBezTo>
                  <a:cubicBezTo>
                    <a:pt x="1006922" y="251803"/>
                    <a:pt x="999859" y="258721"/>
                    <a:pt x="991211" y="264630"/>
                  </a:cubicBezTo>
                  <a:cubicBezTo>
                    <a:pt x="983140" y="270540"/>
                    <a:pt x="974059" y="274864"/>
                    <a:pt x="963970" y="277891"/>
                  </a:cubicBezTo>
                  <a:cubicBezTo>
                    <a:pt x="954024" y="280918"/>
                    <a:pt x="942782" y="282503"/>
                    <a:pt x="930242" y="282503"/>
                  </a:cubicBezTo>
                  <a:moveTo>
                    <a:pt x="964546" y="158404"/>
                  </a:moveTo>
                  <a:cubicBezTo>
                    <a:pt x="963249" y="146729"/>
                    <a:pt x="959357" y="137504"/>
                    <a:pt x="952727" y="130586"/>
                  </a:cubicBezTo>
                  <a:cubicBezTo>
                    <a:pt x="946097" y="123811"/>
                    <a:pt x="937737" y="120352"/>
                    <a:pt x="927648" y="120352"/>
                  </a:cubicBezTo>
                  <a:cubicBezTo>
                    <a:pt x="915685" y="120352"/>
                    <a:pt x="906604" y="123811"/>
                    <a:pt x="900262" y="130586"/>
                  </a:cubicBezTo>
                  <a:cubicBezTo>
                    <a:pt x="893921" y="137504"/>
                    <a:pt x="889741" y="146729"/>
                    <a:pt x="887723" y="158404"/>
                  </a:cubicBezTo>
                  <a:lnTo>
                    <a:pt x="964546" y="158404"/>
                  </a:lnTo>
                  <a:close/>
                  <a:moveTo>
                    <a:pt x="1050162" y="2018"/>
                  </a:moveTo>
                  <a:lnTo>
                    <a:pt x="1112140" y="2018"/>
                  </a:lnTo>
                  <a:lnTo>
                    <a:pt x="1112140" y="105939"/>
                  </a:lnTo>
                  <a:lnTo>
                    <a:pt x="1113293" y="105939"/>
                  </a:lnTo>
                  <a:cubicBezTo>
                    <a:pt x="1120355" y="96570"/>
                    <a:pt x="1128427" y="89219"/>
                    <a:pt x="1137219" y="84030"/>
                  </a:cubicBezTo>
                  <a:cubicBezTo>
                    <a:pt x="1146155" y="78841"/>
                    <a:pt x="1157398" y="76247"/>
                    <a:pt x="1171091" y="76247"/>
                  </a:cubicBezTo>
                  <a:cubicBezTo>
                    <a:pt x="1181757" y="76247"/>
                    <a:pt x="1191269" y="78121"/>
                    <a:pt x="1199629" y="81724"/>
                  </a:cubicBezTo>
                  <a:cubicBezTo>
                    <a:pt x="1207989" y="85327"/>
                    <a:pt x="1215052" y="90516"/>
                    <a:pt x="1220961" y="97002"/>
                  </a:cubicBezTo>
                  <a:cubicBezTo>
                    <a:pt x="1226871" y="103488"/>
                    <a:pt x="1231195" y="111272"/>
                    <a:pt x="1234366" y="120208"/>
                  </a:cubicBezTo>
                  <a:cubicBezTo>
                    <a:pt x="1237392" y="129144"/>
                    <a:pt x="1238978" y="139234"/>
                    <a:pt x="1238978" y="150044"/>
                  </a:cubicBezTo>
                  <a:lnTo>
                    <a:pt x="1238978" y="276738"/>
                  </a:lnTo>
                  <a:lnTo>
                    <a:pt x="1177000" y="276738"/>
                  </a:lnTo>
                  <a:lnTo>
                    <a:pt x="1177000" y="162583"/>
                  </a:lnTo>
                  <a:cubicBezTo>
                    <a:pt x="1177000" y="152206"/>
                    <a:pt x="1174406" y="143846"/>
                    <a:pt x="1169361" y="137504"/>
                  </a:cubicBezTo>
                  <a:cubicBezTo>
                    <a:pt x="1164316" y="131162"/>
                    <a:pt x="1156677" y="127991"/>
                    <a:pt x="1146588" y="127991"/>
                  </a:cubicBezTo>
                  <a:cubicBezTo>
                    <a:pt x="1136498" y="127991"/>
                    <a:pt x="1127850" y="131739"/>
                    <a:pt x="1121653" y="139378"/>
                  </a:cubicBezTo>
                  <a:cubicBezTo>
                    <a:pt x="1115455" y="147017"/>
                    <a:pt x="1112284" y="156962"/>
                    <a:pt x="1112284" y="169069"/>
                  </a:cubicBezTo>
                  <a:lnTo>
                    <a:pt x="1112284" y="276738"/>
                  </a:lnTo>
                  <a:lnTo>
                    <a:pt x="1050306" y="276738"/>
                  </a:lnTo>
                  <a:lnTo>
                    <a:pt x="1050306" y="1874"/>
                  </a:lnTo>
                  <a:close/>
                  <a:moveTo>
                    <a:pt x="1362645" y="282936"/>
                  </a:moveTo>
                  <a:cubicBezTo>
                    <a:pt x="1346935" y="282936"/>
                    <a:pt x="1332665" y="280341"/>
                    <a:pt x="1319837" y="275152"/>
                  </a:cubicBezTo>
                  <a:cubicBezTo>
                    <a:pt x="1307009" y="269963"/>
                    <a:pt x="1296055" y="262757"/>
                    <a:pt x="1286830" y="253388"/>
                  </a:cubicBezTo>
                  <a:cubicBezTo>
                    <a:pt x="1277750" y="244163"/>
                    <a:pt x="1270687" y="233209"/>
                    <a:pt x="1265787" y="220670"/>
                  </a:cubicBezTo>
                  <a:cubicBezTo>
                    <a:pt x="1260886" y="208130"/>
                    <a:pt x="1258292" y="194437"/>
                    <a:pt x="1258292" y="179735"/>
                  </a:cubicBezTo>
                  <a:cubicBezTo>
                    <a:pt x="1258292" y="165034"/>
                    <a:pt x="1260742" y="151341"/>
                    <a:pt x="1265787" y="138801"/>
                  </a:cubicBezTo>
                  <a:cubicBezTo>
                    <a:pt x="1270687" y="126262"/>
                    <a:pt x="1277750" y="115307"/>
                    <a:pt x="1286830" y="106083"/>
                  </a:cubicBezTo>
                  <a:cubicBezTo>
                    <a:pt x="1295911" y="96858"/>
                    <a:pt x="1307009" y="89651"/>
                    <a:pt x="1319837" y="84463"/>
                  </a:cubicBezTo>
                  <a:cubicBezTo>
                    <a:pt x="1332665" y="79274"/>
                    <a:pt x="1346935" y="76679"/>
                    <a:pt x="1362645" y="76679"/>
                  </a:cubicBezTo>
                  <a:cubicBezTo>
                    <a:pt x="1378356" y="76679"/>
                    <a:pt x="1392625" y="79274"/>
                    <a:pt x="1405453" y="84463"/>
                  </a:cubicBezTo>
                  <a:cubicBezTo>
                    <a:pt x="1418281" y="89651"/>
                    <a:pt x="1429235" y="96858"/>
                    <a:pt x="1438171" y="106083"/>
                  </a:cubicBezTo>
                  <a:cubicBezTo>
                    <a:pt x="1447108" y="115307"/>
                    <a:pt x="1454170" y="126262"/>
                    <a:pt x="1459071" y="138801"/>
                  </a:cubicBezTo>
                  <a:cubicBezTo>
                    <a:pt x="1463971" y="151341"/>
                    <a:pt x="1466422" y="165034"/>
                    <a:pt x="1466422" y="179735"/>
                  </a:cubicBezTo>
                  <a:cubicBezTo>
                    <a:pt x="1466422" y="194437"/>
                    <a:pt x="1463971" y="208130"/>
                    <a:pt x="1459071" y="220670"/>
                  </a:cubicBezTo>
                  <a:cubicBezTo>
                    <a:pt x="1454170" y="233209"/>
                    <a:pt x="1447108" y="244163"/>
                    <a:pt x="1438171" y="253388"/>
                  </a:cubicBezTo>
                  <a:cubicBezTo>
                    <a:pt x="1429235" y="262613"/>
                    <a:pt x="1418281" y="269819"/>
                    <a:pt x="1405453" y="275152"/>
                  </a:cubicBezTo>
                  <a:cubicBezTo>
                    <a:pt x="1392625" y="280341"/>
                    <a:pt x="1378356" y="282936"/>
                    <a:pt x="1362645" y="282936"/>
                  </a:cubicBezTo>
                  <a:moveTo>
                    <a:pt x="1362213" y="238830"/>
                  </a:moveTo>
                  <a:cubicBezTo>
                    <a:pt x="1375905" y="238830"/>
                    <a:pt x="1386283" y="233497"/>
                    <a:pt x="1393201" y="222687"/>
                  </a:cubicBezTo>
                  <a:cubicBezTo>
                    <a:pt x="1400264" y="211877"/>
                    <a:pt x="1403723" y="197608"/>
                    <a:pt x="1403723" y="179880"/>
                  </a:cubicBezTo>
                  <a:cubicBezTo>
                    <a:pt x="1403723" y="162151"/>
                    <a:pt x="1400264" y="147738"/>
                    <a:pt x="1393201" y="136928"/>
                  </a:cubicBezTo>
                  <a:cubicBezTo>
                    <a:pt x="1386283" y="125973"/>
                    <a:pt x="1375905" y="120496"/>
                    <a:pt x="1362213" y="120496"/>
                  </a:cubicBezTo>
                  <a:cubicBezTo>
                    <a:pt x="1348520" y="120496"/>
                    <a:pt x="1338286" y="125973"/>
                    <a:pt x="1331368" y="136928"/>
                  </a:cubicBezTo>
                  <a:cubicBezTo>
                    <a:pt x="1324594" y="147882"/>
                    <a:pt x="1321134" y="162151"/>
                    <a:pt x="1321134" y="179880"/>
                  </a:cubicBezTo>
                  <a:cubicBezTo>
                    <a:pt x="1321134" y="197608"/>
                    <a:pt x="1324594" y="211877"/>
                    <a:pt x="1331368" y="222687"/>
                  </a:cubicBezTo>
                  <a:cubicBezTo>
                    <a:pt x="1338286" y="233497"/>
                    <a:pt x="1348520" y="238830"/>
                    <a:pt x="1362213" y="238830"/>
                  </a:cubicBezTo>
                  <a:moveTo>
                    <a:pt x="1554488" y="282647"/>
                  </a:moveTo>
                  <a:cubicBezTo>
                    <a:pt x="1531859" y="282647"/>
                    <a:pt x="1514851" y="276017"/>
                    <a:pt x="1503320" y="262613"/>
                  </a:cubicBezTo>
                  <a:cubicBezTo>
                    <a:pt x="1491789" y="249352"/>
                    <a:pt x="1486024" y="231768"/>
                    <a:pt x="1486024" y="209859"/>
                  </a:cubicBezTo>
                  <a:lnTo>
                    <a:pt x="1486024" y="82012"/>
                  </a:lnTo>
                  <a:lnTo>
                    <a:pt x="1547713" y="82012"/>
                  </a:lnTo>
                  <a:lnTo>
                    <a:pt x="1547713" y="197032"/>
                  </a:lnTo>
                  <a:cubicBezTo>
                    <a:pt x="1547713" y="207697"/>
                    <a:pt x="1550164" y="215913"/>
                    <a:pt x="1554920" y="221534"/>
                  </a:cubicBezTo>
                  <a:cubicBezTo>
                    <a:pt x="1559677" y="227300"/>
                    <a:pt x="1567172" y="230038"/>
                    <a:pt x="1576973" y="230038"/>
                  </a:cubicBezTo>
                  <a:cubicBezTo>
                    <a:pt x="1587639" y="230038"/>
                    <a:pt x="1595998" y="226435"/>
                    <a:pt x="1602052" y="219228"/>
                  </a:cubicBezTo>
                  <a:cubicBezTo>
                    <a:pt x="1608106" y="212021"/>
                    <a:pt x="1611132" y="202509"/>
                    <a:pt x="1611132" y="190834"/>
                  </a:cubicBezTo>
                  <a:lnTo>
                    <a:pt x="1611132" y="82012"/>
                  </a:lnTo>
                  <a:lnTo>
                    <a:pt x="1673110" y="82012"/>
                  </a:lnTo>
                  <a:lnTo>
                    <a:pt x="1673110" y="276882"/>
                  </a:lnTo>
                  <a:lnTo>
                    <a:pt x="1613727" y="276882"/>
                  </a:lnTo>
                  <a:lnTo>
                    <a:pt x="1613727" y="252956"/>
                  </a:lnTo>
                  <a:lnTo>
                    <a:pt x="1612574" y="252956"/>
                  </a:lnTo>
                  <a:cubicBezTo>
                    <a:pt x="1605511" y="262613"/>
                    <a:pt x="1597440" y="269963"/>
                    <a:pt x="1588359" y="275008"/>
                  </a:cubicBezTo>
                  <a:cubicBezTo>
                    <a:pt x="1579423" y="280053"/>
                    <a:pt x="1568036" y="282647"/>
                    <a:pt x="1554344" y="282647"/>
                  </a:cubicBezTo>
                  <a:moveTo>
                    <a:pt x="1789571" y="283080"/>
                  </a:moveTo>
                  <a:cubicBezTo>
                    <a:pt x="1760888" y="283080"/>
                    <a:pt x="1738259" y="276882"/>
                    <a:pt x="1721395" y="264630"/>
                  </a:cubicBezTo>
                  <a:cubicBezTo>
                    <a:pt x="1704676" y="252379"/>
                    <a:pt x="1695739" y="235371"/>
                    <a:pt x="1694730" y="213751"/>
                  </a:cubicBezTo>
                  <a:lnTo>
                    <a:pt x="1753393" y="213751"/>
                  </a:lnTo>
                  <a:cubicBezTo>
                    <a:pt x="1754690" y="223408"/>
                    <a:pt x="1758294" y="230615"/>
                    <a:pt x="1764491" y="235515"/>
                  </a:cubicBezTo>
                  <a:cubicBezTo>
                    <a:pt x="1770545" y="240272"/>
                    <a:pt x="1778761" y="242722"/>
                    <a:pt x="1789282" y="242722"/>
                  </a:cubicBezTo>
                  <a:cubicBezTo>
                    <a:pt x="1798651" y="242722"/>
                    <a:pt x="1806146" y="241137"/>
                    <a:pt x="1811479" y="237821"/>
                  </a:cubicBezTo>
                  <a:cubicBezTo>
                    <a:pt x="1816956" y="234506"/>
                    <a:pt x="1819695" y="229750"/>
                    <a:pt x="1819695" y="223408"/>
                  </a:cubicBezTo>
                  <a:cubicBezTo>
                    <a:pt x="1819695" y="219084"/>
                    <a:pt x="1818253" y="215625"/>
                    <a:pt x="1815515" y="212886"/>
                  </a:cubicBezTo>
                  <a:cubicBezTo>
                    <a:pt x="1812776" y="210292"/>
                    <a:pt x="1809029" y="208130"/>
                    <a:pt x="1804416" y="206400"/>
                  </a:cubicBezTo>
                  <a:cubicBezTo>
                    <a:pt x="1799804" y="204815"/>
                    <a:pt x="1794615" y="203518"/>
                    <a:pt x="1788562" y="202653"/>
                  </a:cubicBezTo>
                  <a:cubicBezTo>
                    <a:pt x="1782652" y="201788"/>
                    <a:pt x="1776454" y="200635"/>
                    <a:pt x="1770112" y="199482"/>
                  </a:cubicBezTo>
                  <a:cubicBezTo>
                    <a:pt x="1761753" y="197896"/>
                    <a:pt x="1753393" y="196167"/>
                    <a:pt x="1745033" y="194005"/>
                  </a:cubicBezTo>
                  <a:cubicBezTo>
                    <a:pt x="1736673" y="191843"/>
                    <a:pt x="1729178" y="188672"/>
                    <a:pt x="1722404" y="184348"/>
                  </a:cubicBezTo>
                  <a:cubicBezTo>
                    <a:pt x="1715630" y="180024"/>
                    <a:pt x="1710297" y="174258"/>
                    <a:pt x="1706261" y="167052"/>
                  </a:cubicBezTo>
                  <a:cubicBezTo>
                    <a:pt x="1702225" y="159845"/>
                    <a:pt x="1700207" y="150476"/>
                    <a:pt x="1700207" y="139090"/>
                  </a:cubicBezTo>
                  <a:cubicBezTo>
                    <a:pt x="1700207" y="129000"/>
                    <a:pt x="1702369" y="119920"/>
                    <a:pt x="1706837" y="111992"/>
                  </a:cubicBezTo>
                  <a:cubicBezTo>
                    <a:pt x="1711306" y="104209"/>
                    <a:pt x="1717359" y="97579"/>
                    <a:pt x="1724999" y="92390"/>
                  </a:cubicBezTo>
                  <a:cubicBezTo>
                    <a:pt x="1732638" y="87201"/>
                    <a:pt x="1741574" y="83310"/>
                    <a:pt x="1751808" y="80571"/>
                  </a:cubicBezTo>
                  <a:cubicBezTo>
                    <a:pt x="1762041" y="77977"/>
                    <a:pt x="1772995" y="76535"/>
                    <a:pt x="1784382" y="76535"/>
                  </a:cubicBezTo>
                  <a:cubicBezTo>
                    <a:pt x="1812056" y="76535"/>
                    <a:pt x="1833243" y="82157"/>
                    <a:pt x="1847945" y="93255"/>
                  </a:cubicBezTo>
                  <a:cubicBezTo>
                    <a:pt x="1862647" y="104353"/>
                    <a:pt x="1870718" y="119631"/>
                    <a:pt x="1872304" y="138945"/>
                  </a:cubicBezTo>
                  <a:lnTo>
                    <a:pt x="1815226" y="138945"/>
                  </a:lnTo>
                  <a:cubicBezTo>
                    <a:pt x="1813929" y="130009"/>
                    <a:pt x="1810614" y="124100"/>
                    <a:pt x="1805137" y="120929"/>
                  </a:cubicBezTo>
                  <a:cubicBezTo>
                    <a:pt x="1799660" y="117758"/>
                    <a:pt x="1792598" y="116172"/>
                    <a:pt x="1783949" y="116172"/>
                  </a:cubicBezTo>
                  <a:cubicBezTo>
                    <a:pt x="1776310" y="116172"/>
                    <a:pt x="1769968" y="117614"/>
                    <a:pt x="1764780" y="120496"/>
                  </a:cubicBezTo>
                  <a:cubicBezTo>
                    <a:pt x="1759591" y="123379"/>
                    <a:pt x="1756996" y="127847"/>
                    <a:pt x="1756996" y="134045"/>
                  </a:cubicBezTo>
                  <a:cubicBezTo>
                    <a:pt x="1756996" y="137648"/>
                    <a:pt x="1758294" y="140387"/>
                    <a:pt x="1760744" y="142405"/>
                  </a:cubicBezTo>
                  <a:cubicBezTo>
                    <a:pt x="1763338" y="144423"/>
                    <a:pt x="1766653" y="146152"/>
                    <a:pt x="1770977" y="147593"/>
                  </a:cubicBezTo>
                  <a:cubicBezTo>
                    <a:pt x="1775301" y="149035"/>
                    <a:pt x="1780346" y="150188"/>
                    <a:pt x="1785967" y="151197"/>
                  </a:cubicBezTo>
                  <a:cubicBezTo>
                    <a:pt x="1791733" y="152206"/>
                    <a:pt x="1797642" y="153215"/>
                    <a:pt x="1803696" y="154224"/>
                  </a:cubicBezTo>
                  <a:cubicBezTo>
                    <a:pt x="1812344" y="155665"/>
                    <a:pt x="1820992" y="157539"/>
                    <a:pt x="1829784" y="159701"/>
                  </a:cubicBezTo>
                  <a:cubicBezTo>
                    <a:pt x="1838576" y="161863"/>
                    <a:pt x="1846504" y="165178"/>
                    <a:pt x="1853710" y="169790"/>
                  </a:cubicBezTo>
                  <a:cubicBezTo>
                    <a:pt x="1860917" y="174402"/>
                    <a:pt x="1866827" y="180456"/>
                    <a:pt x="1871439" y="188239"/>
                  </a:cubicBezTo>
                  <a:cubicBezTo>
                    <a:pt x="1876051" y="196023"/>
                    <a:pt x="1878357" y="206112"/>
                    <a:pt x="1878357" y="218508"/>
                  </a:cubicBezTo>
                  <a:cubicBezTo>
                    <a:pt x="1878357" y="229173"/>
                    <a:pt x="1876051" y="238542"/>
                    <a:pt x="1871727" y="246614"/>
                  </a:cubicBezTo>
                  <a:cubicBezTo>
                    <a:pt x="1867259" y="254685"/>
                    <a:pt x="1861061" y="261460"/>
                    <a:pt x="1853278" y="266792"/>
                  </a:cubicBezTo>
                  <a:cubicBezTo>
                    <a:pt x="1845350" y="272125"/>
                    <a:pt x="1835982" y="276161"/>
                    <a:pt x="1825172" y="279044"/>
                  </a:cubicBezTo>
                  <a:cubicBezTo>
                    <a:pt x="1814218" y="281782"/>
                    <a:pt x="1802399" y="283224"/>
                    <a:pt x="1789715" y="283224"/>
                  </a:cubicBezTo>
                  <a:moveTo>
                    <a:pt x="1999430" y="282791"/>
                  </a:moveTo>
                  <a:cubicBezTo>
                    <a:pt x="1983431" y="282791"/>
                    <a:pt x="1969018" y="280197"/>
                    <a:pt x="1956046" y="275008"/>
                  </a:cubicBezTo>
                  <a:cubicBezTo>
                    <a:pt x="1943073" y="269819"/>
                    <a:pt x="1932263" y="262613"/>
                    <a:pt x="1923327" y="253244"/>
                  </a:cubicBezTo>
                  <a:cubicBezTo>
                    <a:pt x="1914391" y="244019"/>
                    <a:pt x="1907617" y="233065"/>
                    <a:pt x="1902716" y="220381"/>
                  </a:cubicBezTo>
                  <a:cubicBezTo>
                    <a:pt x="1897960" y="207697"/>
                    <a:pt x="1895509" y="194005"/>
                    <a:pt x="1895509" y="179303"/>
                  </a:cubicBezTo>
                  <a:cubicBezTo>
                    <a:pt x="1895509" y="164601"/>
                    <a:pt x="1897960" y="151341"/>
                    <a:pt x="1902716" y="138801"/>
                  </a:cubicBezTo>
                  <a:cubicBezTo>
                    <a:pt x="1907473" y="126262"/>
                    <a:pt x="1914391" y="115307"/>
                    <a:pt x="1923327" y="106083"/>
                  </a:cubicBezTo>
                  <a:cubicBezTo>
                    <a:pt x="1932263" y="96858"/>
                    <a:pt x="1942785" y="89651"/>
                    <a:pt x="1954893" y="84463"/>
                  </a:cubicBezTo>
                  <a:cubicBezTo>
                    <a:pt x="1967144" y="79274"/>
                    <a:pt x="1980693" y="76679"/>
                    <a:pt x="1995683" y="76679"/>
                  </a:cubicBezTo>
                  <a:cubicBezTo>
                    <a:pt x="2009664" y="76679"/>
                    <a:pt x="2022059" y="78841"/>
                    <a:pt x="2033157" y="83165"/>
                  </a:cubicBezTo>
                  <a:cubicBezTo>
                    <a:pt x="2044256" y="87489"/>
                    <a:pt x="2053913" y="93399"/>
                    <a:pt x="2062273" y="101038"/>
                  </a:cubicBezTo>
                  <a:cubicBezTo>
                    <a:pt x="2073947" y="111704"/>
                    <a:pt x="2082596" y="125253"/>
                    <a:pt x="2088361" y="141540"/>
                  </a:cubicBezTo>
                  <a:cubicBezTo>
                    <a:pt x="2094126" y="157971"/>
                    <a:pt x="2096865" y="175988"/>
                    <a:pt x="2096577" y="195734"/>
                  </a:cubicBezTo>
                  <a:lnTo>
                    <a:pt x="1956478" y="195734"/>
                  </a:lnTo>
                  <a:cubicBezTo>
                    <a:pt x="1958496" y="208995"/>
                    <a:pt x="1963108" y="219372"/>
                    <a:pt x="1970171" y="227011"/>
                  </a:cubicBezTo>
                  <a:cubicBezTo>
                    <a:pt x="1977233" y="234651"/>
                    <a:pt x="1987323" y="238398"/>
                    <a:pt x="2000295" y="238398"/>
                  </a:cubicBezTo>
                  <a:cubicBezTo>
                    <a:pt x="2008366" y="238398"/>
                    <a:pt x="2015141" y="236668"/>
                    <a:pt x="2020474" y="233209"/>
                  </a:cubicBezTo>
                  <a:cubicBezTo>
                    <a:pt x="2025807" y="229750"/>
                    <a:pt x="2029842" y="224994"/>
                    <a:pt x="2032725" y="218940"/>
                  </a:cubicBezTo>
                  <a:lnTo>
                    <a:pt x="2093262" y="218940"/>
                  </a:lnTo>
                  <a:cubicBezTo>
                    <a:pt x="2091244" y="227876"/>
                    <a:pt x="2087496" y="236236"/>
                    <a:pt x="2081875" y="244308"/>
                  </a:cubicBezTo>
                  <a:cubicBezTo>
                    <a:pt x="2076254" y="252379"/>
                    <a:pt x="2069191" y="259153"/>
                    <a:pt x="2060543" y="265063"/>
                  </a:cubicBezTo>
                  <a:cubicBezTo>
                    <a:pt x="2052472" y="270972"/>
                    <a:pt x="2043391" y="275296"/>
                    <a:pt x="2033302" y="278323"/>
                  </a:cubicBezTo>
                  <a:cubicBezTo>
                    <a:pt x="2023212" y="281350"/>
                    <a:pt x="2011970" y="282936"/>
                    <a:pt x="1999574" y="282936"/>
                  </a:cubicBezTo>
                  <a:moveTo>
                    <a:pt x="2033878" y="158836"/>
                  </a:moveTo>
                  <a:cubicBezTo>
                    <a:pt x="2032581" y="147161"/>
                    <a:pt x="2028689" y="137936"/>
                    <a:pt x="2022059" y="131018"/>
                  </a:cubicBezTo>
                  <a:cubicBezTo>
                    <a:pt x="2015429" y="124244"/>
                    <a:pt x="2007069" y="120784"/>
                    <a:pt x="1996980" y="120784"/>
                  </a:cubicBezTo>
                  <a:cubicBezTo>
                    <a:pt x="1985017" y="120784"/>
                    <a:pt x="1975936" y="124244"/>
                    <a:pt x="1969594" y="131018"/>
                  </a:cubicBezTo>
                  <a:cubicBezTo>
                    <a:pt x="1963252" y="137936"/>
                    <a:pt x="1959072" y="147161"/>
                    <a:pt x="1957055" y="158836"/>
                  </a:cubicBezTo>
                  <a:lnTo>
                    <a:pt x="2033878" y="158836"/>
                  </a:lnTo>
                  <a:close/>
                </a:path>
              </a:pathLst>
            </a:custGeom>
            <a:solidFill>
              <a:srgbClr val="000000"/>
            </a:solidFill>
            <a:ln w="0"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15457261-1C34-087B-4575-1B5E779EBBAB}"/>
                </a:ext>
              </a:extLst>
            </p:cNvPr>
            <p:cNvSpPr/>
            <p:nvPr/>
          </p:nvSpPr>
          <p:spPr>
            <a:xfrm>
              <a:off x="882878" y="557212"/>
              <a:ext cx="273278" cy="674980"/>
            </a:xfrm>
            <a:custGeom>
              <a:avLst/>
              <a:gdLst>
                <a:gd name="connsiteX0" fmla="*/ 0 w 273278"/>
                <a:gd name="connsiteY0" fmla="*/ 0 h 674980"/>
                <a:gd name="connsiteX1" fmla="*/ 0 w 273278"/>
                <a:gd name="connsiteY1" fmla="*/ 476508 h 674980"/>
                <a:gd name="connsiteX2" fmla="*/ 272558 w 273278"/>
                <a:gd name="connsiteY2" fmla="*/ 674981 h 674980"/>
                <a:gd name="connsiteX3" fmla="*/ 273278 w 273278"/>
                <a:gd name="connsiteY3" fmla="*/ 674260 h 674980"/>
                <a:gd name="connsiteX4" fmla="*/ 0 w 273278"/>
                <a:gd name="connsiteY4" fmla="*/ 0 h 674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980">
                  <a:moveTo>
                    <a:pt x="0" y="0"/>
                  </a:moveTo>
                  <a:lnTo>
                    <a:pt x="0" y="476508"/>
                  </a:lnTo>
                  <a:lnTo>
                    <a:pt x="272558" y="674981"/>
                  </a:lnTo>
                  <a:cubicBezTo>
                    <a:pt x="272558" y="674981"/>
                    <a:pt x="273134" y="674404"/>
                    <a:pt x="273278" y="674260"/>
                  </a:cubicBezTo>
                  <a:lnTo>
                    <a:pt x="0" y="0"/>
                  </a:lnTo>
                  <a:close/>
                </a:path>
              </a:pathLst>
            </a:custGeom>
            <a:solidFill>
              <a:srgbClr val="93D500"/>
            </a:solidFill>
            <a:ln w="0"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CDB77CD-C5E1-9227-DF1A-82C8E96E04A3}"/>
                </a:ext>
              </a:extLst>
            </p:cNvPr>
            <p:cNvSpPr/>
            <p:nvPr/>
          </p:nvSpPr>
          <p:spPr>
            <a:xfrm>
              <a:off x="609600" y="557212"/>
              <a:ext cx="273278" cy="674836"/>
            </a:xfrm>
            <a:custGeom>
              <a:avLst/>
              <a:gdLst>
                <a:gd name="connsiteX0" fmla="*/ 0 w 273278"/>
                <a:gd name="connsiteY0" fmla="*/ 674116 h 674836"/>
                <a:gd name="connsiteX1" fmla="*/ 721 w 273278"/>
                <a:gd name="connsiteY1" fmla="*/ 674837 h 674836"/>
                <a:gd name="connsiteX2" fmla="*/ 273278 w 273278"/>
                <a:gd name="connsiteY2" fmla="*/ 476364 h 674836"/>
                <a:gd name="connsiteX3" fmla="*/ 273278 w 273278"/>
                <a:gd name="connsiteY3" fmla="*/ 0 h 674836"/>
                <a:gd name="connsiteX4" fmla="*/ 0 w 273278"/>
                <a:gd name="connsiteY4" fmla="*/ 674116 h 674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836">
                  <a:moveTo>
                    <a:pt x="0" y="674116"/>
                  </a:moveTo>
                  <a:cubicBezTo>
                    <a:pt x="0" y="674116"/>
                    <a:pt x="577" y="674692"/>
                    <a:pt x="721" y="674837"/>
                  </a:cubicBezTo>
                  <a:lnTo>
                    <a:pt x="273278" y="476364"/>
                  </a:lnTo>
                  <a:lnTo>
                    <a:pt x="273278" y="0"/>
                  </a:lnTo>
                  <a:lnTo>
                    <a:pt x="0" y="674116"/>
                  </a:lnTo>
                  <a:close/>
                </a:path>
              </a:pathLst>
            </a:custGeom>
            <a:solidFill>
              <a:srgbClr val="000000"/>
            </a:solidFill>
            <a:ln w="0" cap="flat">
              <a:noFill/>
              <a:prstDash val="solid"/>
              <a:miter/>
            </a:ln>
          </p:spPr>
          <p:txBody>
            <a:bodyPr rtlCol="0" anchor="ctr"/>
            <a:lstStyle/>
            <a:p>
              <a:endParaRPr lang="en-US" dirty="0"/>
            </a:p>
          </p:txBody>
        </p:sp>
      </p:grpSp>
      <p:sp>
        <p:nvSpPr>
          <p:cNvPr id="33" name="Text Placeholder 33">
            <a:extLst>
              <a:ext uri="{FF2B5EF4-FFF2-40B4-BE49-F238E27FC236}">
                <a16:creationId xmlns:a16="http://schemas.microsoft.com/office/drawing/2014/main" id="{C85A18C6-8282-E9A0-F452-C454AEA2EF36}"/>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tx2"/>
                </a:solidFill>
                <a:latin typeface="+mj-lt"/>
              </a:defRPr>
            </a:lvl1pPr>
            <a:lvl2pPr marL="0" indent="0">
              <a:spcAft>
                <a:spcPts val="300"/>
              </a:spcAft>
              <a:buNone/>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58" name="Text Placeholder 16">
            <a:extLst>
              <a:ext uri="{FF2B5EF4-FFF2-40B4-BE49-F238E27FC236}">
                <a16:creationId xmlns:a16="http://schemas.microsoft.com/office/drawing/2014/main" id="{2CEC33A9-A637-6C33-525A-AF284749A9F6}"/>
              </a:ext>
            </a:extLst>
          </p:cNvPr>
          <p:cNvSpPr>
            <a:spLocks noGrp="1"/>
          </p:cNvSpPr>
          <p:nvPr>
            <p:ph type="body" sz="quarter" idx="15" hasCustomPrompt="1"/>
          </p:nvPr>
        </p:nvSpPr>
        <p:spPr>
          <a:xfrm>
            <a:off x="609600" y="1523079"/>
            <a:ext cx="2468880" cy="223908"/>
          </a:xfrm>
        </p:spPr>
        <p:txBody>
          <a:bodyPr wrap="square">
            <a:noAutofit/>
          </a:bodyPr>
          <a:lstStyle>
            <a:lvl1pPr algn="l">
              <a:spcAft>
                <a:spcPts val="0"/>
              </a:spcAft>
              <a:defRPr sz="14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6" name="Graphic 5">
            <a:extLst>
              <a:ext uri="{FF2B5EF4-FFF2-40B4-BE49-F238E27FC236}">
                <a16:creationId xmlns:a16="http://schemas.microsoft.com/office/drawing/2014/main" id="{0DBEBFD3-3735-BFC8-D7E6-A618637D48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pic>
        <p:nvPicPr>
          <p:cNvPr id="2" name="Graphic 1">
            <a:extLst>
              <a:ext uri="{FF2B5EF4-FFF2-40B4-BE49-F238E27FC236}">
                <a16:creationId xmlns:a16="http://schemas.microsoft.com/office/drawing/2014/main" id="{D2BF7478-0B6B-4B7E-1EE4-0006B726ED2A}"/>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9837" r="8121" b="7745"/>
          <a:stretch/>
        </p:blipFill>
        <p:spPr>
          <a:xfrm>
            <a:off x="5996682" y="-1"/>
            <a:ext cx="6195318" cy="6858001"/>
          </a:xfrm>
          <a:prstGeom prst="rect">
            <a:avLst/>
          </a:prstGeom>
        </p:spPr>
      </p:pic>
      <p:sp>
        <p:nvSpPr>
          <p:cNvPr id="4" name="Text Placeholder 33">
            <a:extLst>
              <a:ext uri="{FF2B5EF4-FFF2-40B4-BE49-F238E27FC236}">
                <a16:creationId xmlns:a16="http://schemas.microsoft.com/office/drawing/2014/main" id="{63C1126E-E19D-9E30-D956-8ADF5631F0F0}"/>
              </a:ext>
            </a:extLst>
          </p:cNvPr>
          <p:cNvSpPr>
            <a:spLocks noGrp="1"/>
          </p:cNvSpPr>
          <p:nvPr>
            <p:ph type="body" sz="quarter" idx="16"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86906506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ver 1 - Dark">
    <p:bg>
      <p:bgPr>
        <a:solidFill>
          <a:schemeClr val="bg1">
            <a:lumMod val="75000"/>
          </a:schemeClr>
        </a:solidFill>
        <a:effectLst/>
      </p:bgPr>
    </p:bg>
    <p:spTree>
      <p:nvGrpSpPr>
        <p:cNvPr id="1" name=""/>
        <p:cNvGrpSpPr/>
        <p:nvPr/>
      </p:nvGrpSpPr>
      <p:grpSpPr>
        <a:xfrm>
          <a:off x="0" y="0"/>
          <a:ext cx="0" cy="0"/>
          <a:chOff x="0" y="0"/>
          <a:chExt cx="0" cy="0"/>
        </a:xfrm>
      </p:grpSpPr>
      <p:grpSp>
        <p:nvGrpSpPr>
          <p:cNvPr id="3" name="Graphic 7">
            <a:extLst>
              <a:ext uri="{FF2B5EF4-FFF2-40B4-BE49-F238E27FC236}">
                <a16:creationId xmlns:a16="http://schemas.microsoft.com/office/drawing/2014/main" id="{C5A0A539-4BAC-8953-4BBA-6D59087AD769}"/>
              </a:ext>
            </a:extLst>
          </p:cNvPr>
          <p:cNvGrpSpPr/>
          <p:nvPr userDrawn="1"/>
        </p:nvGrpSpPr>
        <p:grpSpPr>
          <a:xfrm>
            <a:off x="609600" y="557212"/>
            <a:ext cx="1729317" cy="437558"/>
            <a:chOff x="609600" y="557212"/>
            <a:chExt cx="2670098" cy="675598"/>
          </a:xfrm>
        </p:grpSpPr>
        <p:sp>
          <p:nvSpPr>
            <p:cNvPr id="4" name="Freeform: Shape 3">
              <a:extLst>
                <a:ext uri="{FF2B5EF4-FFF2-40B4-BE49-F238E27FC236}">
                  <a16:creationId xmlns:a16="http://schemas.microsoft.com/office/drawing/2014/main" id="{CABD304E-130C-E81B-7AD9-4DF1D35529F5}"/>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420A9100-D517-D472-CEFD-D0D3A5BCF545}"/>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A4E6CE2-336C-0213-9FF5-26E16386C047}"/>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dirty="0"/>
            </a:p>
          </p:txBody>
        </p:sp>
      </p:grpSp>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4594548"/>
            <a:ext cx="5376672"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sp>
        <p:nvSpPr>
          <p:cNvPr id="34" name="Text Placeholder 33">
            <a:extLst>
              <a:ext uri="{FF2B5EF4-FFF2-40B4-BE49-F238E27FC236}">
                <a16:creationId xmlns:a16="http://schemas.microsoft.com/office/drawing/2014/main" id="{D7147827-288A-C738-6D39-15FD117D3583}"/>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cxnSp>
        <p:nvCxnSpPr>
          <p:cNvPr id="2" name="Straight Connector 1">
            <a:extLst>
              <a:ext uri="{FF2B5EF4-FFF2-40B4-BE49-F238E27FC236}">
                <a16:creationId xmlns:a16="http://schemas.microsoft.com/office/drawing/2014/main" id="{6FCC54D6-1CD8-DA15-70A3-BCCDE81CDB97}"/>
              </a:ext>
            </a:extLst>
          </p:cNvPr>
          <p:cNvCxnSpPr>
            <a:cxnSpLocks/>
          </p:cNvCxnSpPr>
          <p:nvPr userDrawn="1"/>
        </p:nvCxnSpPr>
        <p:spPr>
          <a:xfrm>
            <a:off x="609600" y="4594548"/>
            <a:ext cx="537667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2CE2077C-8DE3-6BD5-5043-2657C9192082}"/>
              </a:ext>
            </a:extLst>
          </p:cNvPr>
          <p:cNvSpPr>
            <a:spLocks noGrp="1"/>
          </p:cNvSpPr>
          <p:nvPr>
            <p:ph type="body" sz="quarter" idx="15" hasCustomPrompt="1"/>
          </p:nvPr>
        </p:nvSpPr>
        <p:spPr>
          <a:xfrm>
            <a:off x="612648" y="1527048"/>
            <a:ext cx="2468880" cy="255587"/>
          </a:xfrm>
        </p:spPr>
        <p:txBody>
          <a:bodyPr>
            <a:noAutofit/>
          </a:bodyPr>
          <a:lstStyle>
            <a:lvl1pPr>
              <a:defRPr sz="1400" b="1" spc="300" baseline="0">
                <a:solidFill>
                  <a:schemeClr val="bg1"/>
                </a:solidFill>
                <a:latin typeface="+mj-lt"/>
              </a:defRPr>
            </a:lvl1pPr>
          </a:lstStyle>
          <a:p>
            <a:pPr lvl="0"/>
            <a:r>
              <a:rPr lang="en-US"/>
              <a:t>DATE</a:t>
            </a:r>
          </a:p>
        </p:txBody>
      </p:sp>
      <p:sp>
        <p:nvSpPr>
          <p:cNvPr id="14" name="Text Placeholder 33">
            <a:extLst>
              <a:ext uri="{FF2B5EF4-FFF2-40B4-BE49-F238E27FC236}">
                <a16:creationId xmlns:a16="http://schemas.microsoft.com/office/drawing/2014/main" id="{CE47B4CB-AA1E-6A37-74DA-E065D5DBDA43}"/>
              </a:ext>
            </a:extLst>
          </p:cNvPr>
          <p:cNvSpPr>
            <a:spLocks noGrp="1"/>
          </p:cNvSpPr>
          <p:nvPr>
            <p:ph type="body" sz="quarter" idx="16"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1">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29007523"/>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Cover 1 - No Instructions">
    <p:bg>
      <p:bgPr>
        <a:solidFill>
          <a:schemeClr val="bg1">
            <a:lumMod val="75000"/>
          </a:schemeClr>
        </a:solidFill>
        <a:effectLst/>
      </p:bgPr>
    </p:bg>
    <p:spTree>
      <p:nvGrpSpPr>
        <p:cNvPr id="1" name=""/>
        <p:cNvGrpSpPr/>
        <p:nvPr/>
      </p:nvGrpSpPr>
      <p:grpSpPr>
        <a:xfrm>
          <a:off x="0" y="0"/>
          <a:ext cx="0" cy="0"/>
          <a:chOff x="0" y="0"/>
          <a:chExt cx="0" cy="0"/>
        </a:xfrm>
      </p:grpSpPr>
      <p:grpSp>
        <p:nvGrpSpPr>
          <p:cNvPr id="3" name="Graphic 7">
            <a:extLst>
              <a:ext uri="{FF2B5EF4-FFF2-40B4-BE49-F238E27FC236}">
                <a16:creationId xmlns:a16="http://schemas.microsoft.com/office/drawing/2014/main" id="{C5A0A539-4BAC-8953-4BBA-6D59087AD769}"/>
              </a:ext>
            </a:extLst>
          </p:cNvPr>
          <p:cNvGrpSpPr/>
          <p:nvPr userDrawn="1"/>
        </p:nvGrpSpPr>
        <p:grpSpPr>
          <a:xfrm>
            <a:off x="609600" y="557212"/>
            <a:ext cx="1729317" cy="437558"/>
            <a:chOff x="609600" y="557212"/>
            <a:chExt cx="2670098" cy="675598"/>
          </a:xfrm>
        </p:grpSpPr>
        <p:sp>
          <p:nvSpPr>
            <p:cNvPr id="4" name="Freeform: Shape 3">
              <a:extLst>
                <a:ext uri="{FF2B5EF4-FFF2-40B4-BE49-F238E27FC236}">
                  <a16:creationId xmlns:a16="http://schemas.microsoft.com/office/drawing/2014/main" id="{CABD304E-130C-E81B-7AD9-4DF1D35529F5}"/>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420A9100-D517-D472-CEFD-D0D3A5BCF545}"/>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A4E6CE2-336C-0213-9FF5-26E16386C047}"/>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dirty="0"/>
            </a:p>
          </p:txBody>
        </p:sp>
      </p:grpSp>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4594548"/>
            <a:ext cx="5376672"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sp>
        <p:nvSpPr>
          <p:cNvPr id="18" name="Text Placeholder 16">
            <a:extLst>
              <a:ext uri="{FF2B5EF4-FFF2-40B4-BE49-F238E27FC236}">
                <a16:creationId xmlns:a16="http://schemas.microsoft.com/office/drawing/2014/main" id="{F2A9289B-23E0-657B-DF89-7F9B74F7660F}"/>
              </a:ext>
            </a:extLst>
          </p:cNvPr>
          <p:cNvSpPr>
            <a:spLocks noGrp="1"/>
          </p:cNvSpPr>
          <p:nvPr>
            <p:ph type="body" sz="quarter" idx="12" hasCustomPrompt="1"/>
          </p:nvPr>
        </p:nvSpPr>
        <p:spPr>
          <a:xfrm>
            <a:off x="612648" y="1527048"/>
            <a:ext cx="2468880" cy="215444"/>
          </a:xfrm>
        </p:spPr>
        <p:txBody>
          <a:bodyPr wrap="square">
            <a:noAutofit/>
          </a:bodyPr>
          <a:lstStyle>
            <a:lvl1pPr algn="l">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cxnSp>
        <p:nvCxnSpPr>
          <p:cNvPr id="2" name="Straight Connector 1">
            <a:extLst>
              <a:ext uri="{FF2B5EF4-FFF2-40B4-BE49-F238E27FC236}">
                <a16:creationId xmlns:a16="http://schemas.microsoft.com/office/drawing/2014/main" id="{6FCC54D6-1CD8-DA15-70A3-BCCDE81CDB97}"/>
              </a:ext>
            </a:extLst>
          </p:cNvPr>
          <p:cNvCxnSpPr>
            <a:cxnSpLocks/>
          </p:cNvCxnSpPr>
          <p:nvPr userDrawn="1"/>
        </p:nvCxnSpPr>
        <p:spPr>
          <a:xfrm>
            <a:off x="609600" y="4594548"/>
            <a:ext cx="537667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33">
            <a:extLst>
              <a:ext uri="{FF2B5EF4-FFF2-40B4-BE49-F238E27FC236}">
                <a16:creationId xmlns:a16="http://schemas.microsoft.com/office/drawing/2014/main" id="{31A9C09B-A70B-7FAF-E144-352D9BBCCEE1}"/>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8" name="Text Placeholder 33">
            <a:extLst>
              <a:ext uri="{FF2B5EF4-FFF2-40B4-BE49-F238E27FC236}">
                <a16:creationId xmlns:a16="http://schemas.microsoft.com/office/drawing/2014/main" id="{BE4ABADF-2476-619E-BCA6-A34680813588}"/>
              </a:ext>
            </a:extLst>
          </p:cNvPr>
          <p:cNvSpPr>
            <a:spLocks noGrp="1"/>
          </p:cNvSpPr>
          <p:nvPr>
            <p:ph type="body" sz="quarter" idx="16"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1">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76131821"/>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 1 with image - Dark ">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A42ED-98C2-0925-4548-9A57C0E8C3BF}"/>
              </a:ext>
            </a:extLst>
          </p:cNvPr>
          <p:cNvSpPr/>
          <p:nvPr/>
        </p:nvSpPr>
        <p:spPr>
          <a:xfrm>
            <a:off x="0" y="0"/>
            <a:ext cx="66294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 name="Graphic 7">
            <a:extLst>
              <a:ext uri="{FF2B5EF4-FFF2-40B4-BE49-F238E27FC236}">
                <a16:creationId xmlns:a16="http://schemas.microsoft.com/office/drawing/2014/main" id="{C5A0A539-4BAC-8953-4BBA-6D59087AD769}"/>
              </a:ext>
            </a:extLst>
          </p:cNvPr>
          <p:cNvGrpSpPr/>
          <p:nvPr userDrawn="1"/>
        </p:nvGrpSpPr>
        <p:grpSpPr>
          <a:xfrm>
            <a:off x="609600" y="557212"/>
            <a:ext cx="1729317" cy="437558"/>
            <a:chOff x="609600" y="557212"/>
            <a:chExt cx="2670098" cy="675598"/>
          </a:xfrm>
        </p:grpSpPr>
        <p:sp>
          <p:nvSpPr>
            <p:cNvPr id="4" name="Freeform: Shape 3">
              <a:extLst>
                <a:ext uri="{FF2B5EF4-FFF2-40B4-BE49-F238E27FC236}">
                  <a16:creationId xmlns:a16="http://schemas.microsoft.com/office/drawing/2014/main" id="{CABD304E-130C-E81B-7AD9-4DF1D35529F5}"/>
                </a:ext>
              </a:extLst>
            </p:cNvPr>
            <p:cNvSpPr/>
            <p:nvPr/>
          </p:nvSpPr>
          <p:spPr>
            <a:xfrm>
              <a:off x="1181182" y="790634"/>
              <a:ext cx="2098515" cy="283771"/>
            </a:xfrm>
            <a:custGeom>
              <a:avLst/>
              <a:gdLst>
                <a:gd name="connsiteX0" fmla="*/ 129551 w 2098515"/>
                <a:gd name="connsiteY0" fmla="*/ 283771 h 283771"/>
                <a:gd name="connsiteX1" fmla="*/ 77038 w 2098515"/>
                <a:gd name="connsiteY1" fmla="*/ 273817 h 283771"/>
                <a:gd name="connsiteX2" fmla="*/ 36644 w 2098515"/>
                <a:gd name="connsiteY2" fmla="*/ 245685 h 283771"/>
                <a:gd name="connsiteX3" fmla="*/ 9377 w 2098515"/>
                <a:gd name="connsiteY3" fmla="*/ 199953 h 283771"/>
                <a:gd name="connsiteX4" fmla="*/ 0 w 2098515"/>
                <a:gd name="connsiteY4" fmla="*/ 142391 h 283771"/>
                <a:gd name="connsiteX5" fmla="*/ 10531 w 2098515"/>
                <a:gd name="connsiteY5" fmla="*/ 82809 h 283771"/>
                <a:gd name="connsiteX6" fmla="*/ 40395 w 2098515"/>
                <a:gd name="connsiteY6" fmla="*/ 36211 h 283771"/>
                <a:gd name="connsiteX7" fmla="*/ 80789 w 2098515"/>
                <a:gd name="connsiteY7" fmla="*/ 9522 h 283771"/>
                <a:gd name="connsiteX8" fmla="*/ 133735 w 2098515"/>
                <a:gd name="connsiteY8" fmla="*/ 0 h 283771"/>
                <a:gd name="connsiteX9" fmla="*/ 180910 w 2098515"/>
                <a:gd name="connsiteY9" fmla="*/ 6636 h 283771"/>
                <a:gd name="connsiteX10" fmla="*/ 217121 w 2098515"/>
                <a:gd name="connsiteY10" fmla="*/ 25679 h 283771"/>
                <a:gd name="connsiteX11" fmla="*/ 241646 w 2098515"/>
                <a:gd name="connsiteY11" fmla="*/ 55542 h 283771"/>
                <a:gd name="connsiteX12" fmla="*/ 254341 w 2098515"/>
                <a:gd name="connsiteY12" fmla="*/ 94350 h 283771"/>
                <a:gd name="connsiteX13" fmla="*/ 188844 w 2098515"/>
                <a:gd name="connsiteY13" fmla="*/ 94350 h 283771"/>
                <a:gd name="connsiteX14" fmla="*/ 171677 w 2098515"/>
                <a:gd name="connsiteY14" fmla="*/ 66507 h 283771"/>
                <a:gd name="connsiteX15" fmla="*/ 135899 w 2098515"/>
                <a:gd name="connsiteY15" fmla="*/ 55398 h 283771"/>
                <a:gd name="connsiteX16" fmla="*/ 106324 w 2098515"/>
                <a:gd name="connsiteY16" fmla="*/ 62034 h 283771"/>
                <a:gd name="connsiteX17" fmla="*/ 85117 w 2098515"/>
                <a:gd name="connsiteY17" fmla="*/ 80356 h 283771"/>
                <a:gd name="connsiteX18" fmla="*/ 72566 w 2098515"/>
                <a:gd name="connsiteY18" fmla="*/ 107767 h 283771"/>
                <a:gd name="connsiteX19" fmla="*/ 68382 w 2098515"/>
                <a:gd name="connsiteY19" fmla="*/ 142246 h 283771"/>
                <a:gd name="connsiteX20" fmla="*/ 73143 w 2098515"/>
                <a:gd name="connsiteY20" fmla="*/ 176870 h 283771"/>
                <a:gd name="connsiteX21" fmla="*/ 86704 w 2098515"/>
                <a:gd name="connsiteY21" fmla="*/ 204425 h 283771"/>
                <a:gd name="connsiteX22" fmla="*/ 108200 w 2098515"/>
                <a:gd name="connsiteY22" fmla="*/ 222458 h 283771"/>
                <a:gd name="connsiteX23" fmla="*/ 136909 w 2098515"/>
                <a:gd name="connsiteY23" fmla="*/ 228950 h 283771"/>
                <a:gd name="connsiteX24" fmla="*/ 160712 w 2098515"/>
                <a:gd name="connsiteY24" fmla="*/ 224911 h 283771"/>
                <a:gd name="connsiteX25" fmla="*/ 178601 w 2098515"/>
                <a:gd name="connsiteY25" fmla="*/ 214235 h 283771"/>
                <a:gd name="connsiteX26" fmla="*/ 190431 w 2098515"/>
                <a:gd name="connsiteY26" fmla="*/ 198943 h 283771"/>
                <a:gd name="connsiteX27" fmla="*/ 195913 w 2098515"/>
                <a:gd name="connsiteY27" fmla="*/ 181198 h 283771"/>
                <a:gd name="connsiteX28" fmla="*/ 195913 w 2098515"/>
                <a:gd name="connsiteY28" fmla="*/ 180477 h 283771"/>
                <a:gd name="connsiteX29" fmla="*/ 144843 w 2098515"/>
                <a:gd name="connsiteY29" fmla="*/ 180477 h 283771"/>
                <a:gd name="connsiteX30" fmla="*/ 144843 w 2098515"/>
                <a:gd name="connsiteY30" fmla="*/ 130994 h 283771"/>
                <a:gd name="connsiteX31" fmla="*/ 258381 w 2098515"/>
                <a:gd name="connsiteY31" fmla="*/ 130994 h 283771"/>
                <a:gd name="connsiteX32" fmla="*/ 258381 w 2098515"/>
                <a:gd name="connsiteY32" fmla="*/ 277279 h 283771"/>
                <a:gd name="connsiteX33" fmla="*/ 211206 w 2098515"/>
                <a:gd name="connsiteY33" fmla="*/ 277279 h 283771"/>
                <a:gd name="connsiteX34" fmla="*/ 207455 w 2098515"/>
                <a:gd name="connsiteY34" fmla="*/ 244531 h 283771"/>
                <a:gd name="connsiteX35" fmla="*/ 206733 w 2098515"/>
                <a:gd name="connsiteY35" fmla="*/ 244531 h 283771"/>
                <a:gd name="connsiteX36" fmla="*/ 173841 w 2098515"/>
                <a:gd name="connsiteY36" fmla="*/ 274394 h 283771"/>
                <a:gd name="connsiteX37" fmla="*/ 129407 w 2098515"/>
                <a:gd name="connsiteY37" fmla="*/ 283339 h 283771"/>
                <a:gd name="connsiteX38" fmla="*/ 358357 w 2098515"/>
                <a:gd name="connsiteY38" fmla="*/ 282906 h 283771"/>
                <a:gd name="connsiteX39" fmla="*/ 307143 w 2098515"/>
                <a:gd name="connsiteY39" fmla="*/ 262853 h 283771"/>
                <a:gd name="connsiteX40" fmla="*/ 289831 w 2098515"/>
                <a:gd name="connsiteY40" fmla="*/ 210051 h 283771"/>
                <a:gd name="connsiteX41" fmla="*/ 289831 w 2098515"/>
                <a:gd name="connsiteY41" fmla="*/ 82087 h 283771"/>
                <a:gd name="connsiteX42" fmla="*/ 351577 w 2098515"/>
                <a:gd name="connsiteY42" fmla="*/ 82087 h 283771"/>
                <a:gd name="connsiteX43" fmla="*/ 351577 w 2098515"/>
                <a:gd name="connsiteY43" fmla="*/ 197212 h 283771"/>
                <a:gd name="connsiteX44" fmla="*/ 358790 w 2098515"/>
                <a:gd name="connsiteY44" fmla="*/ 221737 h 283771"/>
                <a:gd name="connsiteX45" fmla="*/ 380863 w 2098515"/>
                <a:gd name="connsiteY45" fmla="*/ 230249 h 283771"/>
                <a:gd name="connsiteX46" fmla="*/ 405965 w 2098515"/>
                <a:gd name="connsiteY46" fmla="*/ 219429 h 283771"/>
                <a:gd name="connsiteX47" fmla="*/ 415054 w 2098515"/>
                <a:gd name="connsiteY47" fmla="*/ 191008 h 283771"/>
                <a:gd name="connsiteX48" fmla="*/ 415054 w 2098515"/>
                <a:gd name="connsiteY48" fmla="*/ 82087 h 283771"/>
                <a:gd name="connsiteX49" fmla="*/ 477088 w 2098515"/>
                <a:gd name="connsiteY49" fmla="*/ 82087 h 283771"/>
                <a:gd name="connsiteX50" fmla="*/ 477088 w 2098515"/>
                <a:gd name="connsiteY50" fmla="*/ 277135 h 283771"/>
                <a:gd name="connsiteX51" fmla="*/ 417650 w 2098515"/>
                <a:gd name="connsiteY51" fmla="*/ 277135 h 283771"/>
                <a:gd name="connsiteX52" fmla="*/ 417650 w 2098515"/>
                <a:gd name="connsiteY52" fmla="*/ 253187 h 283771"/>
                <a:gd name="connsiteX53" fmla="*/ 416496 w 2098515"/>
                <a:gd name="connsiteY53" fmla="*/ 253187 h 283771"/>
                <a:gd name="connsiteX54" fmla="*/ 392260 w 2098515"/>
                <a:gd name="connsiteY54" fmla="*/ 275260 h 283771"/>
                <a:gd name="connsiteX55" fmla="*/ 358213 w 2098515"/>
                <a:gd name="connsiteY55" fmla="*/ 282906 h 283771"/>
                <a:gd name="connsiteX56" fmla="*/ 512433 w 2098515"/>
                <a:gd name="connsiteY56" fmla="*/ 2164 h 283771"/>
                <a:gd name="connsiteX57" fmla="*/ 574468 w 2098515"/>
                <a:gd name="connsiteY57" fmla="*/ 2164 h 283771"/>
                <a:gd name="connsiteX58" fmla="*/ 574468 w 2098515"/>
                <a:gd name="connsiteY58" fmla="*/ 55110 h 283771"/>
                <a:gd name="connsiteX59" fmla="*/ 512433 w 2098515"/>
                <a:gd name="connsiteY59" fmla="*/ 55110 h 283771"/>
                <a:gd name="connsiteX60" fmla="*/ 512433 w 2098515"/>
                <a:gd name="connsiteY60" fmla="*/ 2164 h 283771"/>
                <a:gd name="connsiteX61" fmla="*/ 512433 w 2098515"/>
                <a:gd name="connsiteY61" fmla="*/ 82087 h 283771"/>
                <a:gd name="connsiteX62" fmla="*/ 574468 w 2098515"/>
                <a:gd name="connsiteY62" fmla="*/ 82087 h 283771"/>
                <a:gd name="connsiteX63" fmla="*/ 574468 w 2098515"/>
                <a:gd name="connsiteY63" fmla="*/ 277135 h 283771"/>
                <a:gd name="connsiteX64" fmla="*/ 512433 w 2098515"/>
                <a:gd name="connsiteY64" fmla="*/ 277135 h 283771"/>
                <a:gd name="connsiteX65" fmla="*/ 512433 w 2098515"/>
                <a:gd name="connsiteY65" fmla="*/ 82087 h 283771"/>
                <a:gd name="connsiteX66" fmla="*/ 686563 w 2098515"/>
                <a:gd name="connsiteY66" fmla="*/ 283194 h 283771"/>
                <a:gd name="connsiteX67" fmla="*/ 652227 w 2098515"/>
                <a:gd name="connsiteY67" fmla="*/ 276125 h 283771"/>
                <a:gd name="connsiteX68" fmla="*/ 625249 w 2098515"/>
                <a:gd name="connsiteY68" fmla="*/ 255784 h 283771"/>
                <a:gd name="connsiteX69" fmla="*/ 607505 w 2098515"/>
                <a:gd name="connsiteY69" fmla="*/ 223180 h 283771"/>
                <a:gd name="connsiteX70" fmla="*/ 601157 w 2098515"/>
                <a:gd name="connsiteY70" fmla="*/ 179611 h 283771"/>
                <a:gd name="connsiteX71" fmla="*/ 607505 w 2098515"/>
                <a:gd name="connsiteY71" fmla="*/ 137630 h 283771"/>
                <a:gd name="connsiteX72" fmla="*/ 624961 w 2098515"/>
                <a:gd name="connsiteY72" fmla="*/ 105026 h 283771"/>
                <a:gd name="connsiteX73" fmla="*/ 651794 w 2098515"/>
                <a:gd name="connsiteY73" fmla="*/ 83819 h 283771"/>
                <a:gd name="connsiteX74" fmla="*/ 686418 w 2098515"/>
                <a:gd name="connsiteY74" fmla="*/ 76172 h 283771"/>
                <a:gd name="connsiteX75" fmla="*/ 719600 w 2098515"/>
                <a:gd name="connsiteY75" fmla="*/ 83963 h 283771"/>
                <a:gd name="connsiteX76" fmla="*/ 740951 w 2098515"/>
                <a:gd name="connsiteY76" fmla="*/ 104016 h 283771"/>
                <a:gd name="connsiteX77" fmla="*/ 742105 w 2098515"/>
                <a:gd name="connsiteY77" fmla="*/ 104016 h 283771"/>
                <a:gd name="connsiteX78" fmla="*/ 742105 w 2098515"/>
                <a:gd name="connsiteY78" fmla="*/ 1875 h 283771"/>
                <a:gd name="connsiteX79" fmla="*/ 804139 w 2098515"/>
                <a:gd name="connsiteY79" fmla="*/ 1875 h 283771"/>
                <a:gd name="connsiteX80" fmla="*/ 804139 w 2098515"/>
                <a:gd name="connsiteY80" fmla="*/ 276991 h 283771"/>
                <a:gd name="connsiteX81" fmla="*/ 744702 w 2098515"/>
                <a:gd name="connsiteY81" fmla="*/ 276991 h 283771"/>
                <a:gd name="connsiteX82" fmla="*/ 744702 w 2098515"/>
                <a:gd name="connsiteY82" fmla="*/ 250735 h 283771"/>
                <a:gd name="connsiteX83" fmla="*/ 743981 w 2098515"/>
                <a:gd name="connsiteY83" fmla="*/ 250735 h 283771"/>
                <a:gd name="connsiteX84" fmla="*/ 720609 w 2098515"/>
                <a:gd name="connsiteY84" fmla="*/ 274538 h 283771"/>
                <a:gd name="connsiteX85" fmla="*/ 686563 w 2098515"/>
                <a:gd name="connsiteY85" fmla="*/ 283050 h 283771"/>
                <a:gd name="connsiteX86" fmla="*/ 702576 w 2098515"/>
                <a:gd name="connsiteY86" fmla="*/ 233855 h 283771"/>
                <a:gd name="connsiteX87" fmla="*/ 732872 w 2098515"/>
                <a:gd name="connsiteY87" fmla="*/ 218563 h 283771"/>
                <a:gd name="connsiteX88" fmla="*/ 743692 w 2098515"/>
                <a:gd name="connsiteY88" fmla="*/ 179323 h 283771"/>
                <a:gd name="connsiteX89" fmla="*/ 741239 w 2098515"/>
                <a:gd name="connsiteY89" fmla="*/ 156673 h 283771"/>
                <a:gd name="connsiteX90" fmla="*/ 733593 w 2098515"/>
                <a:gd name="connsiteY90" fmla="*/ 138784 h 283771"/>
                <a:gd name="connsiteX91" fmla="*/ 721042 w 2098515"/>
                <a:gd name="connsiteY91" fmla="*/ 127098 h 283771"/>
                <a:gd name="connsiteX92" fmla="*/ 703297 w 2098515"/>
                <a:gd name="connsiteY92" fmla="*/ 122915 h 283771"/>
                <a:gd name="connsiteX93" fmla="*/ 674300 w 2098515"/>
                <a:gd name="connsiteY93" fmla="*/ 138351 h 283771"/>
                <a:gd name="connsiteX94" fmla="*/ 664057 w 2098515"/>
                <a:gd name="connsiteY94" fmla="*/ 178601 h 283771"/>
                <a:gd name="connsiteX95" fmla="*/ 674156 w 2098515"/>
                <a:gd name="connsiteY95" fmla="*/ 218996 h 283771"/>
                <a:gd name="connsiteX96" fmla="*/ 702576 w 2098515"/>
                <a:gd name="connsiteY96" fmla="*/ 233855 h 283771"/>
                <a:gd name="connsiteX97" fmla="*/ 931094 w 2098515"/>
                <a:gd name="connsiteY97" fmla="*/ 282617 h 283771"/>
                <a:gd name="connsiteX98" fmla="*/ 887670 w 2098515"/>
                <a:gd name="connsiteY98" fmla="*/ 274827 h 283771"/>
                <a:gd name="connsiteX99" fmla="*/ 854921 w 2098515"/>
                <a:gd name="connsiteY99" fmla="*/ 253043 h 283771"/>
                <a:gd name="connsiteX100" fmla="*/ 834291 w 2098515"/>
                <a:gd name="connsiteY100" fmla="*/ 220150 h 283771"/>
                <a:gd name="connsiteX101" fmla="*/ 827078 w 2098515"/>
                <a:gd name="connsiteY101" fmla="*/ 179034 h 283771"/>
                <a:gd name="connsiteX102" fmla="*/ 834291 w 2098515"/>
                <a:gd name="connsiteY102" fmla="*/ 138495 h 283771"/>
                <a:gd name="connsiteX103" fmla="*/ 854921 w 2098515"/>
                <a:gd name="connsiteY103" fmla="*/ 105747 h 283771"/>
                <a:gd name="connsiteX104" fmla="*/ 886515 w 2098515"/>
                <a:gd name="connsiteY104" fmla="*/ 84107 h 283771"/>
                <a:gd name="connsiteX105" fmla="*/ 927343 w 2098515"/>
                <a:gd name="connsiteY105" fmla="*/ 76317 h 283771"/>
                <a:gd name="connsiteX106" fmla="*/ 964852 w 2098515"/>
                <a:gd name="connsiteY106" fmla="*/ 82809 h 283771"/>
                <a:gd name="connsiteX107" fmla="*/ 993994 w 2098515"/>
                <a:gd name="connsiteY107" fmla="*/ 100698 h 283771"/>
                <a:gd name="connsiteX108" fmla="*/ 1020106 w 2098515"/>
                <a:gd name="connsiteY108" fmla="*/ 141237 h 283771"/>
                <a:gd name="connsiteX109" fmla="*/ 1028329 w 2098515"/>
                <a:gd name="connsiteY109" fmla="*/ 195481 h 283771"/>
                <a:gd name="connsiteX110" fmla="*/ 888102 w 2098515"/>
                <a:gd name="connsiteY110" fmla="*/ 195481 h 283771"/>
                <a:gd name="connsiteX111" fmla="*/ 901808 w 2098515"/>
                <a:gd name="connsiteY111" fmla="*/ 226786 h 283771"/>
                <a:gd name="connsiteX112" fmla="*/ 931959 w 2098515"/>
                <a:gd name="connsiteY112" fmla="*/ 238183 h 283771"/>
                <a:gd name="connsiteX113" fmla="*/ 952157 w 2098515"/>
                <a:gd name="connsiteY113" fmla="*/ 232990 h 283771"/>
                <a:gd name="connsiteX114" fmla="*/ 964275 w 2098515"/>
                <a:gd name="connsiteY114" fmla="*/ 218707 h 283771"/>
                <a:gd name="connsiteX115" fmla="*/ 1024867 w 2098515"/>
                <a:gd name="connsiteY115" fmla="*/ 218707 h 283771"/>
                <a:gd name="connsiteX116" fmla="*/ 1013470 w 2098515"/>
                <a:gd name="connsiteY116" fmla="*/ 244098 h 283771"/>
                <a:gd name="connsiteX117" fmla="*/ 992118 w 2098515"/>
                <a:gd name="connsiteY117" fmla="*/ 264873 h 283771"/>
                <a:gd name="connsiteX118" fmla="*/ 964852 w 2098515"/>
                <a:gd name="connsiteY118" fmla="*/ 278145 h 283771"/>
                <a:gd name="connsiteX119" fmla="*/ 931094 w 2098515"/>
                <a:gd name="connsiteY119" fmla="*/ 282762 h 283771"/>
                <a:gd name="connsiteX120" fmla="*/ 965429 w 2098515"/>
                <a:gd name="connsiteY120" fmla="*/ 158548 h 283771"/>
                <a:gd name="connsiteX121" fmla="*/ 953599 w 2098515"/>
                <a:gd name="connsiteY121" fmla="*/ 130705 h 283771"/>
                <a:gd name="connsiteX122" fmla="*/ 928497 w 2098515"/>
                <a:gd name="connsiteY122" fmla="*/ 120462 h 283771"/>
                <a:gd name="connsiteX123" fmla="*/ 901086 w 2098515"/>
                <a:gd name="connsiteY123" fmla="*/ 130705 h 283771"/>
                <a:gd name="connsiteX124" fmla="*/ 888535 w 2098515"/>
                <a:gd name="connsiteY124" fmla="*/ 158548 h 283771"/>
                <a:gd name="connsiteX125" fmla="*/ 965429 w 2098515"/>
                <a:gd name="connsiteY125" fmla="*/ 158548 h 283771"/>
                <a:gd name="connsiteX126" fmla="*/ 1051123 w 2098515"/>
                <a:gd name="connsiteY126" fmla="*/ 2020 h 283771"/>
                <a:gd name="connsiteX127" fmla="*/ 1113158 w 2098515"/>
                <a:gd name="connsiteY127" fmla="*/ 2020 h 283771"/>
                <a:gd name="connsiteX128" fmla="*/ 1113158 w 2098515"/>
                <a:gd name="connsiteY128" fmla="*/ 106036 h 283771"/>
                <a:gd name="connsiteX129" fmla="*/ 1114312 w 2098515"/>
                <a:gd name="connsiteY129" fmla="*/ 106036 h 283771"/>
                <a:gd name="connsiteX130" fmla="*/ 1138260 w 2098515"/>
                <a:gd name="connsiteY130" fmla="*/ 84107 h 283771"/>
                <a:gd name="connsiteX131" fmla="*/ 1172162 w 2098515"/>
                <a:gd name="connsiteY131" fmla="*/ 76317 h 283771"/>
                <a:gd name="connsiteX132" fmla="*/ 1200727 w 2098515"/>
                <a:gd name="connsiteY132" fmla="*/ 81799 h 283771"/>
                <a:gd name="connsiteX133" fmla="*/ 1222079 w 2098515"/>
                <a:gd name="connsiteY133" fmla="*/ 97091 h 283771"/>
                <a:gd name="connsiteX134" fmla="*/ 1235495 w 2098515"/>
                <a:gd name="connsiteY134" fmla="*/ 120318 h 283771"/>
                <a:gd name="connsiteX135" fmla="*/ 1240112 w 2098515"/>
                <a:gd name="connsiteY135" fmla="*/ 150181 h 283771"/>
                <a:gd name="connsiteX136" fmla="*/ 1240112 w 2098515"/>
                <a:gd name="connsiteY136" fmla="*/ 276991 h 283771"/>
                <a:gd name="connsiteX137" fmla="*/ 1178077 w 2098515"/>
                <a:gd name="connsiteY137" fmla="*/ 276991 h 283771"/>
                <a:gd name="connsiteX138" fmla="*/ 1178077 w 2098515"/>
                <a:gd name="connsiteY138" fmla="*/ 162732 h 283771"/>
                <a:gd name="connsiteX139" fmla="*/ 1170431 w 2098515"/>
                <a:gd name="connsiteY139" fmla="*/ 137630 h 283771"/>
                <a:gd name="connsiteX140" fmla="*/ 1147637 w 2098515"/>
                <a:gd name="connsiteY140" fmla="*/ 128108 h 283771"/>
                <a:gd name="connsiteX141" fmla="*/ 1122679 w 2098515"/>
                <a:gd name="connsiteY141" fmla="*/ 139505 h 283771"/>
                <a:gd name="connsiteX142" fmla="*/ 1113302 w 2098515"/>
                <a:gd name="connsiteY142" fmla="*/ 169224 h 283771"/>
                <a:gd name="connsiteX143" fmla="*/ 1113302 w 2098515"/>
                <a:gd name="connsiteY143" fmla="*/ 276991 h 283771"/>
                <a:gd name="connsiteX144" fmla="*/ 1051267 w 2098515"/>
                <a:gd name="connsiteY144" fmla="*/ 276991 h 283771"/>
                <a:gd name="connsiteX145" fmla="*/ 1051267 w 2098515"/>
                <a:gd name="connsiteY145" fmla="*/ 1875 h 283771"/>
                <a:gd name="connsiteX146" fmla="*/ 1363892 w 2098515"/>
                <a:gd name="connsiteY146" fmla="*/ 283194 h 283771"/>
                <a:gd name="connsiteX147" fmla="*/ 1321045 w 2098515"/>
                <a:gd name="connsiteY147" fmla="*/ 275404 h 283771"/>
                <a:gd name="connsiteX148" fmla="*/ 1288008 w 2098515"/>
                <a:gd name="connsiteY148" fmla="*/ 253620 h 283771"/>
                <a:gd name="connsiteX149" fmla="*/ 1266945 w 2098515"/>
                <a:gd name="connsiteY149" fmla="*/ 220871 h 283771"/>
                <a:gd name="connsiteX150" fmla="*/ 1259443 w 2098515"/>
                <a:gd name="connsiteY150" fmla="*/ 179900 h 283771"/>
                <a:gd name="connsiteX151" fmla="*/ 1266945 w 2098515"/>
                <a:gd name="connsiteY151" fmla="*/ 138928 h 283771"/>
                <a:gd name="connsiteX152" fmla="*/ 1288008 w 2098515"/>
                <a:gd name="connsiteY152" fmla="*/ 106180 h 283771"/>
                <a:gd name="connsiteX153" fmla="*/ 1321045 w 2098515"/>
                <a:gd name="connsiteY153" fmla="*/ 84540 h 283771"/>
                <a:gd name="connsiteX154" fmla="*/ 1363892 w 2098515"/>
                <a:gd name="connsiteY154" fmla="*/ 76750 h 283771"/>
                <a:gd name="connsiteX155" fmla="*/ 1406739 w 2098515"/>
                <a:gd name="connsiteY155" fmla="*/ 84540 h 283771"/>
                <a:gd name="connsiteX156" fmla="*/ 1439487 w 2098515"/>
                <a:gd name="connsiteY156" fmla="*/ 106180 h 283771"/>
                <a:gd name="connsiteX157" fmla="*/ 1460406 w 2098515"/>
                <a:gd name="connsiteY157" fmla="*/ 138928 h 283771"/>
                <a:gd name="connsiteX158" fmla="*/ 1467764 w 2098515"/>
                <a:gd name="connsiteY158" fmla="*/ 179900 h 283771"/>
                <a:gd name="connsiteX159" fmla="*/ 1460406 w 2098515"/>
                <a:gd name="connsiteY159" fmla="*/ 220871 h 283771"/>
                <a:gd name="connsiteX160" fmla="*/ 1439487 w 2098515"/>
                <a:gd name="connsiteY160" fmla="*/ 253620 h 283771"/>
                <a:gd name="connsiteX161" fmla="*/ 1406739 w 2098515"/>
                <a:gd name="connsiteY161" fmla="*/ 275404 h 283771"/>
                <a:gd name="connsiteX162" fmla="*/ 1363892 w 2098515"/>
                <a:gd name="connsiteY162" fmla="*/ 283194 h 283771"/>
                <a:gd name="connsiteX163" fmla="*/ 1363459 w 2098515"/>
                <a:gd name="connsiteY163" fmla="*/ 239049 h 283771"/>
                <a:gd name="connsiteX164" fmla="*/ 1394477 w 2098515"/>
                <a:gd name="connsiteY164" fmla="*/ 222891 h 283771"/>
                <a:gd name="connsiteX165" fmla="*/ 1405008 w 2098515"/>
                <a:gd name="connsiteY165" fmla="*/ 180044 h 283771"/>
                <a:gd name="connsiteX166" fmla="*/ 1394477 w 2098515"/>
                <a:gd name="connsiteY166" fmla="*/ 137053 h 283771"/>
                <a:gd name="connsiteX167" fmla="*/ 1363459 w 2098515"/>
                <a:gd name="connsiteY167" fmla="*/ 120606 h 283771"/>
                <a:gd name="connsiteX168" fmla="*/ 1332586 w 2098515"/>
                <a:gd name="connsiteY168" fmla="*/ 137053 h 283771"/>
                <a:gd name="connsiteX169" fmla="*/ 1322343 w 2098515"/>
                <a:gd name="connsiteY169" fmla="*/ 180044 h 283771"/>
                <a:gd name="connsiteX170" fmla="*/ 1332586 w 2098515"/>
                <a:gd name="connsiteY170" fmla="*/ 222891 h 283771"/>
                <a:gd name="connsiteX171" fmla="*/ 1363459 w 2098515"/>
                <a:gd name="connsiteY171" fmla="*/ 239049 h 283771"/>
                <a:gd name="connsiteX172" fmla="*/ 1555910 w 2098515"/>
                <a:gd name="connsiteY172" fmla="*/ 282906 h 283771"/>
                <a:gd name="connsiteX173" fmla="*/ 1504696 w 2098515"/>
                <a:gd name="connsiteY173" fmla="*/ 262853 h 283771"/>
                <a:gd name="connsiteX174" fmla="*/ 1487384 w 2098515"/>
                <a:gd name="connsiteY174" fmla="*/ 210051 h 283771"/>
                <a:gd name="connsiteX175" fmla="*/ 1487384 w 2098515"/>
                <a:gd name="connsiteY175" fmla="*/ 82087 h 283771"/>
                <a:gd name="connsiteX176" fmla="*/ 1549130 w 2098515"/>
                <a:gd name="connsiteY176" fmla="*/ 82087 h 283771"/>
                <a:gd name="connsiteX177" fmla="*/ 1549130 w 2098515"/>
                <a:gd name="connsiteY177" fmla="*/ 197212 h 283771"/>
                <a:gd name="connsiteX178" fmla="*/ 1556343 w 2098515"/>
                <a:gd name="connsiteY178" fmla="*/ 221737 h 283771"/>
                <a:gd name="connsiteX179" fmla="*/ 1578416 w 2098515"/>
                <a:gd name="connsiteY179" fmla="*/ 230249 h 283771"/>
                <a:gd name="connsiteX180" fmla="*/ 1603518 w 2098515"/>
                <a:gd name="connsiteY180" fmla="*/ 219429 h 283771"/>
                <a:gd name="connsiteX181" fmla="*/ 1612607 w 2098515"/>
                <a:gd name="connsiteY181" fmla="*/ 191008 h 283771"/>
                <a:gd name="connsiteX182" fmla="*/ 1612607 w 2098515"/>
                <a:gd name="connsiteY182" fmla="*/ 82087 h 283771"/>
                <a:gd name="connsiteX183" fmla="*/ 1674641 w 2098515"/>
                <a:gd name="connsiteY183" fmla="*/ 82087 h 283771"/>
                <a:gd name="connsiteX184" fmla="*/ 1674641 w 2098515"/>
                <a:gd name="connsiteY184" fmla="*/ 277135 h 283771"/>
                <a:gd name="connsiteX185" fmla="*/ 1615204 w 2098515"/>
                <a:gd name="connsiteY185" fmla="*/ 277135 h 283771"/>
                <a:gd name="connsiteX186" fmla="*/ 1615204 w 2098515"/>
                <a:gd name="connsiteY186" fmla="*/ 253187 h 283771"/>
                <a:gd name="connsiteX187" fmla="*/ 1614050 w 2098515"/>
                <a:gd name="connsiteY187" fmla="*/ 253187 h 283771"/>
                <a:gd name="connsiteX188" fmla="*/ 1589813 w 2098515"/>
                <a:gd name="connsiteY188" fmla="*/ 275260 h 283771"/>
                <a:gd name="connsiteX189" fmla="*/ 1555766 w 2098515"/>
                <a:gd name="connsiteY189" fmla="*/ 282906 h 283771"/>
                <a:gd name="connsiteX190" fmla="*/ 1791208 w 2098515"/>
                <a:gd name="connsiteY190" fmla="*/ 283339 h 283771"/>
                <a:gd name="connsiteX191" fmla="*/ 1722971 w 2098515"/>
                <a:gd name="connsiteY191" fmla="*/ 264873 h 283771"/>
                <a:gd name="connsiteX192" fmla="*/ 1696281 w 2098515"/>
                <a:gd name="connsiteY192" fmla="*/ 213947 h 283771"/>
                <a:gd name="connsiteX193" fmla="*/ 1754998 w 2098515"/>
                <a:gd name="connsiteY193" fmla="*/ 213947 h 283771"/>
                <a:gd name="connsiteX194" fmla="*/ 1766106 w 2098515"/>
                <a:gd name="connsiteY194" fmla="*/ 235731 h 283771"/>
                <a:gd name="connsiteX195" fmla="*/ 1790920 w 2098515"/>
                <a:gd name="connsiteY195" fmla="*/ 242944 h 283771"/>
                <a:gd name="connsiteX196" fmla="*/ 1813137 w 2098515"/>
                <a:gd name="connsiteY196" fmla="*/ 238039 h 283771"/>
                <a:gd name="connsiteX197" fmla="*/ 1821360 w 2098515"/>
                <a:gd name="connsiteY197" fmla="*/ 223612 h 283771"/>
                <a:gd name="connsiteX198" fmla="*/ 1817176 w 2098515"/>
                <a:gd name="connsiteY198" fmla="*/ 213081 h 283771"/>
                <a:gd name="connsiteX199" fmla="*/ 1806068 w 2098515"/>
                <a:gd name="connsiteY199" fmla="*/ 206589 h 283771"/>
                <a:gd name="connsiteX200" fmla="*/ 1790199 w 2098515"/>
                <a:gd name="connsiteY200" fmla="*/ 202838 h 283771"/>
                <a:gd name="connsiteX201" fmla="*/ 1771732 w 2098515"/>
                <a:gd name="connsiteY201" fmla="*/ 199664 h 283771"/>
                <a:gd name="connsiteX202" fmla="*/ 1746630 w 2098515"/>
                <a:gd name="connsiteY202" fmla="*/ 194182 h 283771"/>
                <a:gd name="connsiteX203" fmla="*/ 1723980 w 2098515"/>
                <a:gd name="connsiteY203" fmla="*/ 184516 h 283771"/>
                <a:gd name="connsiteX204" fmla="*/ 1707823 w 2098515"/>
                <a:gd name="connsiteY204" fmla="*/ 167204 h 283771"/>
                <a:gd name="connsiteX205" fmla="*/ 1701763 w 2098515"/>
                <a:gd name="connsiteY205" fmla="*/ 139217 h 283771"/>
                <a:gd name="connsiteX206" fmla="*/ 1708400 w 2098515"/>
                <a:gd name="connsiteY206" fmla="*/ 112095 h 283771"/>
                <a:gd name="connsiteX207" fmla="*/ 1726577 w 2098515"/>
                <a:gd name="connsiteY207" fmla="*/ 92475 h 283771"/>
                <a:gd name="connsiteX208" fmla="*/ 1753411 w 2098515"/>
                <a:gd name="connsiteY208" fmla="*/ 80645 h 283771"/>
                <a:gd name="connsiteX209" fmla="*/ 1786015 w 2098515"/>
                <a:gd name="connsiteY209" fmla="*/ 76605 h 283771"/>
                <a:gd name="connsiteX210" fmla="*/ 1849636 w 2098515"/>
                <a:gd name="connsiteY210" fmla="*/ 93340 h 283771"/>
                <a:gd name="connsiteX211" fmla="*/ 1874017 w 2098515"/>
                <a:gd name="connsiteY211" fmla="*/ 139073 h 283771"/>
                <a:gd name="connsiteX212" fmla="*/ 1816888 w 2098515"/>
                <a:gd name="connsiteY212" fmla="*/ 139073 h 283771"/>
                <a:gd name="connsiteX213" fmla="*/ 1806789 w 2098515"/>
                <a:gd name="connsiteY213" fmla="*/ 121039 h 283771"/>
                <a:gd name="connsiteX214" fmla="*/ 1785582 w 2098515"/>
                <a:gd name="connsiteY214" fmla="*/ 116278 h 283771"/>
                <a:gd name="connsiteX215" fmla="*/ 1766395 w 2098515"/>
                <a:gd name="connsiteY215" fmla="*/ 120606 h 283771"/>
                <a:gd name="connsiteX216" fmla="*/ 1758604 w 2098515"/>
                <a:gd name="connsiteY216" fmla="*/ 134167 h 283771"/>
                <a:gd name="connsiteX217" fmla="*/ 1762355 w 2098515"/>
                <a:gd name="connsiteY217" fmla="*/ 142535 h 283771"/>
                <a:gd name="connsiteX218" fmla="*/ 1772598 w 2098515"/>
                <a:gd name="connsiteY218" fmla="*/ 147728 h 283771"/>
                <a:gd name="connsiteX219" fmla="*/ 1787602 w 2098515"/>
                <a:gd name="connsiteY219" fmla="*/ 151335 h 283771"/>
                <a:gd name="connsiteX220" fmla="*/ 1805346 w 2098515"/>
                <a:gd name="connsiteY220" fmla="*/ 154365 h 283771"/>
                <a:gd name="connsiteX221" fmla="*/ 1831459 w 2098515"/>
                <a:gd name="connsiteY221" fmla="*/ 159847 h 283771"/>
                <a:gd name="connsiteX222" fmla="*/ 1855407 w 2098515"/>
                <a:gd name="connsiteY222" fmla="*/ 169945 h 283771"/>
                <a:gd name="connsiteX223" fmla="*/ 1873152 w 2098515"/>
                <a:gd name="connsiteY223" fmla="*/ 188412 h 283771"/>
                <a:gd name="connsiteX224" fmla="*/ 1880076 w 2098515"/>
                <a:gd name="connsiteY224" fmla="*/ 218707 h 283771"/>
                <a:gd name="connsiteX225" fmla="*/ 1873440 w 2098515"/>
                <a:gd name="connsiteY225" fmla="*/ 246839 h 283771"/>
                <a:gd name="connsiteX226" fmla="*/ 1854974 w 2098515"/>
                <a:gd name="connsiteY226" fmla="*/ 267037 h 283771"/>
                <a:gd name="connsiteX227" fmla="*/ 1826842 w 2098515"/>
                <a:gd name="connsiteY227" fmla="*/ 279299 h 283771"/>
                <a:gd name="connsiteX228" fmla="*/ 1791353 w 2098515"/>
                <a:gd name="connsiteY228" fmla="*/ 283483 h 283771"/>
                <a:gd name="connsiteX229" fmla="*/ 2001260 w 2098515"/>
                <a:gd name="connsiteY229" fmla="*/ 283050 h 283771"/>
                <a:gd name="connsiteX230" fmla="*/ 1957836 w 2098515"/>
                <a:gd name="connsiteY230" fmla="*/ 275260 h 283771"/>
                <a:gd name="connsiteX231" fmla="*/ 1925087 w 2098515"/>
                <a:gd name="connsiteY231" fmla="*/ 253476 h 283771"/>
                <a:gd name="connsiteX232" fmla="*/ 1904457 w 2098515"/>
                <a:gd name="connsiteY232" fmla="*/ 220583 h 283771"/>
                <a:gd name="connsiteX233" fmla="*/ 1897244 w 2098515"/>
                <a:gd name="connsiteY233" fmla="*/ 179467 h 283771"/>
                <a:gd name="connsiteX234" fmla="*/ 1904457 w 2098515"/>
                <a:gd name="connsiteY234" fmla="*/ 138928 h 283771"/>
                <a:gd name="connsiteX235" fmla="*/ 1925087 w 2098515"/>
                <a:gd name="connsiteY235" fmla="*/ 106180 h 283771"/>
                <a:gd name="connsiteX236" fmla="*/ 1956682 w 2098515"/>
                <a:gd name="connsiteY236" fmla="*/ 84540 h 283771"/>
                <a:gd name="connsiteX237" fmla="*/ 1997509 w 2098515"/>
                <a:gd name="connsiteY237" fmla="*/ 76750 h 283771"/>
                <a:gd name="connsiteX238" fmla="*/ 2035018 w 2098515"/>
                <a:gd name="connsiteY238" fmla="*/ 83242 h 283771"/>
                <a:gd name="connsiteX239" fmla="*/ 2064160 w 2098515"/>
                <a:gd name="connsiteY239" fmla="*/ 101131 h 283771"/>
                <a:gd name="connsiteX240" fmla="*/ 2090272 w 2098515"/>
                <a:gd name="connsiteY240" fmla="*/ 141669 h 283771"/>
                <a:gd name="connsiteX241" fmla="*/ 2098495 w 2098515"/>
                <a:gd name="connsiteY241" fmla="*/ 195913 h 283771"/>
                <a:gd name="connsiteX242" fmla="*/ 1958269 w 2098515"/>
                <a:gd name="connsiteY242" fmla="*/ 195913 h 283771"/>
                <a:gd name="connsiteX243" fmla="*/ 1971974 w 2098515"/>
                <a:gd name="connsiteY243" fmla="*/ 227219 h 283771"/>
                <a:gd name="connsiteX244" fmla="*/ 2002125 w 2098515"/>
                <a:gd name="connsiteY244" fmla="*/ 238616 h 283771"/>
                <a:gd name="connsiteX245" fmla="*/ 2022323 w 2098515"/>
                <a:gd name="connsiteY245" fmla="*/ 233423 h 283771"/>
                <a:gd name="connsiteX246" fmla="*/ 2034585 w 2098515"/>
                <a:gd name="connsiteY246" fmla="*/ 219140 h 283771"/>
                <a:gd name="connsiteX247" fmla="*/ 2095177 w 2098515"/>
                <a:gd name="connsiteY247" fmla="*/ 219140 h 283771"/>
                <a:gd name="connsiteX248" fmla="*/ 2083780 w 2098515"/>
                <a:gd name="connsiteY248" fmla="*/ 244531 h 283771"/>
                <a:gd name="connsiteX249" fmla="*/ 2062429 w 2098515"/>
                <a:gd name="connsiteY249" fmla="*/ 265305 h 283771"/>
                <a:gd name="connsiteX250" fmla="*/ 2035162 w 2098515"/>
                <a:gd name="connsiteY250" fmla="*/ 278578 h 283771"/>
                <a:gd name="connsiteX251" fmla="*/ 2001404 w 2098515"/>
                <a:gd name="connsiteY251" fmla="*/ 283194 h 283771"/>
                <a:gd name="connsiteX252" fmla="*/ 2035739 w 2098515"/>
                <a:gd name="connsiteY252" fmla="*/ 158981 h 283771"/>
                <a:gd name="connsiteX253" fmla="*/ 2023910 w 2098515"/>
                <a:gd name="connsiteY253" fmla="*/ 131138 h 283771"/>
                <a:gd name="connsiteX254" fmla="*/ 1998807 w 2098515"/>
                <a:gd name="connsiteY254" fmla="*/ 120895 h 283771"/>
                <a:gd name="connsiteX255" fmla="*/ 1971397 w 2098515"/>
                <a:gd name="connsiteY255" fmla="*/ 131138 h 283771"/>
                <a:gd name="connsiteX256" fmla="*/ 1958846 w 2098515"/>
                <a:gd name="connsiteY256" fmla="*/ 158981 h 283771"/>
                <a:gd name="connsiteX257" fmla="*/ 2035739 w 2098515"/>
                <a:gd name="connsiteY257" fmla="*/ 158981 h 28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8515" h="283771">
                  <a:moveTo>
                    <a:pt x="129551" y="283771"/>
                  </a:moveTo>
                  <a:cubicBezTo>
                    <a:pt x="109931" y="283771"/>
                    <a:pt x="92475" y="280453"/>
                    <a:pt x="77038" y="273817"/>
                  </a:cubicBezTo>
                  <a:cubicBezTo>
                    <a:pt x="61602" y="267181"/>
                    <a:pt x="48041" y="257804"/>
                    <a:pt x="36644" y="245685"/>
                  </a:cubicBezTo>
                  <a:cubicBezTo>
                    <a:pt x="24670" y="232701"/>
                    <a:pt x="15581" y="217553"/>
                    <a:pt x="9377" y="199953"/>
                  </a:cubicBezTo>
                  <a:cubicBezTo>
                    <a:pt x="3174" y="182497"/>
                    <a:pt x="0" y="163309"/>
                    <a:pt x="0" y="142391"/>
                  </a:cubicBezTo>
                  <a:cubicBezTo>
                    <a:pt x="0" y="121472"/>
                    <a:pt x="3462" y="100986"/>
                    <a:pt x="10531" y="82809"/>
                  </a:cubicBezTo>
                  <a:cubicBezTo>
                    <a:pt x="17456" y="64631"/>
                    <a:pt x="27411" y="49050"/>
                    <a:pt x="40395" y="36211"/>
                  </a:cubicBezTo>
                  <a:cubicBezTo>
                    <a:pt x="51792" y="24814"/>
                    <a:pt x="65208" y="15869"/>
                    <a:pt x="80789" y="9522"/>
                  </a:cubicBezTo>
                  <a:cubicBezTo>
                    <a:pt x="96226" y="3174"/>
                    <a:pt x="113970" y="0"/>
                    <a:pt x="133735" y="0"/>
                  </a:cubicBezTo>
                  <a:cubicBezTo>
                    <a:pt x="151191" y="0"/>
                    <a:pt x="167060" y="2164"/>
                    <a:pt x="180910" y="6636"/>
                  </a:cubicBezTo>
                  <a:cubicBezTo>
                    <a:pt x="194904" y="11108"/>
                    <a:pt x="207022" y="17456"/>
                    <a:pt x="217121" y="25679"/>
                  </a:cubicBezTo>
                  <a:cubicBezTo>
                    <a:pt x="227219" y="33903"/>
                    <a:pt x="235442" y="43857"/>
                    <a:pt x="241646" y="55542"/>
                  </a:cubicBezTo>
                  <a:cubicBezTo>
                    <a:pt x="247849" y="67228"/>
                    <a:pt x="252177" y="80212"/>
                    <a:pt x="254341" y="94350"/>
                  </a:cubicBezTo>
                  <a:lnTo>
                    <a:pt x="188844" y="94350"/>
                  </a:lnTo>
                  <a:cubicBezTo>
                    <a:pt x="186248" y="83242"/>
                    <a:pt x="180621" y="73864"/>
                    <a:pt x="171677" y="66507"/>
                  </a:cubicBezTo>
                  <a:cubicBezTo>
                    <a:pt x="162732" y="59149"/>
                    <a:pt x="150902" y="55398"/>
                    <a:pt x="135899" y="55398"/>
                  </a:cubicBezTo>
                  <a:cubicBezTo>
                    <a:pt x="124646" y="55398"/>
                    <a:pt x="114836" y="57706"/>
                    <a:pt x="106324" y="62034"/>
                  </a:cubicBezTo>
                  <a:cubicBezTo>
                    <a:pt x="97812" y="66507"/>
                    <a:pt x="90743" y="72566"/>
                    <a:pt x="85117" y="80356"/>
                  </a:cubicBezTo>
                  <a:cubicBezTo>
                    <a:pt x="79491" y="88147"/>
                    <a:pt x="75307" y="97235"/>
                    <a:pt x="72566" y="107767"/>
                  </a:cubicBezTo>
                  <a:cubicBezTo>
                    <a:pt x="69825" y="118298"/>
                    <a:pt x="68382" y="129839"/>
                    <a:pt x="68382" y="142246"/>
                  </a:cubicBezTo>
                  <a:cubicBezTo>
                    <a:pt x="68382" y="154653"/>
                    <a:pt x="69969" y="166195"/>
                    <a:pt x="73143" y="176870"/>
                  </a:cubicBezTo>
                  <a:cubicBezTo>
                    <a:pt x="76317" y="187546"/>
                    <a:pt x="80789" y="196779"/>
                    <a:pt x="86704" y="204425"/>
                  </a:cubicBezTo>
                  <a:cubicBezTo>
                    <a:pt x="92619" y="212215"/>
                    <a:pt x="99688" y="218275"/>
                    <a:pt x="108200" y="222458"/>
                  </a:cubicBezTo>
                  <a:cubicBezTo>
                    <a:pt x="116711" y="226786"/>
                    <a:pt x="126233" y="228950"/>
                    <a:pt x="136909" y="228950"/>
                  </a:cubicBezTo>
                  <a:cubicBezTo>
                    <a:pt x="145709" y="228950"/>
                    <a:pt x="153788" y="227652"/>
                    <a:pt x="160712" y="224911"/>
                  </a:cubicBezTo>
                  <a:cubicBezTo>
                    <a:pt x="167637" y="222314"/>
                    <a:pt x="173696" y="218707"/>
                    <a:pt x="178601" y="214235"/>
                  </a:cubicBezTo>
                  <a:cubicBezTo>
                    <a:pt x="183507" y="209763"/>
                    <a:pt x="187546" y="204714"/>
                    <a:pt x="190431" y="198943"/>
                  </a:cubicBezTo>
                  <a:cubicBezTo>
                    <a:pt x="193317" y="193317"/>
                    <a:pt x="195192" y="187402"/>
                    <a:pt x="195913" y="181198"/>
                  </a:cubicBezTo>
                  <a:lnTo>
                    <a:pt x="195913" y="180477"/>
                  </a:lnTo>
                  <a:lnTo>
                    <a:pt x="144843" y="180477"/>
                  </a:lnTo>
                  <a:lnTo>
                    <a:pt x="144843" y="130994"/>
                  </a:lnTo>
                  <a:lnTo>
                    <a:pt x="258381" y="130994"/>
                  </a:lnTo>
                  <a:lnTo>
                    <a:pt x="258381" y="277279"/>
                  </a:lnTo>
                  <a:lnTo>
                    <a:pt x="211206" y="277279"/>
                  </a:lnTo>
                  <a:lnTo>
                    <a:pt x="207455" y="244531"/>
                  </a:lnTo>
                  <a:lnTo>
                    <a:pt x="206733" y="244531"/>
                  </a:lnTo>
                  <a:cubicBezTo>
                    <a:pt x="197789" y="258525"/>
                    <a:pt x="186825" y="268479"/>
                    <a:pt x="173841" y="274394"/>
                  </a:cubicBezTo>
                  <a:cubicBezTo>
                    <a:pt x="160712" y="280309"/>
                    <a:pt x="145997" y="283339"/>
                    <a:pt x="129407" y="283339"/>
                  </a:cubicBezTo>
                  <a:moveTo>
                    <a:pt x="358357" y="282906"/>
                  </a:moveTo>
                  <a:cubicBezTo>
                    <a:pt x="335707" y="282906"/>
                    <a:pt x="318684" y="276270"/>
                    <a:pt x="307143" y="262853"/>
                  </a:cubicBezTo>
                  <a:cubicBezTo>
                    <a:pt x="295601" y="249580"/>
                    <a:pt x="289831" y="231980"/>
                    <a:pt x="289831" y="210051"/>
                  </a:cubicBezTo>
                  <a:lnTo>
                    <a:pt x="289831" y="82087"/>
                  </a:lnTo>
                  <a:lnTo>
                    <a:pt x="351577" y="82087"/>
                  </a:lnTo>
                  <a:lnTo>
                    <a:pt x="351577" y="197212"/>
                  </a:lnTo>
                  <a:cubicBezTo>
                    <a:pt x="351577" y="207887"/>
                    <a:pt x="354029" y="216111"/>
                    <a:pt x="358790" y="221737"/>
                  </a:cubicBezTo>
                  <a:cubicBezTo>
                    <a:pt x="363551" y="227508"/>
                    <a:pt x="371052" y="230249"/>
                    <a:pt x="380863" y="230249"/>
                  </a:cubicBezTo>
                  <a:cubicBezTo>
                    <a:pt x="391538" y="230249"/>
                    <a:pt x="399906" y="226642"/>
                    <a:pt x="405965" y="219429"/>
                  </a:cubicBezTo>
                  <a:cubicBezTo>
                    <a:pt x="412024" y="212215"/>
                    <a:pt x="415054" y="202694"/>
                    <a:pt x="415054" y="191008"/>
                  </a:cubicBezTo>
                  <a:lnTo>
                    <a:pt x="415054" y="82087"/>
                  </a:lnTo>
                  <a:lnTo>
                    <a:pt x="477088" y="82087"/>
                  </a:lnTo>
                  <a:lnTo>
                    <a:pt x="477088" y="277135"/>
                  </a:lnTo>
                  <a:lnTo>
                    <a:pt x="417650" y="277135"/>
                  </a:lnTo>
                  <a:lnTo>
                    <a:pt x="417650" y="253187"/>
                  </a:lnTo>
                  <a:lnTo>
                    <a:pt x="416496" y="253187"/>
                  </a:lnTo>
                  <a:cubicBezTo>
                    <a:pt x="409427" y="262853"/>
                    <a:pt x="401348" y="270210"/>
                    <a:pt x="392260" y="275260"/>
                  </a:cubicBezTo>
                  <a:cubicBezTo>
                    <a:pt x="383315" y="280309"/>
                    <a:pt x="371918" y="282906"/>
                    <a:pt x="358213" y="282906"/>
                  </a:cubicBezTo>
                  <a:moveTo>
                    <a:pt x="512433" y="2164"/>
                  </a:moveTo>
                  <a:lnTo>
                    <a:pt x="574468" y="2164"/>
                  </a:lnTo>
                  <a:lnTo>
                    <a:pt x="574468" y="55110"/>
                  </a:lnTo>
                  <a:lnTo>
                    <a:pt x="512433" y="55110"/>
                  </a:lnTo>
                  <a:lnTo>
                    <a:pt x="512433" y="2164"/>
                  </a:lnTo>
                  <a:close/>
                  <a:moveTo>
                    <a:pt x="512433" y="82087"/>
                  </a:moveTo>
                  <a:lnTo>
                    <a:pt x="574468" y="82087"/>
                  </a:lnTo>
                  <a:lnTo>
                    <a:pt x="574468" y="277135"/>
                  </a:lnTo>
                  <a:lnTo>
                    <a:pt x="512433" y="277135"/>
                  </a:lnTo>
                  <a:lnTo>
                    <a:pt x="512433" y="82087"/>
                  </a:lnTo>
                  <a:close/>
                  <a:moveTo>
                    <a:pt x="686563" y="283194"/>
                  </a:moveTo>
                  <a:cubicBezTo>
                    <a:pt x="674156" y="283194"/>
                    <a:pt x="662614" y="280886"/>
                    <a:pt x="652227" y="276125"/>
                  </a:cubicBezTo>
                  <a:cubicBezTo>
                    <a:pt x="641840" y="271365"/>
                    <a:pt x="632751" y="264584"/>
                    <a:pt x="625249" y="255784"/>
                  </a:cubicBezTo>
                  <a:cubicBezTo>
                    <a:pt x="617603" y="246839"/>
                    <a:pt x="611688" y="236019"/>
                    <a:pt x="607505" y="223180"/>
                  </a:cubicBezTo>
                  <a:cubicBezTo>
                    <a:pt x="603321" y="210340"/>
                    <a:pt x="601157" y="195769"/>
                    <a:pt x="601157" y="179611"/>
                  </a:cubicBezTo>
                  <a:cubicBezTo>
                    <a:pt x="601157" y="164319"/>
                    <a:pt x="603321" y="150470"/>
                    <a:pt x="607505" y="137630"/>
                  </a:cubicBezTo>
                  <a:cubicBezTo>
                    <a:pt x="611688" y="124934"/>
                    <a:pt x="617603" y="114114"/>
                    <a:pt x="624961" y="105026"/>
                  </a:cubicBezTo>
                  <a:cubicBezTo>
                    <a:pt x="632463" y="96081"/>
                    <a:pt x="641407" y="89012"/>
                    <a:pt x="651794" y="83819"/>
                  </a:cubicBezTo>
                  <a:cubicBezTo>
                    <a:pt x="662182" y="78769"/>
                    <a:pt x="673723" y="76172"/>
                    <a:pt x="686418" y="76172"/>
                  </a:cubicBezTo>
                  <a:cubicBezTo>
                    <a:pt x="700124" y="76172"/>
                    <a:pt x="711232" y="78769"/>
                    <a:pt x="719600" y="83963"/>
                  </a:cubicBezTo>
                  <a:cubicBezTo>
                    <a:pt x="727967" y="89156"/>
                    <a:pt x="735036" y="95793"/>
                    <a:pt x="740951" y="104016"/>
                  </a:cubicBezTo>
                  <a:lnTo>
                    <a:pt x="742105" y="104016"/>
                  </a:lnTo>
                  <a:lnTo>
                    <a:pt x="742105" y="1875"/>
                  </a:lnTo>
                  <a:lnTo>
                    <a:pt x="804139" y="1875"/>
                  </a:lnTo>
                  <a:lnTo>
                    <a:pt x="804139" y="276991"/>
                  </a:lnTo>
                  <a:lnTo>
                    <a:pt x="744702" y="276991"/>
                  </a:lnTo>
                  <a:lnTo>
                    <a:pt x="744702" y="250735"/>
                  </a:lnTo>
                  <a:lnTo>
                    <a:pt x="743981" y="250735"/>
                  </a:lnTo>
                  <a:cubicBezTo>
                    <a:pt x="738210" y="260833"/>
                    <a:pt x="730275" y="268768"/>
                    <a:pt x="720609" y="274538"/>
                  </a:cubicBezTo>
                  <a:cubicBezTo>
                    <a:pt x="710799" y="280309"/>
                    <a:pt x="699547" y="283050"/>
                    <a:pt x="686563" y="283050"/>
                  </a:cubicBezTo>
                  <a:moveTo>
                    <a:pt x="702576" y="233855"/>
                  </a:moveTo>
                  <a:cubicBezTo>
                    <a:pt x="715560" y="233855"/>
                    <a:pt x="725659" y="228806"/>
                    <a:pt x="732872" y="218563"/>
                  </a:cubicBezTo>
                  <a:cubicBezTo>
                    <a:pt x="740085" y="208465"/>
                    <a:pt x="743692" y="195336"/>
                    <a:pt x="743692" y="179323"/>
                  </a:cubicBezTo>
                  <a:cubicBezTo>
                    <a:pt x="743692" y="171244"/>
                    <a:pt x="742826" y="163598"/>
                    <a:pt x="741239" y="156673"/>
                  </a:cubicBezTo>
                  <a:cubicBezTo>
                    <a:pt x="739653" y="149748"/>
                    <a:pt x="737056" y="143689"/>
                    <a:pt x="733593" y="138784"/>
                  </a:cubicBezTo>
                  <a:cubicBezTo>
                    <a:pt x="730131" y="133879"/>
                    <a:pt x="725947" y="129984"/>
                    <a:pt x="721042" y="127098"/>
                  </a:cubicBezTo>
                  <a:cubicBezTo>
                    <a:pt x="716137" y="124357"/>
                    <a:pt x="710222" y="122915"/>
                    <a:pt x="703297" y="122915"/>
                  </a:cubicBezTo>
                  <a:cubicBezTo>
                    <a:pt x="690891" y="122915"/>
                    <a:pt x="681225" y="128108"/>
                    <a:pt x="674300" y="138351"/>
                  </a:cubicBezTo>
                  <a:cubicBezTo>
                    <a:pt x="667375" y="148594"/>
                    <a:pt x="664057" y="162011"/>
                    <a:pt x="664057" y="178601"/>
                  </a:cubicBezTo>
                  <a:cubicBezTo>
                    <a:pt x="664057" y="195192"/>
                    <a:pt x="667375" y="209042"/>
                    <a:pt x="674156" y="218996"/>
                  </a:cubicBezTo>
                  <a:cubicBezTo>
                    <a:pt x="680936" y="228950"/>
                    <a:pt x="690314" y="233855"/>
                    <a:pt x="702576" y="233855"/>
                  </a:cubicBezTo>
                  <a:moveTo>
                    <a:pt x="931094" y="282617"/>
                  </a:moveTo>
                  <a:cubicBezTo>
                    <a:pt x="915080" y="282617"/>
                    <a:pt x="900654" y="280021"/>
                    <a:pt x="887670" y="274827"/>
                  </a:cubicBezTo>
                  <a:cubicBezTo>
                    <a:pt x="874686" y="269633"/>
                    <a:pt x="863721" y="262420"/>
                    <a:pt x="854921" y="253043"/>
                  </a:cubicBezTo>
                  <a:cubicBezTo>
                    <a:pt x="845977" y="243810"/>
                    <a:pt x="839196" y="232845"/>
                    <a:pt x="834291" y="220150"/>
                  </a:cubicBezTo>
                  <a:cubicBezTo>
                    <a:pt x="829530" y="207455"/>
                    <a:pt x="827078" y="193749"/>
                    <a:pt x="827078" y="179034"/>
                  </a:cubicBezTo>
                  <a:cubicBezTo>
                    <a:pt x="827078" y="164319"/>
                    <a:pt x="829530" y="151047"/>
                    <a:pt x="834291" y="138495"/>
                  </a:cubicBezTo>
                  <a:cubicBezTo>
                    <a:pt x="839052" y="125944"/>
                    <a:pt x="845977" y="114980"/>
                    <a:pt x="854921" y="105747"/>
                  </a:cubicBezTo>
                  <a:cubicBezTo>
                    <a:pt x="863866" y="96514"/>
                    <a:pt x="874397" y="89301"/>
                    <a:pt x="886515" y="84107"/>
                  </a:cubicBezTo>
                  <a:cubicBezTo>
                    <a:pt x="898634" y="78914"/>
                    <a:pt x="912339" y="76317"/>
                    <a:pt x="927343" y="76317"/>
                  </a:cubicBezTo>
                  <a:cubicBezTo>
                    <a:pt x="941337" y="76317"/>
                    <a:pt x="953888" y="78481"/>
                    <a:pt x="964852" y="82809"/>
                  </a:cubicBezTo>
                  <a:cubicBezTo>
                    <a:pt x="975960" y="87137"/>
                    <a:pt x="985626" y="93052"/>
                    <a:pt x="993994" y="100698"/>
                  </a:cubicBezTo>
                  <a:cubicBezTo>
                    <a:pt x="1005679" y="111373"/>
                    <a:pt x="1014335" y="124934"/>
                    <a:pt x="1020106" y="141237"/>
                  </a:cubicBezTo>
                  <a:cubicBezTo>
                    <a:pt x="1025877" y="157683"/>
                    <a:pt x="1028473" y="175716"/>
                    <a:pt x="1028329" y="195481"/>
                  </a:cubicBezTo>
                  <a:lnTo>
                    <a:pt x="888102" y="195481"/>
                  </a:lnTo>
                  <a:cubicBezTo>
                    <a:pt x="890122" y="208753"/>
                    <a:pt x="894739" y="219140"/>
                    <a:pt x="901808" y="226786"/>
                  </a:cubicBezTo>
                  <a:cubicBezTo>
                    <a:pt x="908877" y="234432"/>
                    <a:pt x="918975" y="238183"/>
                    <a:pt x="931959" y="238183"/>
                  </a:cubicBezTo>
                  <a:cubicBezTo>
                    <a:pt x="940038" y="238183"/>
                    <a:pt x="946819" y="236452"/>
                    <a:pt x="952157" y="232990"/>
                  </a:cubicBezTo>
                  <a:cubicBezTo>
                    <a:pt x="957494" y="229527"/>
                    <a:pt x="961534" y="224767"/>
                    <a:pt x="964275" y="218707"/>
                  </a:cubicBezTo>
                  <a:lnTo>
                    <a:pt x="1024867" y="218707"/>
                  </a:lnTo>
                  <a:cubicBezTo>
                    <a:pt x="1022847" y="227652"/>
                    <a:pt x="1018952" y="236019"/>
                    <a:pt x="1013470" y="244098"/>
                  </a:cubicBezTo>
                  <a:cubicBezTo>
                    <a:pt x="1007843" y="252033"/>
                    <a:pt x="1000774" y="258958"/>
                    <a:pt x="992118" y="264873"/>
                  </a:cubicBezTo>
                  <a:cubicBezTo>
                    <a:pt x="984039" y="270787"/>
                    <a:pt x="974951" y="275115"/>
                    <a:pt x="964852" y="278145"/>
                  </a:cubicBezTo>
                  <a:cubicBezTo>
                    <a:pt x="954898" y="281175"/>
                    <a:pt x="943645" y="282762"/>
                    <a:pt x="931094" y="282762"/>
                  </a:cubicBezTo>
                  <a:moveTo>
                    <a:pt x="965429" y="158548"/>
                  </a:moveTo>
                  <a:cubicBezTo>
                    <a:pt x="964131" y="146863"/>
                    <a:pt x="960235" y="137630"/>
                    <a:pt x="953599" y="130705"/>
                  </a:cubicBezTo>
                  <a:cubicBezTo>
                    <a:pt x="946963" y="123925"/>
                    <a:pt x="938596" y="120462"/>
                    <a:pt x="928497" y="120462"/>
                  </a:cubicBezTo>
                  <a:cubicBezTo>
                    <a:pt x="916523" y="120462"/>
                    <a:pt x="907434" y="123925"/>
                    <a:pt x="901086" y="130705"/>
                  </a:cubicBezTo>
                  <a:cubicBezTo>
                    <a:pt x="894739" y="137630"/>
                    <a:pt x="890555" y="146863"/>
                    <a:pt x="888535" y="158548"/>
                  </a:cubicBezTo>
                  <a:lnTo>
                    <a:pt x="965429" y="158548"/>
                  </a:lnTo>
                  <a:close/>
                  <a:moveTo>
                    <a:pt x="1051123" y="2020"/>
                  </a:moveTo>
                  <a:lnTo>
                    <a:pt x="1113158" y="2020"/>
                  </a:lnTo>
                  <a:lnTo>
                    <a:pt x="1113158" y="106036"/>
                  </a:lnTo>
                  <a:lnTo>
                    <a:pt x="1114312" y="106036"/>
                  </a:lnTo>
                  <a:cubicBezTo>
                    <a:pt x="1121381" y="96658"/>
                    <a:pt x="1129460" y="89301"/>
                    <a:pt x="1138260" y="84107"/>
                  </a:cubicBezTo>
                  <a:cubicBezTo>
                    <a:pt x="1147204" y="78914"/>
                    <a:pt x="1158457" y="76317"/>
                    <a:pt x="1172162" y="76317"/>
                  </a:cubicBezTo>
                  <a:cubicBezTo>
                    <a:pt x="1182838" y="76317"/>
                    <a:pt x="1192360" y="78192"/>
                    <a:pt x="1200727" y="81799"/>
                  </a:cubicBezTo>
                  <a:cubicBezTo>
                    <a:pt x="1209095" y="85406"/>
                    <a:pt x="1216164" y="90599"/>
                    <a:pt x="1222079" y="97091"/>
                  </a:cubicBezTo>
                  <a:cubicBezTo>
                    <a:pt x="1227993" y="103583"/>
                    <a:pt x="1232321" y="111373"/>
                    <a:pt x="1235495" y="120318"/>
                  </a:cubicBezTo>
                  <a:cubicBezTo>
                    <a:pt x="1238525" y="129262"/>
                    <a:pt x="1240112" y="139361"/>
                    <a:pt x="1240112" y="150181"/>
                  </a:cubicBezTo>
                  <a:lnTo>
                    <a:pt x="1240112" y="276991"/>
                  </a:lnTo>
                  <a:lnTo>
                    <a:pt x="1178077" y="276991"/>
                  </a:lnTo>
                  <a:lnTo>
                    <a:pt x="1178077" y="162732"/>
                  </a:lnTo>
                  <a:cubicBezTo>
                    <a:pt x="1178077" y="152345"/>
                    <a:pt x="1175481" y="143978"/>
                    <a:pt x="1170431" y="137630"/>
                  </a:cubicBezTo>
                  <a:cubicBezTo>
                    <a:pt x="1165382" y="131282"/>
                    <a:pt x="1157736" y="128108"/>
                    <a:pt x="1147637" y="128108"/>
                  </a:cubicBezTo>
                  <a:cubicBezTo>
                    <a:pt x="1137539" y="128108"/>
                    <a:pt x="1128883" y="131859"/>
                    <a:pt x="1122679" y="139505"/>
                  </a:cubicBezTo>
                  <a:cubicBezTo>
                    <a:pt x="1116476" y="147151"/>
                    <a:pt x="1113302" y="157106"/>
                    <a:pt x="1113302" y="169224"/>
                  </a:cubicBezTo>
                  <a:lnTo>
                    <a:pt x="1113302" y="276991"/>
                  </a:lnTo>
                  <a:lnTo>
                    <a:pt x="1051267" y="276991"/>
                  </a:lnTo>
                  <a:lnTo>
                    <a:pt x="1051267" y="1875"/>
                  </a:lnTo>
                  <a:close/>
                  <a:moveTo>
                    <a:pt x="1363892" y="283194"/>
                  </a:moveTo>
                  <a:cubicBezTo>
                    <a:pt x="1348167" y="283194"/>
                    <a:pt x="1333885" y="280598"/>
                    <a:pt x="1321045" y="275404"/>
                  </a:cubicBezTo>
                  <a:cubicBezTo>
                    <a:pt x="1308205" y="270210"/>
                    <a:pt x="1297241" y="262997"/>
                    <a:pt x="1288008" y="253620"/>
                  </a:cubicBezTo>
                  <a:cubicBezTo>
                    <a:pt x="1278919" y="244387"/>
                    <a:pt x="1271850" y="233423"/>
                    <a:pt x="1266945" y="220871"/>
                  </a:cubicBezTo>
                  <a:cubicBezTo>
                    <a:pt x="1262040" y="208320"/>
                    <a:pt x="1259443" y="194615"/>
                    <a:pt x="1259443" y="179900"/>
                  </a:cubicBezTo>
                  <a:cubicBezTo>
                    <a:pt x="1259443" y="165185"/>
                    <a:pt x="1261896" y="151479"/>
                    <a:pt x="1266945" y="138928"/>
                  </a:cubicBezTo>
                  <a:cubicBezTo>
                    <a:pt x="1271850" y="126377"/>
                    <a:pt x="1278919" y="115413"/>
                    <a:pt x="1288008" y="106180"/>
                  </a:cubicBezTo>
                  <a:cubicBezTo>
                    <a:pt x="1297097" y="96947"/>
                    <a:pt x="1308205" y="89734"/>
                    <a:pt x="1321045" y="84540"/>
                  </a:cubicBezTo>
                  <a:cubicBezTo>
                    <a:pt x="1333885" y="79346"/>
                    <a:pt x="1348167" y="76750"/>
                    <a:pt x="1363892" y="76750"/>
                  </a:cubicBezTo>
                  <a:cubicBezTo>
                    <a:pt x="1379617" y="76750"/>
                    <a:pt x="1393900" y="79346"/>
                    <a:pt x="1406739" y="84540"/>
                  </a:cubicBezTo>
                  <a:cubicBezTo>
                    <a:pt x="1419579" y="89734"/>
                    <a:pt x="1430543" y="96947"/>
                    <a:pt x="1439487" y="106180"/>
                  </a:cubicBezTo>
                  <a:cubicBezTo>
                    <a:pt x="1448432" y="115413"/>
                    <a:pt x="1455501" y="126377"/>
                    <a:pt x="1460406" y="138928"/>
                  </a:cubicBezTo>
                  <a:cubicBezTo>
                    <a:pt x="1465311" y="151479"/>
                    <a:pt x="1467764" y="165185"/>
                    <a:pt x="1467764" y="179900"/>
                  </a:cubicBezTo>
                  <a:cubicBezTo>
                    <a:pt x="1467764" y="194615"/>
                    <a:pt x="1465311" y="208320"/>
                    <a:pt x="1460406" y="220871"/>
                  </a:cubicBezTo>
                  <a:cubicBezTo>
                    <a:pt x="1455501" y="233423"/>
                    <a:pt x="1448432" y="244387"/>
                    <a:pt x="1439487" y="253620"/>
                  </a:cubicBezTo>
                  <a:cubicBezTo>
                    <a:pt x="1430543" y="262853"/>
                    <a:pt x="1419579" y="270066"/>
                    <a:pt x="1406739" y="275404"/>
                  </a:cubicBezTo>
                  <a:cubicBezTo>
                    <a:pt x="1393900" y="280598"/>
                    <a:pt x="1379617" y="283194"/>
                    <a:pt x="1363892" y="283194"/>
                  </a:cubicBezTo>
                  <a:moveTo>
                    <a:pt x="1363459" y="239049"/>
                  </a:moveTo>
                  <a:cubicBezTo>
                    <a:pt x="1377165" y="239049"/>
                    <a:pt x="1387552" y="233711"/>
                    <a:pt x="1394477" y="222891"/>
                  </a:cubicBezTo>
                  <a:cubicBezTo>
                    <a:pt x="1401546" y="212071"/>
                    <a:pt x="1405008" y="197789"/>
                    <a:pt x="1405008" y="180044"/>
                  </a:cubicBezTo>
                  <a:cubicBezTo>
                    <a:pt x="1405008" y="162299"/>
                    <a:pt x="1401546" y="147873"/>
                    <a:pt x="1394477" y="137053"/>
                  </a:cubicBezTo>
                  <a:cubicBezTo>
                    <a:pt x="1387552" y="126089"/>
                    <a:pt x="1377165" y="120606"/>
                    <a:pt x="1363459" y="120606"/>
                  </a:cubicBezTo>
                  <a:cubicBezTo>
                    <a:pt x="1349754" y="120606"/>
                    <a:pt x="1339511" y="126089"/>
                    <a:pt x="1332586" y="137053"/>
                  </a:cubicBezTo>
                  <a:cubicBezTo>
                    <a:pt x="1325806" y="148017"/>
                    <a:pt x="1322343" y="162299"/>
                    <a:pt x="1322343" y="180044"/>
                  </a:cubicBezTo>
                  <a:cubicBezTo>
                    <a:pt x="1322343" y="197789"/>
                    <a:pt x="1325806" y="212071"/>
                    <a:pt x="1332586" y="222891"/>
                  </a:cubicBezTo>
                  <a:cubicBezTo>
                    <a:pt x="1339511" y="233711"/>
                    <a:pt x="1349754" y="239049"/>
                    <a:pt x="1363459" y="239049"/>
                  </a:cubicBezTo>
                  <a:moveTo>
                    <a:pt x="1555910" y="282906"/>
                  </a:moveTo>
                  <a:cubicBezTo>
                    <a:pt x="1533260" y="282906"/>
                    <a:pt x="1516237" y="276270"/>
                    <a:pt x="1504696" y="262853"/>
                  </a:cubicBezTo>
                  <a:cubicBezTo>
                    <a:pt x="1493154" y="249580"/>
                    <a:pt x="1487384" y="231980"/>
                    <a:pt x="1487384" y="210051"/>
                  </a:cubicBezTo>
                  <a:lnTo>
                    <a:pt x="1487384" y="82087"/>
                  </a:lnTo>
                  <a:lnTo>
                    <a:pt x="1549130" y="82087"/>
                  </a:lnTo>
                  <a:lnTo>
                    <a:pt x="1549130" y="197212"/>
                  </a:lnTo>
                  <a:cubicBezTo>
                    <a:pt x="1549130" y="207887"/>
                    <a:pt x="1551582" y="216111"/>
                    <a:pt x="1556343" y="221737"/>
                  </a:cubicBezTo>
                  <a:cubicBezTo>
                    <a:pt x="1561104" y="227508"/>
                    <a:pt x="1568606" y="230249"/>
                    <a:pt x="1578416" y="230249"/>
                  </a:cubicBezTo>
                  <a:cubicBezTo>
                    <a:pt x="1589092" y="230249"/>
                    <a:pt x="1597459" y="226642"/>
                    <a:pt x="1603518" y="219429"/>
                  </a:cubicBezTo>
                  <a:cubicBezTo>
                    <a:pt x="1609577" y="212215"/>
                    <a:pt x="1612607" y="202694"/>
                    <a:pt x="1612607" y="191008"/>
                  </a:cubicBezTo>
                  <a:lnTo>
                    <a:pt x="1612607" y="82087"/>
                  </a:lnTo>
                  <a:lnTo>
                    <a:pt x="1674641" y="82087"/>
                  </a:lnTo>
                  <a:lnTo>
                    <a:pt x="1674641" y="277135"/>
                  </a:lnTo>
                  <a:lnTo>
                    <a:pt x="1615204" y="277135"/>
                  </a:lnTo>
                  <a:lnTo>
                    <a:pt x="1615204" y="253187"/>
                  </a:lnTo>
                  <a:lnTo>
                    <a:pt x="1614050" y="253187"/>
                  </a:lnTo>
                  <a:cubicBezTo>
                    <a:pt x="1606980" y="262853"/>
                    <a:pt x="1598902" y="270210"/>
                    <a:pt x="1589813" y="275260"/>
                  </a:cubicBezTo>
                  <a:cubicBezTo>
                    <a:pt x="1580868" y="280309"/>
                    <a:pt x="1569471" y="282906"/>
                    <a:pt x="1555766" y="282906"/>
                  </a:cubicBezTo>
                  <a:moveTo>
                    <a:pt x="1791208" y="283339"/>
                  </a:moveTo>
                  <a:cubicBezTo>
                    <a:pt x="1762499" y="283339"/>
                    <a:pt x="1739850" y="277135"/>
                    <a:pt x="1722971" y="264873"/>
                  </a:cubicBezTo>
                  <a:cubicBezTo>
                    <a:pt x="1706236" y="252610"/>
                    <a:pt x="1697291" y="235587"/>
                    <a:pt x="1696281" y="213947"/>
                  </a:cubicBezTo>
                  <a:lnTo>
                    <a:pt x="1754998" y="213947"/>
                  </a:lnTo>
                  <a:cubicBezTo>
                    <a:pt x="1756296" y="223612"/>
                    <a:pt x="1759903" y="230826"/>
                    <a:pt x="1766106" y="235731"/>
                  </a:cubicBezTo>
                  <a:cubicBezTo>
                    <a:pt x="1772165" y="240492"/>
                    <a:pt x="1780388" y="242944"/>
                    <a:pt x="1790920" y="242944"/>
                  </a:cubicBezTo>
                  <a:cubicBezTo>
                    <a:pt x="1800297" y="242944"/>
                    <a:pt x="1807799" y="241357"/>
                    <a:pt x="1813137" y="238039"/>
                  </a:cubicBezTo>
                  <a:cubicBezTo>
                    <a:pt x="1818619" y="234721"/>
                    <a:pt x="1821360" y="229960"/>
                    <a:pt x="1821360" y="223612"/>
                  </a:cubicBezTo>
                  <a:cubicBezTo>
                    <a:pt x="1821360" y="219284"/>
                    <a:pt x="1819917" y="215822"/>
                    <a:pt x="1817176" y="213081"/>
                  </a:cubicBezTo>
                  <a:cubicBezTo>
                    <a:pt x="1814435" y="210484"/>
                    <a:pt x="1810684" y="208320"/>
                    <a:pt x="1806068" y="206589"/>
                  </a:cubicBezTo>
                  <a:cubicBezTo>
                    <a:pt x="1801451" y="205002"/>
                    <a:pt x="1796258" y="203704"/>
                    <a:pt x="1790199" y="202838"/>
                  </a:cubicBezTo>
                  <a:cubicBezTo>
                    <a:pt x="1784284" y="201973"/>
                    <a:pt x="1778080" y="200818"/>
                    <a:pt x="1771732" y="199664"/>
                  </a:cubicBezTo>
                  <a:cubicBezTo>
                    <a:pt x="1763365" y="198077"/>
                    <a:pt x="1754998" y="196346"/>
                    <a:pt x="1746630" y="194182"/>
                  </a:cubicBezTo>
                  <a:cubicBezTo>
                    <a:pt x="1738263" y="192018"/>
                    <a:pt x="1730761" y="188844"/>
                    <a:pt x="1723980" y="184516"/>
                  </a:cubicBezTo>
                  <a:cubicBezTo>
                    <a:pt x="1717200" y="180188"/>
                    <a:pt x="1711862" y="174418"/>
                    <a:pt x="1707823" y="167204"/>
                  </a:cubicBezTo>
                  <a:cubicBezTo>
                    <a:pt x="1703783" y="159991"/>
                    <a:pt x="1701763" y="150614"/>
                    <a:pt x="1701763" y="139217"/>
                  </a:cubicBezTo>
                  <a:cubicBezTo>
                    <a:pt x="1701763" y="129118"/>
                    <a:pt x="1703927" y="120029"/>
                    <a:pt x="1708400" y="112095"/>
                  </a:cubicBezTo>
                  <a:cubicBezTo>
                    <a:pt x="1712872" y="104304"/>
                    <a:pt x="1718931" y="97668"/>
                    <a:pt x="1726577" y="92475"/>
                  </a:cubicBezTo>
                  <a:cubicBezTo>
                    <a:pt x="1734223" y="87281"/>
                    <a:pt x="1743168" y="83386"/>
                    <a:pt x="1753411" y="80645"/>
                  </a:cubicBezTo>
                  <a:cubicBezTo>
                    <a:pt x="1763653" y="78048"/>
                    <a:pt x="1774618" y="76605"/>
                    <a:pt x="1786015" y="76605"/>
                  </a:cubicBezTo>
                  <a:cubicBezTo>
                    <a:pt x="1813714" y="76605"/>
                    <a:pt x="1834921" y="82232"/>
                    <a:pt x="1849636" y="93340"/>
                  </a:cubicBezTo>
                  <a:cubicBezTo>
                    <a:pt x="1864351" y="104449"/>
                    <a:pt x="1872430" y="119741"/>
                    <a:pt x="1874017" y="139073"/>
                  </a:cubicBezTo>
                  <a:lnTo>
                    <a:pt x="1816888" y="139073"/>
                  </a:lnTo>
                  <a:cubicBezTo>
                    <a:pt x="1815589" y="130128"/>
                    <a:pt x="1812271" y="124213"/>
                    <a:pt x="1806789" y="121039"/>
                  </a:cubicBezTo>
                  <a:cubicBezTo>
                    <a:pt x="1801307" y="117865"/>
                    <a:pt x="1794238" y="116278"/>
                    <a:pt x="1785582" y="116278"/>
                  </a:cubicBezTo>
                  <a:cubicBezTo>
                    <a:pt x="1777936" y="116278"/>
                    <a:pt x="1771588" y="117721"/>
                    <a:pt x="1766395" y="120606"/>
                  </a:cubicBezTo>
                  <a:cubicBezTo>
                    <a:pt x="1761201" y="123492"/>
                    <a:pt x="1758604" y="127964"/>
                    <a:pt x="1758604" y="134167"/>
                  </a:cubicBezTo>
                  <a:cubicBezTo>
                    <a:pt x="1758604" y="137774"/>
                    <a:pt x="1759903" y="140515"/>
                    <a:pt x="1762355" y="142535"/>
                  </a:cubicBezTo>
                  <a:cubicBezTo>
                    <a:pt x="1764952" y="144555"/>
                    <a:pt x="1768270" y="146286"/>
                    <a:pt x="1772598" y="147728"/>
                  </a:cubicBezTo>
                  <a:cubicBezTo>
                    <a:pt x="1776926" y="149171"/>
                    <a:pt x="1781975" y="150325"/>
                    <a:pt x="1787602" y="151335"/>
                  </a:cubicBezTo>
                  <a:cubicBezTo>
                    <a:pt x="1793372" y="152345"/>
                    <a:pt x="1799287" y="153355"/>
                    <a:pt x="1805346" y="154365"/>
                  </a:cubicBezTo>
                  <a:cubicBezTo>
                    <a:pt x="1814002" y="155807"/>
                    <a:pt x="1822659" y="157683"/>
                    <a:pt x="1831459" y="159847"/>
                  </a:cubicBezTo>
                  <a:cubicBezTo>
                    <a:pt x="1840259" y="162011"/>
                    <a:pt x="1848193" y="165329"/>
                    <a:pt x="1855407" y="169945"/>
                  </a:cubicBezTo>
                  <a:cubicBezTo>
                    <a:pt x="1862620" y="174562"/>
                    <a:pt x="1868535" y="180621"/>
                    <a:pt x="1873152" y="188412"/>
                  </a:cubicBezTo>
                  <a:cubicBezTo>
                    <a:pt x="1877768" y="196202"/>
                    <a:pt x="1880076" y="206301"/>
                    <a:pt x="1880076" y="218707"/>
                  </a:cubicBezTo>
                  <a:cubicBezTo>
                    <a:pt x="1880076" y="229383"/>
                    <a:pt x="1877768" y="238760"/>
                    <a:pt x="1873440" y="246839"/>
                  </a:cubicBezTo>
                  <a:cubicBezTo>
                    <a:pt x="1868968" y="254918"/>
                    <a:pt x="1862764" y="261699"/>
                    <a:pt x="1854974" y="267037"/>
                  </a:cubicBezTo>
                  <a:cubicBezTo>
                    <a:pt x="1847039" y="272374"/>
                    <a:pt x="1837662" y="276414"/>
                    <a:pt x="1826842" y="279299"/>
                  </a:cubicBezTo>
                  <a:cubicBezTo>
                    <a:pt x="1815878" y="282040"/>
                    <a:pt x="1804048" y="283483"/>
                    <a:pt x="1791353" y="283483"/>
                  </a:cubicBezTo>
                  <a:moveTo>
                    <a:pt x="2001260" y="283050"/>
                  </a:moveTo>
                  <a:cubicBezTo>
                    <a:pt x="1985246" y="283050"/>
                    <a:pt x="1970820" y="280453"/>
                    <a:pt x="1957836" y="275260"/>
                  </a:cubicBezTo>
                  <a:cubicBezTo>
                    <a:pt x="1944852" y="270066"/>
                    <a:pt x="1934032" y="262853"/>
                    <a:pt x="1925087" y="253476"/>
                  </a:cubicBezTo>
                  <a:cubicBezTo>
                    <a:pt x="1916143" y="244243"/>
                    <a:pt x="1909362" y="233278"/>
                    <a:pt x="1904457" y="220583"/>
                  </a:cubicBezTo>
                  <a:cubicBezTo>
                    <a:pt x="1899697" y="207887"/>
                    <a:pt x="1897244" y="194182"/>
                    <a:pt x="1897244" y="179467"/>
                  </a:cubicBezTo>
                  <a:cubicBezTo>
                    <a:pt x="1897244" y="164752"/>
                    <a:pt x="1899697" y="151479"/>
                    <a:pt x="1904457" y="138928"/>
                  </a:cubicBezTo>
                  <a:cubicBezTo>
                    <a:pt x="1909218" y="126377"/>
                    <a:pt x="1916143" y="115413"/>
                    <a:pt x="1925087" y="106180"/>
                  </a:cubicBezTo>
                  <a:cubicBezTo>
                    <a:pt x="1934032" y="96947"/>
                    <a:pt x="1944563" y="89734"/>
                    <a:pt x="1956682" y="84540"/>
                  </a:cubicBezTo>
                  <a:cubicBezTo>
                    <a:pt x="1968944" y="79346"/>
                    <a:pt x="1982505" y="76750"/>
                    <a:pt x="1997509" y="76750"/>
                  </a:cubicBezTo>
                  <a:cubicBezTo>
                    <a:pt x="2011503" y="76750"/>
                    <a:pt x="2023910" y="78914"/>
                    <a:pt x="2035018" y="83242"/>
                  </a:cubicBezTo>
                  <a:cubicBezTo>
                    <a:pt x="2046127" y="87570"/>
                    <a:pt x="2055792" y="93484"/>
                    <a:pt x="2064160" y="101131"/>
                  </a:cubicBezTo>
                  <a:cubicBezTo>
                    <a:pt x="2075845" y="111806"/>
                    <a:pt x="2084501" y="125367"/>
                    <a:pt x="2090272" y="141669"/>
                  </a:cubicBezTo>
                  <a:cubicBezTo>
                    <a:pt x="2096043" y="158116"/>
                    <a:pt x="2098784" y="176149"/>
                    <a:pt x="2098495" y="195913"/>
                  </a:cubicBezTo>
                  <a:lnTo>
                    <a:pt x="1958269" y="195913"/>
                  </a:lnTo>
                  <a:cubicBezTo>
                    <a:pt x="1960288" y="209186"/>
                    <a:pt x="1964905" y="219573"/>
                    <a:pt x="1971974" y="227219"/>
                  </a:cubicBezTo>
                  <a:cubicBezTo>
                    <a:pt x="1979043" y="234865"/>
                    <a:pt x="1989142" y="238616"/>
                    <a:pt x="2002125" y="238616"/>
                  </a:cubicBezTo>
                  <a:cubicBezTo>
                    <a:pt x="2010204" y="238616"/>
                    <a:pt x="2016985" y="236885"/>
                    <a:pt x="2022323" y="233423"/>
                  </a:cubicBezTo>
                  <a:cubicBezTo>
                    <a:pt x="2027661" y="229960"/>
                    <a:pt x="2031700" y="225199"/>
                    <a:pt x="2034585" y="219140"/>
                  </a:cubicBezTo>
                  <a:lnTo>
                    <a:pt x="2095177" y="219140"/>
                  </a:lnTo>
                  <a:cubicBezTo>
                    <a:pt x="2093158" y="228085"/>
                    <a:pt x="2089406" y="236452"/>
                    <a:pt x="2083780" y="244531"/>
                  </a:cubicBezTo>
                  <a:cubicBezTo>
                    <a:pt x="2078154" y="252610"/>
                    <a:pt x="2071085" y="259390"/>
                    <a:pt x="2062429" y="265305"/>
                  </a:cubicBezTo>
                  <a:cubicBezTo>
                    <a:pt x="2054350" y="271220"/>
                    <a:pt x="2045261" y="275548"/>
                    <a:pt x="2035162" y="278578"/>
                  </a:cubicBezTo>
                  <a:cubicBezTo>
                    <a:pt x="2025064" y="281607"/>
                    <a:pt x="2013811" y="283194"/>
                    <a:pt x="2001404" y="283194"/>
                  </a:cubicBezTo>
                  <a:moveTo>
                    <a:pt x="2035739" y="158981"/>
                  </a:moveTo>
                  <a:cubicBezTo>
                    <a:pt x="2034441" y="147296"/>
                    <a:pt x="2030546" y="138063"/>
                    <a:pt x="2023910" y="131138"/>
                  </a:cubicBezTo>
                  <a:cubicBezTo>
                    <a:pt x="2017273" y="124357"/>
                    <a:pt x="2008906" y="120895"/>
                    <a:pt x="1998807" y="120895"/>
                  </a:cubicBezTo>
                  <a:cubicBezTo>
                    <a:pt x="1986833" y="120895"/>
                    <a:pt x="1977745" y="124357"/>
                    <a:pt x="1971397" y="131138"/>
                  </a:cubicBezTo>
                  <a:cubicBezTo>
                    <a:pt x="1965049" y="138063"/>
                    <a:pt x="1960865" y="147296"/>
                    <a:pt x="1958846" y="158981"/>
                  </a:cubicBezTo>
                  <a:lnTo>
                    <a:pt x="2035739" y="158981"/>
                  </a:lnTo>
                  <a:close/>
                </a:path>
              </a:pathLst>
            </a:custGeom>
            <a:solidFill>
              <a:srgbClr val="FFFFFF"/>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420A9100-D517-D472-CEFD-D0D3A5BCF545}"/>
                </a:ext>
              </a:extLst>
            </p:cNvPr>
            <p:cNvSpPr/>
            <p:nvPr/>
          </p:nvSpPr>
          <p:spPr>
            <a:xfrm>
              <a:off x="883128" y="557212"/>
              <a:ext cx="273528" cy="675598"/>
            </a:xfrm>
            <a:custGeom>
              <a:avLst/>
              <a:gdLst>
                <a:gd name="connsiteX0" fmla="*/ 0 w 273528"/>
                <a:gd name="connsiteY0" fmla="*/ 0 h 675598"/>
                <a:gd name="connsiteX1" fmla="*/ 0 w 273528"/>
                <a:gd name="connsiteY1" fmla="*/ 476944 h 675598"/>
                <a:gd name="connsiteX2" fmla="*/ 272807 w 273528"/>
                <a:gd name="connsiteY2" fmla="*/ 675598 h 675598"/>
                <a:gd name="connsiteX3" fmla="*/ 273529 w 273528"/>
                <a:gd name="connsiteY3" fmla="*/ 674877 h 675598"/>
                <a:gd name="connsiteX4" fmla="*/ 0 w 273528"/>
                <a:gd name="connsiteY4" fmla="*/ 0 h 675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598">
                  <a:moveTo>
                    <a:pt x="0" y="0"/>
                  </a:moveTo>
                  <a:lnTo>
                    <a:pt x="0" y="476944"/>
                  </a:lnTo>
                  <a:lnTo>
                    <a:pt x="272807" y="675598"/>
                  </a:lnTo>
                  <a:cubicBezTo>
                    <a:pt x="272807" y="675598"/>
                    <a:pt x="273384" y="675021"/>
                    <a:pt x="273529" y="674877"/>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AA4E6CE2-336C-0213-9FF5-26E16386C047}"/>
                </a:ext>
              </a:extLst>
            </p:cNvPr>
            <p:cNvSpPr/>
            <p:nvPr/>
          </p:nvSpPr>
          <p:spPr>
            <a:xfrm>
              <a:off x="609600" y="557212"/>
              <a:ext cx="273528" cy="675453"/>
            </a:xfrm>
            <a:custGeom>
              <a:avLst/>
              <a:gdLst>
                <a:gd name="connsiteX0" fmla="*/ 0 w 273528"/>
                <a:gd name="connsiteY0" fmla="*/ 674733 h 675453"/>
                <a:gd name="connsiteX1" fmla="*/ 721 w 273528"/>
                <a:gd name="connsiteY1" fmla="*/ 675454 h 675453"/>
                <a:gd name="connsiteX2" fmla="*/ 273529 w 273528"/>
                <a:gd name="connsiteY2" fmla="*/ 476799 h 675453"/>
                <a:gd name="connsiteX3" fmla="*/ 273529 w 273528"/>
                <a:gd name="connsiteY3" fmla="*/ 0 h 675453"/>
                <a:gd name="connsiteX4" fmla="*/ 0 w 273528"/>
                <a:gd name="connsiteY4" fmla="*/ 674733 h 675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528" h="675453">
                  <a:moveTo>
                    <a:pt x="0" y="674733"/>
                  </a:moveTo>
                  <a:cubicBezTo>
                    <a:pt x="0" y="674733"/>
                    <a:pt x="577" y="675310"/>
                    <a:pt x="721" y="675454"/>
                  </a:cubicBezTo>
                  <a:lnTo>
                    <a:pt x="273529" y="476799"/>
                  </a:lnTo>
                  <a:lnTo>
                    <a:pt x="273529" y="0"/>
                  </a:lnTo>
                  <a:lnTo>
                    <a:pt x="0" y="674733"/>
                  </a:lnTo>
                  <a:close/>
                </a:path>
              </a:pathLst>
            </a:custGeom>
            <a:solidFill>
              <a:srgbClr val="FFFFFF"/>
            </a:solidFill>
            <a:ln w="0" cap="flat">
              <a:noFill/>
              <a:prstDash val="solid"/>
              <a:miter/>
            </a:ln>
          </p:spPr>
          <p:txBody>
            <a:bodyPr rtlCol="0" anchor="ctr"/>
            <a:lstStyle/>
            <a:p>
              <a:endParaRPr lang="en-US" dirty="0"/>
            </a:p>
          </p:txBody>
        </p:sp>
      </p:grpSp>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4594548"/>
            <a:ext cx="5376672"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sp>
        <p:nvSpPr>
          <p:cNvPr id="18" name="Text Placeholder 16">
            <a:extLst>
              <a:ext uri="{FF2B5EF4-FFF2-40B4-BE49-F238E27FC236}">
                <a16:creationId xmlns:a16="http://schemas.microsoft.com/office/drawing/2014/main" id="{F2A9289B-23E0-657B-DF89-7F9B74F7660F}"/>
              </a:ext>
            </a:extLst>
          </p:cNvPr>
          <p:cNvSpPr>
            <a:spLocks noGrp="1"/>
          </p:cNvSpPr>
          <p:nvPr>
            <p:ph type="body" sz="quarter" idx="12" hasCustomPrompt="1"/>
          </p:nvPr>
        </p:nvSpPr>
        <p:spPr>
          <a:xfrm>
            <a:off x="609600" y="1523079"/>
            <a:ext cx="2468880" cy="223908"/>
          </a:xfrm>
        </p:spPr>
        <p:txBody>
          <a:bodyPr wrap="square">
            <a:noAutofit/>
          </a:bodyPr>
          <a:lstStyle>
            <a:lvl1pPr algn="l">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err="1"/>
              <a:t>DatE</a:t>
            </a:r>
            <a:endParaRPr lang="en-US"/>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sp>
        <p:nvSpPr>
          <p:cNvPr id="11" name="Picture Placeholder 6">
            <a:extLst>
              <a:ext uri="{FF2B5EF4-FFF2-40B4-BE49-F238E27FC236}">
                <a16:creationId xmlns:a16="http://schemas.microsoft.com/office/drawing/2014/main" id="{106BDF57-DECC-8B8C-6F4A-719D8D26FC25}"/>
              </a:ext>
            </a:extLst>
          </p:cNvPr>
          <p:cNvSpPr>
            <a:spLocks noGrp="1"/>
          </p:cNvSpPr>
          <p:nvPr>
            <p:ph type="pic" sz="quarter" idx="16" hasCustomPrompt="1"/>
          </p:nvPr>
        </p:nvSpPr>
        <p:spPr>
          <a:xfrm>
            <a:off x="6645285" y="0"/>
            <a:ext cx="5546715" cy="6858000"/>
          </a:xfrm>
          <a:solidFill>
            <a:schemeClr val="bg1">
              <a:lumMod val="75000"/>
            </a:schemeClr>
          </a:solidFill>
        </p:spPr>
        <p:txBody>
          <a:bodyPr anchor="ctr"/>
          <a:lstStyle>
            <a:lvl1pPr algn="ctr">
              <a:defRPr sz="1000" b="0"/>
            </a:lvl1pPr>
          </a:lstStyle>
          <a:p>
            <a:r>
              <a:rPr lang="en-US" dirty="0"/>
              <a:t>Insert Photo</a:t>
            </a:r>
          </a:p>
        </p:txBody>
      </p:sp>
      <p:sp>
        <p:nvSpPr>
          <p:cNvPr id="8" name="Text Placeholder 33">
            <a:extLst>
              <a:ext uri="{FF2B5EF4-FFF2-40B4-BE49-F238E27FC236}">
                <a16:creationId xmlns:a16="http://schemas.microsoft.com/office/drawing/2014/main" id="{805160F1-65BE-F6D3-F761-0B231F0F9CEF}"/>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9" name="Text Placeholder 33">
            <a:extLst>
              <a:ext uri="{FF2B5EF4-FFF2-40B4-BE49-F238E27FC236}">
                <a16:creationId xmlns:a16="http://schemas.microsoft.com/office/drawing/2014/main" id="{7B7818B6-ABA3-F1C8-1165-F681F91DF041}"/>
              </a:ext>
            </a:extLst>
          </p:cNvPr>
          <p:cNvSpPr>
            <a:spLocks noGrp="1"/>
          </p:cNvSpPr>
          <p:nvPr>
            <p:ph type="body" sz="quarter" idx="17"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71032546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ver 1 with horizontal image - Dark ">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106BDF57-DECC-8B8C-6F4A-719D8D26FC25}"/>
              </a:ext>
            </a:extLst>
          </p:cNvPr>
          <p:cNvSpPr>
            <a:spLocks noGrp="1"/>
          </p:cNvSpPr>
          <p:nvPr>
            <p:ph type="pic" sz="quarter" idx="16" hasCustomPrompt="1"/>
          </p:nvPr>
        </p:nvSpPr>
        <p:spPr>
          <a:xfrm>
            <a:off x="1" y="0"/>
            <a:ext cx="12192000" cy="2882899"/>
          </a:xfrm>
          <a:solidFill>
            <a:schemeClr val="bg1">
              <a:lumMod val="75000"/>
            </a:schemeClr>
          </a:solidFill>
        </p:spPr>
        <p:txBody>
          <a:bodyPr anchor="ctr"/>
          <a:lstStyle>
            <a:lvl1pPr algn="ctr">
              <a:defRPr sz="1000" b="0"/>
            </a:lvl1pPr>
          </a:lstStyle>
          <a:p>
            <a:r>
              <a:rPr lang="en-US" dirty="0"/>
              <a:t>Insert Photo</a:t>
            </a:r>
          </a:p>
        </p:txBody>
      </p:sp>
      <p:sp>
        <p:nvSpPr>
          <p:cNvPr id="2" name="Rectangle 1">
            <a:extLst>
              <a:ext uri="{FF2B5EF4-FFF2-40B4-BE49-F238E27FC236}">
                <a16:creationId xmlns:a16="http://schemas.microsoft.com/office/drawing/2014/main" id="{0C1A42ED-98C2-0925-4548-9A57C0E8C3BF}"/>
              </a:ext>
            </a:extLst>
          </p:cNvPr>
          <p:cNvSpPr/>
          <p:nvPr/>
        </p:nvSpPr>
        <p:spPr>
          <a:xfrm>
            <a:off x="0" y="2882900"/>
            <a:ext cx="12192000" cy="39751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5325247"/>
            <a:ext cx="10972800"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3517900"/>
            <a:ext cx="8102600" cy="1505797"/>
          </a:xfrm>
        </p:spPr>
        <p:txBody>
          <a:bodyPr wrap="square" anchor="b">
            <a:noAutofit/>
          </a:bodyPr>
          <a:lstStyle>
            <a:lvl1pPr>
              <a:lnSpc>
                <a:spcPct val="80000"/>
              </a:lnSpc>
              <a:spcAft>
                <a:spcPts val="0"/>
              </a:spcAft>
              <a:defRPr sz="6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up to 2 lines</a:t>
            </a:r>
          </a:p>
        </p:txBody>
      </p:sp>
      <p:sp>
        <p:nvSpPr>
          <p:cNvPr id="18" name="Text Placeholder 16">
            <a:extLst>
              <a:ext uri="{FF2B5EF4-FFF2-40B4-BE49-F238E27FC236}">
                <a16:creationId xmlns:a16="http://schemas.microsoft.com/office/drawing/2014/main" id="{F2A9289B-23E0-657B-DF89-7F9B74F7660F}"/>
              </a:ext>
            </a:extLst>
          </p:cNvPr>
          <p:cNvSpPr>
            <a:spLocks noGrp="1"/>
          </p:cNvSpPr>
          <p:nvPr>
            <p:ph type="body" sz="quarter" idx="12" hasCustomPrompt="1"/>
          </p:nvPr>
        </p:nvSpPr>
        <p:spPr>
          <a:xfrm>
            <a:off x="9113520" y="3530600"/>
            <a:ext cx="2468880" cy="223908"/>
          </a:xfrm>
        </p:spPr>
        <p:txBody>
          <a:bodyPr wrap="square">
            <a:noAutofit/>
          </a:bodyPr>
          <a:lstStyle>
            <a:lvl1pPr algn="r">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48012" y="6090476"/>
            <a:ext cx="1834388" cy="210312"/>
          </a:xfrm>
          <a:prstGeom prst="rect">
            <a:avLst/>
          </a:prstGeom>
        </p:spPr>
      </p:pic>
      <p:sp>
        <p:nvSpPr>
          <p:cNvPr id="6" name="Text Placeholder 33">
            <a:extLst>
              <a:ext uri="{FF2B5EF4-FFF2-40B4-BE49-F238E27FC236}">
                <a16:creationId xmlns:a16="http://schemas.microsoft.com/office/drawing/2014/main" id="{475AB097-4F05-F770-F35D-E9419CED53AF}"/>
              </a:ext>
            </a:extLst>
          </p:cNvPr>
          <p:cNvSpPr>
            <a:spLocks noGrp="1"/>
          </p:cNvSpPr>
          <p:nvPr>
            <p:ph type="body" sz="quarter" idx="17" hasCustomPrompt="1"/>
          </p:nvPr>
        </p:nvSpPr>
        <p:spPr>
          <a:xfrm>
            <a:off x="600808" y="5617063"/>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7" name="Text Placeholder 33">
            <a:extLst>
              <a:ext uri="{FF2B5EF4-FFF2-40B4-BE49-F238E27FC236}">
                <a16:creationId xmlns:a16="http://schemas.microsoft.com/office/drawing/2014/main" id="{521D3A68-E6AF-97E4-C9F7-23113EEF10B8}"/>
              </a:ext>
            </a:extLst>
          </p:cNvPr>
          <p:cNvSpPr>
            <a:spLocks noGrp="1"/>
          </p:cNvSpPr>
          <p:nvPr>
            <p:ph type="body" sz="quarter" idx="18" hasCustomPrompt="1"/>
          </p:nvPr>
        </p:nvSpPr>
        <p:spPr>
          <a:xfrm>
            <a:off x="611556" y="5957352"/>
            <a:ext cx="5387082" cy="276999"/>
          </a:xfrm>
        </p:spPr>
        <p:txBody>
          <a:bodyPr wrap="square">
            <a:noAutofit/>
          </a:bodyPr>
          <a:lstStyle>
            <a:lvl1pPr marL="0" indent="0">
              <a:spcAft>
                <a:spcPts val="300"/>
              </a:spcAft>
              <a:buFont typeface="Arial" panose="020B0604020202020204" pitchFamily="34" charset="0"/>
              <a:buNone/>
              <a:defRPr sz="18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grpSp>
        <p:nvGrpSpPr>
          <p:cNvPr id="3" name="Graphic 3">
            <a:extLst>
              <a:ext uri="{FF2B5EF4-FFF2-40B4-BE49-F238E27FC236}">
                <a16:creationId xmlns:a16="http://schemas.microsoft.com/office/drawing/2014/main" id="{E5FB8962-920A-B245-9219-020C4F3680DC}"/>
              </a:ext>
            </a:extLst>
          </p:cNvPr>
          <p:cNvGrpSpPr>
            <a:grpSpLocks noChangeAspect="1"/>
          </p:cNvGrpSpPr>
          <p:nvPr userDrawn="1"/>
        </p:nvGrpSpPr>
        <p:grpSpPr>
          <a:xfrm>
            <a:off x="609600" y="557212"/>
            <a:ext cx="1734668" cy="438912"/>
            <a:chOff x="609600" y="557212"/>
            <a:chExt cx="2667656" cy="674980"/>
          </a:xfrm>
        </p:grpSpPr>
        <p:sp>
          <p:nvSpPr>
            <p:cNvPr id="4" name="Freeform: Shape 3">
              <a:extLst>
                <a:ext uri="{FF2B5EF4-FFF2-40B4-BE49-F238E27FC236}">
                  <a16:creationId xmlns:a16="http://schemas.microsoft.com/office/drawing/2014/main" id="{2B4BBB7B-4AD7-5D5E-FE88-2CB32AA35640}"/>
                </a:ext>
              </a:extLst>
            </p:cNvPr>
            <p:cNvSpPr/>
            <p:nvPr/>
          </p:nvSpPr>
          <p:spPr>
            <a:xfrm>
              <a:off x="1180659" y="790421"/>
              <a:ext cx="2096597" cy="283512"/>
            </a:xfrm>
            <a:custGeom>
              <a:avLst/>
              <a:gdLst>
                <a:gd name="connsiteX0" fmla="*/ 129433 w 2096597"/>
                <a:gd name="connsiteY0" fmla="*/ 283512 h 283512"/>
                <a:gd name="connsiteX1" fmla="*/ 76968 w 2096597"/>
                <a:gd name="connsiteY1" fmla="*/ 273567 h 283512"/>
                <a:gd name="connsiteX2" fmla="*/ 36610 w 2096597"/>
                <a:gd name="connsiteY2" fmla="*/ 245461 h 283512"/>
                <a:gd name="connsiteX3" fmla="*/ 9369 w 2096597"/>
                <a:gd name="connsiteY3" fmla="*/ 199770 h 283512"/>
                <a:gd name="connsiteX4" fmla="*/ 0 w 2096597"/>
                <a:gd name="connsiteY4" fmla="*/ 142260 h 283512"/>
                <a:gd name="connsiteX5" fmla="*/ 10522 w 2096597"/>
                <a:gd name="connsiteY5" fmla="*/ 82733 h 283512"/>
                <a:gd name="connsiteX6" fmla="*/ 40358 w 2096597"/>
                <a:gd name="connsiteY6" fmla="*/ 36178 h 283512"/>
                <a:gd name="connsiteX7" fmla="*/ 80715 w 2096597"/>
                <a:gd name="connsiteY7" fmla="*/ 9513 h 283512"/>
                <a:gd name="connsiteX8" fmla="*/ 133612 w 2096597"/>
                <a:gd name="connsiteY8" fmla="*/ 0 h 283512"/>
                <a:gd name="connsiteX9" fmla="*/ 180744 w 2096597"/>
                <a:gd name="connsiteY9" fmla="*/ 6630 h 283512"/>
                <a:gd name="connsiteX10" fmla="*/ 216922 w 2096597"/>
                <a:gd name="connsiteY10" fmla="*/ 25656 h 283512"/>
                <a:gd name="connsiteX11" fmla="*/ 241425 w 2096597"/>
                <a:gd name="connsiteY11" fmla="*/ 55492 h 283512"/>
                <a:gd name="connsiteX12" fmla="*/ 254109 w 2096597"/>
                <a:gd name="connsiteY12" fmla="*/ 94264 h 283512"/>
                <a:gd name="connsiteX13" fmla="*/ 188672 w 2096597"/>
                <a:gd name="connsiteY13" fmla="*/ 94264 h 283512"/>
                <a:gd name="connsiteX14" fmla="*/ 171520 w 2096597"/>
                <a:gd name="connsiteY14" fmla="*/ 66446 h 283512"/>
                <a:gd name="connsiteX15" fmla="*/ 135774 w 2096597"/>
                <a:gd name="connsiteY15" fmla="*/ 55348 h 283512"/>
                <a:gd name="connsiteX16" fmla="*/ 106227 w 2096597"/>
                <a:gd name="connsiteY16" fmla="*/ 61978 h 283512"/>
                <a:gd name="connsiteX17" fmla="*/ 85039 w 2096597"/>
                <a:gd name="connsiteY17" fmla="*/ 80283 h 283512"/>
                <a:gd name="connsiteX18" fmla="*/ 72500 w 2096597"/>
                <a:gd name="connsiteY18" fmla="*/ 107668 h 283512"/>
                <a:gd name="connsiteX19" fmla="*/ 68320 w 2096597"/>
                <a:gd name="connsiteY19" fmla="*/ 142116 h 283512"/>
                <a:gd name="connsiteX20" fmla="*/ 73076 w 2096597"/>
                <a:gd name="connsiteY20" fmla="*/ 176709 h 283512"/>
                <a:gd name="connsiteX21" fmla="*/ 86625 w 2096597"/>
                <a:gd name="connsiteY21" fmla="*/ 204238 h 283512"/>
                <a:gd name="connsiteX22" fmla="*/ 108101 w 2096597"/>
                <a:gd name="connsiteY22" fmla="*/ 222255 h 283512"/>
                <a:gd name="connsiteX23" fmla="*/ 136783 w 2096597"/>
                <a:gd name="connsiteY23" fmla="*/ 228741 h 283512"/>
                <a:gd name="connsiteX24" fmla="*/ 160566 w 2096597"/>
                <a:gd name="connsiteY24" fmla="*/ 224705 h 283512"/>
                <a:gd name="connsiteX25" fmla="*/ 178438 w 2096597"/>
                <a:gd name="connsiteY25" fmla="*/ 214039 h 283512"/>
                <a:gd name="connsiteX26" fmla="*/ 190257 w 2096597"/>
                <a:gd name="connsiteY26" fmla="*/ 198761 h 283512"/>
                <a:gd name="connsiteX27" fmla="*/ 195734 w 2096597"/>
                <a:gd name="connsiteY27" fmla="*/ 181033 h 283512"/>
                <a:gd name="connsiteX28" fmla="*/ 195734 w 2096597"/>
                <a:gd name="connsiteY28" fmla="*/ 180312 h 283512"/>
                <a:gd name="connsiteX29" fmla="*/ 144711 w 2096597"/>
                <a:gd name="connsiteY29" fmla="*/ 180312 h 283512"/>
                <a:gd name="connsiteX30" fmla="*/ 144711 w 2096597"/>
                <a:gd name="connsiteY30" fmla="*/ 130874 h 283512"/>
                <a:gd name="connsiteX31" fmla="*/ 258144 w 2096597"/>
                <a:gd name="connsiteY31" fmla="*/ 130874 h 283512"/>
                <a:gd name="connsiteX32" fmla="*/ 258144 w 2096597"/>
                <a:gd name="connsiteY32" fmla="*/ 277026 h 283512"/>
                <a:gd name="connsiteX33" fmla="*/ 211013 w 2096597"/>
                <a:gd name="connsiteY33" fmla="*/ 277026 h 283512"/>
                <a:gd name="connsiteX34" fmla="*/ 207265 w 2096597"/>
                <a:gd name="connsiteY34" fmla="*/ 244308 h 283512"/>
                <a:gd name="connsiteX35" fmla="*/ 206544 w 2096597"/>
                <a:gd name="connsiteY35" fmla="*/ 244308 h 283512"/>
                <a:gd name="connsiteX36" fmla="*/ 173682 w 2096597"/>
                <a:gd name="connsiteY36" fmla="*/ 274143 h 283512"/>
                <a:gd name="connsiteX37" fmla="*/ 129288 w 2096597"/>
                <a:gd name="connsiteY37" fmla="*/ 283080 h 283512"/>
                <a:gd name="connsiteX38" fmla="*/ 358029 w 2096597"/>
                <a:gd name="connsiteY38" fmla="*/ 282647 h 283512"/>
                <a:gd name="connsiteX39" fmla="*/ 306862 w 2096597"/>
                <a:gd name="connsiteY39" fmla="*/ 262613 h 283512"/>
                <a:gd name="connsiteX40" fmla="*/ 289566 w 2096597"/>
                <a:gd name="connsiteY40" fmla="*/ 209859 h 283512"/>
                <a:gd name="connsiteX41" fmla="*/ 289566 w 2096597"/>
                <a:gd name="connsiteY41" fmla="*/ 82012 h 283512"/>
                <a:gd name="connsiteX42" fmla="*/ 351255 w 2096597"/>
                <a:gd name="connsiteY42" fmla="*/ 82012 h 283512"/>
                <a:gd name="connsiteX43" fmla="*/ 351255 w 2096597"/>
                <a:gd name="connsiteY43" fmla="*/ 197032 h 283512"/>
                <a:gd name="connsiteX44" fmla="*/ 358462 w 2096597"/>
                <a:gd name="connsiteY44" fmla="*/ 221534 h 283512"/>
                <a:gd name="connsiteX45" fmla="*/ 380514 w 2096597"/>
                <a:gd name="connsiteY45" fmla="*/ 230038 h 283512"/>
                <a:gd name="connsiteX46" fmla="*/ 405594 w 2096597"/>
                <a:gd name="connsiteY46" fmla="*/ 219228 h 283512"/>
                <a:gd name="connsiteX47" fmla="*/ 414674 w 2096597"/>
                <a:gd name="connsiteY47" fmla="*/ 190834 h 283512"/>
                <a:gd name="connsiteX48" fmla="*/ 414674 w 2096597"/>
                <a:gd name="connsiteY48" fmla="*/ 82012 h 283512"/>
                <a:gd name="connsiteX49" fmla="*/ 476652 w 2096597"/>
                <a:gd name="connsiteY49" fmla="*/ 82012 h 283512"/>
                <a:gd name="connsiteX50" fmla="*/ 476652 w 2096597"/>
                <a:gd name="connsiteY50" fmla="*/ 276882 h 283512"/>
                <a:gd name="connsiteX51" fmla="*/ 417269 w 2096597"/>
                <a:gd name="connsiteY51" fmla="*/ 276882 h 283512"/>
                <a:gd name="connsiteX52" fmla="*/ 417269 w 2096597"/>
                <a:gd name="connsiteY52" fmla="*/ 252956 h 283512"/>
                <a:gd name="connsiteX53" fmla="*/ 416116 w 2096597"/>
                <a:gd name="connsiteY53" fmla="*/ 252956 h 283512"/>
                <a:gd name="connsiteX54" fmla="*/ 391901 w 2096597"/>
                <a:gd name="connsiteY54" fmla="*/ 275008 h 283512"/>
                <a:gd name="connsiteX55" fmla="*/ 357885 w 2096597"/>
                <a:gd name="connsiteY55" fmla="*/ 282647 h 283512"/>
                <a:gd name="connsiteX56" fmla="*/ 511965 w 2096597"/>
                <a:gd name="connsiteY56" fmla="*/ 2162 h 283512"/>
                <a:gd name="connsiteX57" fmla="*/ 573943 w 2096597"/>
                <a:gd name="connsiteY57" fmla="*/ 2162 h 283512"/>
                <a:gd name="connsiteX58" fmla="*/ 573943 w 2096597"/>
                <a:gd name="connsiteY58" fmla="*/ 55059 h 283512"/>
                <a:gd name="connsiteX59" fmla="*/ 511965 w 2096597"/>
                <a:gd name="connsiteY59" fmla="*/ 55059 h 283512"/>
                <a:gd name="connsiteX60" fmla="*/ 511965 w 2096597"/>
                <a:gd name="connsiteY60" fmla="*/ 2162 h 283512"/>
                <a:gd name="connsiteX61" fmla="*/ 511965 w 2096597"/>
                <a:gd name="connsiteY61" fmla="*/ 82012 h 283512"/>
                <a:gd name="connsiteX62" fmla="*/ 573943 w 2096597"/>
                <a:gd name="connsiteY62" fmla="*/ 82012 h 283512"/>
                <a:gd name="connsiteX63" fmla="*/ 573943 w 2096597"/>
                <a:gd name="connsiteY63" fmla="*/ 276882 h 283512"/>
                <a:gd name="connsiteX64" fmla="*/ 511965 w 2096597"/>
                <a:gd name="connsiteY64" fmla="*/ 276882 h 283512"/>
                <a:gd name="connsiteX65" fmla="*/ 511965 w 2096597"/>
                <a:gd name="connsiteY65" fmla="*/ 82012 h 283512"/>
                <a:gd name="connsiteX66" fmla="*/ 685935 w 2096597"/>
                <a:gd name="connsiteY66" fmla="*/ 282936 h 283512"/>
                <a:gd name="connsiteX67" fmla="*/ 651631 w 2096597"/>
                <a:gd name="connsiteY67" fmla="*/ 275873 h 283512"/>
                <a:gd name="connsiteX68" fmla="*/ 624678 w 2096597"/>
                <a:gd name="connsiteY68" fmla="*/ 255550 h 283512"/>
                <a:gd name="connsiteX69" fmla="*/ 606949 w 2096597"/>
                <a:gd name="connsiteY69" fmla="*/ 222976 h 283512"/>
                <a:gd name="connsiteX70" fmla="*/ 600607 w 2096597"/>
                <a:gd name="connsiteY70" fmla="*/ 179447 h 283512"/>
                <a:gd name="connsiteX71" fmla="*/ 606949 w 2096597"/>
                <a:gd name="connsiteY71" fmla="*/ 137504 h 283512"/>
                <a:gd name="connsiteX72" fmla="*/ 624390 w 2096597"/>
                <a:gd name="connsiteY72" fmla="*/ 104930 h 283512"/>
                <a:gd name="connsiteX73" fmla="*/ 651199 w 2096597"/>
                <a:gd name="connsiteY73" fmla="*/ 83742 h 283512"/>
                <a:gd name="connsiteX74" fmla="*/ 685791 w 2096597"/>
                <a:gd name="connsiteY74" fmla="*/ 76103 h 283512"/>
                <a:gd name="connsiteX75" fmla="*/ 718942 w 2096597"/>
                <a:gd name="connsiteY75" fmla="*/ 83886 h 283512"/>
                <a:gd name="connsiteX76" fmla="*/ 740273 w 2096597"/>
                <a:gd name="connsiteY76" fmla="*/ 103921 h 283512"/>
                <a:gd name="connsiteX77" fmla="*/ 741426 w 2096597"/>
                <a:gd name="connsiteY77" fmla="*/ 103921 h 283512"/>
                <a:gd name="connsiteX78" fmla="*/ 741426 w 2096597"/>
                <a:gd name="connsiteY78" fmla="*/ 1874 h 283512"/>
                <a:gd name="connsiteX79" fmla="*/ 803404 w 2096597"/>
                <a:gd name="connsiteY79" fmla="*/ 1874 h 283512"/>
                <a:gd name="connsiteX80" fmla="*/ 803404 w 2096597"/>
                <a:gd name="connsiteY80" fmla="*/ 276738 h 283512"/>
                <a:gd name="connsiteX81" fmla="*/ 744021 w 2096597"/>
                <a:gd name="connsiteY81" fmla="*/ 276738 h 283512"/>
                <a:gd name="connsiteX82" fmla="*/ 744021 w 2096597"/>
                <a:gd name="connsiteY82" fmla="*/ 250505 h 283512"/>
                <a:gd name="connsiteX83" fmla="*/ 743300 w 2096597"/>
                <a:gd name="connsiteY83" fmla="*/ 250505 h 283512"/>
                <a:gd name="connsiteX84" fmla="*/ 719951 w 2096597"/>
                <a:gd name="connsiteY84" fmla="*/ 274287 h 283512"/>
                <a:gd name="connsiteX85" fmla="*/ 685935 w 2096597"/>
                <a:gd name="connsiteY85" fmla="*/ 282791 h 283512"/>
                <a:gd name="connsiteX86" fmla="*/ 701934 w 2096597"/>
                <a:gd name="connsiteY86" fmla="*/ 233642 h 283512"/>
                <a:gd name="connsiteX87" fmla="*/ 732202 w 2096597"/>
                <a:gd name="connsiteY87" fmla="*/ 218363 h 283512"/>
                <a:gd name="connsiteX88" fmla="*/ 743012 w 2096597"/>
                <a:gd name="connsiteY88" fmla="*/ 179159 h 283512"/>
                <a:gd name="connsiteX89" fmla="*/ 740562 w 2096597"/>
                <a:gd name="connsiteY89" fmla="*/ 156530 h 283512"/>
                <a:gd name="connsiteX90" fmla="*/ 732923 w 2096597"/>
                <a:gd name="connsiteY90" fmla="*/ 138657 h 283512"/>
                <a:gd name="connsiteX91" fmla="*/ 720383 w 2096597"/>
                <a:gd name="connsiteY91" fmla="*/ 126982 h 283512"/>
                <a:gd name="connsiteX92" fmla="*/ 702654 w 2096597"/>
                <a:gd name="connsiteY92" fmla="*/ 122802 h 283512"/>
                <a:gd name="connsiteX93" fmla="*/ 673683 w 2096597"/>
                <a:gd name="connsiteY93" fmla="*/ 138225 h 283512"/>
                <a:gd name="connsiteX94" fmla="*/ 663450 w 2096597"/>
                <a:gd name="connsiteY94" fmla="*/ 178438 h 283512"/>
                <a:gd name="connsiteX95" fmla="*/ 673539 w 2096597"/>
                <a:gd name="connsiteY95" fmla="*/ 218796 h 283512"/>
                <a:gd name="connsiteX96" fmla="*/ 701934 w 2096597"/>
                <a:gd name="connsiteY96" fmla="*/ 233642 h 283512"/>
                <a:gd name="connsiteX97" fmla="*/ 930242 w 2096597"/>
                <a:gd name="connsiteY97" fmla="*/ 282359 h 283512"/>
                <a:gd name="connsiteX98" fmla="*/ 886858 w 2096597"/>
                <a:gd name="connsiteY98" fmla="*/ 274576 h 283512"/>
                <a:gd name="connsiteX99" fmla="*/ 854139 w 2096597"/>
                <a:gd name="connsiteY99" fmla="*/ 252811 h 283512"/>
                <a:gd name="connsiteX100" fmla="*/ 833528 w 2096597"/>
                <a:gd name="connsiteY100" fmla="*/ 219949 h 283512"/>
                <a:gd name="connsiteX101" fmla="*/ 826322 w 2096597"/>
                <a:gd name="connsiteY101" fmla="*/ 178871 h 283512"/>
                <a:gd name="connsiteX102" fmla="*/ 833528 w 2096597"/>
                <a:gd name="connsiteY102" fmla="*/ 138369 h 283512"/>
                <a:gd name="connsiteX103" fmla="*/ 854139 w 2096597"/>
                <a:gd name="connsiteY103" fmla="*/ 105650 h 283512"/>
                <a:gd name="connsiteX104" fmla="*/ 885705 w 2096597"/>
                <a:gd name="connsiteY104" fmla="*/ 84030 h 283512"/>
                <a:gd name="connsiteX105" fmla="*/ 926495 w 2096597"/>
                <a:gd name="connsiteY105" fmla="*/ 76247 h 283512"/>
                <a:gd name="connsiteX106" fmla="*/ 963970 w 2096597"/>
                <a:gd name="connsiteY106" fmla="*/ 82733 h 283512"/>
                <a:gd name="connsiteX107" fmla="*/ 993085 w 2096597"/>
                <a:gd name="connsiteY107" fmla="*/ 100606 h 283512"/>
                <a:gd name="connsiteX108" fmla="*/ 1019173 w 2096597"/>
                <a:gd name="connsiteY108" fmla="*/ 141107 h 283512"/>
                <a:gd name="connsiteX109" fmla="*/ 1027389 w 2096597"/>
                <a:gd name="connsiteY109" fmla="*/ 195302 h 283512"/>
                <a:gd name="connsiteX110" fmla="*/ 887290 w 2096597"/>
                <a:gd name="connsiteY110" fmla="*/ 195302 h 283512"/>
                <a:gd name="connsiteX111" fmla="*/ 900983 w 2096597"/>
                <a:gd name="connsiteY111" fmla="*/ 226579 h 283512"/>
                <a:gd name="connsiteX112" fmla="*/ 931107 w 2096597"/>
                <a:gd name="connsiteY112" fmla="*/ 237966 h 283512"/>
                <a:gd name="connsiteX113" fmla="*/ 951286 w 2096597"/>
                <a:gd name="connsiteY113" fmla="*/ 232777 h 283512"/>
                <a:gd name="connsiteX114" fmla="*/ 963393 w 2096597"/>
                <a:gd name="connsiteY114" fmla="*/ 218508 h 283512"/>
                <a:gd name="connsiteX115" fmla="*/ 1023930 w 2096597"/>
                <a:gd name="connsiteY115" fmla="*/ 218508 h 283512"/>
                <a:gd name="connsiteX116" fmla="*/ 1012543 w 2096597"/>
                <a:gd name="connsiteY116" fmla="*/ 243875 h 283512"/>
                <a:gd name="connsiteX117" fmla="*/ 991211 w 2096597"/>
                <a:gd name="connsiteY117" fmla="*/ 264630 h 283512"/>
                <a:gd name="connsiteX118" fmla="*/ 963970 w 2096597"/>
                <a:gd name="connsiteY118" fmla="*/ 277891 h 283512"/>
                <a:gd name="connsiteX119" fmla="*/ 930242 w 2096597"/>
                <a:gd name="connsiteY119" fmla="*/ 282503 h 283512"/>
                <a:gd name="connsiteX120" fmla="*/ 964546 w 2096597"/>
                <a:gd name="connsiteY120" fmla="*/ 158404 h 283512"/>
                <a:gd name="connsiteX121" fmla="*/ 952727 w 2096597"/>
                <a:gd name="connsiteY121" fmla="*/ 130586 h 283512"/>
                <a:gd name="connsiteX122" fmla="*/ 927648 w 2096597"/>
                <a:gd name="connsiteY122" fmla="*/ 120352 h 283512"/>
                <a:gd name="connsiteX123" fmla="*/ 900262 w 2096597"/>
                <a:gd name="connsiteY123" fmla="*/ 130586 h 283512"/>
                <a:gd name="connsiteX124" fmla="*/ 887723 w 2096597"/>
                <a:gd name="connsiteY124" fmla="*/ 158404 h 283512"/>
                <a:gd name="connsiteX125" fmla="*/ 964546 w 2096597"/>
                <a:gd name="connsiteY125" fmla="*/ 158404 h 283512"/>
                <a:gd name="connsiteX126" fmla="*/ 1050162 w 2096597"/>
                <a:gd name="connsiteY126" fmla="*/ 2018 h 283512"/>
                <a:gd name="connsiteX127" fmla="*/ 1112140 w 2096597"/>
                <a:gd name="connsiteY127" fmla="*/ 2018 h 283512"/>
                <a:gd name="connsiteX128" fmla="*/ 1112140 w 2096597"/>
                <a:gd name="connsiteY128" fmla="*/ 105939 h 283512"/>
                <a:gd name="connsiteX129" fmla="*/ 1113293 w 2096597"/>
                <a:gd name="connsiteY129" fmla="*/ 105939 h 283512"/>
                <a:gd name="connsiteX130" fmla="*/ 1137219 w 2096597"/>
                <a:gd name="connsiteY130" fmla="*/ 84030 h 283512"/>
                <a:gd name="connsiteX131" fmla="*/ 1171091 w 2096597"/>
                <a:gd name="connsiteY131" fmla="*/ 76247 h 283512"/>
                <a:gd name="connsiteX132" fmla="*/ 1199629 w 2096597"/>
                <a:gd name="connsiteY132" fmla="*/ 81724 h 283512"/>
                <a:gd name="connsiteX133" fmla="*/ 1220961 w 2096597"/>
                <a:gd name="connsiteY133" fmla="*/ 97002 h 283512"/>
                <a:gd name="connsiteX134" fmla="*/ 1234366 w 2096597"/>
                <a:gd name="connsiteY134" fmla="*/ 120208 h 283512"/>
                <a:gd name="connsiteX135" fmla="*/ 1238978 w 2096597"/>
                <a:gd name="connsiteY135" fmla="*/ 150044 h 283512"/>
                <a:gd name="connsiteX136" fmla="*/ 1238978 w 2096597"/>
                <a:gd name="connsiteY136" fmla="*/ 276738 h 283512"/>
                <a:gd name="connsiteX137" fmla="*/ 1177000 w 2096597"/>
                <a:gd name="connsiteY137" fmla="*/ 276738 h 283512"/>
                <a:gd name="connsiteX138" fmla="*/ 1177000 w 2096597"/>
                <a:gd name="connsiteY138" fmla="*/ 162583 h 283512"/>
                <a:gd name="connsiteX139" fmla="*/ 1169361 w 2096597"/>
                <a:gd name="connsiteY139" fmla="*/ 137504 h 283512"/>
                <a:gd name="connsiteX140" fmla="*/ 1146588 w 2096597"/>
                <a:gd name="connsiteY140" fmla="*/ 127991 h 283512"/>
                <a:gd name="connsiteX141" fmla="*/ 1121653 w 2096597"/>
                <a:gd name="connsiteY141" fmla="*/ 139378 h 283512"/>
                <a:gd name="connsiteX142" fmla="*/ 1112284 w 2096597"/>
                <a:gd name="connsiteY142" fmla="*/ 169069 h 283512"/>
                <a:gd name="connsiteX143" fmla="*/ 1112284 w 2096597"/>
                <a:gd name="connsiteY143" fmla="*/ 276738 h 283512"/>
                <a:gd name="connsiteX144" fmla="*/ 1050306 w 2096597"/>
                <a:gd name="connsiteY144" fmla="*/ 276738 h 283512"/>
                <a:gd name="connsiteX145" fmla="*/ 1050306 w 2096597"/>
                <a:gd name="connsiteY145" fmla="*/ 1874 h 283512"/>
                <a:gd name="connsiteX146" fmla="*/ 1362645 w 2096597"/>
                <a:gd name="connsiteY146" fmla="*/ 282936 h 283512"/>
                <a:gd name="connsiteX147" fmla="*/ 1319837 w 2096597"/>
                <a:gd name="connsiteY147" fmla="*/ 275152 h 283512"/>
                <a:gd name="connsiteX148" fmla="*/ 1286830 w 2096597"/>
                <a:gd name="connsiteY148" fmla="*/ 253388 h 283512"/>
                <a:gd name="connsiteX149" fmla="*/ 1265787 w 2096597"/>
                <a:gd name="connsiteY149" fmla="*/ 220670 h 283512"/>
                <a:gd name="connsiteX150" fmla="*/ 1258292 w 2096597"/>
                <a:gd name="connsiteY150" fmla="*/ 179735 h 283512"/>
                <a:gd name="connsiteX151" fmla="*/ 1265787 w 2096597"/>
                <a:gd name="connsiteY151" fmla="*/ 138801 h 283512"/>
                <a:gd name="connsiteX152" fmla="*/ 1286830 w 2096597"/>
                <a:gd name="connsiteY152" fmla="*/ 106083 h 283512"/>
                <a:gd name="connsiteX153" fmla="*/ 1319837 w 2096597"/>
                <a:gd name="connsiteY153" fmla="*/ 84463 h 283512"/>
                <a:gd name="connsiteX154" fmla="*/ 1362645 w 2096597"/>
                <a:gd name="connsiteY154" fmla="*/ 76679 h 283512"/>
                <a:gd name="connsiteX155" fmla="*/ 1405453 w 2096597"/>
                <a:gd name="connsiteY155" fmla="*/ 84463 h 283512"/>
                <a:gd name="connsiteX156" fmla="*/ 1438171 w 2096597"/>
                <a:gd name="connsiteY156" fmla="*/ 106083 h 283512"/>
                <a:gd name="connsiteX157" fmla="*/ 1459071 w 2096597"/>
                <a:gd name="connsiteY157" fmla="*/ 138801 h 283512"/>
                <a:gd name="connsiteX158" fmla="*/ 1466422 w 2096597"/>
                <a:gd name="connsiteY158" fmla="*/ 179735 h 283512"/>
                <a:gd name="connsiteX159" fmla="*/ 1459071 w 2096597"/>
                <a:gd name="connsiteY159" fmla="*/ 220670 h 283512"/>
                <a:gd name="connsiteX160" fmla="*/ 1438171 w 2096597"/>
                <a:gd name="connsiteY160" fmla="*/ 253388 h 283512"/>
                <a:gd name="connsiteX161" fmla="*/ 1405453 w 2096597"/>
                <a:gd name="connsiteY161" fmla="*/ 275152 h 283512"/>
                <a:gd name="connsiteX162" fmla="*/ 1362645 w 2096597"/>
                <a:gd name="connsiteY162" fmla="*/ 282936 h 283512"/>
                <a:gd name="connsiteX163" fmla="*/ 1362213 w 2096597"/>
                <a:gd name="connsiteY163" fmla="*/ 238830 h 283512"/>
                <a:gd name="connsiteX164" fmla="*/ 1393201 w 2096597"/>
                <a:gd name="connsiteY164" fmla="*/ 222687 h 283512"/>
                <a:gd name="connsiteX165" fmla="*/ 1403723 w 2096597"/>
                <a:gd name="connsiteY165" fmla="*/ 179880 h 283512"/>
                <a:gd name="connsiteX166" fmla="*/ 1393201 w 2096597"/>
                <a:gd name="connsiteY166" fmla="*/ 136928 h 283512"/>
                <a:gd name="connsiteX167" fmla="*/ 1362213 w 2096597"/>
                <a:gd name="connsiteY167" fmla="*/ 120496 h 283512"/>
                <a:gd name="connsiteX168" fmla="*/ 1331368 w 2096597"/>
                <a:gd name="connsiteY168" fmla="*/ 136928 h 283512"/>
                <a:gd name="connsiteX169" fmla="*/ 1321134 w 2096597"/>
                <a:gd name="connsiteY169" fmla="*/ 179880 h 283512"/>
                <a:gd name="connsiteX170" fmla="*/ 1331368 w 2096597"/>
                <a:gd name="connsiteY170" fmla="*/ 222687 h 283512"/>
                <a:gd name="connsiteX171" fmla="*/ 1362213 w 2096597"/>
                <a:gd name="connsiteY171" fmla="*/ 238830 h 283512"/>
                <a:gd name="connsiteX172" fmla="*/ 1554488 w 2096597"/>
                <a:gd name="connsiteY172" fmla="*/ 282647 h 283512"/>
                <a:gd name="connsiteX173" fmla="*/ 1503320 w 2096597"/>
                <a:gd name="connsiteY173" fmla="*/ 262613 h 283512"/>
                <a:gd name="connsiteX174" fmla="*/ 1486024 w 2096597"/>
                <a:gd name="connsiteY174" fmla="*/ 209859 h 283512"/>
                <a:gd name="connsiteX175" fmla="*/ 1486024 w 2096597"/>
                <a:gd name="connsiteY175" fmla="*/ 82012 h 283512"/>
                <a:gd name="connsiteX176" fmla="*/ 1547713 w 2096597"/>
                <a:gd name="connsiteY176" fmla="*/ 82012 h 283512"/>
                <a:gd name="connsiteX177" fmla="*/ 1547713 w 2096597"/>
                <a:gd name="connsiteY177" fmla="*/ 197032 h 283512"/>
                <a:gd name="connsiteX178" fmla="*/ 1554920 w 2096597"/>
                <a:gd name="connsiteY178" fmla="*/ 221534 h 283512"/>
                <a:gd name="connsiteX179" fmla="*/ 1576973 w 2096597"/>
                <a:gd name="connsiteY179" fmla="*/ 230038 h 283512"/>
                <a:gd name="connsiteX180" fmla="*/ 1602052 w 2096597"/>
                <a:gd name="connsiteY180" fmla="*/ 219228 h 283512"/>
                <a:gd name="connsiteX181" fmla="*/ 1611132 w 2096597"/>
                <a:gd name="connsiteY181" fmla="*/ 190834 h 283512"/>
                <a:gd name="connsiteX182" fmla="*/ 1611132 w 2096597"/>
                <a:gd name="connsiteY182" fmla="*/ 82012 h 283512"/>
                <a:gd name="connsiteX183" fmla="*/ 1673110 w 2096597"/>
                <a:gd name="connsiteY183" fmla="*/ 82012 h 283512"/>
                <a:gd name="connsiteX184" fmla="*/ 1673110 w 2096597"/>
                <a:gd name="connsiteY184" fmla="*/ 276882 h 283512"/>
                <a:gd name="connsiteX185" fmla="*/ 1613727 w 2096597"/>
                <a:gd name="connsiteY185" fmla="*/ 276882 h 283512"/>
                <a:gd name="connsiteX186" fmla="*/ 1613727 w 2096597"/>
                <a:gd name="connsiteY186" fmla="*/ 252956 h 283512"/>
                <a:gd name="connsiteX187" fmla="*/ 1612574 w 2096597"/>
                <a:gd name="connsiteY187" fmla="*/ 252956 h 283512"/>
                <a:gd name="connsiteX188" fmla="*/ 1588359 w 2096597"/>
                <a:gd name="connsiteY188" fmla="*/ 275008 h 283512"/>
                <a:gd name="connsiteX189" fmla="*/ 1554344 w 2096597"/>
                <a:gd name="connsiteY189" fmla="*/ 282647 h 283512"/>
                <a:gd name="connsiteX190" fmla="*/ 1789571 w 2096597"/>
                <a:gd name="connsiteY190" fmla="*/ 283080 h 283512"/>
                <a:gd name="connsiteX191" fmla="*/ 1721395 w 2096597"/>
                <a:gd name="connsiteY191" fmla="*/ 264630 h 283512"/>
                <a:gd name="connsiteX192" fmla="*/ 1694730 w 2096597"/>
                <a:gd name="connsiteY192" fmla="*/ 213751 h 283512"/>
                <a:gd name="connsiteX193" fmla="*/ 1753393 w 2096597"/>
                <a:gd name="connsiteY193" fmla="*/ 213751 h 283512"/>
                <a:gd name="connsiteX194" fmla="*/ 1764491 w 2096597"/>
                <a:gd name="connsiteY194" fmla="*/ 235515 h 283512"/>
                <a:gd name="connsiteX195" fmla="*/ 1789282 w 2096597"/>
                <a:gd name="connsiteY195" fmla="*/ 242722 h 283512"/>
                <a:gd name="connsiteX196" fmla="*/ 1811479 w 2096597"/>
                <a:gd name="connsiteY196" fmla="*/ 237821 h 283512"/>
                <a:gd name="connsiteX197" fmla="*/ 1819695 w 2096597"/>
                <a:gd name="connsiteY197" fmla="*/ 223408 h 283512"/>
                <a:gd name="connsiteX198" fmla="*/ 1815515 w 2096597"/>
                <a:gd name="connsiteY198" fmla="*/ 212886 h 283512"/>
                <a:gd name="connsiteX199" fmla="*/ 1804416 w 2096597"/>
                <a:gd name="connsiteY199" fmla="*/ 206400 h 283512"/>
                <a:gd name="connsiteX200" fmla="*/ 1788562 w 2096597"/>
                <a:gd name="connsiteY200" fmla="*/ 202653 h 283512"/>
                <a:gd name="connsiteX201" fmla="*/ 1770112 w 2096597"/>
                <a:gd name="connsiteY201" fmla="*/ 199482 h 283512"/>
                <a:gd name="connsiteX202" fmla="*/ 1745033 w 2096597"/>
                <a:gd name="connsiteY202" fmla="*/ 194005 h 283512"/>
                <a:gd name="connsiteX203" fmla="*/ 1722404 w 2096597"/>
                <a:gd name="connsiteY203" fmla="*/ 184348 h 283512"/>
                <a:gd name="connsiteX204" fmla="*/ 1706261 w 2096597"/>
                <a:gd name="connsiteY204" fmla="*/ 167052 h 283512"/>
                <a:gd name="connsiteX205" fmla="*/ 1700207 w 2096597"/>
                <a:gd name="connsiteY205" fmla="*/ 139090 h 283512"/>
                <a:gd name="connsiteX206" fmla="*/ 1706837 w 2096597"/>
                <a:gd name="connsiteY206" fmla="*/ 111992 h 283512"/>
                <a:gd name="connsiteX207" fmla="*/ 1724999 w 2096597"/>
                <a:gd name="connsiteY207" fmla="*/ 92390 h 283512"/>
                <a:gd name="connsiteX208" fmla="*/ 1751808 w 2096597"/>
                <a:gd name="connsiteY208" fmla="*/ 80571 h 283512"/>
                <a:gd name="connsiteX209" fmla="*/ 1784382 w 2096597"/>
                <a:gd name="connsiteY209" fmla="*/ 76535 h 283512"/>
                <a:gd name="connsiteX210" fmla="*/ 1847945 w 2096597"/>
                <a:gd name="connsiteY210" fmla="*/ 93255 h 283512"/>
                <a:gd name="connsiteX211" fmla="*/ 1872304 w 2096597"/>
                <a:gd name="connsiteY211" fmla="*/ 138945 h 283512"/>
                <a:gd name="connsiteX212" fmla="*/ 1815226 w 2096597"/>
                <a:gd name="connsiteY212" fmla="*/ 138945 h 283512"/>
                <a:gd name="connsiteX213" fmla="*/ 1805137 w 2096597"/>
                <a:gd name="connsiteY213" fmla="*/ 120929 h 283512"/>
                <a:gd name="connsiteX214" fmla="*/ 1783949 w 2096597"/>
                <a:gd name="connsiteY214" fmla="*/ 116172 h 283512"/>
                <a:gd name="connsiteX215" fmla="*/ 1764780 w 2096597"/>
                <a:gd name="connsiteY215" fmla="*/ 120496 h 283512"/>
                <a:gd name="connsiteX216" fmla="*/ 1756996 w 2096597"/>
                <a:gd name="connsiteY216" fmla="*/ 134045 h 283512"/>
                <a:gd name="connsiteX217" fmla="*/ 1760744 w 2096597"/>
                <a:gd name="connsiteY217" fmla="*/ 142405 h 283512"/>
                <a:gd name="connsiteX218" fmla="*/ 1770977 w 2096597"/>
                <a:gd name="connsiteY218" fmla="*/ 147593 h 283512"/>
                <a:gd name="connsiteX219" fmla="*/ 1785967 w 2096597"/>
                <a:gd name="connsiteY219" fmla="*/ 151197 h 283512"/>
                <a:gd name="connsiteX220" fmla="*/ 1803696 w 2096597"/>
                <a:gd name="connsiteY220" fmla="*/ 154224 h 283512"/>
                <a:gd name="connsiteX221" fmla="*/ 1829784 w 2096597"/>
                <a:gd name="connsiteY221" fmla="*/ 159701 h 283512"/>
                <a:gd name="connsiteX222" fmla="*/ 1853710 w 2096597"/>
                <a:gd name="connsiteY222" fmla="*/ 169790 h 283512"/>
                <a:gd name="connsiteX223" fmla="*/ 1871439 w 2096597"/>
                <a:gd name="connsiteY223" fmla="*/ 188239 h 283512"/>
                <a:gd name="connsiteX224" fmla="*/ 1878357 w 2096597"/>
                <a:gd name="connsiteY224" fmla="*/ 218508 h 283512"/>
                <a:gd name="connsiteX225" fmla="*/ 1871727 w 2096597"/>
                <a:gd name="connsiteY225" fmla="*/ 246614 h 283512"/>
                <a:gd name="connsiteX226" fmla="*/ 1853278 w 2096597"/>
                <a:gd name="connsiteY226" fmla="*/ 266792 h 283512"/>
                <a:gd name="connsiteX227" fmla="*/ 1825172 w 2096597"/>
                <a:gd name="connsiteY227" fmla="*/ 279044 h 283512"/>
                <a:gd name="connsiteX228" fmla="*/ 1789715 w 2096597"/>
                <a:gd name="connsiteY228" fmla="*/ 283224 h 283512"/>
                <a:gd name="connsiteX229" fmla="*/ 1999430 w 2096597"/>
                <a:gd name="connsiteY229" fmla="*/ 282791 h 283512"/>
                <a:gd name="connsiteX230" fmla="*/ 1956046 w 2096597"/>
                <a:gd name="connsiteY230" fmla="*/ 275008 h 283512"/>
                <a:gd name="connsiteX231" fmla="*/ 1923327 w 2096597"/>
                <a:gd name="connsiteY231" fmla="*/ 253244 h 283512"/>
                <a:gd name="connsiteX232" fmla="*/ 1902716 w 2096597"/>
                <a:gd name="connsiteY232" fmla="*/ 220381 h 283512"/>
                <a:gd name="connsiteX233" fmla="*/ 1895509 w 2096597"/>
                <a:gd name="connsiteY233" fmla="*/ 179303 h 283512"/>
                <a:gd name="connsiteX234" fmla="*/ 1902716 w 2096597"/>
                <a:gd name="connsiteY234" fmla="*/ 138801 h 283512"/>
                <a:gd name="connsiteX235" fmla="*/ 1923327 w 2096597"/>
                <a:gd name="connsiteY235" fmla="*/ 106083 h 283512"/>
                <a:gd name="connsiteX236" fmla="*/ 1954893 w 2096597"/>
                <a:gd name="connsiteY236" fmla="*/ 84463 h 283512"/>
                <a:gd name="connsiteX237" fmla="*/ 1995683 w 2096597"/>
                <a:gd name="connsiteY237" fmla="*/ 76679 h 283512"/>
                <a:gd name="connsiteX238" fmla="*/ 2033157 w 2096597"/>
                <a:gd name="connsiteY238" fmla="*/ 83165 h 283512"/>
                <a:gd name="connsiteX239" fmla="*/ 2062273 w 2096597"/>
                <a:gd name="connsiteY239" fmla="*/ 101038 h 283512"/>
                <a:gd name="connsiteX240" fmla="*/ 2088361 w 2096597"/>
                <a:gd name="connsiteY240" fmla="*/ 141540 h 283512"/>
                <a:gd name="connsiteX241" fmla="*/ 2096577 w 2096597"/>
                <a:gd name="connsiteY241" fmla="*/ 195734 h 283512"/>
                <a:gd name="connsiteX242" fmla="*/ 1956478 w 2096597"/>
                <a:gd name="connsiteY242" fmla="*/ 195734 h 283512"/>
                <a:gd name="connsiteX243" fmla="*/ 1970171 w 2096597"/>
                <a:gd name="connsiteY243" fmla="*/ 227011 h 283512"/>
                <a:gd name="connsiteX244" fmla="*/ 2000295 w 2096597"/>
                <a:gd name="connsiteY244" fmla="*/ 238398 h 283512"/>
                <a:gd name="connsiteX245" fmla="*/ 2020474 w 2096597"/>
                <a:gd name="connsiteY245" fmla="*/ 233209 h 283512"/>
                <a:gd name="connsiteX246" fmla="*/ 2032725 w 2096597"/>
                <a:gd name="connsiteY246" fmla="*/ 218940 h 283512"/>
                <a:gd name="connsiteX247" fmla="*/ 2093262 w 2096597"/>
                <a:gd name="connsiteY247" fmla="*/ 218940 h 283512"/>
                <a:gd name="connsiteX248" fmla="*/ 2081875 w 2096597"/>
                <a:gd name="connsiteY248" fmla="*/ 244308 h 283512"/>
                <a:gd name="connsiteX249" fmla="*/ 2060543 w 2096597"/>
                <a:gd name="connsiteY249" fmla="*/ 265063 h 283512"/>
                <a:gd name="connsiteX250" fmla="*/ 2033302 w 2096597"/>
                <a:gd name="connsiteY250" fmla="*/ 278323 h 283512"/>
                <a:gd name="connsiteX251" fmla="*/ 1999574 w 2096597"/>
                <a:gd name="connsiteY251" fmla="*/ 282936 h 283512"/>
                <a:gd name="connsiteX252" fmla="*/ 2033878 w 2096597"/>
                <a:gd name="connsiteY252" fmla="*/ 158836 h 283512"/>
                <a:gd name="connsiteX253" fmla="*/ 2022059 w 2096597"/>
                <a:gd name="connsiteY253" fmla="*/ 131018 h 283512"/>
                <a:gd name="connsiteX254" fmla="*/ 1996980 w 2096597"/>
                <a:gd name="connsiteY254" fmla="*/ 120784 h 283512"/>
                <a:gd name="connsiteX255" fmla="*/ 1969594 w 2096597"/>
                <a:gd name="connsiteY255" fmla="*/ 131018 h 283512"/>
                <a:gd name="connsiteX256" fmla="*/ 1957055 w 2096597"/>
                <a:gd name="connsiteY256" fmla="*/ 158836 h 283512"/>
                <a:gd name="connsiteX257" fmla="*/ 2033878 w 2096597"/>
                <a:gd name="connsiteY257" fmla="*/ 15883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6597" h="283512">
                  <a:moveTo>
                    <a:pt x="129433" y="283512"/>
                  </a:moveTo>
                  <a:cubicBezTo>
                    <a:pt x="109830" y="283512"/>
                    <a:pt x="92390" y="280197"/>
                    <a:pt x="76968" y="273567"/>
                  </a:cubicBezTo>
                  <a:cubicBezTo>
                    <a:pt x="61545" y="266937"/>
                    <a:pt x="47997" y="257568"/>
                    <a:pt x="36610" y="245461"/>
                  </a:cubicBezTo>
                  <a:cubicBezTo>
                    <a:pt x="24647" y="232489"/>
                    <a:pt x="15567" y="217354"/>
                    <a:pt x="9369" y="199770"/>
                  </a:cubicBezTo>
                  <a:cubicBezTo>
                    <a:pt x="3171" y="182330"/>
                    <a:pt x="0" y="163160"/>
                    <a:pt x="0" y="142260"/>
                  </a:cubicBezTo>
                  <a:cubicBezTo>
                    <a:pt x="0" y="121361"/>
                    <a:pt x="3459" y="100894"/>
                    <a:pt x="10522" y="82733"/>
                  </a:cubicBezTo>
                  <a:cubicBezTo>
                    <a:pt x="17440" y="64572"/>
                    <a:pt x="27386" y="49006"/>
                    <a:pt x="40358" y="36178"/>
                  </a:cubicBezTo>
                  <a:cubicBezTo>
                    <a:pt x="51744" y="24791"/>
                    <a:pt x="65149" y="15855"/>
                    <a:pt x="80715" y="9513"/>
                  </a:cubicBezTo>
                  <a:cubicBezTo>
                    <a:pt x="96138" y="3171"/>
                    <a:pt x="113866" y="0"/>
                    <a:pt x="133612" y="0"/>
                  </a:cubicBezTo>
                  <a:cubicBezTo>
                    <a:pt x="151053" y="0"/>
                    <a:pt x="166907" y="2162"/>
                    <a:pt x="180744" y="6630"/>
                  </a:cubicBezTo>
                  <a:cubicBezTo>
                    <a:pt x="194725" y="11098"/>
                    <a:pt x="206833" y="17440"/>
                    <a:pt x="216922" y="25656"/>
                  </a:cubicBezTo>
                  <a:cubicBezTo>
                    <a:pt x="227011" y="33872"/>
                    <a:pt x="235227" y="43817"/>
                    <a:pt x="241425" y="55492"/>
                  </a:cubicBezTo>
                  <a:cubicBezTo>
                    <a:pt x="247623" y="67167"/>
                    <a:pt x="251947" y="80139"/>
                    <a:pt x="254109" y="94264"/>
                  </a:cubicBezTo>
                  <a:lnTo>
                    <a:pt x="188672" y="94264"/>
                  </a:lnTo>
                  <a:cubicBezTo>
                    <a:pt x="186077" y="83165"/>
                    <a:pt x="180456" y="73797"/>
                    <a:pt x="171520" y="66446"/>
                  </a:cubicBezTo>
                  <a:cubicBezTo>
                    <a:pt x="162583" y="59095"/>
                    <a:pt x="150764" y="55348"/>
                    <a:pt x="135774" y="55348"/>
                  </a:cubicBezTo>
                  <a:cubicBezTo>
                    <a:pt x="124532" y="55348"/>
                    <a:pt x="114731" y="57654"/>
                    <a:pt x="106227" y="61978"/>
                  </a:cubicBezTo>
                  <a:cubicBezTo>
                    <a:pt x="97723" y="66446"/>
                    <a:pt x="90660" y="72500"/>
                    <a:pt x="85039" y="80283"/>
                  </a:cubicBezTo>
                  <a:cubicBezTo>
                    <a:pt x="79418" y="88066"/>
                    <a:pt x="75238" y="97146"/>
                    <a:pt x="72500" y="107668"/>
                  </a:cubicBezTo>
                  <a:cubicBezTo>
                    <a:pt x="69761" y="118190"/>
                    <a:pt x="68320" y="129721"/>
                    <a:pt x="68320" y="142116"/>
                  </a:cubicBezTo>
                  <a:cubicBezTo>
                    <a:pt x="68320" y="154512"/>
                    <a:pt x="69905" y="166043"/>
                    <a:pt x="73076" y="176709"/>
                  </a:cubicBezTo>
                  <a:cubicBezTo>
                    <a:pt x="76247" y="187375"/>
                    <a:pt x="80715" y="196599"/>
                    <a:pt x="86625" y="204238"/>
                  </a:cubicBezTo>
                  <a:cubicBezTo>
                    <a:pt x="92534" y="212021"/>
                    <a:pt x="99597" y="218075"/>
                    <a:pt x="108101" y="222255"/>
                  </a:cubicBezTo>
                  <a:cubicBezTo>
                    <a:pt x="116605" y="226579"/>
                    <a:pt x="126117" y="228741"/>
                    <a:pt x="136783" y="228741"/>
                  </a:cubicBezTo>
                  <a:cubicBezTo>
                    <a:pt x="145576" y="228741"/>
                    <a:pt x="153647" y="227444"/>
                    <a:pt x="160566" y="224705"/>
                  </a:cubicBezTo>
                  <a:cubicBezTo>
                    <a:pt x="167484" y="222111"/>
                    <a:pt x="173538" y="218508"/>
                    <a:pt x="178438" y="214039"/>
                  </a:cubicBezTo>
                  <a:cubicBezTo>
                    <a:pt x="183339" y="209571"/>
                    <a:pt x="187375" y="204526"/>
                    <a:pt x="190257" y="198761"/>
                  </a:cubicBezTo>
                  <a:cubicBezTo>
                    <a:pt x="193140" y="193140"/>
                    <a:pt x="195014" y="187230"/>
                    <a:pt x="195734" y="181033"/>
                  </a:cubicBezTo>
                  <a:lnTo>
                    <a:pt x="195734" y="180312"/>
                  </a:lnTo>
                  <a:lnTo>
                    <a:pt x="144711" y="180312"/>
                  </a:lnTo>
                  <a:lnTo>
                    <a:pt x="144711" y="130874"/>
                  </a:lnTo>
                  <a:lnTo>
                    <a:pt x="258144" y="130874"/>
                  </a:lnTo>
                  <a:lnTo>
                    <a:pt x="258144" y="277026"/>
                  </a:lnTo>
                  <a:lnTo>
                    <a:pt x="211013" y="277026"/>
                  </a:lnTo>
                  <a:lnTo>
                    <a:pt x="207265" y="244308"/>
                  </a:lnTo>
                  <a:lnTo>
                    <a:pt x="206544" y="244308"/>
                  </a:lnTo>
                  <a:cubicBezTo>
                    <a:pt x="197608" y="258289"/>
                    <a:pt x="186654" y="268234"/>
                    <a:pt x="173682" y="274143"/>
                  </a:cubicBezTo>
                  <a:cubicBezTo>
                    <a:pt x="160566" y="280053"/>
                    <a:pt x="145864" y="283080"/>
                    <a:pt x="129288" y="283080"/>
                  </a:cubicBezTo>
                  <a:moveTo>
                    <a:pt x="358029" y="282647"/>
                  </a:moveTo>
                  <a:cubicBezTo>
                    <a:pt x="335400" y="282647"/>
                    <a:pt x="318393" y="276017"/>
                    <a:pt x="306862" y="262613"/>
                  </a:cubicBezTo>
                  <a:cubicBezTo>
                    <a:pt x="295331" y="249352"/>
                    <a:pt x="289566" y="231768"/>
                    <a:pt x="289566" y="209859"/>
                  </a:cubicBezTo>
                  <a:lnTo>
                    <a:pt x="289566" y="82012"/>
                  </a:lnTo>
                  <a:lnTo>
                    <a:pt x="351255" y="82012"/>
                  </a:lnTo>
                  <a:lnTo>
                    <a:pt x="351255" y="197032"/>
                  </a:lnTo>
                  <a:cubicBezTo>
                    <a:pt x="351255" y="207697"/>
                    <a:pt x="353705" y="215913"/>
                    <a:pt x="358462" y="221534"/>
                  </a:cubicBezTo>
                  <a:cubicBezTo>
                    <a:pt x="363218" y="227300"/>
                    <a:pt x="370713" y="230038"/>
                    <a:pt x="380514" y="230038"/>
                  </a:cubicBezTo>
                  <a:cubicBezTo>
                    <a:pt x="391180" y="230038"/>
                    <a:pt x="399540" y="226435"/>
                    <a:pt x="405594" y="219228"/>
                  </a:cubicBezTo>
                  <a:cubicBezTo>
                    <a:pt x="411647" y="212021"/>
                    <a:pt x="414674" y="202509"/>
                    <a:pt x="414674" y="190834"/>
                  </a:cubicBezTo>
                  <a:lnTo>
                    <a:pt x="414674" y="82012"/>
                  </a:lnTo>
                  <a:lnTo>
                    <a:pt x="476652" y="82012"/>
                  </a:lnTo>
                  <a:lnTo>
                    <a:pt x="476652" y="276882"/>
                  </a:lnTo>
                  <a:lnTo>
                    <a:pt x="417269" y="276882"/>
                  </a:lnTo>
                  <a:lnTo>
                    <a:pt x="417269" y="252956"/>
                  </a:lnTo>
                  <a:lnTo>
                    <a:pt x="416116" y="252956"/>
                  </a:lnTo>
                  <a:cubicBezTo>
                    <a:pt x="409053" y="262613"/>
                    <a:pt x="400981" y="269963"/>
                    <a:pt x="391901" y="275008"/>
                  </a:cubicBezTo>
                  <a:cubicBezTo>
                    <a:pt x="382965" y="280053"/>
                    <a:pt x="371578" y="282647"/>
                    <a:pt x="357885" y="282647"/>
                  </a:cubicBezTo>
                  <a:moveTo>
                    <a:pt x="511965" y="2162"/>
                  </a:moveTo>
                  <a:lnTo>
                    <a:pt x="573943" y="2162"/>
                  </a:lnTo>
                  <a:lnTo>
                    <a:pt x="573943" y="55059"/>
                  </a:lnTo>
                  <a:lnTo>
                    <a:pt x="511965" y="55059"/>
                  </a:lnTo>
                  <a:lnTo>
                    <a:pt x="511965" y="2162"/>
                  </a:lnTo>
                  <a:close/>
                  <a:moveTo>
                    <a:pt x="511965" y="82012"/>
                  </a:moveTo>
                  <a:lnTo>
                    <a:pt x="573943" y="82012"/>
                  </a:lnTo>
                  <a:lnTo>
                    <a:pt x="573943" y="276882"/>
                  </a:lnTo>
                  <a:lnTo>
                    <a:pt x="511965" y="276882"/>
                  </a:lnTo>
                  <a:lnTo>
                    <a:pt x="511965" y="82012"/>
                  </a:lnTo>
                  <a:close/>
                  <a:moveTo>
                    <a:pt x="685935" y="282936"/>
                  </a:moveTo>
                  <a:cubicBezTo>
                    <a:pt x="673539" y="282936"/>
                    <a:pt x="662009" y="280629"/>
                    <a:pt x="651631" y="275873"/>
                  </a:cubicBezTo>
                  <a:cubicBezTo>
                    <a:pt x="641253" y="271117"/>
                    <a:pt x="632173" y="264342"/>
                    <a:pt x="624678" y="255550"/>
                  </a:cubicBezTo>
                  <a:cubicBezTo>
                    <a:pt x="617039" y="246614"/>
                    <a:pt x="611129" y="235804"/>
                    <a:pt x="606949" y="222976"/>
                  </a:cubicBezTo>
                  <a:cubicBezTo>
                    <a:pt x="602769" y="210148"/>
                    <a:pt x="600607" y="195590"/>
                    <a:pt x="600607" y="179447"/>
                  </a:cubicBezTo>
                  <a:cubicBezTo>
                    <a:pt x="600607" y="164169"/>
                    <a:pt x="602769" y="150332"/>
                    <a:pt x="606949" y="137504"/>
                  </a:cubicBezTo>
                  <a:cubicBezTo>
                    <a:pt x="611129" y="124820"/>
                    <a:pt x="617039" y="114010"/>
                    <a:pt x="624390" y="104930"/>
                  </a:cubicBezTo>
                  <a:cubicBezTo>
                    <a:pt x="631884" y="95993"/>
                    <a:pt x="640821" y="88931"/>
                    <a:pt x="651199" y="83742"/>
                  </a:cubicBezTo>
                  <a:cubicBezTo>
                    <a:pt x="661576" y="78697"/>
                    <a:pt x="673107" y="76103"/>
                    <a:pt x="685791" y="76103"/>
                  </a:cubicBezTo>
                  <a:cubicBezTo>
                    <a:pt x="699483" y="76103"/>
                    <a:pt x="710582" y="78697"/>
                    <a:pt x="718942" y="83886"/>
                  </a:cubicBezTo>
                  <a:cubicBezTo>
                    <a:pt x="727301" y="89075"/>
                    <a:pt x="734364" y="95705"/>
                    <a:pt x="740273" y="103921"/>
                  </a:cubicBezTo>
                  <a:lnTo>
                    <a:pt x="741426" y="103921"/>
                  </a:lnTo>
                  <a:lnTo>
                    <a:pt x="741426" y="1874"/>
                  </a:lnTo>
                  <a:lnTo>
                    <a:pt x="803404" y="1874"/>
                  </a:lnTo>
                  <a:lnTo>
                    <a:pt x="803404" y="276738"/>
                  </a:lnTo>
                  <a:lnTo>
                    <a:pt x="744021" y="276738"/>
                  </a:lnTo>
                  <a:lnTo>
                    <a:pt x="744021" y="250505"/>
                  </a:lnTo>
                  <a:lnTo>
                    <a:pt x="743300" y="250505"/>
                  </a:lnTo>
                  <a:cubicBezTo>
                    <a:pt x="737535" y="260595"/>
                    <a:pt x="729607" y="268522"/>
                    <a:pt x="719951" y="274287"/>
                  </a:cubicBezTo>
                  <a:cubicBezTo>
                    <a:pt x="710149" y="280053"/>
                    <a:pt x="698907" y="282791"/>
                    <a:pt x="685935" y="282791"/>
                  </a:cubicBezTo>
                  <a:moveTo>
                    <a:pt x="701934" y="233642"/>
                  </a:moveTo>
                  <a:cubicBezTo>
                    <a:pt x="714906" y="233642"/>
                    <a:pt x="724995" y="228597"/>
                    <a:pt x="732202" y="218363"/>
                  </a:cubicBezTo>
                  <a:cubicBezTo>
                    <a:pt x="739409" y="208274"/>
                    <a:pt x="743012" y="195158"/>
                    <a:pt x="743012" y="179159"/>
                  </a:cubicBezTo>
                  <a:cubicBezTo>
                    <a:pt x="743012" y="171087"/>
                    <a:pt x="742147" y="163448"/>
                    <a:pt x="740562" y="156530"/>
                  </a:cubicBezTo>
                  <a:cubicBezTo>
                    <a:pt x="738976" y="149611"/>
                    <a:pt x="736382" y="143558"/>
                    <a:pt x="732923" y="138657"/>
                  </a:cubicBezTo>
                  <a:cubicBezTo>
                    <a:pt x="729463" y="133757"/>
                    <a:pt x="725284" y="129865"/>
                    <a:pt x="720383" y="126982"/>
                  </a:cubicBezTo>
                  <a:cubicBezTo>
                    <a:pt x="715482" y="124244"/>
                    <a:pt x="709573" y="122802"/>
                    <a:pt x="702654" y="122802"/>
                  </a:cubicBezTo>
                  <a:cubicBezTo>
                    <a:pt x="690259" y="122802"/>
                    <a:pt x="680602" y="127991"/>
                    <a:pt x="673683" y="138225"/>
                  </a:cubicBezTo>
                  <a:cubicBezTo>
                    <a:pt x="666765" y="148458"/>
                    <a:pt x="663450" y="161863"/>
                    <a:pt x="663450" y="178438"/>
                  </a:cubicBezTo>
                  <a:cubicBezTo>
                    <a:pt x="663450" y="195014"/>
                    <a:pt x="666765" y="208851"/>
                    <a:pt x="673539" y="218796"/>
                  </a:cubicBezTo>
                  <a:cubicBezTo>
                    <a:pt x="680314" y="228741"/>
                    <a:pt x="689682" y="233642"/>
                    <a:pt x="701934" y="233642"/>
                  </a:cubicBezTo>
                  <a:moveTo>
                    <a:pt x="930242" y="282359"/>
                  </a:moveTo>
                  <a:cubicBezTo>
                    <a:pt x="914243" y="282359"/>
                    <a:pt x="899830" y="279765"/>
                    <a:pt x="886858" y="274576"/>
                  </a:cubicBezTo>
                  <a:cubicBezTo>
                    <a:pt x="873886" y="269387"/>
                    <a:pt x="862932" y="262180"/>
                    <a:pt x="854139" y="252811"/>
                  </a:cubicBezTo>
                  <a:cubicBezTo>
                    <a:pt x="845203" y="243587"/>
                    <a:pt x="838429" y="232633"/>
                    <a:pt x="833528" y="219949"/>
                  </a:cubicBezTo>
                  <a:cubicBezTo>
                    <a:pt x="828772" y="207265"/>
                    <a:pt x="826322" y="193572"/>
                    <a:pt x="826322" y="178871"/>
                  </a:cubicBezTo>
                  <a:cubicBezTo>
                    <a:pt x="826322" y="164169"/>
                    <a:pt x="828772" y="150909"/>
                    <a:pt x="833528" y="138369"/>
                  </a:cubicBezTo>
                  <a:cubicBezTo>
                    <a:pt x="838285" y="125829"/>
                    <a:pt x="845203" y="114875"/>
                    <a:pt x="854139" y="105650"/>
                  </a:cubicBezTo>
                  <a:cubicBezTo>
                    <a:pt x="863076" y="96426"/>
                    <a:pt x="873598" y="89219"/>
                    <a:pt x="885705" y="84030"/>
                  </a:cubicBezTo>
                  <a:cubicBezTo>
                    <a:pt x="897812" y="78841"/>
                    <a:pt x="911505" y="76247"/>
                    <a:pt x="926495" y="76247"/>
                  </a:cubicBezTo>
                  <a:cubicBezTo>
                    <a:pt x="940476" y="76247"/>
                    <a:pt x="953016" y="78409"/>
                    <a:pt x="963970" y="82733"/>
                  </a:cubicBezTo>
                  <a:cubicBezTo>
                    <a:pt x="975068" y="87057"/>
                    <a:pt x="984725" y="92967"/>
                    <a:pt x="993085" y="100606"/>
                  </a:cubicBezTo>
                  <a:cubicBezTo>
                    <a:pt x="1004760" y="111272"/>
                    <a:pt x="1013408" y="124820"/>
                    <a:pt x="1019173" y="141107"/>
                  </a:cubicBezTo>
                  <a:cubicBezTo>
                    <a:pt x="1024939" y="157539"/>
                    <a:pt x="1027533" y="175556"/>
                    <a:pt x="1027389" y="195302"/>
                  </a:cubicBezTo>
                  <a:lnTo>
                    <a:pt x="887290" y="195302"/>
                  </a:lnTo>
                  <a:cubicBezTo>
                    <a:pt x="889308" y="208562"/>
                    <a:pt x="893921" y="218940"/>
                    <a:pt x="900983" y="226579"/>
                  </a:cubicBezTo>
                  <a:cubicBezTo>
                    <a:pt x="908046" y="234218"/>
                    <a:pt x="918135" y="237966"/>
                    <a:pt x="931107" y="237966"/>
                  </a:cubicBezTo>
                  <a:cubicBezTo>
                    <a:pt x="939179" y="237966"/>
                    <a:pt x="945953" y="236236"/>
                    <a:pt x="951286" y="232777"/>
                  </a:cubicBezTo>
                  <a:cubicBezTo>
                    <a:pt x="956619" y="229318"/>
                    <a:pt x="960655" y="224561"/>
                    <a:pt x="963393" y="218508"/>
                  </a:cubicBezTo>
                  <a:lnTo>
                    <a:pt x="1023930" y="218508"/>
                  </a:lnTo>
                  <a:cubicBezTo>
                    <a:pt x="1021912" y="227444"/>
                    <a:pt x="1018020" y="235804"/>
                    <a:pt x="1012543" y="243875"/>
                  </a:cubicBezTo>
                  <a:cubicBezTo>
                    <a:pt x="1006922" y="251803"/>
                    <a:pt x="999859" y="258721"/>
                    <a:pt x="991211" y="264630"/>
                  </a:cubicBezTo>
                  <a:cubicBezTo>
                    <a:pt x="983140" y="270540"/>
                    <a:pt x="974059" y="274864"/>
                    <a:pt x="963970" y="277891"/>
                  </a:cubicBezTo>
                  <a:cubicBezTo>
                    <a:pt x="954024" y="280918"/>
                    <a:pt x="942782" y="282503"/>
                    <a:pt x="930242" y="282503"/>
                  </a:cubicBezTo>
                  <a:moveTo>
                    <a:pt x="964546" y="158404"/>
                  </a:moveTo>
                  <a:cubicBezTo>
                    <a:pt x="963249" y="146729"/>
                    <a:pt x="959357" y="137504"/>
                    <a:pt x="952727" y="130586"/>
                  </a:cubicBezTo>
                  <a:cubicBezTo>
                    <a:pt x="946097" y="123811"/>
                    <a:pt x="937737" y="120352"/>
                    <a:pt x="927648" y="120352"/>
                  </a:cubicBezTo>
                  <a:cubicBezTo>
                    <a:pt x="915685" y="120352"/>
                    <a:pt x="906604" y="123811"/>
                    <a:pt x="900262" y="130586"/>
                  </a:cubicBezTo>
                  <a:cubicBezTo>
                    <a:pt x="893921" y="137504"/>
                    <a:pt x="889741" y="146729"/>
                    <a:pt x="887723" y="158404"/>
                  </a:cubicBezTo>
                  <a:lnTo>
                    <a:pt x="964546" y="158404"/>
                  </a:lnTo>
                  <a:close/>
                  <a:moveTo>
                    <a:pt x="1050162" y="2018"/>
                  </a:moveTo>
                  <a:lnTo>
                    <a:pt x="1112140" y="2018"/>
                  </a:lnTo>
                  <a:lnTo>
                    <a:pt x="1112140" y="105939"/>
                  </a:lnTo>
                  <a:lnTo>
                    <a:pt x="1113293" y="105939"/>
                  </a:lnTo>
                  <a:cubicBezTo>
                    <a:pt x="1120355" y="96570"/>
                    <a:pt x="1128427" y="89219"/>
                    <a:pt x="1137219" y="84030"/>
                  </a:cubicBezTo>
                  <a:cubicBezTo>
                    <a:pt x="1146155" y="78841"/>
                    <a:pt x="1157398" y="76247"/>
                    <a:pt x="1171091" y="76247"/>
                  </a:cubicBezTo>
                  <a:cubicBezTo>
                    <a:pt x="1181757" y="76247"/>
                    <a:pt x="1191269" y="78121"/>
                    <a:pt x="1199629" y="81724"/>
                  </a:cubicBezTo>
                  <a:cubicBezTo>
                    <a:pt x="1207989" y="85327"/>
                    <a:pt x="1215052" y="90516"/>
                    <a:pt x="1220961" y="97002"/>
                  </a:cubicBezTo>
                  <a:cubicBezTo>
                    <a:pt x="1226871" y="103488"/>
                    <a:pt x="1231195" y="111272"/>
                    <a:pt x="1234366" y="120208"/>
                  </a:cubicBezTo>
                  <a:cubicBezTo>
                    <a:pt x="1237392" y="129144"/>
                    <a:pt x="1238978" y="139234"/>
                    <a:pt x="1238978" y="150044"/>
                  </a:cubicBezTo>
                  <a:lnTo>
                    <a:pt x="1238978" y="276738"/>
                  </a:lnTo>
                  <a:lnTo>
                    <a:pt x="1177000" y="276738"/>
                  </a:lnTo>
                  <a:lnTo>
                    <a:pt x="1177000" y="162583"/>
                  </a:lnTo>
                  <a:cubicBezTo>
                    <a:pt x="1177000" y="152206"/>
                    <a:pt x="1174406" y="143846"/>
                    <a:pt x="1169361" y="137504"/>
                  </a:cubicBezTo>
                  <a:cubicBezTo>
                    <a:pt x="1164316" y="131162"/>
                    <a:pt x="1156677" y="127991"/>
                    <a:pt x="1146588" y="127991"/>
                  </a:cubicBezTo>
                  <a:cubicBezTo>
                    <a:pt x="1136498" y="127991"/>
                    <a:pt x="1127850" y="131739"/>
                    <a:pt x="1121653" y="139378"/>
                  </a:cubicBezTo>
                  <a:cubicBezTo>
                    <a:pt x="1115455" y="147017"/>
                    <a:pt x="1112284" y="156962"/>
                    <a:pt x="1112284" y="169069"/>
                  </a:cubicBezTo>
                  <a:lnTo>
                    <a:pt x="1112284" y="276738"/>
                  </a:lnTo>
                  <a:lnTo>
                    <a:pt x="1050306" y="276738"/>
                  </a:lnTo>
                  <a:lnTo>
                    <a:pt x="1050306" y="1874"/>
                  </a:lnTo>
                  <a:close/>
                  <a:moveTo>
                    <a:pt x="1362645" y="282936"/>
                  </a:moveTo>
                  <a:cubicBezTo>
                    <a:pt x="1346935" y="282936"/>
                    <a:pt x="1332665" y="280341"/>
                    <a:pt x="1319837" y="275152"/>
                  </a:cubicBezTo>
                  <a:cubicBezTo>
                    <a:pt x="1307009" y="269963"/>
                    <a:pt x="1296055" y="262757"/>
                    <a:pt x="1286830" y="253388"/>
                  </a:cubicBezTo>
                  <a:cubicBezTo>
                    <a:pt x="1277750" y="244163"/>
                    <a:pt x="1270687" y="233209"/>
                    <a:pt x="1265787" y="220670"/>
                  </a:cubicBezTo>
                  <a:cubicBezTo>
                    <a:pt x="1260886" y="208130"/>
                    <a:pt x="1258292" y="194437"/>
                    <a:pt x="1258292" y="179735"/>
                  </a:cubicBezTo>
                  <a:cubicBezTo>
                    <a:pt x="1258292" y="165034"/>
                    <a:pt x="1260742" y="151341"/>
                    <a:pt x="1265787" y="138801"/>
                  </a:cubicBezTo>
                  <a:cubicBezTo>
                    <a:pt x="1270687" y="126262"/>
                    <a:pt x="1277750" y="115307"/>
                    <a:pt x="1286830" y="106083"/>
                  </a:cubicBezTo>
                  <a:cubicBezTo>
                    <a:pt x="1295911" y="96858"/>
                    <a:pt x="1307009" y="89651"/>
                    <a:pt x="1319837" y="84463"/>
                  </a:cubicBezTo>
                  <a:cubicBezTo>
                    <a:pt x="1332665" y="79274"/>
                    <a:pt x="1346935" y="76679"/>
                    <a:pt x="1362645" y="76679"/>
                  </a:cubicBezTo>
                  <a:cubicBezTo>
                    <a:pt x="1378356" y="76679"/>
                    <a:pt x="1392625" y="79274"/>
                    <a:pt x="1405453" y="84463"/>
                  </a:cubicBezTo>
                  <a:cubicBezTo>
                    <a:pt x="1418281" y="89651"/>
                    <a:pt x="1429235" y="96858"/>
                    <a:pt x="1438171" y="106083"/>
                  </a:cubicBezTo>
                  <a:cubicBezTo>
                    <a:pt x="1447108" y="115307"/>
                    <a:pt x="1454170" y="126262"/>
                    <a:pt x="1459071" y="138801"/>
                  </a:cubicBezTo>
                  <a:cubicBezTo>
                    <a:pt x="1463971" y="151341"/>
                    <a:pt x="1466422" y="165034"/>
                    <a:pt x="1466422" y="179735"/>
                  </a:cubicBezTo>
                  <a:cubicBezTo>
                    <a:pt x="1466422" y="194437"/>
                    <a:pt x="1463971" y="208130"/>
                    <a:pt x="1459071" y="220670"/>
                  </a:cubicBezTo>
                  <a:cubicBezTo>
                    <a:pt x="1454170" y="233209"/>
                    <a:pt x="1447108" y="244163"/>
                    <a:pt x="1438171" y="253388"/>
                  </a:cubicBezTo>
                  <a:cubicBezTo>
                    <a:pt x="1429235" y="262613"/>
                    <a:pt x="1418281" y="269819"/>
                    <a:pt x="1405453" y="275152"/>
                  </a:cubicBezTo>
                  <a:cubicBezTo>
                    <a:pt x="1392625" y="280341"/>
                    <a:pt x="1378356" y="282936"/>
                    <a:pt x="1362645" y="282936"/>
                  </a:cubicBezTo>
                  <a:moveTo>
                    <a:pt x="1362213" y="238830"/>
                  </a:moveTo>
                  <a:cubicBezTo>
                    <a:pt x="1375905" y="238830"/>
                    <a:pt x="1386283" y="233497"/>
                    <a:pt x="1393201" y="222687"/>
                  </a:cubicBezTo>
                  <a:cubicBezTo>
                    <a:pt x="1400264" y="211877"/>
                    <a:pt x="1403723" y="197608"/>
                    <a:pt x="1403723" y="179880"/>
                  </a:cubicBezTo>
                  <a:cubicBezTo>
                    <a:pt x="1403723" y="162151"/>
                    <a:pt x="1400264" y="147738"/>
                    <a:pt x="1393201" y="136928"/>
                  </a:cubicBezTo>
                  <a:cubicBezTo>
                    <a:pt x="1386283" y="125973"/>
                    <a:pt x="1375905" y="120496"/>
                    <a:pt x="1362213" y="120496"/>
                  </a:cubicBezTo>
                  <a:cubicBezTo>
                    <a:pt x="1348520" y="120496"/>
                    <a:pt x="1338286" y="125973"/>
                    <a:pt x="1331368" y="136928"/>
                  </a:cubicBezTo>
                  <a:cubicBezTo>
                    <a:pt x="1324594" y="147882"/>
                    <a:pt x="1321134" y="162151"/>
                    <a:pt x="1321134" y="179880"/>
                  </a:cubicBezTo>
                  <a:cubicBezTo>
                    <a:pt x="1321134" y="197608"/>
                    <a:pt x="1324594" y="211877"/>
                    <a:pt x="1331368" y="222687"/>
                  </a:cubicBezTo>
                  <a:cubicBezTo>
                    <a:pt x="1338286" y="233497"/>
                    <a:pt x="1348520" y="238830"/>
                    <a:pt x="1362213" y="238830"/>
                  </a:cubicBezTo>
                  <a:moveTo>
                    <a:pt x="1554488" y="282647"/>
                  </a:moveTo>
                  <a:cubicBezTo>
                    <a:pt x="1531859" y="282647"/>
                    <a:pt x="1514851" y="276017"/>
                    <a:pt x="1503320" y="262613"/>
                  </a:cubicBezTo>
                  <a:cubicBezTo>
                    <a:pt x="1491789" y="249352"/>
                    <a:pt x="1486024" y="231768"/>
                    <a:pt x="1486024" y="209859"/>
                  </a:cubicBezTo>
                  <a:lnTo>
                    <a:pt x="1486024" y="82012"/>
                  </a:lnTo>
                  <a:lnTo>
                    <a:pt x="1547713" y="82012"/>
                  </a:lnTo>
                  <a:lnTo>
                    <a:pt x="1547713" y="197032"/>
                  </a:lnTo>
                  <a:cubicBezTo>
                    <a:pt x="1547713" y="207697"/>
                    <a:pt x="1550164" y="215913"/>
                    <a:pt x="1554920" y="221534"/>
                  </a:cubicBezTo>
                  <a:cubicBezTo>
                    <a:pt x="1559677" y="227300"/>
                    <a:pt x="1567172" y="230038"/>
                    <a:pt x="1576973" y="230038"/>
                  </a:cubicBezTo>
                  <a:cubicBezTo>
                    <a:pt x="1587639" y="230038"/>
                    <a:pt x="1595998" y="226435"/>
                    <a:pt x="1602052" y="219228"/>
                  </a:cubicBezTo>
                  <a:cubicBezTo>
                    <a:pt x="1608106" y="212021"/>
                    <a:pt x="1611132" y="202509"/>
                    <a:pt x="1611132" y="190834"/>
                  </a:cubicBezTo>
                  <a:lnTo>
                    <a:pt x="1611132" y="82012"/>
                  </a:lnTo>
                  <a:lnTo>
                    <a:pt x="1673110" y="82012"/>
                  </a:lnTo>
                  <a:lnTo>
                    <a:pt x="1673110" y="276882"/>
                  </a:lnTo>
                  <a:lnTo>
                    <a:pt x="1613727" y="276882"/>
                  </a:lnTo>
                  <a:lnTo>
                    <a:pt x="1613727" y="252956"/>
                  </a:lnTo>
                  <a:lnTo>
                    <a:pt x="1612574" y="252956"/>
                  </a:lnTo>
                  <a:cubicBezTo>
                    <a:pt x="1605511" y="262613"/>
                    <a:pt x="1597440" y="269963"/>
                    <a:pt x="1588359" y="275008"/>
                  </a:cubicBezTo>
                  <a:cubicBezTo>
                    <a:pt x="1579423" y="280053"/>
                    <a:pt x="1568036" y="282647"/>
                    <a:pt x="1554344" y="282647"/>
                  </a:cubicBezTo>
                  <a:moveTo>
                    <a:pt x="1789571" y="283080"/>
                  </a:moveTo>
                  <a:cubicBezTo>
                    <a:pt x="1760888" y="283080"/>
                    <a:pt x="1738259" y="276882"/>
                    <a:pt x="1721395" y="264630"/>
                  </a:cubicBezTo>
                  <a:cubicBezTo>
                    <a:pt x="1704676" y="252379"/>
                    <a:pt x="1695739" y="235371"/>
                    <a:pt x="1694730" y="213751"/>
                  </a:cubicBezTo>
                  <a:lnTo>
                    <a:pt x="1753393" y="213751"/>
                  </a:lnTo>
                  <a:cubicBezTo>
                    <a:pt x="1754690" y="223408"/>
                    <a:pt x="1758294" y="230615"/>
                    <a:pt x="1764491" y="235515"/>
                  </a:cubicBezTo>
                  <a:cubicBezTo>
                    <a:pt x="1770545" y="240272"/>
                    <a:pt x="1778761" y="242722"/>
                    <a:pt x="1789282" y="242722"/>
                  </a:cubicBezTo>
                  <a:cubicBezTo>
                    <a:pt x="1798651" y="242722"/>
                    <a:pt x="1806146" y="241137"/>
                    <a:pt x="1811479" y="237821"/>
                  </a:cubicBezTo>
                  <a:cubicBezTo>
                    <a:pt x="1816956" y="234506"/>
                    <a:pt x="1819695" y="229750"/>
                    <a:pt x="1819695" y="223408"/>
                  </a:cubicBezTo>
                  <a:cubicBezTo>
                    <a:pt x="1819695" y="219084"/>
                    <a:pt x="1818253" y="215625"/>
                    <a:pt x="1815515" y="212886"/>
                  </a:cubicBezTo>
                  <a:cubicBezTo>
                    <a:pt x="1812776" y="210292"/>
                    <a:pt x="1809029" y="208130"/>
                    <a:pt x="1804416" y="206400"/>
                  </a:cubicBezTo>
                  <a:cubicBezTo>
                    <a:pt x="1799804" y="204815"/>
                    <a:pt x="1794615" y="203518"/>
                    <a:pt x="1788562" y="202653"/>
                  </a:cubicBezTo>
                  <a:cubicBezTo>
                    <a:pt x="1782652" y="201788"/>
                    <a:pt x="1776454" y="200635"/>
                    <a:pt x="1770112" y="199482"/>
                  </a:cubicBezTo>
                  <a:cubicBezTo>
                    <a:pt x="1761753" y="197896"/>
                    <a:pt x="1753393" y="196167"/>
                    <a:pt x="1745033" y="194005"/>
                  </a:cubicBezTo>
                  <a:cubicBezTo>
                    <a:pt x="1736673" y="191843"/>
                    <a:pt x="1729178" y="188672"/>
                    <a:pt x="1722404" y="184348"/>
                  </a:cubicBezTo>
                  <a:cubicBezTo>
                    <a:pt x="1715630" y="180024"/>
                    <a:pt x="1710297" y="174258"/>
                    <a:pt x="1706261" y="167052"/>
                  </a:cubicBezTo>
                  <a:cubicBezTo>
                    <a:pt x="1702225" y="159845"/>
                    <a:pt x="1700207" y="150476"/>
                    <a:pt x="1700207" y="139090"/>
                  </a:cubicBezTo>
                  <a:cubicBezTo>
                    <a:pt x="1700207" y="129000"/>
                    <a:pt x="1702369" y="119920"/>
                    <a:pt x="1706837" y="111992"/>
                  </a:cubicBezTo>
                  <a:cubicBezTo>
                    <a:pt x="1711306" y="104209"/>
                    <a:pt x="1717359" y="97579"/>
                    <a:pt x="1724999" y="92390"/>
                  </a:cubicBezTo>
                  <a:cubicBezTo>
                    <a:pt x="1732638" y="87201"/>
                    <a:pt x="1741574" y="83310"/>
                    <a:pt x="1751808" y="80571"/>
                  </a:cubicBezTo>
                  <a:cubicBezTo>
                    <a:pt x="1762041" y="77977"/>
                    <a:pt x="1772995" y="76535"/>
                    <a:pt x="1784382" y="76535"/>
                  </a:cubicBezTo>
                  <a:cubicBezTo>
                    <a:pt x="1812056" y="76535"/>
                    <a:pt x="1833243" y="82157"/>
                    <a:pt x="1847945" y="93255"/>
                  </a:cubicBezTo>
                  <a:cubicBezTo>
                    <a:pt x="1862647" y="104353"/>
                    <a:pt x="1870718" y="119631"/>
                    <a:pt x="1872304" y="138945"/>
                  </a:cubicBezTo>
                  <a:lnTo>
                    <a:pt x="1815226" y="138945"/>
                  </a:lnTo>
                  <a:cubicBezTo>
                    <a:pt x="1813929" y="130009"/>
                    <a:pt x="1810614" y="124100"/>
                    <a:pt x="1805137" y="120929"/>
                  </a:cubicBezTo>
                  <a:cubicBezTo>
                    <a:pt x="1799660" y="117758"/>
                    <a:pt x="1792598" y="116172"/>
                    <a:pt x="1783949" y="116172"/>
                  </a:cubicBezTo>
                  <a:cubicBezTo>
                    <a:pt x="1776310" y="116172"/>
                    <a:pt x="1769968" y="117614"/>
                    <a:pt x="1764780" y="120496"/>
                  </a:cubicBezTo>
                  <a:cubicBezTo>
                    <a:pt x="1759591" y="123379"/>
                    <a:pt x="1756996" y="127847"/>
                    <a:pt x="1756996" y="134045"/>
                  </a:cubicBezTo>
                  <a:cubicBezTo>
                    <a:pt x="1756996" y="137648"/>
                    <a:pt x="1758294" y="140387"/>
                    <a:pt x="1760744" y="142405"/>
                  </a:cubicBezTo>
                  <a:cubicBezTo>
                    <a:pt x="1763338" y="144423"/>
                    <a:pt x="1766653" y="146152"/>
                    <a:pt x="1770977" y="147593"/>
                  </a:cubicBezTo>
                  <a:cubicBezTo>
                    <a:pt x="1775301" y="149035"/>
                    <a:pt x="1780346" y="150188"/>
                    <a:pt x="1785967" y="151197"/>
                  </a:cubicBezTo>
                  <a:cubicBezTo>
                    <a:pt x="1791733" y="152206"/>
                    <a:pt x="1797642" y="153215"/>
                    <a:pt x="1803696" y="154224"/>
                  </a:cubicBezTo>
                  <a:cubicBezTo>
                    <a:pt x="1812344" y="155665"/>
                    <a:pt x="1820992" y="157539"/>
                    <a:pt x="1829784" y="159701"/>
                  </a:cubicBezTo>
                  <a:cubicBezTo>
                    <a:pt x="1838576" y="161863"/>
                    <a:pt x="1846504" y="165178"/>
                    <a:pt x="1853710" y="169790"/>
                  </a:cubicBezTo>
                  <a:cubicBezTo>
                    <a:pt x="1860917" y="174402"/>
                    <a:pt x="1866827" y="180456"/>
                    <a:pt x="1871439" y="188239"/>
                  </a:cubicBezTo>
                  <a:cubicBezTo>
                    <a:pt x="1876051" y="196023"/>
                    <a:pt x="1878357" y="206112"/>
                    <a:pt x="1878357" y="218508"/>
                  </a:cubicBezTo>
                  <a:cubicBezTo>
                    <a:pt x="1878357" y="229173"/>
                    <a:pt x="1876051" y="238542"/>
                    <a:pt x="1871727" y="246614"/>
                  </a:cubicBezTo>
                  <a:cubicBezTo>
                    <a:pt x="1867259" y="254685"/>
                    <a:pt x="1861061" y="261460"/>
                    <a:pt x="1853278" y="266792"/>
                  </a:cubicBezTo>
                  <a:cubicBezTo>
                    <a:pt x="1845350" y="272125"/>
                    <a:pt x="1835982" y="276161"/>
                    <a:pt x="1825172" y="279044"/>
                  </a:cubicBezTo>
                  <a:cubicBezTo>
                    <a:pt x="1814218" y="281782"/>
                    <a:pt x="1802399" y="283224"/>
                    <a:pt x="1789715" y="283224"/>
                  </a:cubicBezTo>
                  <a:moveTo>
                    <a:pt x="1999430" y="282791"/>
                  </a:moveTo>
                  <a:cubicBezTo>
                    <a:pt x="1983431" y="282791"/>
                    <a:pt x="1969018" y="280197"/>
                    <a:pt x="1956046" y="275008"/>
                  </a:cubicBezTo>
                  <a:cubicBezTo>
                    <a:pt x="1943073" y="269819"/>
                    <a:pt x="1932263" y="262613"/>
                    <a:pt x="1923327" y="253244"/>
                  </a:cubicBezTo>
                  <a:cubicBezTo>
                    <a:pt x="1914391" y="244019"/>
                    <a:pt x="1907617" y="233065"/>
                    <a:pt x="1902716" y="220381"/>
                  </a:cubicBezTo>
                  <a:cubicBezTo>
                    <a:pt x="1897960" y="207697"/>
                    <a:pt x="1895509" y="194005"/>
                    <a:pt x="1895509" y="179303"/>
                  </a:cubicBezTo>
                  <a:cubicBezTo>
                    <a:pt x="1895509" y="164601"/>
                    <a:pt x="1897960" y="151341"/>
                    <a:pt x="1902716" y="138801"/>
                  </a:cubicBezTo>
                  <a:cubicBezTo>
                    <a:pt x="1907473" y="126262"/>
                    <a:pt x="1914391" y="115307"/>
                    <a:pt x="1923327" y="106083"/>
                  </a:cubicBezTo>
                  <a:cubicBezTo>
                    <a:pt x="1932263" y="96858"/>
                    <a:pt x="1942785" y="89651"/>
                    <a:pt x="1954893" y="84463"/>
                  </a:cubicBezTo>
                  <a:cubicBezTo>
                    <a:pt x="1967144" y="79274"/>
                    <a:pt x="1980693" y="76679"/>
                    <a:pt x="1995683" y="76679"/>
                  </a:cubicBezTo>
                  <a:cubicBezTo>
                    <a:pt x="2009664" y="76679"/>
                    <a:pt x="2022059" y="78841"/>
                    <a:pt x="2033157" y="83165"/>
                  </a:cubicBezTo>
                  <a:cubicBezTo>
                    <a:pt x="2044256" y="87489"/>
                    <a:pt x="2053913" y="93399"/>
                    <a:pt x="2062273" y="101038"/>
                  </a:cubicBezTo>
                  <a:cubicBezTo>
                    <a:pt x="2073947" y="111704"/>
                    <a:pt x="2082596" y="125253"/>
                    <a:pt x="2088361" y="141540"/>
                  </a:cubicBezTo>
                  <a:cubicBezTo>
                    <a:pt x="2094126" y="157971"/>
                    <a:pt x="2096865" y="175988"/>
                    <a:pt x="2096577" y="195734"/>
                  </a:cubicBezTo>
                  <a:lnTo>
                    <a:pt x="1956478" y="195734"/>
                  </a:lnTo>
                  <a:cubicBezTo>
                    <a:pt x="1958496" y="208995"/>
                    <a:pt x="1963108" y="219372"/>
                    <a:pt x="1970171" y="227011"/>
                  </a:cubicBezTo>
                  <a:cubicBezTo>
                    <a:pt x="1977233" y="234651"/>
                    <a:pt x="1987323" y="238398"/>
                    <a:pt x="2000295" y="238398"/>
                  </a:cubicBezTo>
                  <a:cubicBezTo>
                    <a:pt x="2008366" y="238398"/>
                    <a:pt x="2015141" y="236668"/>
                    <a:pt x="2020474" y="233209"/>
                  </a:cubicBezTo>
                  <a:cubicBezTo>
                    <a:pt x="2025807" y="229750"/>
                    <a:pt x="2029842" y="224994"/>
                    <a:pt x="2032725" y="218940"/>
                  </a:cubicBezTo>
                  <a:lnTo>
                    <a:pt x="2093262" y="218940"/>
                  </a:lnTo>
                  <a:cubicBezTo>
                    <a:pt x="2091244" y="227876"/>
                    <a:pt x="2087496" y="236236"/>
                    <a:pt x="2081875" y="244308"/>
                  </a:cubicBezTo>
                  <a:cubicBezTo>
                    <a:pt x="2076254" y="252379"/>
                    <a:pt x="2069191" y="259153"/>
                    <a:pt x="2060543" y="265063"/>
                  </a:cubicBezTo>
                  <a:cubicBezTo>
                    <a:pt x="2052472" y="270972"/>
                    <a:pt x="2043391" y="275296"/>
                    <a:pt x="2033302" y="278323"/>
                  </a:cubicBezTo>
                  <a:cubicBezTo>
                    <a:pt x="2023212" y="281350"/>
                    <a:pt x="2011970" y="282936"/>
                    <a:pt x="1999574" y="282936"/>
                  </a:cubicBezTo>
                  <a:moveTo>
                    <a:pt x="2033878" y="158836"/>
                  </a:moveTo>
                  <a:cubicBezTo>
                    <a:pt x="2032581" y="147161"/>
                    <a:pt x="2028689" y="137936"/>
                    <a:pt x="2022059" y="131018"/>
                  </a:cubicBezTo>
                  <a:cubicBezTo>
                    <a:pt x="2015429" y="124244"/>
                    <a:pt x="2007069" y="120784"/>
                    <a:pt x="1996980" y="120784"/>
                  </a:cubicBezTo>
                  <a:cubicBezTo>
                    <a:pt x="1985017" y="120784"/>
                    <a:pt x="1975936" y="124244"/>
                    <a:pt x="1969594" y="131018"/>
                  </a:cubicBezTo>
                  <a:cubicBezTo>
                    <a:pt x="1963252" y="137936"/>
                    <a:pt x="1959072" y="147161"/>
                    <a:pt x="1957055" y="158836"/>
                  </a:cubicBezTo>
                  <a:lnTo>
                    <a:pt x="2033878" y="158836"/>
                  </a:lnTo>
                  <a:close/>
                </a:path>
              </a:pathLst>
            </a:custGeom>
            <a:solidFill>
              <a:srgbClr val="000000"/>
            </a:solidFill>
            <a:ln w="0"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C81B6D3-A66D-8259-C0DD-97A297F4A0B1}"/>
                </a:ext>
              </a:extLst>
            </p:cNvPr>
            <p:cNvSpPr/>
            <p:nvPr/>
          </p:nvSpPr>
          <p:spPr>
            <a:xfrm>
              <a:off x="882878" y="557212"/>
              <a:ext cx="273278" cy="674980"/>
            </a:xfrm>
            <a:custGeom>
              <a:avLst/>
              <a:gdLst>
                <a:gd name="connsiteX0" fmla="*/ 0 w 273278"/>
                <a:gd name="connsiteY0" fmla="*/ 0 h 674980"/>
                <a:gd name="connsiteX1" fmla="*/ 0 w 273278"/>
                <a:gd name="connsiteY1" fmla="*/ 476508 h 674980"/>
                <a:gd name="connsiteX2" fmla="*/ 272558 w 273278"/>
                <a:gd name="connsiteY2" fmla="*/ 674981 h 674980"/>
                <a:gd name="connsiteX3" fmla="*/ 273278 w 273278"/>
                <a:gd name="connsiteY3" fmla="*/ 674260 h 674980"/>
                <a:gd name="connsiteX4" fmla="*/ 0 w 273278"/>
                <a:gd name="connsiteY4" fmla="*/ 0 h 674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980">
                  <a:moveTo>
                    <a:pt x="0" y="0"/>
                  </a:moveTo>
                  <a:lnTo>
                    <a:pt x="0" y="476508"/>
                  </a:lnTo>
                  <a:lnTo>
                    <a:pt x="272558" y="674981"/>
                  </a:lnTo>
                  <a:cubicBezTo>
                    <a:pt x="272558" y="674981"/>
                    <a:pt x="273134" y="674404"/>
                    <a:pt x="273278" y="674260"/>
                  </a:cubicBezTo>
                  <a:lnTo>
                    <a:pt x="0" y="0"/>
                  </a:lnTo>
                  <a:close/>
                </a:path>
              </a:pathLst>
            </a:custGeom>
            <a:solidFill>
              <a:srgbClr val="93D500"/>
            </a:solidFill>
            <a:ln w="0"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FB5D050-2221-BBA3-9A1D-21B84CC42A4A}"/>
                </a:ext>
              </a:extLst>
            </p:cNvPr>
            <p:cNvSpPr/>
            <p:nvPr/>
          </p:nvSpPr>
          <p:spPr>
            <a:xfrm>
              <a:off x="609600" y="557212"/>
              <a:ext cx="273278" cy="674836"/>
            </a:xfrm>
            <a:custGeom>
              <a:avLst/>
              <a:gdLst>
                <a:gd name="connsiteX0" fmla="*/ 0 w 273278"/>
                <a:gd name="connsiteY0" fmla="*/ 674116 h 674836"/>
                <a:gd name="connsiteX1" fmla="*/ 721 w 273278"/>
                <a:gd name="connsiteY1" fmla="*/ 674837 h 674836"/>
                <a:gd name="connsiteX2" fmla="*/ 273278 w 273278"/>
                <a:gd name="connsiteY2" fmla="*/ 476364 h 674836"/>
                <a:gd name="connsiteX3" fmla="*/ 273278 w 273278"/>
                <a:gd name="connsiteY3" fmla="*/ 0 h 674836"/>
                <a:gd name="connsiteX4" fmla="*/ 0 w 273278"/>
                <a:gd name="connsiteY4" fmla="*/ 674116 h 674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836">
                  <a:moveTo>
                    <a:pt x="0" y="674116"/>
                  </a:moveTo>
                  <a:cubicBezTo>
                    <a:pt x="0" y="674116"/>
                    <a:pt x="577" y="674692"/>
                    <a:pt x="721" y="674837"/>
                  </a:cubicBezTo>
                  <a:lnTo>
                    <a:pt x="273278" y="476364"/>
                  </a:lnTo>
                  <a:lnTo>
                    <a:pt x="273278" y="0"/>
                  </a:lnTo>
                  <a:lnTo>
                    <a:pt x="0" y="674116"/>
                  </a:lnTo>
                  <a:close/>
                </a:path>
              </a:pathLst>
            </a:custGeom>
            <a:solidFill>
              <a:srgbClr val="000000"/>
            </a:solidFill>
            <a:ln w="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75685559"/>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 1 with Image - Light">
    <p:bg>
      <p:bgPr>
        <a:solidFill>
          <a:schemeClr val="bg2"/>
        </a:solidFill>
        <a:effectLst/>
      </p:bgPr>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2048537"/>
            <a:ext cx="5376672" cy="2244461"/>
          </a:xfrm>
        </p:spPr>
        <p:txBody>
          <a:bodyPr anchor="b">
            <a:noAutofit/>
          </a:bodyPr>
          <a:lstStyle>
            <a:lvl1pPr>
              <a:lnSpc>
                <a:spcPct val="80000"/>
              </a:lnSpc>
              <a:spcAft>
                <a:spcPts val="0"/>
              </a:spcAft>
              <a:defRPr sz="60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a:t>
            </a:r>
            <a:br>
              <a:rPr lang="en-US"/>
            </a:br>
            <a:r>
              <a:rPr lang="en-US"/>
              <a:t>up to 3 lines</a:t>
            </a:r>
          </a:p>
        </p:txBody>
      </p:sp>
      <p:cxnSp>
        <p:nvCxnSpPr>
          <p:cNvPr id="3" name="Straight Connector 2">
            <a:extLst>
              <a:ext uri="{FF2B5EF4-FFF2-40B4-BE49-F238E27FC236}">
                <a16:creationId xmlns:a16="http://schemas.microsoft.com/office/drawing/2014/main" id="{D4CCA385-BADC-9412-0D5E-D86D6665ADB9}"/>
              </a:ext>
            </a:extLst>
          </p:cNvPr>
          <p:cNvCxnSpPr>
            <a:cxnSpLocks/>
          </p:cNvCxnSpPr>
          <p:nvPr/>
        </p:nvCxnSpPr>
        <p:spPr>
          <a:xfrm>
            <a:off x="609600" y="4594548"/>
            <a:ext cx="537667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5" name="Graphic 3">
            <a:extLst>
              <a:ext uri="{FF2B5EF4-FFF2-40B4-BE49-F238E27FC236}">
                <a16:creationId xmlns:a16="http://schemas.microsoft.com/office/drawing/2014/main" id="{B3F109DD-32AE-D92D-4621-BF43B58FB4A1}"/>
              </a:ext>
            </a:extLst>
          </p:cNvPr>
          <p:cNvGrpSpPr>
            <a:grpSpLocks noChangeAspect="1"/>
          </p:cNvGrpSpPr>
          <p:nvPr/>
        </p:nvGrpSpPr>
        <p:grpSpPr>
          <a:xfrm>
            <a:off x="609600" y="557212"/>
            <a:ext cx="1734668" cy="438912"/>
            <a:chOff x="609600" y="557212"/>
            <a:chExt cx="2667656" cy="674980"/>
          </a:xfrm>
        </p:grpSpPr>
        <p:sp>
          <p:nvSpPr>
            <p:cNvPr id="36" name="Freeform: Shape 35">
              <a:extLst>
                <a:ext uri="{FF2B5EF4-FFF2-40B4-BE49-F238E27FC236}">
                  <a16:creationId xmlns:a16="http://schemas.microsoft.com/office/drawing/2014/main" id="{8BF33003-98EC-AC6E-F2E8-D433A9977017}"/>
                </a:ext>
              </a:extLst>
            </p:cNvPr>
            <p:cNvSpPr/>
            <p:nvPr/>
          </p:nvSpPr>
          <p:spPr>
            <a:xfrm>
              <a:off x="1180659" y="790421"/>
              <a:ext cx="2096597" cy="283512"/>
            </a:xfrm>
            <a:custGeom>
              <a:avLst/>
              <a:gdLst>
                <a:gd name="connsiteX0" fmla="*/ 129433 w 2096597"/>
                <a:gd name="connsiteY0" fmla="*/ 283512 h 283512"/>
                <a:gd name="connsiteX1" fmla="*/ 76968 w 2096597"/>
                <a:gd name="connsiteY1" fmla="*/ 273567 h 283512"/>
                <a:gd name="connsiteX2" fmla="*/ 36610 w 2096597"/>
                <a:gd name="connsiteY2" fmla="*/ 245461 h 283512"/>
                <a:gd name="connsiteX3" fmla="*/ 9369 w 2096597"/>
                <a:gd name="connsiteY3" fmla="*/ 199770 h 283512"/>
                <a:gd name="connsiteX4" fmla="*/ 0 w 2096597"/>
                <a:gd name="connsiteY4" fmla="*/ 142260 h 283512"/>
                <a:gd name="connsiteX5" fmla="*/ 10522 w 2096597"/>
                <a:gd name="connsiteY5" fmla="*/ 82733 h 283512"/>
                <a:gd name="connsiteX6" fmla="*/ 40358 w 2096597"/>
                <a:gd name="connsiteY6" fmla="*/ 36178 h 283512"/>
                <a:gd name="connsiteX7" fmla="*/ 80715 w 2096597"/>
                <a:gd name="connsiteY7" fmla="*/ 9513 h 283512"/>
                <a:gd name="connsiteX8" fmla="*/ 133612 w 2096597"/>
                <a:gd name="connsiteY8" fmla="*/ 0 h 283512"/>
                <a:gd name="connsiteX9" fmla="*/ 180744 w 2096597"/>
                <a:gd name="connsiteY9" fmla="*/ 6630 h 283512"/>
                <a:gd name="connsiteX10" fmla="*/ 216922 w 2096597"/>
                <a:gd name="connsiteY10" fmla="*/ 25656 h 283512"/>
                <a:gd name="connsiteX11" fmla="*/ 241425 w 2096597"/>
                <a:gd name="connsiteY11" fmla="*/ 55492 h 283512"/>
                <a:gd name="connsiteX12" fmla="*/ 254109 w 2096597"/>
                <a:gd name="connsiteY12" fmla="*/ 94264 h 283512"/>
                <a:gd name="connsiteX13" fmla="*/ 188672 w 2096597"/>
                <a:gd name="connsiteY13" fmla="*/ 94264 h 283512"/>
                <a:gd name="connsiteX14" fmla="*/ 171520 w 2096597"/>
                <a:gd name="connsiteY14" fmla="*/ 66446 h 283512"/>
                <a:gd name="connsiteX15" fmla="*/ 135774 w 2096597"/>
                <a:gd name="connsiteY15" fmla="*/ 55348 h 283512"/>
                <a:gd name="connsiteX16" fmla="*/ 106227 w 2096597"/>
                <a:gd name="connsiteY16" fmla="*/ 61978 h 283512"/>
                <a:gd name="connsiteX17" fmla="*/ 85039 w 2096597"/>
                <a:gd name="connsiteY17" fmla="*/ 80283 h 283512"/>
                <a:gd name="connsiteX18" fmla="*/ 72500 w 2096597"/>
                <a:gd name="connsiteY18" fmla="*/ 107668 h 283512"/>
                <a:gd name="connsiteX19" fmla="*/ 68320 w 2096597"/>
                <a:gd name="connsiteY19" fmla="*/ 142116 h 283512"/>
                <a:gd name="connsiteX20" fmla="*/ 73076 w 2096597"/>
                <a:gd name="connsiteY20" fmla="*/ 176709 h 283512"/>
                <a:gd name="connsiteX21" fmla="*/ 86625 w 2096597"/>
                <a:gd name="connsiteY21" fmla="*/ 204238 h 283512"/>
                <a:gd name="connsiteX22" fmla="*/ 108101 w 2096597"/>
                <a:gd name="connsiteY22" fmla="*/ 222255 h 283512"/>
                <a:gd name="connsiteX23" fmla="*/ 136783 w 2096597"/>
                <a:gd name="connsiteY23" fmla="*/ 228741 h 283512"/>
                <a:gd name="connsiteX24" fmla="*/ 160566 w 2096597"/>
                <a:gd name="connsiteY24" fmla="*/ 224705 h 283512"/>
                <a:gd name="connsiteX25" fmla="*/ 178438 w 2096597"/>
                <a:gd name="connsiteY25" fmla="*/ 214039 h 283512"/>
                <a:gd name="connsiteX26" fmla="*/ 190257 w 2096597"/>
                <a:gd name="connsiteY26" fmla="*/ 198761 h 283512"/>
                <a:gd name="connsiteX27" fmla="*/ 195734 w 2096597"/>
                <a:gd name="connsiteY27" fmla="*/ 181033 h 283512"/>
                <a:gd name="connsiteX28" fmla="*/ 195734 w 2096597"/>
                <a:gd name="connsiteY28" fmla="*/ 180312 h 283512"/>
                <a:gd name="connsiteX29" fmla="*/ 144711 w 2096597"/>
                <a:gd name="connsiteY29" fmla="*/ 180312 h 283512"/>
                <a:gd name="connsiteX30" fmla="*/ 144711 w 2096597"/>
                <a:gd name="connsiteY30" fmla="*/ 130874 h 283512"/>
                <a:gd name="connsiteX31" fmla="*/ 258144 w 2096597"/>
                <a:gd name="connsiteY31" fmla="*/ 130874 h 283512"/>
                <a:gd name="connsiteX32" fmla="*/ 258144 w 2096597"/>
                <a:gd name="connsiteY32" fmla="*/ 277026 h 283512"/>
                <a:gd name="connsiteX33" fmla="*/ 211013 w 2096597"/>
                <a:gd name="connsiteY33" fmla="*/ 277026 h 283512"/>
                <a:gd name="connsiteX34" fmla="*/ 207265 w 2096597"/>
                <a:gd name="connsiteY34" fmla="*/ 244308 h 283512"/>
                <a:gd name="connsiteX35" fmla="*/ 206544 w 2096597"/>
                <a:gd name="connsiteY35" fmla="*/ 244308 h 283512"/>
                <a:gd name="connsiteX36" fmla="*/ 173682 w 2096597"/>
                <a:gd name="connsiteY36" fmla="*/ 274143 h 283512"/>
                <a:gd name="connsiteX37" fmla="*/ 129288 w 2096597"/>
                <a:gd name="connsiteY37" fmla="*/ 283080 h 283512"/>
                <a:gd name="connsiteX38" fmla="*/ 358029 w 2096597"/>
                <a:gd name="connsiteY38" fmla="*/ 282647 h 283512"/>
                <a:gd name="connsiteX39" fmla="*/ 306862 w 2096597"/>
                <a:gd name="connsiteY39" fmla="*/ 262613 h 283512"/>
                <a:gd name="connsiteX40" fmla="*/ 289566 w 2096597"/>
                <a:gd name="connsiteY40" fmla="*/ 209859 h 283512"/>
                <a:gd name="connsiteX41" fmla="*/ 289566 w 2096597"/>
                <a:gd name="connsiteY41" fmla="*/ 82012 h 283512"/>
                <a:gd name="connsiteX42" fmla="*/ 351255 w 2096597"/>
                <a:gd name="connsiteY42" fmla="*/ 82012 h 283512"/>
                <a:gd name="connsiteX43" fmla="*/ 351255 w 2096597"/>
                <a:gd name="connsiteY43" fmla="*/ 197032 h 283512"/>
                <a:gd name="connsiteX44" fmla="*/ 358462 w 2096597"/>
                <a:gd name="connsiteY44" fmla="*/ 221534 h 283512"/>
                <a:gd name="connsiteX45" fmla="*/ 380514 w 2096597"/>
                <a:gd name="connsiteY45" fmla="*/ 230038 h 283512"/>
                <a:gd name="connsiteX46" fmla="*/ 405594 w 2096597"/>
                <a:gd name="connsiteY46" fmla="*/ 219228 h 283512"/>
                <a:gd name="connsiteX47" fmla="*/ 414674 w 2096597"/>
                <a:gd name="connsiteY47" fmla="*/ 190834 h 283512"/>
                <a:gd name="connsiteX48" fmla="*/ 414674 w 2096597"/>
                <a:gd name="connsiteY48" fmla="*/ 82012 h 283512"/>
                <a:gd name="connsiteX49" fmla="*/ 476652 w 2096597"/>
                <a:gd name="connsiteY49" fmla="*/ 82012 h 283512"/>
                <a:gd name="connsiteX50" fmla="*/ 476652 w 2096597"/>
                <a:gd name="connsiteY50" fmla="*/ 276882 h 283512"/>
                <a:gd name="connsiteX51" fmla="*/ 417269 w 2096597"/>
                <a:gd name="connsiteY51" fmla="*/ 276882 h 283512"/>
                <a:gd name="connsiteX52" fmla="*/ 417269 w 2096597"/>
                <a:gd name="connsiteY52" fmla="*/ 252956 h 283512"/>
                <a:gd name="connsiteX53" fmla="*/ 416116 w 2096597"/>
                <a:gd name="connsiteY53" fmla="*/ 252956 h 283512"/>
                <a:gd name="connsiteX54" fmla="*/ 391901 w 2096597"/>
                <a:gd name="connsiteY54" fmla="*/ 275008 h 283512"/>
                <a:gd name="connsiteX55" fmla="*/ 357885 w 2096597"/>
                <a:gd name="connsiteY55" fmla="*/ 282647 h 283512"/>
                <a:gd name="connsiteX56" fmla="*/ 511965 w 2096597"/>
                <a:gd name="connsiteY56" fmla="*/ 2162 h 283512"/>
                <a:gd name="connsiteX57" fmla="*/ 573943 w 2096597"/>
                <a:gd name="connsiteY57" fmla="*/ 2162 h 283512"/>
                <a:gd name="connsiteX58" fmla="*/ 573943 w 2096597"/>
                <a:gd name="connsiteY58" fmla="*/ 55059 h 283512"/>
                <a:gd name="connsiteX59" fmla="*/ 511965 w 2096597"/>
                <a:gd name="connsiteY59" fmla="*/ 55059 h 283512"/>
                <a:gd name="connsiteX60" fmla="*/ 511965 w 2096597"/>
                <a:gd name="connsiteY60" fmla="*/ 2162 h 283512"/>
                <a:gd name="connsiteX61" fmla="*/ 511965 w 2096597"/>
                <a:gd name="connsiteY61" fmla="*/ 82012 h 283512"/>
                <a:gd name="connsiteX62" fmla="*/ 573943 w 2096597"/>
                <a:gd name="connsiteY62" fmla="*/ 82012 h 283512"/>
                <a:gd name="connsiteX63" fmla="*/ 573943 w 2096597"/>
                <a:gd name="connsiteY63" fmla="*/ 276882 h 283512"/>
                <a:gd name="connsiteX64" fmla="*/ 511965 w 2096597"/>
                <a:gd name="connsiteY64" fmla="*/ 276882 h 283512"/>
                <a:gd name="connsiteX65" fmla="*/ 511965 w 2096597"/>
                <a:gd name="connsiteY65" fmla="*/ 82012 h 283512"/>
                <a:gd name="connsiteX66" fmla="*/ 685935 w 2096597"/>
                <a:gd name="connsiteY66" fmla="*/ 282936 h 283512"/>
                <a:gd name="connsiteX67" fmla="*/ 651631 w 2096597"/>
                <a:gd name="connsiteY67" fmla="*/ 275873 h 283512"/>
                <a:gd name="connsiteX68" fmla="*/ 624678 w 2096597"/>
                <a:gd name="connsiteY68" fmla="*/ 255550 h 283512"/>
                <a:gd name="connsiteX69" fmla="*/ 606949 w 2096597"/>
                <a:gd name="connsiteY69" fmla="*/ 222976 h 283512"/>
                <a:gd name="connsiteX70" fmla="*/ 600607 w 2096597"/>
                <a:gd name="connsiteY70" fmla="*/ 179447 h 283512"/>
                <a:gd name="connsiteX71" fmla="*/ 606949 w 2096597"/>
                <a:gd name="connsiteY71" fmla="*/ 137504 h 283512"/>
                <a:gd name="connsiteX72" fmla="*/ 624390 w 2096597"/>
                <a:gd name="connsiteY72" fmla="*/ 104930 h 283512"/>
                <a:gd name="connsiteX73" fmla="*/ 651199 w 2096597"/>
                <a:gd name="connsiteY73" fmla="*/ 83742 h 283512"/>
                <a:gd name="connsiteX74" fmla="*/ 685791 w 2096597"/>
                <a:gd name="connsiteY74" fmla="*/ 76103 h 283512"/>
                <a:gd name="connsiteX75" fmla="*/ 718942 w 2096597"/>
                <a:gd name="connsiteY75" fmla="*/ 83886 h 283512"/>
                <a:gd name="connsiteX76" fmla="*/ 740273 w 2096597"/>
                <a:gd name="connsiteY76" fmla="*/ 103921 h 283512"/>
                <a:gd name="connsiteX77" fmla="*/ 741426 w 2096597"/>
                <a:gd name="connsiteY77" fmla="*/ 103921 h 283512"/>
                <a:gd name="connsiteX78" fmla="*/ 741426 w 2096597"/>
                <a:gd name="connsiteY78" fmla="*/ 1874 h 283512"/>
                <a:gd name="connsiteX79" fmla="*/ 803404 w 2096597"/>
                <a:gd name="connsiteY79" fmla="*/ 1874 h 283512"/>
                <a:gd name="connsiteX80" fmla="*/ 803404 w 2096597"/>
                <a:gd name="connsiteY80" fmla="*/ 276738 h 283512"/>
                <a:gd name="connsiteX81" fmla="*/ 744021 w 2096597"/>
                <a:gd name="connsiteY81" fmla="*/ 276738 h 283512"/>
                <a:gd name="connsiteX82" fmla="*/ 744021 w 2096597"/>
                <a:gd name="connsiteY82" fmla="*/ 250505 h 283512"/>
                <a:gd name="connsiteX83" fmla="*/ 743300 w 2096597"/>
                <a:gd name="connsiteY83" fmla="*/ 250505 h 283512"/>
                <a:gd name="connsiteX84" fmla="*/ 719951 w 2096597"/>
                <a:gd name="connsiteY84" fmla="*/ 274287 h 283512"/>
                <a:gd name="connsiteX85" fmla="*/ 685935 w 2096597"/>
                <a:gd name="connsiteY85" fmla="*/ 282791 h 283512"/>
                <a:gd name="connsiteX86" fmla="*/ 701934 w 2096597"/>
                <a:gd name="connsiteY86" fmla="*/ 233642 h 283512"/>
                <a:gd name="connsiteX87" fmla="*/ 732202 w 2096597"/>
                <a:gd name="connsiteY87" fmla="*/ 218363 h 283512"/>
                <a:gd name="connsiteX88" fmla="*/ 743012 w 2096597"/>
                <a:gd name="connsiteY88" fmla="*/ 179159 h 283512"/>
                <a:gd name="connsiteX89" fmla="*/ 740562 w 2096597"/>
                <a:gd name="connsiteY89" fmla="*/ 156530 h 283512"/>
                <a:gd name="connsiteX90" fmla="*/ 732923 w 2096597"/>
                <a:gd name="connsiteY90" fmla="*/ 138657 h 283512"/>
                <a:gd name="connsiteX91" fmla="*/ 720383 w 2096597"/>
                <a:gd name="connsiteY91" fmla="*/ 126982 h 283512"/>
                <a:gd name="connsiteX92" fmla="*/ 702654 w 2096597"/>
                <a:gd name="connsiteY92" fmla="*/ 122802 h 283512"/>
                <a:gd name="connsiteX93" fmla="*/ 673683 w 2096597"/>
                <a:gd name="connsiteY93" fmla="*/ 138225 h 283512"/>
                <a:gd name="connsiteX94" fmla="*/ 663450 w 2096597"/>
                <a:gd name="connsiteY94" fmla="*/ 178438 h 283512"/>
                <a:gd name="connsiteX95" fmla="*/ 673539 w 2096597"/>
                <a:gd name="connsiteY95" fmla="*/ 218796 h 283512"/>
                <a:gd name="connsiteX96" fmla="*/ 701934 w 2096597"/>
                <a:gd name="connsiteY96" fmla="*/ 233642 h 283512"/>
                <a:gd name="connsiteX97" fmla="*/ 930242 w 2096597"/>
                <a:gd name="connsiteY97" fmla="*/ 282359 h 283512"/>
                <a:gd name="connsiteX98" fmla="*/ 886858 w 2096597"/>
                <a:gd name="connsiteY98" fmla="*/ 274576 h 283512"/>
                <a:gd name="connsiteX99" fmla="*/ 854139 w 2096597"/>
                <a:gd name="connsiteY99" fmla="*/ 252811 h 283512"/>
                <a:gd name="connsiteX100" fmla="*/ 833528 w 2096597"/>
                <a:gd name="connsiteY100" fmla="*/ 219949 h 283512"/>
                <a:gd name="connsiteX101" fmla="*/ 826322 w 2096597"/>
                <a:gd name="connsiteY101" fmla="*/ 178871 h 283512"/>
                <a:gd name="connsiteX102" fmla="*/ 833528 w 2096597"/>
                <a:gd name="connsiteY102" fmla="*/ 138369 h 283512"/>
                <a:gd name="connsiteX103" fmla="*/ 854139 w 2096597"/>
                <a:gd name="connsiteY103" fmla="*/ 105650 h 283512"/>
                <a:gd name="connsiteX104" fmla="*/ 885705 w 2096597"/>
                <a:gd name="connsiteY104" fmla="*/ 84030 h 283512"/>
                <a:gd name="connsiteX105" fmla="*/ 926495 w 2096597"/>
                <a:gd name="connsiteY105" fmla="*/ 76247 h 283512"/>
                <a:gd name="connsiteX106" fmla="*/ 963970 w 2096597"/>
                <a:gd name="connsiteY106" fmla="*/ 82733 h 283512"/>
                <a:gd name="connsiteX107" fmla="*/ 993085 w 2096597"/>
                <a:gd name="connsiteY107" fmla="*/ 100606 h 283512"/>
                <a:gd name="connsiteX108" fmla="*/ 1019173 w 2096597"/>
                <a:gd name="connsiteY108" fmla="*/ 141107 h 283512"/>
                <a:gd name="connsiteX109" fmla="*/ 1027389 w 2096597"/>
                <a:gd name="connsiteY109" fmla="*/ 195302 h 283512"/>
                <a:gd name="connsiteX110" fmla="*/ 887290 w 2096597"/>
                <a:gd name="connsiteY110" fmla="*/ 195302 h 283512"/>
                <a:gd name="connsiteX111" fmla="*/ 900983 w 2096597"/>
                <a:gd name="connsiteY111" fmla="*/ 226579 h 283512"/>
                <a:gd name="connsiteX112" fmla="*/ 931107 w 2096597"/>
                <a:gd name="connsiteY112" fmla="*/ 237966 h 283512"/>
                <a:gd name="connsiteX113" fmla="*/ 951286 w 2096597"/>
                <a:gd name="connsiteY113" fmla="*/ 232777 h 283512"/>
                <a:gd name="connsiteX114" fmla="*/ 963393 w 2096597"/>
                <a:gd name="connsiteY114" fmla="*/ 218508 h 283512"/>
                <a:gd name="connsiteX115" fmla="*/ 1023930 w 2096597"/>
                <a:gd name="connsiteY115" fmla="*/ 218508 h 283512"/>
                <a:gd name="connsiteX116" fmla="*/ 1012543 w 2096597"/>
                <a:gd name="connsiteY116" fmla="*/ 243875 h 283512"/>
                <a:gd name="connsiteX117" fmla="*/ 991211 w 2096597"/>
                <a:gd name="connsiteY117" fmla="*/ 264630 h 283512"/>
                <a:gd name="connsiteX118" fmla="*/ 963970 w 2096597"/>
                <a:gd name="connsiteY118" fmla="*/ 277891 h 283512"/>
                <a:gd name="connsiteX119" fmla="*/ 930242 w 2096597"/>
                <a:gd name="connsiteY119" fmla="*/ 282503 h 283512"/>
                <a:gd name="connsiteX120" fmla="*/ 964546 w 2096597"/>
                <a:gd name="connsiteY120" fmla="*/ 158404 h 283512"/>
                <a:gd name="connsiteX121" fmla="*/ 952727 w 2096597"/>
                <a:gd name="connsiteY121" fmla="*/ 130586 h 283512"/>
                <a:gd name="connsiteX122" fmla="*/ 927648 w 2096597"/>
                <a:gd name="connsiteY122" fmla="*/ 120352 h 283512"/>
                <a:gd name="connsiteX123" fmla="*/ 900262 w 2096597"/>
                <a:gd name="connsiteY123" fmla="*/ 130586 h 283512"/>
                <a:gd name="connsiteX124" fmla="*/ 887723 w 2096597"/>
                <a:gd name="connsiteY124" fmla="*/ 158404 h 283512"/>
                <a:gd name="connsiteX125" fmla="*/ 964546 w 2096597"/>
                <a:gd name="connsiteY125" fmla="*/ 158404 h 283512"/>
                <a:gd name="connsiteX126" fmla="*/ 1050162 w 2096597"/>
                <a:gd name="connsiteY126" fmla="*/ 2018 h 283512"/>
                <a:gd name="connsiteX127" fmla="*/ 1112140 w 2096597"/>
                <a:gd name="connsiteY127" fmla="*/ 2018 h 283512"/>
                <a:gd name="connsiteX128" fmla="*/ 1112140 w 2096597"/>
                <a:gd name="connsiteY128" fmla="*/ 105939 h 283512"/>
                <a:gd name="connsiteX129" fmla="*/ 1113293 w 2096597"/>
                <a:gd name="connsiteY129" fmla="*/ 105939 h 283512"/>
                <a:gd name="connsiteX130" fmla="*/ 1137219 w 2096597"/>
                <a:gd name="connsiteY130" fmla="*/ 84030 h 283512"/>
                <a:gd name="connsiteX131" fmla="*/ 1171091 w 2096597"/>
                <a:gd name="connsiteY131" fmla="*/ 76247 h 283512"/>
                <a:gd name="connsiteX132" fmla="*/ 1199629 w 2096597"/>
                <a:gd name="connsiteY132" fmla="*/ 81724 h 283512"/>
                <a:gd name="connsiteX133" fmla="*/ 1220961 w 2096597"/>
                <a:gd name="connsiteY133" fmla="*/ 97002 h 283512"/>
                <a:gd name="connsiteX134" fmla="*/ 1234366 w 2096597"/>
                <a:gd name="connsiteY134" fmla="*/ 120208 h 283512"/>
                <a:gd name="connsiteX135" fmla="*/ 1238978 w 2096597"/>
                <a:gd name="connsiteY135" fmla="*/ 150044 h 283512"/>
                <a:gd name="connsiteX136" fmla="*/ 1238978 w 2096597"/>
                <a:gd name="connsiteY136" fmla="*/ 276738 h 283512"/>
                <a:gd name="connsiteX137" fmla="*/ 1177000 w 2096597"/>
                <a:gd name="connsiteY137" fmla="*/ 276738 h 283512"/>
                <a:gd name="connsiteX138" fmla="*/ 1177000 w 2096597"/>
                <a:gd name="connsiteY138" fmla="*/ 162583 h 283512"/>
                <a:gd name="connsiteX139" fmla="*/ 1169361 w 2096597"/>
                <a:gd name="connsiteY139" fmla="*/ 137504 h 283512"/>
                <a:gd name="connsiteX140" fmla="*/ 1146588 w 2096597"/>
                <a:gd name="connsiteY140" fmla="*/ 127991 h 283512"/>
                <a:gd name="connsiteX141" fmla="*/ 1121653 w 2096597"/>
                <a:gd name="connsiteY141" fmla="*/ 139378 h 283512"/>
                <a:gd name="connsiteX142" fmla="*/ 1112284 w 2096597"/>
                <a:gd name="connsiteY142" fmla="*/ 169069 h 283512"/>
                <a:gd name="connsiteX143" fmla="*/ 1112284 w 2096597"/>
                <a:gd name="connsiteY143" fmla="*/ 276738 h 283512"/>
                <a:gd name="connsiteX144" fmla="*/ 1050306 w 2096597"/>
                <a:gd name="connsiteY144" fmla="*/ 276738 h 283512"/>
                <a:gd name="connsiteX145" fmla="*/ 1050306 w 2096597"/>
                <a:gd name="connsiteY145" fmla="*/ 1874 h 283512"/>
                <a:gd name="connsiteX146" fmla="*/ 1362645 w 2096597"/>
                <a:gd name="connsiteY146" fmla="*/ 282936 h 283512"/>
                <a:gd name="connsiteX147" fmla="*/ 1319837 w 2096597"/>
                <a:gd name="connsiteY147" fmla="*/ 275152 h 283512"/>
                <a:gd name="connsiteX148" fmla="*/ 1286830 w 2096597"/>
                <a:gd name="connsiteY148" fmla="*/ 253388 h 283512"/>
                <a:gd name="connsiteX149" fmla="*/ 1265787 w 2096597"/>
                <a:gd name="connsiteY149" fmla="*/ 220670 h 283512"/>
                <a:gd name="connsiteX150" fmla="*/ 1258292 w 2096597"/>
                <a:gd name="connsiteY150" fmla="*/ 179735 h 283512"/>
                <a:gd name="connsiteX151" fmla="*/ 1265787 w 2096597"/>
                <a:gd name="connsiteY151" fmla="*/ 138801 h 283512"/>
                <a:gd name="connsiteX152" fmla="*/ 1286830 w 2096597"/>
                <a:gd name="connsiteY152" fmla="*/ 106083 h 283512"/>
                <a:gd name="connsiteX153" fmla="*/ 1319837 w 2096597"/>
                <a:gd name="connsiteY153" fmla="*/ 84463 h 283512"/>
                <a:gd name="connsiteX154" fmla="*/ 1362645 w 2096597"/>
                <a:gd name="connsiteY154" fmla="*/ 76679 h 283512"/>
                <a:gd name="connsiteX155" fmla="*/ 1405453 w 2096597"/>
                <a:gd name="connsiteY155" fmla="*/ 84463 h 283512"/>
                <a:gd name="connsiteX156" fmla="*/ 1438171 w 2096597"/>
                <a:gd name="connsiteY156" fmla="*/ 106083 h 283512"/>
                <a:gd name="connsiteX157" fmla="*/ 1459071 w 2096597"/>
                <a:gd name="connsiteY157" fmla="*/ 138801 h 283512"/>
                <a:gd name="connsiteX158" fmla="*/ 1466422 w 2096597"/>
                <a:gd name="connsiteY158" fmla="*/ 179735 h 283512"/>
                <a:gd name="connsiteX159" fmla="*/ 1459071 w 2096597"/>
                <a:gd name="connsiteY159" fmla="*/ 220670 h 283512"/>
                <a:gd name="connsiteX160" fmla="*/ 1438171 w 2096597"/>
                <a:gd name="connsiteY160" fmla="*/ 253388 h 283512"/>
                <a:gd name="connsiteX161" fmla="*/ 1405453 w 2096597"/>
                <a:gd name="connsiteY161" fmla="*/ 275152 h 283512"/>
                <a:gd name="connsiteX162" fmla="*/ 1362645 w 2096597"/>
                <a:gd name="connsiteY162" fmla="*/ 282936 h 283512"/>
                <a:gd name="connsiteX163" fmla="*/ 1362213 w 2096597"/>
                <a:gd name="connsiteY163" fmla="*/ 238830 h 283512"/>
                <a:gd name="connsiteX164" fmla="*/ 1393201 w 2096597"/>
                <a:gd name="connsiteY164" fmla="*/ 222687 h 283512"/>
                <a:gd name="connsiteX165" fmla="*/ 1403723 w 2096597"/>
                <a:gd name="connsiteY165" fmla="*/ 179880 h 283512"/>
                <a:gd name="connsiteX166" fmla="*/ 1393201 w 2096597"/>
                <a:gd name="connsiteY166" fmla="*/ 136928 h 283512"/>
                <a:gd name="connsiteX167" fmla="*/ 1362213 w 2096597"/>
                <a:gd name="connsiteY167" fmla="*/ 120496 h 283512"/>
                <a:gd name="connsiteX168" fmla="*/ 1331368 w 2096597"/>
                <a:gd name="connsiteY168" fmla="*/ 136928 h 283512"/>
                <a:gd name="connsiteX169" fmla="*/ 1321134 w 2096597"/>
                <a:gd name="connsiteY169" fmla="*/ 179880 h 283512"/>
                <a:gd name="connsiteX170" fmla="*/ 1331368 w 2096597"/>
                <a:gd name="connsiteY170" fmla="*/ 222687 h 283512"/>
                <a:gd name="connsiteX171" fmla="*/ 1362213 w 2096597"/>
                <a:gd name="connsiteY171" fmla="*/ 238830 h 283512"/>
                <a:gd name="connsiteX172" fmla="*/ 1554488 w 2096597"/>
                <a:gd name="connsiteY172" fmla="*/ 282647 h 283512"/>
                <a:gd name="connsiteX173" fmla="*/ 1503320 w 2096597"/>
                <a:gd name="connsiteY173" fmla="*/ 262613 h 283512"/>
                <a:gd name="connsiteX174" fmla="*/ 1486024 w 2096597"/>
                <a:gd name="connsiteY174" fmla="*/ 209859 h 283512"/>
                <a:gd name="connsiteX175" fmla="*/ 1486024 w 2096597"/>
                <a:gd name="connsiteY175" fmla="*/ 82012 h 283512"/>
                <a:gd name="connsiteX176" fmla="*/ 1547713 w 2096597"/>
                <a:gd name="connsiteY176" fmla="*/ 82012 h 283512"/>
                <a:gd name="connsiteX177" fmla="*/ 1547713 w 2096597"/>
                <a:gd name="connsiteY177" fmla="*/ 197032 h 283512"/>
                <a:gd name="connsiteX178" fmla="*/ 1554920 w 2096597"/>
                <a:gd name="connsiteY178" fmla="*/ 221534 h 283512"/>
                <a:gd name="connsiteX179" fmla="*/ 1576973 w 2096597"/>
                <a:gd name="connsiteY179" fmla="*/ 230038 h 283512"/>
                <a:gd name="connsiteX180" fmla="*/ 1602052 w 2096597"/>
                <a:gd name="connsiteY180" fmla="*/ 219228 h 283512"/>
                <a:gd name="connsiteX181" fmla="*/ 1611132 w 2096597"/>
                <a:gd name="connsiteY181" fmla="*/ 190834 h 283512"/>
                <a:gd name="connsiteX182" fmla="*/ 1611132 w 2096597"/>
                <a:gd name="connsiteY182" fmla="*/ 82012 h 283512"/>
                <a:gd name="connsiteX183" fmla="*/ 1673110 w 2096597"/>
                <a:gd name="connsiteY183" fmla="*/ 82012 h 283512"/>
                <a:gd name="connsiteX184" fmla="*/ 1673110 w 2096597"/>
                <a:gd name="connsiteY184" fmla="*/ 276882 h 283512"/>
                <a:gd name="connsiteX185" fmla="*/ 1613727 w 2096597"/>
                <a:gd name="connsiteY185" fmla="*/ 276882 h 283512"/>
                <a:gd name="connsiteX186" fmla="*/ 1613727 w 2096597"/>
                <a:gd name="connsiteY186" fmla="*/ 252956 h 283512"/>
                <a:gd name="connsiteX187" fmla="*/ 1612574 w 2096597"/>
                <a:gd name="connsiteY187" fmla="*/ 252956 h 283512"/>
                <a:gd name="connsiteX188" fmla="*/ 1588359 w 2096597"/>
                <a:gd name="connsiteY188" fmla="*/ 275008 h 283512"/>
                <a:gd name="connsiteX189" fmla="*/ 1554344 w 2096597"/>
                <a:gd name="connsiteY189" fmla="*/ 282647 h 283512"/>
                <a:gd name="connsiteX190" fmla="*/ 1789571 w 2096597"/>
                <a:gd name="connsiteY190" fmla="*/ 283080 h 283512"/>
                <a:gd name="connsiteX191" fmla="*/ 1721395 w 2096597"/>
                <a:gd name="connsiteY191" fmla="*/ 264630 h 283512"/>
                <a:gd name="connsiteX192" fmla="*/ 1694730 w 2096597"/>
                <a:gd name="connsiteY192" fmla="*/ 213751 h 283512"/>
                <a:gd name="connsiteX193" fmla="*/ 1753393 w 2096597"/>
                <a:gd name="connsiteY193" fmla="*/ 213751 h 283512"/>
                <a:gd name="connsiteX194" fmla="*/ 1764491 w 2096597"/>
                <a:gd name="connsiteY194" fmla="*/ 235515 h 283512"/>
                <a:gd name="connsiteX195" fmla="*/ 1789282 w 2096597"/>
                <a:gd name="connsiteY195" fmla="*/ 242722 h 283512"/>
                <a:gd name="connsiteX196" fmla="*/ 1811479 w 2096597"/>
                <a:gd name="connsiteY196" fmla="*/ 237821 h 283512"/>
                <a:gd name="connsiteX197" fmla="*/ 1819695 w 2096597"/>
                <a:gd name="connsiteY197" fmla="*/ 223408 h 283512"/>
                <a:gd name="connsiteX198" fmla="*/ 1815515 w 2096597"/>
                <a:gd name="connsiteY198" fmla="*/ 212886 h 283512"/>
                <a:gd name="connsiteX199" fmla="*/ 1804416 w 2096597"/>
                <a:gd name="connsiteY199" fmla="*/ 206400 h 283512"/>
                <a:gd name="connsiteX200" fmla="*/ 1788562 w 2096597"/>
                <a:gd name="connsiteY200" fmla="*/ 202653 h 283512"/>
                <a:gd name="connsiteX201" fmla="*/ 1770112 w 2096597"/>
                <a:gd name="connsiteY201" fmla="*/ 199482 h 283512"/>
                <a:gd name="connsiteX202" fmla="*/ 1745033 w 2096597"/>
                <a:gd name="connsiteY202" fmla="*/ 194005 h 283512"/>
                <a:gd name="connsiteX203" fmla="*/ 1722404 w 2096597"/>
                <a:gd name="connsiteY203" fmla="*/ 184348 h 283512"/>
                <a:gd name="connsiteX204" fmla="*/ 1706261 w 2096597"/>
                <a:gd name="connsiteY204" fmla="*/ 167052 h 283512"/>
                <a:gd name="connsiteX205" fmla="*/ 1700207 w 2096597"/>
                <a:gd name="connsiteY205" fmla="*/ 139090 h 283512"/>
                <a:gd name="connsiteX206" fmla="*/ 1706837 w 2096597"/>
                <a:gd name="connsiteY206" fmla="*/ 111992 h 283512"/>
                <a:gd name="connsiteX207" fmla="*/ 1724999 w 2096597"/>
                <a:gd name="connsiteY207" fmla="*/ 92390 h 283512"/>
                <a:gd name="connsiteX208" fmla="*/ 1751808 w 2096597"/>
                <a:gd name="connsiteY208" fmla="*/ 80571 h 283512"/>
                <a:gd name="connsiteX209" fmla="*/ 1784382 w 2096597"/>
                <a:gd name="connsiteY209" fmla="*/ 76535 h 283512"/>
                <a:gd name="connsiteX210" fmla="*/ 1847945 w 2096597"/>
                <a:gd name="connsiteY210" fmla="*/ 93255 h 283512"/>
                <a:gd name="connsiteX211" fmla="*/ 1872304 w 2096597"/>
                <a:gd name="connsiteY211" fmla="*/ 138945 h 283512"/>
                <a:gd name="connsiteX212" fmla="*/ 1815226 w 2096597"/>
                <a:gd name="connsiteY212" fmla="*/ 138945 h 283512"/>
                <a:gd name="connsiteX213" fmla="*/ 1805137 w 2096597"/>
                <a:gd name="connsiteY213" fmla="*/ 120929 h 283512"/>
                <a:gd name="connsiteX214" fmla="*/ 1783949 w 2096597"/>
                <a:gd name="connsiteY214" fmla="*/ 116172 h 283512"/>
                <a:gd name="connsiteX215" fmla="*/ 1764780 w 2096597"/>
                <a:gd name="connsiteY215" fmla="*/ 120496 h 283512"/>
                <a:gd name="connsiteX216" fmla="*/ 1756996 w 2096597"/>
                <a:gd name="connsiteY216" fmla="*/ 134045 h 283512"/>
                <a:gd name="connsiteX217" fmla="*/ 1760744 w 2096597"/>
                <a:gd name="connsiteY217" fmla="*/ 142405 h 283512"/>
                <a:gd name="connsiteX218" fmla="*/ 1770977 w 2096597"/>
                <a:gd name="connsiteY218" fmla="*/ 147593 h 283512"/>
                <a:gd name="connsiteX219" fmla="*/ 1785967 w 2096597"/>
                <a:gd name="connsiteY219" fmla="*/ 151197 h 283512"/>
                <a:gd name="connsiteX220" fmla="*/ 1803696 w 2096597"/>
                <a:gd name="connsiteY220" fmla="*/ 154224 h 283512"/>
                <a:gd name="connsiteX221" fmla="*/ 1829784 w 2096597"/>
                <a:gd name="connsiteY221" fmla="*/ 159701 h 283512"/>
                <a:gd name="connsiteX222" fmla="*/ 1853710 w 2096597"/>
                <a:gd name="connsiteY222" fmla="*/ 169790 h 283512"/>
                <a:gd name="connsiteX223" fmla="*/ 1871439 w 2096597"/>
                <a:gd name="connsiteY223" fmla="*/ 188239 h 283512"/>
                <a:gd name="connsiteX224" fmla="*/ 1878357 w 2096597"/>
                <a:gd name="connsiteY224" fmla="*/ 218508 h 283512"/>
                <a:gd name="connsiteX225" fmla="*/ 1871727 w 2096597"/>
                <a:gd name="connsiteY225" fmla="*/ 246614 h 283512"/>
                <a:gd name="connsiteX226" fmla="*/ 1853278 w 2096597"/>
                <a:gd name="connsiteY226" fmla="*/ 266792 h 283512"/>
                <a:gd name="connsiteX227" fmla="*/ 1825172 w 2096597"/>
                <a:gd name="connsiteY227" fmla="*/ 279044 h 283512"/>
                <a:gd name="connsiteX228" fmla="*/ 1789715 w 2096597"/>
                <a:gd name="connsiteY228" fmla="*/ 283224 h 283512"/>
                <a:gd name="connsiteX229" fmla="*/ 1999430 w 2096597"/>
                <a:gd name="connsiteY229" fmla="*/ 282791 h 283512"/>
                <a:gd name="connsiteX230" fmla="*/ 1956046 w 2096597"/>
                <a:gd name="connsiteY230" fmla="*/ 275008 h 283512"/>
                <a:gd name="connsiteX231" fmla="*/ 1923327 w 2096597"/>
                <a:gd name="connsiteY231" fmla="*/ 253244 h 283512"/>
                <a:gd name="connsiteX232" fmla="*/ 1902716 w 2096597"/>
                <a:gd name="connsiteY232" fmla="*/ 220381 h 283512"/>
                <a:gd name="connsiteX233" fmla="*/ 1895509 w 2096597"/>
                <a:gd name="connsiteY233" fmla="*/ 179303 h 283512"/>
                <a:gd name="connsiteX234" fmla="*/ 1902716 w 2096597"/>
                <a:gd name="connsiteY234" fmla="*/ 138801 h 283512"/>
                <a:gd name="connsiteX235" fmla="*/ 1923327 w 2096597"/>
                <a:gd name="connsiteY235" fmla="*/ 106083 h 283512"/>
                <a:gd name="connsiteX236" fmla="*/ 1954893 w 2096597"/>
                <a:gd name="connsiteY236" fmla="*/ 84463 h 283512"/>
                <a:gd name="connsiteX237" fmla="*/ 1995683 w 2096597"/>
                <a:gd name="connsiteY237" fmla="*/ 76679 h 283512"/>
                <a:gd name="connsiteX238" fmla="*/ 2033157 w 2096597"/>
                <a:gd name="connsiteY238" fmla="*/ 83165 h 283512"/>
                <a:gd name="connsiteX239" fmla="*/ 2062273 w 2096597"/>
                <a:gd name="connsiteY239" fmla="*/ 101038 h 283512"/>
                <a:gd name="connsiteX240" fmla="*/ 2088361 w 2096597"/>
                <a:gd name="connsiteY240" fmla="*/ 141540 h 283512"/>
                <a:gd name="connsiteX241" fmla="*/ 2096577 w 2096597"/>
                <a:gd name="connsiteY241" fmla="*/ 195734 h 283512"/>
                <a:gd name="connsiteX242" fmla="*/ 1956478 w 2096597"/>
                <a:gd name="connsiteY242" fmla="*/ 195734 h 283512"/>
                <a:gd name="connsiteX243" fmla="*/ 1970171 w 2096597"/>
                <a:gd name="connsiteY243" fmla="*/ 227011 h 283512"/>
                <a:gd name="connsiteX244" fmla="*/ 2000295 w 2096597"/>
                <a:gd name="connsiteY244" fmla="*/ 238398 h 283512"/>
                <a:gd name="connsiteX245" fmla="*/ 2020474 w 2096597"/>
                <a:gd name="connsiteY245" fmla="*/ 233209 h 283512"/>
                <a:gd name="connsiteX246" fmla="*/ 2032725 w 2096597"/>
                <a:gd name="connsiteY246" fmla="*/ 218940 h 283512"/>
                <a:gd name="connsiteX247" fmla="*/ 2093262 w 2096597"/>
                <a:gd name="connsiteY247" fmla="*/ 218940 h 283512"/>
                <a:gd name="connsiteX248" fmla="*/ 2081875 w 2096597"/>
                <a:gd name="connsiteY248" fmla="*/ 244308 h 283512"/>
                <a:gd name="connsiteX249" fmla="*/ 2060543 w 2096597"/>
                <a:gd name="connsiteY249" fmla="*/ 265063 h 283512"/>
                <a:gd name="connsiteX250" fmla="*/ 2033302 w 2096597"/>
                <a:gd name="connsiteY250" fmla="*/ 278323 h 283512"/>
                <a:gd name="connsiteX251" fmla="*/ 1999574 w 2096597"/>
                <a:gd name="connsiteY251" fmla="*/ 282936 h 283512"/>
                <a:gd name="connsiteX252" fmla="*/ 2033878 w 2096597"/>
                <a:gd name="connsiteY252" fmla="*/ 158836 h 283512"/>
                <a:gd name="connsiteX253" fmla="*/ 2022059 w 2096597"/>
                <a:gd name="connsiteY253" fmla="*/ 131018 h 283512"/>
                <a:gd name="connsiteX254" fmla="*/ 1996980 w 2096597"/>
                <a:gd name="connsiteY254" fmla="*/ 120784 h 283512"/>
                <a:gd name="connsiteX255" fmla="*/ 1969594 w 2096597"/>
                <a:gd name="connsiteY255" fmla="*/ 131018 h 283512"/>
                <a:gd name="connsiteX256" fmla="*/ 1957055 w 2096597"/>
                <a:gd name="connsiteY256" fmla="*/ 158836 h 283512"/>
                <a:gd name="connsiteX257" fmla="*/ 2033878 w 2096597"/>
                <a:gd name="connsiteY257" fmla="*/ 15883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6597" h="283512">
                  <a:moveTo>
                    <a:pt x="129433" y="283512"/>
                  </a:moveTo>
                  <a:cubicBezTo>
                    <a:pt x="109830" y="283512"/>
                    <a:pt x="92390" y="280197"/>
                    <a:pt x="76968" y="273567"/>
                  </a:cubicBezTo>
                  <a:cubicBezTo>
                    <a:pt x="61545" y="266937"/>
                    <a:pt x="47997" y="257568"/>
                    <a:pt x="36610" y="245461"/>
                  </a:cubicBezTo>
                  <a:cubicBezTo>
                    <a:pt x="24647" y="232489"/>
                    <a:pt x="15567" y="217354"/>
                    <a:pt x="9369" y="199770"/>
                  </a:cubicBezTo>
                  <a:cubicBezTo>
                    <a:pt x="3171" y="182330"/>
                    <a:pt x="0" y="163160"/>
                    <a:pt x="0" y="142260"/>
                  </a:cubicBezTo>
                  <a:cubicBezTo>
                    <a:pt x="0" y="121361"/>
                    <a:pt x="3459" y="100894"/>
                    <a:pt x="10522" y="82733"/>
                  </a:cubicBezTo>
                  <a:cubicBezTo>
                    <a:pt x="17440" y="64572"/>
                    <a:pt x="27386" y="49006"/>
                    <a:pt x="40358" y="36178"/>
                  </a:cubicBezTo>
                  <a:cubicBezTo>
                    <a:pt x="51744" y="24791"/>
                    <a:pt x="65149" y="15855"/>
                    <a:pt x="80715" y="9513"/>
                  </a:cubicBezTo>
                  <a:cubicBezTo>
                    <a:pt x="96138" y="3171"/>
                    <a:pt x="113866" y="0"/>
                    <a:pt x="133612" y="0"/>
                  </a:cubicBezTo>
                  <a:cubicBezTo>
                    <a:pt x="151053" y="0"/>
                    <a:pt x="166907" y="2162"/>
                    <a:pt x="180744" y="6630"/>
                  </a:cubicBezTo>
                  <a:cubicBezTo>
                    <a:pt x="194725" y="11098"/>
                    <a:pt x="206833" y="17440"/>
                    <a:pt x="216922" y="25656"/>
                  </a:cubicBezTo>
                  <a:cubicBezTo>
                    <a:pt x="227011" y="33872"/>
                    <a:pt x="235227" y="43817"/>
                    <a:pt x="241425" y="55492"/>
                  </a:cubicBezTo>
                  <a:cubicBezTo>
                    <a:pt x="247623" y="67167"/>
                    <a:pt x="251947" y="80139"/>
                    <a:pt x="254109" y="94264"/>
                  </a:cubicBezTo>
                  <a:lnTo>
                    <a:pt x="188672" y="94264"/>
                  </a:lnTo>
                  <a:cubicBezTo>
                    <a:pt x="186077" y="83165"/>
                    <a:pt x="180456" y="73797"/>
                    <a:pt x="171520" y="66446"/>
                  </a:cubicBezTo>
                  <a:cubicBezTo>
                    <a:pt x="162583" y="59095"/>
                    <a:pt x="150764" y="55348"/>
                    <a:pt x="135774" y="55348"/>
                  </a:cubicBezTo>
                  <a:cubicBezTo>
                    <a:pt x="124532" y="55348"/>
                    <a:pt x="114731" y="57654"/>
                    <a:pt x="106227" y="61978"/>
                  </a:cubicBezTo>
                  <a:cubicBezTo>
                    <a:pt x="97723" y="66446"/>
                    <a:pt x="90660" y="72500"/>
                    <a:pt x="85039" y="80283"/>
                  </a:cubicBezTo>
                  <a:cubicBezTo>
                    <a:pt x="79418" y="88066"/>
                    <a:pt x="75238" y="97146"/>
                    <a:pt x="72500" y="107668"/>
                  </a:cubicBezTo>
                  <a:cubicBezTo>
                    <a:pt x="69761" y="118190"/>
                    <a:pt x="68320" y="129721"/>
                    <a:pt x="68320" y="142116"/>
                  </a:cubicBezTo>
                  <a:cubicBezTo>
                    <a:pt x="68320" y="154512"/>
                    <a:pt x="69905" y="166043"/>
                    <a:pt x="73076" y="176709"/>
                  </a:cubicBezTo>
                  <a:cubicBezTo>
                    <a:pt x="76247" y="187375"/>
                    <a:pt x="80715" y="196599"/>
                    <a:pt x="86625" y="204238"/>
                  </a:cubicBezTo>
                  <a:cubicBezTo>
                    <a:pt x="92534" y="212021"/>
                    <a:pt x="99597" y="218075"/>
                    <a:pt x="108101" y="222255"/>
                  </a:cubicBezTo>
                  <a:cubicBezTo>
                    <a:pt x="116605" y="226579"/>
                    <a:pt x="126117" y="228741"/>
                    <a:pt x="136783" y="228741"/>
                  </a:cubicBezTo>
                  <a:cubicBezTo>
                    <a:pt x="145576" y="228741"/>
                    <a:pt x="153647" y="227444"/>
                    <a:pt x="160566" y="224705"/>
                  </a:cubicBezTo>
                  <a:cubicBezTo>
                    <a:pt x="167484" y="222111"/>
                    <a:pt x="173538" y="218508"/>
                    <a:pt x="178438" y="214039"/>
                  </a:cubicBezTo>
                  <a:cubicBezTo>
                    <a:pt x="183339" y="209571"/>
                    <a:pt x="187375" y="204526"/>
                    <a:pt x="190257" y="198761"/>
                  </a:cubicBezTo>
                  <a:cubicBezTo>
                    <a:pt x="193140" y="193140"/>
                    <a:pt x="195014" y="187230"/>
                    <a:pt x="195734" y="181033"/>
                  </a:cubicBezTo>
                  <a:lnTo>
                    <a:pt x="195734" y="180312"/>
                  </a:lnTo>
                  <a:lnTo>
                    <a:pt x="144711" y="180312"/>
                  </a:lnTo>
                  <a:lnTo>
                    <a:pt x="144711" y="130874"/>
                  </a:lnTo>
                  <a:lnTo>
                    <a:pt x="258144" y="130874"/>
                  </a:lnTo>
                  <a:lnTo>
                    <a:pt x="258144" y="277026"/>
                  </a:lnTo>
                  <a:lnTo>
                    <a:pt x="211013" y="277026"/>
                  </a:lnTo>
                  <a:lnTo>
                    <a:pt x="207265" y="244308"/>
                  </a:lnTo>
                  <a:lnTo>
                    <a:pt x="206544" y="244308"/>
                  </a:lnTo>
                  <a:cubicBezTo>
                    <a:pt x="197608" y="258289"/>
                    <a:pt x="186654" y="268234"/>
                    <a:pt x="173682" y="274143"/>
                  </a:cubicBezTo>
                  <a:cubicBezTo>
                    <a:pt x="160566" y="280053"/>
                    <a:pt x="145864" y="283080"/>
                    <a:pt x="129288" y="283080"/>
                  </a:cubicBezTo>
                  <a:moveTo>
                    <a:pt x="358029" y="282647"/>
                  </a:moveTo>
                  <a:cubicBezTo>
                    <a:pt x="335400" y="282647"/>
                    <a:pt x="318393" y="276017"/>
                    <a:pt x="306862" y="262613"/>
                  </a:cubicBezTo>
                  <a:cubicBezTo>
                    <a:pt x="295331" y="249352"/>
                    <a:pt x="289566" y="231768"/>
                    <a:pt x="289566" y="209859"/>
                  </a:cubicBezTo>
                  <a:lnTo>
                    <a:pt x="289566" y="82012"/>
                  </a:lnTo>
                  <a:lnTo>
                    <a:pt x="351255" y="82012"/>
                  </a:lnTo>
                  <a:lnTo>
                    <a:pt x="351255" y="197032"/>
                  </a:lnTo>
                  <a:cubicBezTo>
                    <a:pt x="351255" y="207697"/>
                    <a:pt x="353705" y="215913"/>
                    <a:pt x="358462" y="221534"/>
                  </a:cubicBezTo>
                  <a:cubicBezTo>
                    <a:pt x="363218" y="227300"/>
                    <a:pt x="370713" y="230038"/>
                    <a:pt x="380514" y="230038"/>
                  </a:cubicBezTo>
                  <a:cubicBezTo>
                    <a:pt x="391180" y="230038"/>
                    <a:pt x="399540" y="226435"/>
                    <a:pt x="405594" y="219228"/>
                  </a:cubicBezTo>
                  <a:cubicBezTo>
                    <a:pt x="411647" y="212021"/>
                    <a:pt x="414674" y="202509"/>
                    <a:pt x="414674" y="190834"/>
                  </a:cubicBezTo>
                  <a:lnTo>
                    <a:pt x="414674" y="82012"/>
                  </a:lnTo>
                  <a:lnTo>
                    <a:pt x="476652" y="82012"/>
                  </a:lnTo>
                  <a:lnTo>
                    <a:pt x="476652" y="276882"/>
                  </a:lnTo>
                  <a:lnTo>
                    <a:pt x="417269" y="276882"/>
                  </a:lnTo>
                  <a:lnTo>
                    <a:pt x="417269" y="252956"/>
                  </a:lnTo>
                  <a:lnTo>
                    <a:pt x="416116" y="252956"/>
                  </a:lnTo>
                  <a:cubicBezTo>
                    <a:pt x="409053" y="262613"/>
                    <a:pt x="400981" y="269963"/>
                    <a:pt x="391901" y="275008"/>
                  </a:cubicBezTo>
                  <a:cubicBezTo>
                    <a:pt x="382965" y="280053"/>
                    <a:pt x="371578" y="282647"/>
                    <a:pt x="357885" y="282647"/>
                  </a:cubicBezTo>
                  <a:moveTo>
                    <a:pt x="511965" y="2162"/>
                  </a:moveTo>
                  <a:lnTo>
                    <a:pt x="573943" y="2162"/>
                  </a:lnTo>
                  <a:lnTo>
                    <a:pt x="573943" y="55059"/>
                  </a:lnTo>
                  <a:lnTo>
                    <a:pt x="511965" y="55059"/>
                  </a:lnTo>
                  <a:lnTo>
                    <a:pt x="511965" y="2162"/>
                  </a:lnTo>
                  <a:close/>
                  <a:moveTo>
                    <a:pt x="511965" y="82012"/>
                  </a:moveTo>
                  <a:lnTo>
                    <a:pt x="573943" y="82012"/>
                  </a:lnTo>
                  <a:lnTo>
                    <a:pt x="573943" y="276882"/>
                  </a:lnTo>
                  <a:lnTo>
                    <a:pt x="511965" y="276882"/>
                  </a:lnTo>
                  <a:lnTo>
                    <a:pt x="511965" y="82012"/>
                  </a:lnTo>
                  <a:close/>
                  <a:moveTo>
                    <a:pt x="685935" y="282936"/>
                  </a:moveTo>
                  <a:cubicBezTo>
                    <a:pt x="673539" y="282936"/>
                    <a:pt x="662009" y="280629"/>
                    <a:pt x="651631" y="275873"/>
                  </a:cubicBezTo>
                  <a:cubicBezTo>
                    <a:pt x="641253" y="271117"/>
                    <a:pt x="632173" y="264342"/>
                    <a:pt x="624678" y="255550"/>
                  </a:cubicBezTo>
                  <a:cubicBezTo>
                    <a:pt x="617039" y="246614"/>
                    <a:pt x="611129" y="235804"/>
                    <a:pt x="606949" y="222976"/>
                  </a:cubicBezTo>
                  <a:cubicBezTo>
                    <a:pt x="602769" y="210148"/>
                    <a:pt x="600607" y="195590"/>
                    <a:pt x="600607" y="179447"/>
                  </a:cubicBezTo>
                  <a:cubicBezTo>
                    <a:pt x="600607" y="164169"/>
                    <a:pt x="602769" y="150332"/>
                    <a:pt x="606949" y="137504"/>
                  </a:cubicBezTo>
                  <a:cubicBezTo>
                    <a:pt x="611129" y="124820"/>
                    <a:pt x="617039" y="114010"/>
                    <a:pt x="624390" y="104930"/>
                  </a:cubicBezTo>
                  <a:cubicBezTo>
                    <a:pt x="631884" y="95993"/>
                    <a:pt x="640821" y="88931"/>
                    <a:pt x="651199" y="83742"/>
                  </a:cubicBezTo>
                  <a:cubicBezTo>
                    <a:pt x="661576" y="78697"/>
                    <a:pt x="673107" y="76103"/>
                    <a:pt x="685791" y="76103"/>
                  </a:cubicBezTo>
                  <a:cubicBezTo>
                    <a:pt x="699483" y="76103"/>
                    <a:pt x="710582" y="78697"/>
                    <a:pt x="718942" y="83886"/>
                  </a:cubicBezTo>
                  <a:cubicBezTo>
                    <a:pt x="727301" y="89075"/>
                    <a:pt x="734364" y="95705"/>
                    <a:pt x="740273" y="103921"/>
                  </a:cubicBezTo>
                  <a:lnTo>
                    <a:pt x="741426" y="103921"/>
                  </a:lnTo>
                  <a:lnTo>
                    <a:pt x="741426" y="1874"/>
                  </a:lnTo>
                  <a:lnTo>
                    <a:pt x="803404" y="1874"/>
                  </a:lnTo>
                  <a:lnTo>
                    <a:pt x="803404" y="276738"/>
                  </a:lnTo>
                  <a:lnTo>
                    <a:pt x="744021" y="276738"/>
                  </a:lnTo>
                  <a:lnTo>
                    <a:pt x="744021" y="250505"/>
                  </a:lnTo>
                  <a:lnTo>
                    <a:pt x="743300" y="250505"/>
                  </a:lnTo>
                  <a:cubicBezTo>
                    <a:pt x="737535" y="260595"/>
                    <a:pt x="729607" y="268522"/>
                    <a:pt x="719951" y="274287"/>
                  </a:cubicBezTo>
                  <a:cubicBezTo>
                    <a:pt x="710149" y="280053"/>
                    <a:pt x="698907" y="282791"/>
                    <a:pt x="685935" y="282791"/>
                  </a:cubicBezTo>
                  <a:moveTo>
                    <a:pt x="701934" y="233642"/>
                  </a:moveTo>
                  <a:cubicBezTo>
                    <a:pt x="714906" y="233642"/>
                    <a:pt x="724995" y="228597"/>
                    <a:pt x="732202" y="218363"/>
                  </a:cubicBezTo>
                  <a:cubicBezTo>
                    <a:pt x="739409" y="208274"/>
                    <a:pt x="743012" y="195158"/>
                    <a:pt x="743012" y="179159"/>
                  </a:cubicBezTo>
                  <a:cubicBezTo>
                    <a:pt x="743012" y="171087"/>
                    <a:pt x="742147" y="163448"/>
                    <a:pt x="740562" y="156530"/>
                  </a:cubicBezTo>
                  <a:cubicBezTo>
                    <a:pt x="738976" y="149611"/>
                    <a:pt x="736382" y="143558"/>
                    <a:pt x="732923" y="138657"/>
                  </a:cubicBezTo>
                  <a:cubicBezTo>
                    <a:pt x="729463" y="133757"/>
                    <a:pt x="725284" y="129865"/>
                    <a:pt x="720383" y="126982"/>
                  </a:cubicBezTo>
                  <a:cubicBezTo>
                    <a:pt x="715482" y="124244"/>
                    <a:pt x="709573" y="122802"/>
                    <a:pt x="702654" y="122802"/>
                  </a:cubicBezTo>
                  <a:cubicBezTo>
                    <a:pt x="690259" y="122802"/>
                    <a:pt x="680602" y="127991"/>
                    <a:pt x="673683" y="138225"/>
                  </a:cubicBezTo>
                  <a:cubicBezTo>
                    <a:pt x="666765" y="148458"/>
                    <a:pt x="663450" y="161863"/>
                    <a:pt x="663450" y="178438"/>
                  </a:cubicBezTo>
                  <a:cubicBezTo>
                    <a:pt x="663450" y="195014"/>
                    <a:pt x="666765" y="208851"/>
                    <a:pt x="673539" y="218796"/>
                  </a:cubicBezTo>
                  <a:cubicBezTo>
                    <a:pt x="680314" y="228741"/>
                    <a:pt x="689682" y="233642"/>
                    <a:pt x="701934" y="233642"/>
                  </a:cubicBezTo>
                  <a:moveTo>
                    <a:pt x="930242" y="282359"/>
                  </a:moveTo>
                  <a:cubicBezTo>
                    <a:pt x="914243" y="282359"/>
                    <a:pt x="899830" y="279765"/>
                    <a:pt x="886858" y="274576"/>
                  </a:cubicBezTo>
                  <a:cubicBezTo>
                    <a:pt x="873886" y="269387"/>
                    <a:pt x="862932" y="262180"/>
                    <a:pt x="854139" y="252811"/>
                  </a:cubicBezTo>
                  <a:cubicBezTo>
                    <a:pt x="845203" y="243587"/>
                    <a:pt x="838429" y="232633"/>
                    <a:pt x="833528" y="219949"/>
                  </a:cubicBezTo>
                  <a:cubicBezTo>
                    <a:pt x="828772" y="207265"/>
                    <a:pt x="826322" y="193572"/>
                    <a:pt x="826322" y="178871"/>
                  </a:cubicBezTo>
                  <a:cubicBezTo>
                    <a:pt x="826322" y="164169"/>
                    <a:pt x="828772" y="150909"/>
                    <a:pt x="833528" y="138369"/>
                  </a:cubicBezTo>
                  <a:cubicBezTo>
                    <a:pt x="838285" y="125829"/>
                    <a:pt x="845203" y="114875"/>
                    <a:pt x="854139" y="105650"/>
                  </a:cubicBezTo>
                  <a:cubicBezTo>
                    <a:pt x="863076" y="96426"/>
                    <a:pt x="873598" y="89219"/>
                    <a:pt x="885705" y="84030"/>
                  </a:cubicBezTo>
                  <a:cubicBezTo>
                    <a:pt x="897812" y="78841"/>
                    <a:pt x="911505" y="76247"/>
                    <a:pt x="926495" y="76247"/>
                  </a:cubicBezTo>
                  <a:cubicBezTo>
                    <a:pt x="940476" y="76247"/>
                    <a:pt x="953016" y="78409"/>
                    <a:pt x="963970" y="82733"/>
                  </a:cubicBezTo>
                  <a:cubicBezTo>
                    <a:pt x="975068" y="87057"/>
                    <a:pt x="984725" y="92967"/>
                    <a:pt x="993085" y="100606"/>
                  </a:cubicBezTo>
                  <a:cubicBezTo>
                    <a:pt x="1004760" y="111272"/>
                    <a:pt x="1013408" y="124820"/>
                    <a:pt x="1019173" y="141107"/>
                  </a:cubicBezTo>
                  <a:cubicBezTo>
                    <a:pt x="1024939" y="157539"/>
                    <a:pt x="1027533" y="175556"/>
                    <a:pt x="1027389" y="195302"/>
                  </a:cubicBezTo>
                  <a:lnTo>
                    <a:pt x="887290" y="195302"/>
                  </a:lnTo>
                  <a:cubicBezTo>
                    <a:pt x="889308" y="208562"/>
                    <a:pt x="893921" y="218940"/>
                    <a:pt x="900983" y="226579"/>
                  </a:cubicBezTo>
                  <a:cubicBezTo>
                    <a:pt x="908046" y="234218"/>
                    <a:pt x="918135" y="237966"/>
                    <a:pt x="931107" y="237966"/>
                  </a:cubicBezTo>
                  <a:cubicBezTo>
                    <a:pt x="939179" y="237966"/>
                    <a:pt x="945953" y="236236"/>
                    <a:pt x="951286" y="232777"/>
                  </a:cubicBezTo>
                  <a:cubicBezTo>
                    <a:pt x="956619" y="229318"/>
                    <a:pt x="960655" y="224561"/>
                    <a:pt x="963393" y="218508"/>
                  </a:cubicBezTo>
                  <a:lnTo>
                    <a:pt x="1023930" y="218508"/>
                  </a:lnTo>
                  <a:cubicBezTo>
                    <a:pt x="1021912" y="227444"/>
                    <a:pt x="1018020" y="235804"/>
                    <a:pt x="1012543" y="243875"/>
                  </a:cubicBezTo>
                  <a:cubicBezTo>
                    <a:pt x="1006922" y="251803"/>
                    <a:pt x="999859" y="258721"/>
                    <a:pt x="991211" y="264630"/>
                  </a:cubicBezTo>
                  <a:cubicBezTo>
                    <a:pt x="983140" y="270540"/>
                    <a:pt x="974059" y="274864"/>
                    <a:pt x="963970" y="277891"/>
                  </a:cubicBezTo>
                  <a:cubicBezTo>
                    <a:pt x="954024" y="280918"/>
                    <a:pt x="942782" y="282503"/>
                    <a:pt x="930242" y="282503"/>
                  </a:cubicBezTo>
                  <a:moveTo>
                    <a:pt x="964546" y="158404"/>
                  </a:moveTo>
                  <a:cubicBezTo>
                    <a:pt x="963249" y="146729"/>
                    <a:pt x="959357" y="137504"/>
                    <a:pt x="952727" y="130586"/>
                  </a:cubicBezTo>
                  <a:cubicBezTo>
                    <a:pt x="946097" y="123811"/>
                    <a:pt x="937737" y="120352"/>
                    <a:pt x="927648" y="120352"/>
                  </a:cubicBezTo>
                  <a:cubicBezTo>
                    <a:pt x="915685" y="120352"/>
                    <a:pt x="906604" y="123811"/>
                    <a:pt x="900262" y="130586"/>
                  </a:cubicBezTo>
                  <a:cubicBezTo>
                    <a:pt x="893921" y="137504"/>
                    <a:pt x="889741" y="146729"/>
                    <a:pt x="887723" y="158404"/>
                  </a:cubicBezTo>
                  <a:lnTo>
                    <a:pt x="964546" y="158404"/>
                  </a:lnTo>
                  <a:close/>
                  <a:moveTo>
                    <a:pt x="1050162" y="2018"/>
                  </a:moveTo>
                  <a:lnTo>
                    <a:pt x="1112140" y="2018"/>
                  </a:lnTo>
                  <a:lnTo>
                    <a:pt x="1112140" y="105939"/>
                  </a:lnTo>
                  <a:lnTo>
                    <a:pt x="1113293" y="105939"/>
                  </a:lnTo>
                  <a:cubicBezTo>
                    <a:pt x="1120355" y="96570"/>
                    <a:pt x="1128427" y="89219"/>
                    <a:pt x="1137219" y="84030"/>
                  </a:cubicBezTo>
                  <a:cubicBezTo>
                    <a:pt x="1146155" y="78841"/>
                    <a:pt x="1157398" y="76247"/>
                    <a:pt x="1171091" y="76247"/>
                  </a:cubicBezTo>
                  <a:cubicBezTo>
                    <a:pt x="1181757" y="76247"/>
                    <a:pt x="1191269" y="78121"/>
                    <a:pt x="1199629" y="81724"/>
                  </a:cubicBezTo>
                  <a:cubicBezTo>
                    <a:pt x="1207989" y="85327"/>
                    <a:pt x="1215052" y="90516"/>
                    <a:pt x="1220961" y="97002"/>
                  </a:cubicBezTo>
                  <a:cubicBezTo>
                    <a:pt x="1226871" y="103488"/>
                    <a:pt x="1231195" y="111272"/>
                    <a:pt x="1234366" y="120208"/>
                  </a:cubicBezTo>
                  <a:cubicBezTo>
                    <a:pt x="1237392" y="129144"/>
                    <a:pt x="1238978" y="139234"/>
                    <a:pt x="1238978" y="150044"/>
                  </a:cubicBezTo>
                  <a:lnTo>
                    <a:pt x="1238978" y="276738"/>
                  </a:lnTo>
                  <a:lnTo>
                    <a:pt x="1177000" y="276738"/>
                  </a:lnTo>
                  <a:lnTo>
                    <a:pt x="1177000" y="162583"/>
                  </a:lnTo>
                  <a:cubicBezTo>
                    <a:pt x="1177000" y="152206"/>
                    <a:pt x="1174406" y="143846"/>
                    <a:pt x="1169361" y="137504"/>
                  </a:cubicBezTo>
                  <a:cubicBezTo>
                    <a:pt x="1164316" y="131162"/>
                    <a:pt x="1156677" y="127991"/>
                    <a:pt x="1146588" y="127991"/>
                  </a:cubicBezTo>
                  <a:cubicBezTo>
                    <a:pt x="1136498" y="127991"/>
                    <a:pt x="1127850" y="131739"/>
                    <a:pt x="1121653" y="139378"/>
                  </a:cubicBezTo>
                  <a:cubicBezTo>
                    <a:pt x="1115455" y="147017"/>
                    <a:pt x="1112284" y="156962"/>
                    <a:pt x="1112284" y="169069"/>
                  </a:cubicBezTo>
                  <a:lnTo>
                    <a:pt x="1112284" y="276738"/>
                  </a:lnTo>
                  <a:lnTo>
                    <a:pt x="1050306" y="276738"/>
                  </a:lnTo>
                  <a:lnTo>
                    <a:pt x="1050306" y="1874"/>
                  </a:lnTo>
                  <a:close/>
                  <a:moveTo>
                    <a:pt x="1362645" y="282936"/>
                  </a:moveTo>
                  <a:cubicBezTo>
                    <a:pt x="1346935" y="282936"/>
                    <a:pt x="1332665" y="280341"/>
                    <a:pt x="1319837" y="275152"/>
                  </a:cubicBezTo>
                  <a:cubicBezTo>
                    <a:pt x="1307009" y="269963"/>
                    <a:pt x="1296055" y="262757"/>
                    <a:pt x="1286830" y="253388"/>
                  </a:cubicBezTo>
                  <a:cubicBezTo>
                    <a:pt x="1277750" y="244163"/>
                    <a:pt x="1270687" y="233209"/>
                    <a:pt x="1265787" y="220670"/>
                  </a:cubicBezTo>
                  <a:cubicBezTo>
                    <a:pt x="1260886" y="208130"/>
                    <a:pt x="1258292" y="194437"/>
                    <a:pt x="1258292" y="179735"/>
                  </a:cubicBezTo>
                  <a:cubicBezTo>
                    <a:pt x="1258292" y="165034"/>
                    <a:pt x="1260742" y="151341"/>
                    <a:pt x="1265787" y="138801"/>
                  </a:cubicBezTo>
                  <a:cubicBezTo>
                    <a:pt x="1270687" y="126262"/>
                    <a:pt x="1277750" y="115307"/>
                    <a:pt x="1286830" y="106083"/>
                  </a:cubicBezTo>
                  <a:cubicBezTo>
                    <a:pt x="1295911" y="96858"/>
                    <a:pt x="1307009" y="89651"/>
                    <a:pt x="1319837" y="84463"/>
                  </a:cubicBezTo>
                  <a:cubicBezTo>
                    <a:pt x="1332665" y="79274"/>
                    <a:pt x="1346935" y="76679"/>
                    <a:pt x="1362645" y="76679"/>
                  </a:cubicBezTo>
                  <a:cubicBezTo>
                    <a:pt x="1378356" y="76679"/>
                    <a:pt x="1392625" y="79274"/>
                    <a:pt x="1405453" y="84463"/>
                  </a:cubicBezTo>
                  <a:cubicBezTo>
                    <a:pt x="1418281" y="89651"/>
                    <a:pt x="1429235" y="96858"/>
                    <a:pt x="1438171" y="106083"/>
                  </a:cubicBezTo>
                  <a:cubicBezTo>
                    <a:pt x="1447108" y="115307"/>
                    <a:pt x="1454170" y="126262"/>
                    <a:pt x="1459071" y="138801"/>
                  </a:cubicBezTo>
                  <a:cubicBezTo>
                    <a:pt x="1463971" y="151341"/>
                    <a:pt x="1466422" y="165034"/>
                    <a:pt x="1466422" y="179735"/>
                  </a:cubicBezTo>
                  <a:cubicBezTo>
                    <a:pt x="1466422" y="194437"/>
                    <a:pt x="1463971" y="208130"/>
                    <a:pt x="1459071" y="220670"/>
                  </a:cubicBezTo>
                  <a:cubicBezTo>
                    <a:pt x="1454170" y="233209"/>
                    <a:pt x="1447108" y="244163"/>
                    <a:pt x="1438171" y="253388"/>
                  </a:cubicBezTo>
                  <a:cubicBezTo>
                    <a:pt x="1429235" y="262613"/>
                    <a:pt x="1418281" y="269819"/>
                    <a:pt x="1405453" y="275152"/>
                  </a:cubicBezTo>
                  <a:cubicBezTo>
                    <a:pt x="1392625" y="280341"/>
                    <a:pt x="1378356" y="282936"/>
                    <a:pt x="1362645" y="282936"/>
                  </a:cubicBezTo>
                  <a:moveTo>
                    <a:pt x="1362213" y="238830"/>
                  </a:moveTo>
                  <a:cubicBezTo>
                    <a:pt x="1375905" y="238830"/>
                    <a:pt x="1386283" y="233497"/>
                    <a:pt x="1393201" y="222687"/>
                  </a:cubicBezTo>
                  <a:cubicBezTo>
                    <a:pt x="1400264" y="211877"/>
                    <a:pt x="1403723" y="197608"/>
                    <a:pt x="1403723" y="179880"/>
                  </a:cubicBezTo>
                  <a:cubicBezTo>
                    <a:pt x="1403723" y="162151"/>
                    <a:pt x="1400264" y="147738"/>
                    <a:pt x="1393201" y="136928"/>
                  </a:cubicBezTo>
                  <a:cubicBezTo>
                    <a:pt x="1386283" y="125973"/>
                    <a:pt x="1375905" y="120496"/>
                    <a:pt x="1362213" y="120496"/>
                  </a:cubicBezTo>
                  <a:cubicBezTo>
                    <a:pt x="1348520" y="120496"/>
                    <a:pt x="1338286" y="125973"/>
                    <a:pt x="1331368" y="136928"/>
                  </a:cubicBezTo>
                  <a:cubicBezTo>
                    <a:pt x="1324594" y="147882"/>
                    <a:pt x="1321134" y="162151"/>
                    <a:pt x="1321134" y="179880"/>
                  </a:cubicBezTo>
                  <a:cubicBezTo>
                    <a:pt x="1321134" y="197608"/>
                    <a:pt x="1324594" y="211877"/>
                    <a:pt x="1331368" y="222687"/>
                  </a:cubicBezTo>
                  <a:cubicBezTo>
                    <a:pt x="1338286" y="233497"/>
                    <a:pt x="1348520" y="238830"/>
                    <a:pt x="1362213" y="238830"/>
                  </a:cubicBezTo>
                  <a:moveTo>
                    <a:pt x="1554488" y="282647"/>
                  </a:moveTo>
                  <a:cubicBezTo>
                    <a:pt x="1531859" y="282647"/>
                    <a:pt x="1514851" y="276017"/>
                    <a:pt x="1503320" y="262613"/>
                  </a:cubicBezTo>
                  <a:cubicBezTo>
                    <a:pt x="1491789" y="249352"/>
                    <a:pt x="1486024" y="231768"/>
                    <a:pt x="1486024" y="209859"/>
                  </a:cubicBezTo>
                  <a:lnTo>
                    <a:pt x="1486024" y="82012"/>
                  </a:lnTo>
                  <a:lnTo>
                    <a:pt x="1547713" y="82012"/>
                  </a:lnTo>
                  <a:lnTo>
                    <a:pt x="1547713" y="197032"/>
                  </a:lnTo>
                  <a:cubicBezTo>
                    <a:pt x="1547713" y="207697"/>
                    <a:pt x="1550164" y="215913"/>
                    <a:pt x="1554920" y="221534"/>
                  </a:cubicBezTo>
                  <a:cubicBezTo>
                    <a:pt x="1559677" y="227300"/>
                    <a:pt x="1567172" y="230038"/>
                    <a:pt x="1576973" y="230038"/>
                  </a:cubicBezTo>
                  <a:cubicBezTo>
                    <a:pt x="1587639" y="230038"/>
                    <a:pt x="1595998" y="226435"/>
                    <a:pt x="1602052" y="219228"/>
                  </a:cubicBezTo>
                  <a:cubicBezTo>
                    <a:pt x="1608106" y="212021"/>
                    <a:pt x="1611132" y="202509"/>
                    <a:pt x="1611132" y="190834"/>
                  </a:cubicBezTo>
                  <a:lnTo>
                    <a:pt x="1611132" y="82012"/>
                  </a:lnTo>
                  <a:lnTo>
                    <a:pt x="1673110" y="82012"/>
                  </a:lnTo>
                  <a:lnTo>
                    <a:pt x="1673110" y="276882"/>
                  </a:lnTo>
                  <a:lnTo>
                    <a:pt x="1613727" y="276882"/>
                  </a:lnTo>
                  <a:lnTo>
                    <a:pt x="1613727" y="252956"/>
                  </a:lnTo>
                  <a:lnTo>
                    <a:pt x="1612574" y="252956"/>
                  </a:lnTo>
                  <a:cubicBezTo>
                    <a:pt x="1605511" y="262613"/>
                    <a:pt x="1597440" y="269963"/>
                    <a:pt x="1588359" y="275008"/>
                  </a:cubicBezTo>
                  <a:cubicBezTo>
                    <a:pt x="1579423" y="280053"/>
                    <a:pt x="1568036" y="282647"/>
                    <a:pt x="1554344" y="282647"/>
                  </a:cubicBezTo>
                  <a:moveTo>
                    <a:pt x="1789571" y="283080"/>
                  </a:moveTo>
                  <a:cubicBezTo>
                    <a:pt x="1760888" y="283080"/>
                    <a:pt x="1738259" y="276882"/>
                    <a:pt x="1721395" y="264630"/>
                  </a:cubicBezTo>
                  <a:cubicBezTo>
                    <a:pt x="1704676" y="252379"/>
                    <a:pt x="1695739" y="235371"/>
                    <a:pt x="1694730" y="213751"/>
                  </a:cubicBezTo>
                  <a:lnTo>
                    <a:pt x="1753393" y="213751"/>
                  </a:lnTo>
                  <a:cubicBezTo>
                    <a:pt x="1754690" y="223408"/>
                    <a:pt x="1758294" y="230615"/>
                    <a:pt x="1764491" y="235515"/>
                  </a:cubicBezTo>
                  <a:cubicBezTo>
                    <a:pt x="1770545" y="240272"/>
                    <a:pt x="1778761" y="242722"/>
                    <a:pt x="1789282" y="242722"/>
                  </a:cubicBezTo>
                  <a:cubicBezTo>
                    <a:pt x="1798651" y="242722"/>
                    <a:pt x="1806146" y="241137"/>
                    <a:pt x="1811479" y="237821"/>
                  </a:cubicBezTo>
                  <a:cubicBezTo>
                    <a:pt x="1816956" y="234506"/>
                    <a:pt x="1819695" y="229750"/>
                    <a:pt x="1819695" y="223408"/>
                  </a:cubicBezTo>
                  <a:cubicBezTo>
                    <a:pt x="1819695" y="219084"/>
                    <a:pt x="1818253" y="215625"/>
                    <a:pt x="1815515" y="212886"/>
                  </a:cubicBezTo>
                  <a:cubicBezTo>
                    <a:pt x="1812776" y="210292"/>
                    <a:pt x="1809029" y="208130"/>
                    <a:pt x="1804416" y="206400"/>
                  </a:cubicBezTo>
                  <a:cubicBezTo>
                    <a:pt x="1799804" y="204815"/>
                    <a:pt x="1794615" y="203518"/>
                    <a:pt x="1788562" y="202653"/>
                  </a:cubicBezTo>
                  <a:cubicBezTo>
                    <a:pt x="1782652" y="201788"/>
                    <a:pt x="1776454" y="200635"/>
                    <a:pt x="1770112" y="199482"/>
                  </a:cubicBezTo>
                  <a:cubicBezTo>
                    <a:pt x="1761753" y="197896"/>
                    <a:pt x="1753393" y="196167"/>
                    <a:pt x="1745033" y="194005"/>
                  </a:cubicBezTo>
                  <a:cubicBezTo>
                    <a:pt x="1736673" y="191843"/>
                    <a:pt x="1729178" y="188672"/>
                    <a:pt x="1722404" y="184348"/>
                  </a:cubicBezTo>
                  <a:cubicBezTo>
                    <a:pt x="1715630" y="180024"/>
                    <a:pt x="1710297" y="174258"/>
                    <a:pt x="1706261" y="167052"/>
                  </a:cubicBezTo>
                  <a:cubicBezTo>
                    <a:pt x="1702225" y="159845"/>
                    <a:pt x="1700207" y="150476"/>
                    <a:pt x="1700207" y="139090"/>
                  </a:cubicBezTo>
                  <a:cubicBezTo>
                    <a:pt x="1700207" y="129000"/>
                    <a:pt x="1702369" y="119920"/>
                    <a:pt x="1706837" y="111992"/>
                  </a:cubicBezTo>
                  <a:cubicBezTo>
                    <a:pt x="1711306" y="104209"/>
                    <a:pt x="1717359" y="97579"/>
                    <a:pt x="1724999" y="92390"/>
                  </a:cubicBezTo>
                  <a:cubicBezTo>
                    <a:pt x="1732638" y="87201"/>
                    <a:pt x="1741574" y="83310"/>
                    <a:pt x="1751808" y="80571"/>
                  </a:cubicBezTo>
                  <a:cubicBezTo>
                    <a:pt x="1762041" y="77977"/>
                    <a:pt x="1772995" y="76535"/>
                    <a:pt x="1784382" y="76535"/>
                  </a:cubicBezTo>
                  <a:cubicBezTo>
                    <a:pt x="1812056" y="76535"/>
                    <a:pt x="1833243" y="82157"/>
                    <a:pt x="1847945" y="93255"/>
                  </a:cubicBezTo>
                  <a:cubicBezTo>
                    <a:pt x="1862647" y="104353"/>
                    <a:pt x="1870718" y="119631"/>
                    <a:pt x="1872304" y="138945"/>
                  </a:cubicBezTo>
                  <a:lnTo>
                    <a:pt x="1815226" y="138945"/>
                  </a:lnTo>
                  <a:cubicBezTo>
                    <a:pt x="1813929" y="130009"/>
                    <a:pt x="1810614" y="124100"/>
                    <a:pt x="1805137" y="120929"/>
                  </a:cubicBezTo>
                  <a:cubicBezTo>
                    <a:pt x="1799660" y="117758"/>
                    <a:pt x="1792598" y="116172"/>
                    <a:pt x="1783949" y="116172"/>
                  </a:cubicBezTo>
                  <a:cubicBezTo>
                    <a:pt x="1776310" y="116172"/>
                    <a:pt x="1769968" y="117614"/>
                    <a:pt x="1764780" y="120496"/>
                  </a:cubicBezTo>
                  <a:cubicBezTo>
                    <a:pt x="1759591" y="123379"/>
                    <a:pt x="1756996" y="127847"/>
                    <a:pt x="1756996" y="134045"/>
                  </a:cubicBezTo>
                  <a:cubicBezTo>
                    <a:pt x="1756996" y="137648"/>
                    <a:pt x="1758294" y="140387"/>
                    <a:pt x="1760744" y="142405"/>
                  </a:cubicBezTo>
                  <a:cubicBezTo>
                    <a:pt x="1763338" y="144423"/>
                    <a:pt x="1766653" y="146152"/>
                    <a:pt x="1770977" y="147593"/>
                  </a:cubicBezTo>
                  <a:cubicBezTo>
                    <a:pt x="1775301" y="149035"/>
                    <a:pt x="1780346" y="150188"/>
                    <a:pt x="1785967" y="151197"/>
                  </a:cubicBezTo>
                  <a:cubicBezTo>
                    <a:pt x="1791733" y="152206"/>
                    <a:pt x="1797642" y="153215"/>
                    <a:pt x="1803696" y="154224"/>
                  </a:cubicBezTo>
                  <a:cubicBezTo>
                    <a:pt x="1812344" y="155665"/>
                    <a:pt x="1820992" y="157539"/>
                    <a:pt x="1829784" y="159701"/>
                  </a:cubicBezTo>
                  <a:cubicBezTo>
                    <a:pt x="1838576" y="161863"/>
                    <a:pt x="1846504" y="165178"/>
                    <a:pt x="1853710" y="169790"/>
                  </a:cubicBezTo>
                  <a:cubicBezTo>
                    <a:pt x="1860917" y="174402"/>
                    <a:pt x="1866827" y="180456"/>
                    <a:pt x="1871439" y="188239"/>
                  </a:cubicBezTo>
                  <a:cubicBezTo>
                    <a:pt x="1876051" y="196023"/>
                    <a:pt x="1878357" y="206112"/>
                    <a:pt x="1878357" y="218508"/>
                  </a:cubicBezTo>
                  <a:cubicBezTo>
                    <a:pt x="1878357" y="229173"/>
                    <a:pt x="1876051" y="238542"/>
                    <a:pt x="1871727" y="246614"/>
                  </a:cubicBezTo>
                  <a:cubicBezTo>
                    <a:pt x="1867259" y="254685"/>
                    <a:pt x="1861061" y="261460"/>
                    <a:pt x="1853278" y="266792"/>
                  </a:cubicBezTo>
                  <a:cubicBezTo>
                    <a:pt x="1845350" y="272125"/>
                    <a:pt x="1835982" y="276161"/>
                    <a:pt x="1825172" y="279044"/>
                  </a:cubicBezTo>
                  <a:cubicBezTo>
                    <a:pt x="1814218" y="281782"/>
                    <a:pt x="1802399" y="283224"/>
                    <a:pt x="1789715" y="283224"/>
                  </a:cubicBezTo>
                  <a:moveTo>
                    <a:pt x="1999430" y="282791"/>
                  </a:moveTo>
                  <a:cubicBezTo>
                    <a:pt x="1983431" y="282791"/>
                    <a:pt x="1969018" y="280197"/>
                    <a:pt x="1956046" y="275008"/>
                  </a:cubicBezTo>
                  <a:cubicBezTo>
                    <a:pt x="1943073" y="269819"/>
                    <a:pt x="1932263" y="262613"/>
                    <a:pt x="1923327" y="253244"/>
                  </a:cubicBezTo>
                  <a:cubicBezTo>
                    <a:pt x="1914391" y="244019"/>
                    <a:pt x="1907617" y="233065"/>
                    <a:pt x="1902716" y="220381"/>
                  </a:cubicBezTo>
                  <a:cubicBezTo>
                    <a:pt x="1897960" y="207697"/>
                    <a:pt x="1895509" y="194005"/>
                    <a:pt x="1895509" y="179303"/>
                  </a:cubicBezTo>
                  <a:cubicBezTo>
                    <a:pt x="1895509" y="164601"/>
                    <a:pt x="1897960" y="151341"/>
                    <a:pt x="1902716" y="138801"/>
                  </a:cubicBezTo>
                  <a:cubicBezTo>
                    <a:pt x="1907473" y="126262"/>
                    <a:pt x="1914391" y="115307"/>
                    <a:pt x="1923327" y="106083"/>
                  </a:cubicBezTo>
                  <a:cubicBezTo>
                    <a:pt x="1932263" y="96858"/>
                    <a:pt x="1942785" y="89651"/>
                    <a:pt x="1954893" y="84463"/>
                  </a:cubicBezTo>
                  <a:cubicBezTo>
                    <a:pt x="1967144" y="79274"/>
                    <a:pt x="1980693" y="76679"/>
                    <a:pt x="1995683" y="76679"/>
                  </a:cubicBezTo>
                  <a:cubicBezTo>
                    <a:pt x="2009664" y="76679"/>
                    <a:pt x="2022059" y="78841"/>
                    <a:pt x="2033157" y="83165"/>
                  </a:cubicBezTo>
                  <a:cubicBezTo>
                    <a:pt x="2044256" y="87489"/>
                    <a:pt x="2053913" y="93399"/>
                    <a:pt x="2062273" y="101038"/>
                  </a:cubicBezTo>
                  <a:cubicBezTo>
                    <a:pt x="2073947" y="111704"/>
                    <a:pt x="2082596" y="125253"/>
                    <a:pt x="2088361" y="141540"/>
                  </a:cubicBezTo>
                  <a:cubicBezTo>
                    <a:pt x="2094126" y="157971"/>
                    <a:pt x="2096865" y="175988"/>
                    <a:pt x="2096577" y="195734"/>
                  </a:cubicBezTo>
                  <a:lnTo>
                    <a:pt x="1956478" y="195734"/>
                  </a:lnTo>
                  <a:cubicBezTo>
                    <a:pt x="1958496" y="208995"/>
                    <a:pt x="1963108" y="219372"/>
                    <a:pt x="1970171" y="227011"/>
                  </a:cubicBezTo>
                  <a:cubicBezTo>
                    <a:pt x="1977233" y="234651"/>
                    <a:pt x="1987323" y="238398"/>
                    <a:pt x="2000295" y="238398"/>
                  </a:cubicBezTo>
                  <a:cubicBezTo>
                    <a:pt x="2008366" y="238398"/>
                    <a:pt x="2015141" y="236668"/>
                    <a:pt x="2020474" y="233209"/>
                  </a:cubicBezTo>
                  <a:cubicBezTo>
                    <a:pt x="2025807" y="229750"/>
                    <a:pt x="2029842" y="224994"/>
                    <a:pt x="2032725" y="218940"/>
                  </a:cubicBezTo>
                  <a:lnTo>
                    <a:pt x="2093262" y="218940"/>
                  </a:lnTo>
                  <a:cubicBezTo>
                    <a:pt x="2091244" y="227876"/>
                    <a:pt x="2087496" y="236236"/>
                    <a:pt x="2081875" y="244308"/>
                  </a:cubicBezTo>
                  <a:cubicBezTo>
                    <a:pt x="2076254" y="252379"/>
                    <a:pt x="2069191" y="259153"/>
                    <a:pt x="2060543" y="265063"/>
                  </a:cubicBezTo>
                  <a:cubicBezTo>
                    <a:pt x="2052472" y="270972"/>
                    <a:pt x="2043391" y="275296"/>
                    <a:pt x="2033302" y="278323"/>
                  </a:cubicBezTo>
                  <a:cubicBezTo>
                    <a:pt x="2023212" y="281350"/>
                    <a:pt x="2011970" y="282936"/>
                    <a:pt x="1999574" y="282936"/>
                  </a:cubicBezTo>
                  <a:moveTo>
                    <a:pt x="2033878" y="158836"/>
                  </a:moveTo>
                  <a:cubicBezTo>
                    <a:pt x="2032581" y="147161"/>
                    <a:pt x="2028689" y="137936"/>
                    <a:pt x="2022059" y="131018"/>
                  </a:cubicBezTo>
                  <a:cubicBezTo>
                    <a:pt x="2015429" y="124244"/>
                    <a:pt x="2007069" y="120784"/>
                    <a:pt x="1996980" y="120784"/>
                  </a:cubicBezTo>
                  <a:cubicBezTo>
                    <a:pt x="1985017" y="120784"/>
                    <a:pt x="1975936" y="124244"/>
                    <a:pt x="1969594" y="131018"/>
                  </a:cubicBezTo>
                  <a:cubicBezTo>
                    <a:pt x="1963252" y="137936"/>
                    <a:pt x="1959072" y="147161"/>
                    <a:pt x="1957055" y="158836"/>
                  </a:cubicBezTo>
                  <a:lnTo>
                    <a:pt x="2033878" y="158836"/>
                  </a:lnTo>
                  <a:close/>
                </a:path>
              </a:pathLst>
            </a:custGeom>
            <a:solidFill>
              <a:srgbClr val="000000"/>
            </a:solidFill>
            <a:ln w="0"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15457261-1C34-087B-4575-1B5E779EBBAB}"/>
                </a:ext>
              </a:extLst>
            </p:cNvPr>
            <p:cNvSpPr/>
            <p:nvPr/>
          </p:nvSpPr>
          <p:spPr>
            <a:xfrm>
              <a:off x="882878" y="557212"/>
              <a:ext cx="273278" cy="674980"/>
            </a:xfrm>
            <a:custGeom>
              <a:avLst/>
              <a:gdLst>
                <a:gd name="connsiteX0" fmla="*/ 0 w 273278"/>
                <a:gd name="connsiteY0" fmla="*/ 0 h 674980"/>
                <a:gd name="connsiteX1" fmla="*/ 0 w 273278"/>
                <a:gd name="connsiteY1" fmla="*/ 476508 h 674980"/>
                <a:gd name="connsiteX2" fmla="*/ 272558 w 273278"/>
                <a:gd name="connsiteY2" fmla="*/ 674981 h 674980"/>
                <a:gd name="connsiteX3" fmla="*/ 273278 w 273278"/>
                <a:gd name="connsiteY3" fmla="*/ 674260 h 674980"/>
                <a:gd name="connsiteX4" fmla="*/ 0 w 273278"/>
                <a:gd name="connsiteY4" fmla="*/ 0 h 674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980">
                  <a:moveTo>
                    <a:pt x="0" y="0"/>
                  </a:moveTo>
                  <a:lnTo>
                    <a:pt x="0" y="476508"/>
                  </a:lnTo>
                  <a:lnTo>
                    <a:pt x="272558" y="674981"/>
                  </a:lnTo>
                  <a:cubicBezTo>
                    <a:pt x="272558" y="674981"/>
                    <a:pt x="273134" y="674404"/>
                    <a:pt x="273278" y="674260"/>
                  </a:cubicBezTo>
                  <a:lnTo>
                    <a:pt x="0" y="0"/>
                  </a:lnTo>
                  <a:close/>
                </a:path>
              </a:pathLst>
            </a:custGeom>
            <a:solidFill>
              <a:srgbClr val="93D500"/>
            </a:solidFill>
            <a:ln w="0"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0CDB77CD-C5E1-9227-DF1A-82C8E96E04A3}"/>
                </a:ext>
              </a:extLst>
            </p:cNvPr>
            <p:cNvSpPr/>
            <p:nvPr/>
          </p:nvSpPr>
          <p:spPr>
            <a:xfrm>
              <a:off x="609600" y="557212"/>
              <a:ext cx="273278" cy="674836"/>
            </a:xfrm>
            <a:custGeom>
              <a:avLst/>
              <a:gdLst>
                <a:gd name="connsiteX0" fmla="*/ 0 w 273278"/>
                <a:gd name="connsiteY0" fmla="*/ 674116 h 674836"/>
                <a:gd name="connsiteX1" fmla="*/ 721 w 273278"/>
                <a:gd name="connsiteY1" fmla="*/ 674837 h 674836"/>
                <a:gd name="connsiteX2" fmla="*/ 273278 w 273278"/>
                <a:gd name="connsiteY2" fmla="*/ 476364 h 674836"/>
                <a:gd name="connsiteX3" fmla="*/ 273278 w 273278"/>
                <a:gd name="connsiteY3" fmla="*/ 0 h 674836"/>
                <a:gd name="connsiteX4" fmla="*/ 0 w 273278"/>
                <a:gd name="connsiteY4" fmla="*/ 674116 h 674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836">
                  <a:moveTo>
                    <a:pt x="0" y="674116"/>
                  </a:moveTo>
                  <a:cubicBezTo>
                    <a:pt x="0" y="674116"/>
                    <a:pt x="577" y="674692"/>
                    <a:pt x="721" y="674837"/>
                  </a:cubicBezTo>
                  <a:lnTo>
                    <a:pt x="273278" y="476364"/>
                  </a:lnTo>
                  <a:lnTo>
                    <a:pt x="273278" y="0"/>
                  </a:lnTo>
                  <a:lnTo>
                    <a:pt x="0" y="674116"/>
                  </a:lnTo>
                  <a:close/>
                </a:path>
              </a:pathLst>
            </a:custGeom>
            <a:solidFill>
              <a:srgbClr val="000000"/>
            </a:solidFill>
            <a:ln w="0" cap="flat">
              <a:noFill/>
              <a:prstDash val="solid"/>
              <a:miter/>
            </a:ln>
          </p:spPr>
          <p:txBody>
            <a:bodyPr rtlCol="0" anchor="ctr"/>
            <a:lstStyle/>
            <a:p>
              <a:endParaRPr lang="en-US" dirty="0"/>
            </a:p>
          </p:txBody>
        </p:sp>
      </p:grpSp>
      <p:sp>
        <p:nvSpPr>
          <p:cNvPr id="58" name="Text Placeholder 16">
            <a:extLst>
              <a:ext uri="{FF2B5EF4-FFF2-40B4-BE49-F238E27FC236}">
                <a16:creationId xmlns:a16="http://schemas.microsoft.com/office/drawing/2014/main" id="{2CEC33A9-A637-6C33-525A-AF284749A9F6}"/>
              </a:ext>
            </a:extLst>
          </p:cNvPr>
          <p:cNvSpPr>
            <a:spLocks noGrp="1"/>
          </p:cNvSpPr>
          <p:nvPr>
            <p:ph type="body" sz="quarter" idx="15" hasCustomPrompt="1"/>
          </p:nvPr>
        </p:nvSpPr>
        <p:spPr>
          <a:xfrm>
            <a:off x="609600" y="1523079"/>
            <a:ext cx="1333500" cy="223908"/>
          </a:xfrm>
        </p:spPr>
        <p:txBody>
          <a:bodyPr wrap="square">
            <a:noAutofit/>
          </a:bodyPr>
          <a:lstStyle>
            <a:lvl1pPr algn="l">
              <a:spcAft>
                <a:spcPts val="0"/>
              </a:spcAft>
              <a:defRPr sz="14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6" name="Graphic 5">
            <a:extLst>
              <a:ext uri="{FF2B5EF4-FFF2-40B4-BE49-F238E27FC236}">
                <a16:creationId xmlns:a16="http://schemas.microsoft.com/office/drawing/2014/main" id="{0DBEBFD3-3735-BFC8-D7E6-A618637D48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 y="6090476"/>
            <a:ext cx="1834388" cy="210312"/>
          </a:xfrm>
          <a:prstGeom prst="rect">
            <a:avLst/>
          </a:prstGeom>
        </p:spPr>
      </p:pic>
      <p:sp>
        <p:nvSpPr>
          <p:cNvPr id="8" name="Picture Placeholder 6">
            <a:extLst>
              <a:ext uri="{FF2B5EF4-FFF2-40B4-BE49-F238E27FC236}">
                <a16:creationId xmlns:a16="http://schemas.microsoft.com/office/drawing/2014/main" id="{53B85769-FCCA-2D63-E7A5-C3FB3AF5264E}"/>
              </a:ext>
            </a:extLst>
          </p:cNvPr>
          <p:cNvSpPr>
            <a:spLocks noGrp="1"/>
          </p:cNvSpPr>
          <p:nvPr>
            <p:ph type="pic" sz="quarter" idx="16" hasCustomPrompt="1"/>
          </p:nvPr>
        </p:nvSpPr>
        <p:spPr>
          <a:xfrm>
            <a:off x="6645285" y="0"/>
            <a:ext cx="5546715" cy="6858000"/>
          </a:xfrm>
          <a:solidFill>
            <a:schemeClr val="bg1">
              <a:lumMod val="75000"/>
            </a:schemeClr>
          </a:solidFill>
        </p:spPr>
        <p:txBody>
          <a:bodyPr anchor="ctr"/>
          <a:lstStyle>
            <a:lvl1pPr algn="ctr">
              <a:defRPr sz="1000" b="0"/>
            </a:lvl1pPr>
          </a:lstStyle>
          <a:p>
            <a:r>
              <a:rPr lang="en-US" dirty="0"/>
              <a:t>Insert Photo</a:t>
            </a:r>
          </a:p>
        </p:txBody>
      </p:sp>
      <p:sp>
        <p:nvSpPr>
          <p:cNvPr id="2" name="Text Placeholder 33">
            <a:extLst>
              <a:ext uri="{FF2B5EF4-FFF2-40B4-BE49-F238E27FC236}">
                <a16:creationId xmlns:a16="http://schemas.microsoft.com/office/drawing/2014/main" id="{88AE528E-3459-3BE1-3110-B431E04FF8C8}"/>
              </a:ext>
            </a:extLst>
          </p:cNvPr>
          <p:cNvSpPr>
            <a:spLocks noGrp="1"/>
          </p:cNvSpPr>
          <p:nvPr>
            <p:ph type="body" sz="quarter" idx="14" hasCustomPrompt="1"/>
          </p:nvPr>
        </p:nvSpPr>
        <p:spPr>
          <a:xfrm>
            <a:off x="609600" y="4896099"/>
            <a:ext cx="5387082" cy="307777"/>
          </a:xfrm>
        </p:spPr>
        <p:txBody>
          <a:bodyPr wrap="square">
            <a:noAutofit/>
          </a:bodyPr>
          <a:lstStyle>
            <a:lvl1pPr marL="0" indent="0">
              <a:spcAft>
                <a:spcPts val="300"/>
              </a:spcAft>
              <a:buFont typeface="Arial" panose="020B0604020202020204" pitchFamily="34" charset="0"/>
              <a:buNone/>
              <a:defRPr b="1">
                <a:solidFill>
                  <a:schemeClr val="tx2"/>
                </a:solidFill>
                <a:latin typeface="+mj-lt"/>
              </a:defRPr>
            </a:lvl1pPr>
            <a:lvl2pPr marL="0" indent="0">
              <a:spcAft>
                <a:spcPts val="300"/>
              </a:spcAft>
              <a:buNone/>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4" name="Text Placeholder 33">
            <a:extLst>
              <a:ext uri="{FF2B5EF4-FFF2-40B4-BE49-F238E27FC236}">
                <a16:creationId xmlns:a16="http://schemas.microsoft.com/office/drawing/2014/main" id="{2D8DD257-F285-9A19-2F10-3B81AA2D213F}"/>
              </a:ext>
            </a:extLst>
          </p:cNvPr>
          <p:cNvSpPr>
            <a:spLocks noGrp="1"/>
          </p:cNvSpPr>
          <p:nvPr>
            <p:ph type="body" sz="quarter" idx="17" hasCustomPrompt="1"/>
          </p:nvPr>
        </p:nvSpPr>
        <p:spPr>
          <a:xfrm>
            <a:off x="620348" y="5236388"/>
            <a:ext cx="5387082" cy="276999"/>
          </a:xfrm>
        </p:spPr>
        <p:txBody>
          <a:bodyPr wrap="square">
            <a:noAutofit/>
          </a:bodyPr>
          <a:lstStyle>
            <a:lvl1pPr marL="0" indent="0">
              <a:spcAft>
                <a:spcPts val="300"/>
              </a:spcAft>
              <a:buFont typeface="Arial" panose="020B0604020202020204" pitchFamily="34" charset="0"/>
              <a:buNone/>
              <a:defRPr sz="18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170128588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 2 - Dark">
    <p:bg>
      <p:bgPr>
        <a:solidFill>
          <a:schemeClr val="tx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2AFFFE6-9509-4010-7DBE-B101C66BE8E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31095" y="476286"/>
            <a:ext cx="1799617" cy="457200"/>
          </a:xfrm>
          <a:prstGeom prst="rect">
            <a:avLst/>
          </a:prstGeom>
        </p:spPr>
      </p:pic>
      <p:pic>
        <p:nvPicPr>
          <p:cNvPr id="11" name="Graphic 10">
            <a:extLst>
              <a:ext uri="{FF2B5EF4-FFF2-40B4-BE49-F238E27FC236}">
                <a16:creationId xmlns:a16="http://schemas.microsoft.com/office/drawing/2014/main" id="{C115252C-FF39-2E61-6A45-48C699481F4F}"/>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27579" t="20639" r="1500" b="7525"/>
          <a:stretch/>
        </p:blipFill>
        <p:spPr>
          <a:xfrm>
            <a:off x="0" y="0"/>
            <a:ext cx="5486401" cy="6857999"/>
          </a:xfrm>
          <a:prstGeom prst="rect">
            <a:avLst/>
          </a:prstGeom>
        </p:spPr>
      </p:pic>
      <p:cxnSp>
        <p:nvCxnSpPr>
          <p:cNvPr id="48" name="Straight Connector 47">
            <a:extLst>
              <a:ext uri="{FF2B5EF4-FFF2-40B4-BE49-F238E27FC236}">
                <a16:creationId xmlns:a16="http://schemas.microsoft.com/office/drawing/2014/main" id="{215BE539-8AC2-9053-6A0F-892165433E6C}"/>
              </a:ext>
            </a:extLst>
          </p:cNvPr>
          <p:cNvCxnSpPr>
            <a:cxnSpLocks/>
          </p:cNvCxnSpPr>
          <p:nvPr/>
        </p:nvCxnSpPr>
        <p:spPr>
          <a:xfrm>
            <a:off x="6022043" y="4317390"/>
            <a:ext cx="5549059"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9" name="Text Placeholder 14">
            <a:extLst>
              <a:ext uri="{FF2B5EF4-FFF2-40B4-BE49-F238E27FC236}">
                <a16:creationId xmlns:a16="http://schemas.microsoft.com/office/drawing/2014/main" id="{DF9F4C41-B8FC-527A-5C20-40AFD1C4A1AA}"/>
              </a:ext>
            </a:extLst>
          </p:cNvPr>
          <p:cNvSpPr>
            <a:spLocks noGrp="1"/>
          </p:cNvSpPr>
          <p:nvPr>
            <p:ph type="body" sz="quarter" idx="13" hasCustomPrompt="1"/>
          </p:nvPr>
        </p:nvSpPr>
        <p:spPr>
          <a:xfrm>
            <a:off x="6022042" y="1485900"/>
            <a:ext cx="5549059" cy="2468881"/>
          </a:xfrm>
        </p:spPr>
        <p:txBody>
          <a:bodyPr wrap="square" anchor="b">
            <a:noAutofit/>
          </a:bodyPr>
          <a:lstStyle>
            <a:lvl1pPr>
              <a:lnSpc>
                <a:spcPct val="80000"/>
              </a:lnSpc>
              <a:spcAft>
                <a:spcPts val="0"/>
              </a:spcAft>
              <a:defRPr sz="6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up to 3 lines</a:t>
            </a:r>
          </a:p>
        </p:txBody>
      </p:sp>
      <p:sp>
        <p:nvSpPr>
          <p:cNvPr id="52" name="Text Placeholder 16">
            <a:extLst>
              <a:ext uri="{FF2B5EF4-FFF2-40B4-BE49-F238E27FC236}">
                <a16:creationId xmlns:a16="http://schemas.microsoft.com/office/drawing/2014/main" id="{9D48456B-E50F-89D0-9198-667795E8F53F}"/>
              </a:ext>
            </a:extLst>
          </p:cNvPr>
          <p:cNvSpPr>
            <a:spLocks noGrp="1"/>
          </p:cNvSpPr>
          <p:nvPr>
            <p:ph type="body" sz="quarter" idx="12" hasCustomPrompt="1"/>
          </p:nvPr>
        </p:nvSpPr>
        <p:spPr>
          <a:xfrm>
            <a:off x="6022595" y="6266940"/>
            <a:ext cx="2468880" cy="223908"/>
          </a:xfrm>
        </p:spPr>
        <p:txBody>
          <a:bodyPr wrap="square">
            <a:noAutofit/>
          </a:bodyPr>
          <a:lstStyle>
            <a:lvl1pPr algn="l">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 name="Graphic 1">
            <a:extLst>
              <a:ext uri="{FF2B5EF4-FFF2-40B4-BE49-F238E27FC236}">
                <a16:creationId xmlns:a16="http://schemas.microsoft.com/office/drawing/2014/main" id="{8A7BBF87-F8B7-07C3-057A-BFF9022ABA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48011" y="6275411"/>
            <a:ext cx="1834388" cy="210312"/>
          </a:xfrm>
          <a:prstGeom prst="rect">
            <a:avLst/>
          </a:prstGeom>
        </p:spPr>
      </p:pic>
      <p:sp>
        <p:nvSpPr>
          <p:cNvPr id="3" name="Text Placeholder 33">
            <a:extLst>
              <a:ext uri="{FF2B5EF4-FFF2-40B4-BE49-F238E27FC236}">
                <a16:creationId xmlns:a16="http://schemas.microsoft.com/office/drawing/2014/main" id="{013984AB-1E83-4B6D-17F1-4FBBA4C42229}"/>
              </a:ext>
            </a:extLst>
          </p:cNvPr>
          <p:cNvSpPr>
            <a:spLocks noGrp="1"/>
          </p:cNvSpPr>
          <p:nvPr>
            <p:ph type="body" sz="quarter" idx="17" hasCustomPrompt="1"/>
          </p:nvPr>
        </p:nvSpPr>
        <p:spPr>
          <a:xfrm>
            <a:off x="6012807" y="4726802"/>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4" name="Text Placeholder 33">
            <a:extLst>
              <a:ext uri="{FF2B5EF4-FFF2-40B4-BE49-F238E27FC236}">
                <a16:creationId xmlns:a16="http://schemas.microsoft.com/office/drawing/2014/main" id="{42C6B7E9-FD29-3038-05E7-30F86A25E087}"/>
              </a:ext>
            </a:extLst>
          </p:cNvPr>
          <p:cNvSpPr>
            <a:spLocks noGrp="1"/>
          </p:cNvSpPr>
          <p:nvPr>
            <p:ph type="body" sz="quarter" idx="18" hasCustomPrompt="1"/>
          </p:nvPr>
        </p:nvSpPr>
        <p:spPr>
          <a:xfrm>
            <a:off x="6023555" y="5067091"/>
            <a:ext cx="5387082" cy="276999"/>
          </a:xfrm>
        </p:spPr>
        <p:txBody>
          <a:bodyPr wrap="square">
            <a:noAutofit/>
          </a:bodyPr>
          <a:lstStyle>
            <a:lvl1pPr marL="0" indent="0">
              <a:spcAft>
                <a:spcPts val="300"/>
              </a:spcAft>
              <a:buFont typeface="Arial" panose="020B0604020202020204" pitchFamily="34" charset="0"/>
              <a:buNone/>
              <a:defRPr sz="18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5838282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2 - Light">
    <p:bg>
      <p:bgPr>
        <a:solidFill>
          <a:srgbClr val="F3F3F3"/>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D1804CB4-5557-9973-F2E2-067CE83E70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40148" y="424766"/>
            <a:ext cx="1783555" cy="453120"/>
          </a:xfrm>
          <a:prstGeom prst="rect">
            <a:avLst/>
          </a:prstGeom>
        </p:spPr>
      </p:pic>
      <p:cxnSp>
        <p:nvCxnSpPr>
          <p:cNvPr id="26" name="Straight Connector 25">
            <a:extLst>
              <a:ext uri="{FF2B5EF4-FFF2-40B4-BE49-F238E27FC236}">
                <a16:creationId xmlns:a16="http://schemas.microsoft.com/office/drawing/2014/main" id="{8270E44F-1E2D-F8B5-FD8F-60B5E3E8E9C9}"/>
              </a:ext>
            </a:extLst>
          </p:cNvPr>
          <p:cNvCxnSpPr>
            <a:cxnSpLocks/>
          </p:cNvCxnSpPr>
          <p:nvPr/>
        </p:nvCxnSpPr>
        <p:spPr>
          <a:xfrm>
            <a:off x="6022043" y="4317390"/>
            <a:ext cx="5549059"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7" name="Text Placeholder 14">
            <a:extLst>
              <a:ext uri="{FF2B5EF4-FFF2-40B4-BE49-F238E27FC236}">
                <a16:creationId xmlns:a16="http://schemas.microsoft.com/office/drawing/2014/main" id="{6AB97320-06D6-C577-0ABE-885AFB5AE276}"/>
              </a:ext>
            </a:extLst>
          </p:cNvPr>
          <p:cNvSpPr>
            <a:spLocks noGrp="1"/>
          </p:cNvSpPr>
          <p:nvPr>
            <p:ph type="body" sz="quarter" idx="13" hasCustomPrompt="1"/>
          </p:nvPr>
        </p:nvSpPr>
        <p:spPr>
          <a:xfrm>
            <a:off x="6022042" y="1485900"/>
            <a:ext cx="5549059" cy="2468881"/>
          </a:xfrm>
        </p:spPr>
        <p:txBody>
          <a:bodyPr wrap="square" anchor="b">
            <a:noAutofit/>
          </a:bodyPr>
          <a:lstStyle>
            <a:lvl1pPr>
              <a:lnSpc>
                <a:spcPct val="80000"/>
              </a:lnSpc>
              <a:spcAft>
                <a:spcPts val="0"/>
              </a:spcAft>
              <a:defRPr sz="66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up to 3 lines</a:t>
            </a:r>
          </a:p>
        </p:txBody>
      </p:sp>
      <p:sp>
        <p:nvSpPr>
          <p:cNvPr id="29" name="Text Placeholder 16">
            <a:extLst>
              <a:ext uri="{FF2B5EF4-FFF2-40B4-BE49-F238E27FC236}">
                <a16:creationId xmlns:a16="http://schemas.microsoft.com/office/drawing/2014/main" id="{71D30944-DF77-7E86-9FD0-8DBF26C43A1C}"/>
              </a:ext>
            </a:extLst>
          </p:cNvPr>
          <p:cNvSpPr>
            <a:spLocks noGrp="1"/>
          </p:cNvSpPr>
          <p:nvPr>
            <p:ph type="body" sz="quarter" idx="12" hasCustomPrompt="1"/>
          </p:nvPr>
        </p:nvSpPr>
        <p:spPr>
          <a:xfrm>
            <a:off x="6022595" y="6266940"/>
            <a:ext cx="2468880" cy="223908"/>
          </a:xfrm>
        </p:spPr>
        <p:txBody>
          <a:bodyPr wrap="square">
            <a:noAutofit/>
          </a:bodyPr>
          <a:lstStyle>
            <a:lvl1pPr algn="l">
              <a:spcAft>
                <a:spcPts val="0"/>
              </a:spcAft>
              <a:defRPr sz="14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4" name="Graphic 3">
            <a:extLst>
              <a:ext uri="{FF2B5EF4-FFF2-40B4-BE49-F238E27FC236}">
                <a16:creationId xmlns:a16="http://schemas.microsoft.com/office/drawing/2014/main" id="{A8D2E7B1-6DAB-E708-9A1B-7D88594DA1F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48011" y="6275411"/>
            <a:ext cx="1834388" cy="210312"/>
          </a:xfrm>
          <a:prstGeom prst="rect">
            <a:avLst/>
          </a:prstGeom>
        </p:spPr>
      </p:pic>
      <p:pic>
        <p:nvPicPr>
          <p:cNvPr id="3" name="Graphic 2">
            <a:extLst>
              <a:ext uri="{FF2B5EF4-FFF2-40B4-BE49-F238E27FC236}">
                <a16:creationId xmlns:a16="http://schemas.microsoft.com/office/drawing/2014/main" id="{59960BED-8E9E-EA6F-5CAD-39178DD5B8FC}"/>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l="27579" t="20639" r="1500" b="7525"/>
          <a:stretch/>
        </p:blipFill>
        <p:spPr>
          <a:xfrm>
            <a:off x="0" y="0"/>
            <a:ext cx="5486401" cy="6857999"/>
          </a:xfrm>
          <a:prstGeom prst="rect">
            <a:avLst/>
          </a:prstGeom>
        </p:spPr>
      </p:pic>
      <p:sp>
        <p:nvSpPr>
          <p:cNvPr id="5" name="Text Placeholder 33">
            <a:extLst>
              <a:ext uri="{FF2B5EF4-FFF2-40B4-BE49-F238E27FC236}">
                <a16:creationId xmlns:a16="http://schemas.microsoft.com/office/drawing/2014/main" id="{FF7954BE-2255-0DBC-F7BC-EF115244935E}"/>
              </a:ext>
            </a:extLst>
          </p:cNvPr>
          <p:cNvSpPr>
            <a:spLocks noGrp="1"/>
          </p:cNvSpPr>
          <p:nvPr>
            <p:ph type="body" sz="quarter" idx="15" hasCustomPrompt="1"/>
          </p:nvPr>
        </p:nvSpPr>
        <p:spPr>
          <a:xfrm>
            <a:off x="6022042" y="4717689"/>
            <a:ext cx="5387082" cy="307777"/>
          </a:xfrm>
        </p:spPr>
        <p:txBody>
          <a:bodyPr wrap="square">
            <a:noAutofit/>
          </a:bodyPr>
          <a:lstStyle>
            <a:lvl1pPr marL="0" indent="0">
              <a:spcAft>
                <a:spcPts val="300"/>
              </a:spcAft>
              <a:buFont typeface="Arial" panose="020B0604020202020204" pitchFamily="34" charset="0"/>
              <a:buNone/>
              <a:defRPr b="1">
                <a:solidFill>
                  <a:schemeClr val="tx2"/>
                </a:solidFill>
                <a:latin typeface="+mj-lt"/>
              </a:defRPr>
            </a:lvl1pPr>
            <a:lvl2pPr marL="0" indent="0">
              <a:spcAft>
                <a:spcPts val="300"/>
              </a:spcAft>
              <a:buNone/>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6" name="Text Placeholder 33">
            <a:extLst>
              <a:ext uri="{FF2B5EF4-FFF2-40B4-BE49-F238E27FC236}">
                <a16:creationId xmlns:a16="http://schemas.microsoft.com/office/drawing/2014/main" id="{A395564A-B155-2EB1-E045-5B5D052E7E18}"/>
              </a:ext>
            </a:extLst>
          </p:cNvPr>
          <p:cNvSpPr>
            <a:spLocks noGrp="1"/>
          </p:cNvSpPr>
          <p:nvPr>
            <p:ph type="body" sz="quarter" idx="17" hasCustomPrompt="1"/>
          </p:nvPr>
        </p:nvSpPr>
        <p:spPr>
          <a:xfrm>
            <a:off x="6032790" y="5057978"/>
            <a:ext cx="5387082" cy="276999"/>
          </a:xfrm>
        </p:spPr>
        <p:txBody>
          <a:bodyPr wrap="square">
            <a:noAutofit/>
          </a:bodyPr>
          <a:lstStyle>
            <a:lvl1pPr marL="0" indent="0">
              <a:spcAft>
                <a:spcPts val="300"/>
              </a:spcAft>
              <a:buFont typeface="Arial" panose="020B0604020202020204" pitchFamily="34" charset="0"/>
              <a:buNone/>
              <a:defRPr sz="1800" b="0">
                <a:solidFill>
                  <a:schemeClr val="tx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spTree>
    <p:extLst>
      <p:ext uri="{BB962C8B-B14F-4D97-AF65-F5344CB8AC3E}">
        <p14:creationId xmlns:p14="http://schemas.microsoft.com/office/powerpoint/2010/main" val="28910175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Divider 1 - Light">
    <p:bg>
      <p:bgPr>
        <a:solidFill>
          <a:srgbClr val="F3F3F3"/>
        </a:solidFill>
        <a:effectLst/>
      </p:bgPr>
    </p:bg>
    <p:spTree>
      <p:nvGrpSpPr>
        <p:cNvPr id="1" name=""/>
        <p:cNvGrpSpPr/>
        <p:nvPr/>
      </p:nvGrpSpPr>
      <p:grpSpPr>
        <a:xfrm>
          <a:off x="0" y="0"/>
          <a:ext cx="0" cy="0"/>
          <a:chOff x="0" y="0"/>
          <a:chExt cx="0" cy="0"/>
        </a:xfrm>
      </p:grpSpPr>
      <p:sp>
        <p:nvSpPr>
          <p:cNvPr id="13" name="Text Placeholder 16">
            <a:extLst>
              <a:ext uri="{FF2B5EF4-FFF2-40B4-BE49-F238E27FC236}">
                <a16:creationId xmlns:a16="http://schemas.microsoft.com/office/drawing/2014/main" id="{FA731013-3954-C9C9-32E2-63B13C8EAF54}"/>
              </a:ext>
            </a:extLst>
          </p:cNvPr>
          <p:cNvSpPr>
            <a:spLocks noGrp="1"/>
          </p:cNvSpPr>
          <p:nvPr>
            <p:ph type="body" sz="quarter" idx="11" hasCustomPrompt="1"/>
          </p:nvPr>
        </p:nvSpPr>
        <p:spPr>
          <a:xfrm>
            <a:off x="3795482" y="4755606"/>
            <a:ext cx="7790688" cy="1207008"/>
          </a:xfrm>
        </p:spPr>
        <p:txBody>
          <a:bodyPr anchor="ctr">
            <a:noAutofit/>
          </a:bodyPr>
          <a:lstStyle>
            <a:lvl1pPr algn="l">
              <a:spcAft>
                <a:spcPts val="0"/>
              </a:spcAft>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sp>
        <p:nvSpPr>
          <p:cNvPr id="14" name="Text Placeholder 16">
            <a:extLst>
              <a:ext uri="{FF2B5EF4-FFF2-40B4-BE49-F238E27FC236}">
                <a16:creationId xmlns:a16="http://schemas.microsoft.com/office/drawing/2014/main" id="{BFBD9314-78CE-52F9-6CE1-69A6E9DDF3F8}"/>
              </a:ext>
            </a:extLst>
          </p:cNvPr>
          <p:cNvSpPr>
            <a:spLocks noGrp="1"/>
          </p:cNvSpPr>
          <p:nvPr>
            <p:ph type="body" sz="quarter" idx="12" hasCustomPrompt="1"/>
          </p:nvPr>
        </p:nvSpPr>
        <p:spPr>
          <a:xfrm>
            <a:off x="609600" y="4755606"/>
            <a:ext cx="2176272" cy="1207008"/>
          </a:xfrm>
        </p:spPr>
        <p:txBody>
          <a:bodyPr anchor="ctr">
            <a:noAutofit/>
          </a:bodyPr>
          <a:lstStyle>
            <a:lvl1pPr algn="r">
              <a:spcAft>
                <a:spcPts val="0"/>
              </a:spcAft>
              <a:defRPr sz="16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dustry </a:t>
            </a:r>
            <a:br>
              <a:rPr lang="en-US"/>
            </a:br>
            <a:r>
              <a:rPr lang="en-US"/>
              <a:t>Name</a:t>
            </a:r>
          </a:p>
        </p:txBody>
      </p:sp>
      <p:sp>
        <p:nvSpPr>
          <p:cNvPr id="15" name="Text Placeholder 14">
            <a:extLst>
              <a:ext uri="{FF2B5EF4-FFF2-40B4-BE49-F238E27FC236}">
                <a16:creationId xmlns:a16="http://schemas.microsoft.com/office/drawing/2014/main" id="{B47CFD3F-F102-2C11-67CC-0D8863F13C43}"/>
              </a:ext>
            </a:extLst>
          </p:cNvPr>
          <p:cNvSpPr>
            <a:spLocks noGrp="1"/>
          </p:cNvSpPr>
          <p:nvPr>
            <p:ph type="body" sz="quarter" idx="10" hasCustomPrompt="1"/>
          </p:nvPr>
        </p:nvSpPr>
        <p:spPr>
          <a:xfrm>
            <a:off x="3795482" y="1270996"/>
            <a:ext cx="7786913" cy="2000804"/>
          </a:xfrm>
        </p:spPr>
        <p:txBody>
          <a:bodyPr wrap="square" anchor="b">
            <a:noAutofit/>
          </a:bodyPr>
          <a:lstStyle>
            <a:lvl1pPr>
              <a:lnSpc>
                <a:spcPct val="90000"/>
              </a:lnSpc>
              <a:spcAft>
                <a:spcPts val="0"/>
              </a:spcAft>
              <a:defRPr sz="7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a:t>
            </a:r>
            <a:br>
              <a:rPr lang="en-US"/>
            </a:br>
            <a:r>
              <a:rPr lang="en-US"/>
              <a:t>Title Here</a:t>
            </a:r>
          </a:p>
        </p:txBody>
      </p:sp>
      <p:grpSp>
        <p:nvGrpSpPr>
          <p:cNvPr id="2" name="Group 1">
            <a:extLst>
              <a:ext uri="{FF2B5EF4-FFF2-40B4-BE49-F238E27FC236}">
                <a16:creationId xmlns:a16="http://schemas.microsoft.com/office/drawing/2014/main" id="{783D5ED6-566E-DC79-78F5-A84FD30D9FA0}"/>
              </a:ext>
            </a:extLst>
          </p:cNvPr>
          <p:cNvGrpSpPr/>
          <p:nvPr userDrawn="1"/>
        </p:nvGrpSpPr>
        <p:grpSpPr>
          <a:xfrm>
            <a:off x="3273878" y="0"/>
            <a:ext cx="0" cy="6857999"/>
            <a:chOff x="3273878" y="0"/>
            <a:chExt cx="0" cy="6857999"/>
          </a:xfrm>
        </p:grpSpPr>
        <p:cxnSp>
          <p:nvCxnSpPr>
            <p:cNvPr id="10" name="Straight Connector 9">
              <a:extLst>
                <a:ext uri="{FF2B5EF4-FFF2-40B4-BE49-F238E27FC236}">
                  <a16:creationId xmlns:a16="http://schemas.microsoft.com/office/drawing/2014/main" id="{D303FAEB-3595-8000-D9D3-5E92B90EE657}"/>
                </a:ext>
              </a:extLst>
            </p:cNvPr>
            <p:cNvCxnSpPr>
              <a:cxnSpLocks/>
            </p:cNvCxnSpPr>
            <p:nvPr/>
          </p:nvCxnSpPr>
          <p:spPr>
            <a:xfrm flipH="1">
              <a:off x="3273878" y="0"/>
              <a:ext cx="0" cy="685799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813D6E3-FFCE-E4BE-FBF9-E9F4E6CDB54D}"/>
                </a:ext>
              </a:extLst>
            </p:cNvPr>
            <p:cNvCxnSpPr>
              <a:cxnSpLocks/>
            </p:cNvCxnSpPr>
            <p:nvPr/>
          </p:nvCxnSpPr>
          <p:spPr>
            <a:xfrm flipH="1">
              <a:off x="3273878" y="4649994"/>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 name="Graphic 15">
            <a:extLst>
              <a:ext uri="{FF2B5EF4-FFF2-40B4-BE49-F238E27FC236}">
                <a16:creationId xmlns:a16="http://schemas.microsoft.com/office/drawing/2014/main" id="{31E03152-3A58-A3F6-C41A-3EC11A8EB5AC}"/>
              </a:ext>
            </a:extLst>
          </p:cNvPr>
          <p:cNvGrpSpPr/>
          <p:nvPr/>
        </p:nvGrpSpPr>
        <p:grpSpPr>
          <a:xfrm>
            <a:off x="720590" y="1270996"/>
            <a:ext cx="2065282" cy="522565"/>
            <a:chOff x="616497" y="1270996"/>
            <a:chExt cx="2065282" cy="522565"/>
          </a:xfrm>
        </p:grpSpPr>
        <p:sp>
          <p:nvSpPr>
            <p:cNvPr id="4" name="Freeform: Shape 3">
              <a:extLst>
                <a:ext uri="{FF2B5EF4-FFF2-40B4-BE49-F238E27FC236}">
                  <a16:creationId xmlns:a16="http://schemas.microsoft.com/office/drawing/2014/main" id="{6EEAFA5E-3D91-35E2-346D-C532C5A0D22F}"/>
                </a:ext>
              </a:extLst>
            </p:cNvPr>
            <p:cNvSpPr/>
            <p:nvPr/>
          </p:nvSpPr>
          <p:spPr>
            <a:xfrm>
              <a:off x="1058607" y="1451545"/>
              <a:ext cx="1623171" cy="219493"/>
            </a:xfrm>
            <a:custGeom>
              <a:avLst/>
              <a:gdLst>
                <a:gd name="connsiteX0" fmla="*/ 100206 w 1623171"/>
                <a:gd name="connsiteY0" fmla="*/ 219493 h 219493"/>
                <a:gd name="connsiteX1" fmla="*/ 59588 w 1623171"/>
                <a:gd name="connsiteY1" fmla="*/ 211794 h 219493"/>
                <a:gd name="connsiteX2" fmla="*/ 28343 w 1623171"/>
                <a:gd name="connsiteY2" fmla="*/ 190034 h 219493"/>
                <a:gd name="connsiteX3" fmla="*/ 7253 w 1623171"/>
                <a:gd name="connsiteY3" fmla="*/ 154661 h 219493"/>
                <a:gd name="connsiteX4" fmla="*/ 0 w 1623171"/>
                <a:gd name="connsiteY4" fmla="*/ 110137 h 219493"/>
                <a:gd name="connsiteX5" fmla="*/ 8146 w 1623171"/>
                <a:gd name="connsiteY5" fmla="*/ 64051 h 219493"/>
                <a:gd name="connsiteX6" fmla="*/ 31245 w 1623171"/>
                <a:gd name="connsiteY6" fmla="*/ 28009 h 219493"/>
                <a:gd name="connsiteX7" fmla="*/ 62489 w 1623171"/>
                <a:gd name="connsiteY7" fmla="*/ 7365 h 219493"/>
                <a:gd name="connsiteX8" fmla="*/ 103442 w 1623171"/>
                <a:gd name="connsiteY8" fmla="*/ 0 h 219493"/>
                <a:gd name="connsiteX9" fmla="*/ 139931 w 1623171"/>
                <a:gd name="connsiteY9" fmla="*/ 5133 h 219493"/>
                <a:gd name="connsiteX10" fmla="*/ 167940 w 1623171"/>
                <a:gd name="connsiteY10" fmla="*/ 19863 h 219493"/>
                <a:gd name="connsiteX11" fmla="*/ 186910 w 1623171"/>
                <a:gd name="connsiteY11" fmla="*/ 42961 h 219493"/>
                <a:gd name="connsiteX12" fmla="*/ 196729 w 1623171"/>
                <a:gd name="connsiteY12" fmla="*/ 72978 h 219493"/>
                <a:gd name="connsiteX13" fmla="*/ 146068 w 1623171"/>
                <a:gd name="connsiteY13" fmla="*/ 72978 h 219493"/>
                <a:gd name="connsiteX14" fmla="*/ 132789 w 1623171"/>
                <a:gd name="connsiteY14" fmla="*/ 51442 h 219493"/>
                <a:gd name="connsiteX15" fmla="*/ 105116 w 1623171"/>
                <a:gd name="connsiteY15" fmla="*/ 42850 h 219493"/>
                <a:gd name="connsiteX16" fmla="*/ 82240 w 1623171"/>
                <a:gd name="connsiteY16" fmla="*/ 47983 h 219493"/>
                <a:gd name="connsiteX17" fmla="*/ 65837 w 1623171"/>
                <a:gd name="connsiteY17" fmla="*/ 62154 h 219493"/>
                <a:gd name="connsiteX18" fmla="*/ 56129 w 1623171"/>
                <a:gd name="connsiteY18" fmla="*/ 83356 h 219493"/>
                <a:gd name="connsiteX19" fmla="*/ 52893 w 1623171"/>
                <a:gd name="connsiteY19" fmla="*/ 110026 h 219493"/>
                <a:gd name="connsiteX20" fmla="*/ 56575 w 1623171"/>
                <a:gd name="connsiteY20" fmla="*/ 136807 h 219493"/>
                <a:gd name="connsiteX21" fmla="*/ 67064 w 1623171"/>
                <a:gd name="connsiteY21" fmla="*/ 158120 h 219493"/>
                <a:gd name="connsiteX22" fmla="*/ 83691 w 1623171"/>
                <a:gd name="connsiteY22" fmla="*/ 172068 h 219493"/>
                <a:gd name="connsiteX23" fmla="*/ 105897 w 1623171"/>
                <a:gd name="connsiteY23" fmla="*/ 177090 h 219493"/>
                <a:gd name="connsiteX24" fmla="*/ 124309 w 1623171"/>
                <a:gd name="connsiteY24" fmla="*/ 173965 h 219493"/>
                <a:gd name="connsiteX25" fmla="*/ 138146 w 1623171"/>
                <a:gd name="connsiteY25" fmla="*/ 165708 h 219493"/>
                <a:gd name="connsiteX26" fmla="*/ 147296 w 1623171"/>
                <a:gd name="connsiteY26" fmla="*/ 153880 h 219493"/>
                <a:gd name="connsiteX27" fmla="*/ 151536 w 1623171"/>
                <a:gd name="connsiteY27" fmla="*/ 140154 h 219493"/>
                <a:gd name="connsiteX28" fmla="*/ 151536 w 1623171"/>
                <a:gd name="connsiteY28" fmla="*/ 139596 h 219493"/>
                <a:gd name="connsiteX29" fmla="*/ 112034 w 1623171"/>
                <a:gd name="connsiteY29" fmla="*/ 139596 h 219493"/>
                <a:gd name="connsiteX30" fmla="*/ 112034 w 1623171"/>
                <a:gd name="connsiteY30" fmla="*/ 101322 h 219493"/>
                <a:gd name="connsiteX31" fmla="*/ 199854 w 1623171"/>
                <a:gd name="connsiteY31" fmla="*/ 101322 h 219493"/>
                <a:gd name="connsiteX32" fmla="*/ 199854 w 1623171"/>
                <a:gd name="connsiteY32" fmla="*/ 214472 h 219493"/>
                <a:gd name="connsiteX33" fmla="*/ 163365 w 1623171"/>
                <a:gd name="connsiteY33" fmla="*/ 214472 h 219493"/>
                <a:gd name="connsiteX34" fmla="*/ 160463 w 1623171"/>
                <a:gd name="connsiteY34" fmla="*/ 189141 h 219493"/>
                <a:gd name="connsiteX35" fmla="*/ 159905 w 1623171"/>
                <a:gd name="connsiteY35" fmla="*/ 189141 h 219493"/>
                <a:gd name="connsiteX36" fmla="*/ 134463 w 1623171"/>
                <a:gd name="connsiteY36" fmla="*/ 212240 h 219493"/>
                <a:gd name="connsiteX37" fmla="*/ 100094 w 1623171"/>
                <a:gd name="connsiteY37" fmla="*/ 219158 h 219493"/>
                <a:gd name="connsiteX38" fmla="*/ 277184 w 1623171"/>
                <a:gd name="connsiteY38" fmla="*/ 218824 h 219493"/>
                <a:gd name="connsiteX39" fmla="*/ 237570 w 1623171"/>
                <a:gd name="connsiteY39" fmla="*/ 203313 h 219493"/>
                <a:gd name="connsiteX40" fmla="*/ 224180 w 1623171"/>
                <a:gd name="connsiteY40" fmla="*/ 162472 h 219493"/>
                <a:gd name="connsiteX41" fmla="*/ 224180 w 1623171"/>
                <a:gd name="connsiteY41" fmla="*/ 63493 h 219493"/>
                <a:gd name="connsiteX42" fmla="*/ 271939 w 1623171"/>
                <a:gd name="connsiteY42" fmla="*/ 63493 h 219493"/>
                <a:gd name="connsiteX43" fmla="*/ 271939 w 1623171"/>
                <a:gd name="connsiteY43" fmla="*/ 152541 h 219493"/>
                <a:gd name="connsiteX44" fmla="*/ 277519 w 1623171"/>
                <a:gd name="connsiteY44" fmla="*/ 171510 h 219493"/>
                <a:gd name="connsiteX45" fmla="*/ 294592 w 1623171"/>
                <a:gd name="connsiteY45" fmla="*/ 178094 h 219493"/>
                <a:gd name="connsiteX46" fmla="*/ 314008 w 1623171"/>
                <a:gd name="connsiteY46" fmla="*/ 169725 h 219493"/>
                <a:gd name="connsiteX47" fmla="*/ 321038 w 1623171"/>
                <a:gd name="connsiteY47" fmla="*/ 147742 h 219493"/>
                <a:gd name="connsiteX48" fmla="*/ 321038 w 1623171"/>
                <a:gd name="connsiteY48" fmla="*/ 63493 h 219493"/>
                <a:gd name="connsiteX49" fmla="*/ 369021 w 1623171"/>
                <a:gd name="connsiteY49" fmla="*/ 63493 h 219493"/>
                <a:gd name="connsiteX50" fmla="*/ 369021 w 1623171"/>
                <a:gd name="connsiteY50" fmla="*/ 214360 h 219493"/>
                <a:gd name="connsiteX51" fmla="*/ 323047 w 1623171"/>
                <a:gd name="connsiteY51" fmla="*/ 214360 h 219493"/>
                <a:gd name="connsiteX52" fmla="*/ 323047 w 1623171"/>
                <a:gd name="connsiteY52" fmla="*/ 195837 h 219493"/>
                <a:gd name="connsiteX53" fmla="*/ 322154 w 1623171"/>
                <a:gd name="connsiteY53" fmla="*/ 195837 h 219493"/>
                <a:gd name="connsiteX54" fmla="*/ 303407 w 1623171"/>
                <a:gd name="connsiteY54" fmla="*/ 212910 h 219493"/>
                <a:gd name="connsiteX55" fmla="*/ 277072 w 1623171"/>
                <a:gd name="connsiteY55" fmla="*/ 218824 h 219493"/>
                <a:gd name="connsiteX56" fmla="*/ 396360 w 1623171"/>
                <a:gd name="connsiteY56" fmla="*/ 1674 h 219493"/>
                <a:gd name="connsiteX57" fmla="*/ 444343 w 1623171"/>
                <a:gd name="connsiteY57" fmla="*/ 1674 h 219493"/>
                <a:gd name="connsiteX58" fmla="*/ 444343 w 1623171"/>
                <a:gd name="connsiteY58" fmla="*/ 42627 h 219493"/>
                <a:gd name="connsiteX59" fmla="*/ 396360 w 1623171"/>
                <a:gd name="connsiteY59" fmla="*/ 42627 h 219493"/>
                <a:gd name="connsiteX60" fmla="*/ 396360 w 1623171"/>
                <a:gd name="connsiteY60" fmla="*/ 1674 h 219493"/>
                <a:gd name="connsiteX61" fmla="*/ 396360 w 1623171"/>
                <a:gd name="connsiteY61" fmla="*/ 63493 h 219493"/>
                <a:gd name="connsiteX62" fmla="*/ 444343 w 1623171"/>
                <a:gd name="connsiteY62" fmla="*/ 63493 h 219493"/>
                <a:gd name="connsiteX63" fmla="*/ 444343 w 1623171"/>
                <a:gd name="connsiteY63" fmla="*/ 214360 h 219493"/>
                <a:gd name="connsiteX64" fmla="*/ 396360 w 1623171"/>
                <a:gd name="connsiteY64" fmla="*/ 214360 h 219493"/>
                <a:gd name="connsiteX65" fmla="*/ 396360 w 1623171"/>
                <a:gd name="connsiteY65" fmla="*/ 63493 h 219493"/>
                <a:gd name="connsiteX66" fmla="*/ 531046 w 1623171"/>
                <a:gd name="connsiteY66" fmla="*/ 219047 h 219493"/>
                <a:gd name="connsiteX67" fmla="*/ 504488 w 1623171"/>
                <a:gd name="connsiteY67" fmla="*/ 213579 h 219493"/>
                <a:gd name="connsiteX68" fmla="*/ 483621 w 1623171"/>
                <a:gd name="connsiteY68" fmla="*/ 197845 h 219493"/>
                <a:gd name="connsiteX69" fmla="*/ 469896 w 1623171"/>
                <a:gd name="connsiteY69" fmla="*/ 172626 h 219493"/>
                <a:gd name="connsiteX70" fmla="*/ 464986 w 1623171"/>
                <a:gd name="connsiteY70" fmla="*/ 138927 h 219493"/>
                <a:gd name="connsiteX71" fmla="*/ 469896 w 1623171"/>
                <a:gd name="connsiteY71" fmla="*/ 106455 h 219493"/>
                <a:gd name="connsiteX72" fmla="*/ 483398 w 1623171"/>
                <a:gd name="connsiteY72" fmla="*/ 81236 h 219493"/>
                <a:gd name="connsiteX73" fmla="*/ 504154 w 1623171"/>
                <a:gd name="connsiteY73" fmla="*/ 64833 h 219493"/>
                <a:gd name="connsiteX74" fmla="*/ 530935 w 1623171"/>
                <a:gd name="connsiteY74" fmla="*/ 58918 h 219493"/>
                <a:gd name="connsiteX75" fmla="*/ 556600 w 1623171"/>
                <a:gd name="connsiteY75" fmla="*/ 64944 h 219493"/>
                <a:gd name="connsiteX76" fmla="*/ 573115 w 1623171"/>
                <a:gd name="connsiteY76" fmla="*/ 80455 h 219493"/>
                <a:gd name="connsiteX77" fmla="*/ 574008 w 1623171"/>
                <a:gd name="connsiteY77" fmla="*/ 80455 h 219493"/>
                <a:gd name="connsiteX78" fmla="*/ 574008 w 1623171"/>
                <a:gd name="connsiteY78" fmla="*/ 1451 h 219493"/>
                <a:gd name="connsiteX79" fmla="*/ 621990 w 1623171"/>
                <a:gd name="connsiteY79" fmla="*/ 1451 h 219493"/>
                <a:gd name="connsiteX80" fmla="*/ 621990 w 1623171"/>
                <a:gd name="connsiteY80" fmla="*/ 214249 h 219493"/>
                <a:gd name="connsiteX81" fmla="*/ 576016 w 1623171"/>
                <a:gd name="connsiteY81" fmla="*/ 214249 h 219493"/>
                <a:gd name="connsiteX82" fmla="*/ 576016 w 1623171"/>
                <a:gd name="connsiteY82" fmla="*/ 193940 h 219493"/>
                <a:gd name="connsiteX83" fmla="*/ 575458 w 1623171"/>
                <a:gd name="connsiteY83" fmla="*/ 193940 h 219493"/>
                <a:gd name="connsiteX84" fmla="*/ 557381 w 1623171"/>
                <a:gd name="connsiteY84" fmla="*/ 212352 h 219493"/>
                <a:gd name="connsiteX85" fmla="*/ 531046 w 1623171"/>
                <a:gd name="connsiteY85" fmla="*/ 218935 h 219493"/>
                <a:gd name="connsiteX86" fmla="*/ 543433 w 1623171"/>
                <a:gd name="connsiteY86" fmla="*/ 180884 h 219493"/>
                <a:gd name="connsiteX87" fmla="*/ 566866 w 1623171"/>
                <a:gd name="connsiteY87" fmla="*/ 169056 h 219493"/>
                <a:gd name="connsiteX88" fmla="*/ 575235 w 1623171"/>
                <a:gd name="connsiteY88" fmla="*/ 138704 h 219493"/>
                <a:gd name="connsiteX89" fmla="*/ 573338 w 1623171"/>
                <a:gd name="connsiteY89" fmla="*/ 121184 h 219493"/>
                <a:gd name="connsiteX90" fmla="*/ 567424 w 1623171"/>
                <a:gd name="connsiteY90" fmla="*/ 107347 h 219493"/>
                <a:gd name="connsiteX91" fmla="*/ 557716 w 1623171"/>
                <a:gd name="connsiteY91" fmla="*/ 98309 h 219493"/>
                <a:gd name="connsiteX92" fmla="*/ 543991 w 1623171"/>
                <a:gd name="connsiteY92" fmla="*/ 95073 h 219493"/>
                <a:gd name="connsiteX93" fmla="*/ 521561 w 1623171"/>
                <a:gd name="connsiteY93" fmla="*/ 107013 h 219493"/>
                <a:gd name="connsiteX94" fmla="*/ 513639 w 1623171"/>
                <a:gd name="connsiteY94" fmla="*/ 138146 h 219493"/>
                <a:gd name="connsiteX95" fmla="*/ 521450 w 1623171"/>
                <a:gd name="connsiteY95" fmla="*/ 169390 h 219493"/>
                <a:gd name="connsiteX96" fmla="*/ 543433 w 1623171"/>
                <a:gd name="connsiteY96" fmla="*/ 180884 h 219493"/>
                <a:gd name="connsiteX97" fmla="*/ 720188 w 1623171"/>
                <a:gd name="connsiteY97" fmla="*/ 218601 h 219493"/>
                <a:gd name="connsiteX98" fmla="*/ 686600 w 1623171"/>
                <a:gd name="connsiteY98" fmla="*/ 212575 h 219493"/>
                <a:gd name="connsiteX99" fmla="*/ 661269 w 1623171"/>
                <a:gd name="connsiteY99" fmla="*/ 195725 h 219493"/>
                <a:gd name="connsiteX100" fmla="*/ 645312 w 1623171"/>
                <a:gd name="connsiteY100" fmla="*/ 170283 h 219493"/>
                <a:gd name="connsiteX101" fmla="*/ 639733 w 1623171"/>
                <a:gd name="connsiteY101" fmla="*/ 138480 h 219493"/>
                <a:gd name="connsiteX102" fmla="*/ 645312 w 1623171"/>
                <a:gd name="connsiteY102" fmla="*/ 107124 h 219493"/>
                <a:gd name="connsiteX103" fmla="*/ 661269 w 1623171"/>
                <a:gd name="connsiteY103" fmla="*/ 81794 h 219493"/>
                <a:gd name="connsiteX104" fmla="*/ 685707 w 1623171"/>
                <a:gd name="connsiteY104" fmla="*/ 65056 h 219493"/>
                <a:gd name="connsiteX105" fmla="*/ 717286 w 1623171"/>
                <a:gd name="connsiteY105" fmla="*/ 59030 h 219493"/>
                <a:gd name="connsiteX106" fmla="*/ 746299 w 1623171"/>
                <a:gd name="connsiteY106" fmla="*/ 64051 h 219493"/>
                <a:gd name="connsiteX107" fmla="*/ 768840 w 1623171"/>
                <a:gd name="connsiteY107" fmla="*/ 77888 h 219493"/>
                <a:gd name="connsiteX108" fmla="*/ 789037 w 1623171"/>
                <a:gd name="connsiteY108" fmla="*/ 109244 h 219493"/>
                <a:gd name="connsiteX109" fmla="*/ 795398 w 1623171"/>
                <a:gd name="connsiteY109" fmla="*/ 151201 h 219493"/>
                <a:gd name="connsiteX110" fmla="*/ 686934 w 1623171"/>
                <a:gd name="connsiteY110" fmla="*/ 151201 h 219493"/>
                <a:gd name="connsiteX111" fmla="*/ 697535 w 1623171"/>
                <a:gd name="connsiteY111" fmla="*/ 175416 h 219493"/>
                <a:gd name="connsiteX112" fmla="*/ 720857 w 1623171"/>
                <a:gd name="connsiteY112" fmla="*/ 184231 h 219493"/>
                <a:gd name="connsiteX113" fmla="*/ 736479 w 1623171"/>
                <a:gd name="connsiteY113" fmla="*/ 180214 h 219493"/>
                <a:gd name="connsiteX114" fmla="*/ 745853 w 1623171"/>
                <a:gd name="connsiteY114" fmla="*/ 169167 h 219493"/>
                <a:gd name="connsiteX115" fmla="*/ 792720 w 1623171"/>
                <a:gd name="connsiteY115" fmla="*/ 169167 h 219493"/>
                <a:gd name="connsiteX116" fmla="*/ 783904 w 1623171"/>
                <a:gd name="connsiteY116" fmla="*/ 188807 h 219493"/>
                <a:gd name="connsiteX117" fmla="*/ 767389 w 1623171"/>
                <a:gd name="connsiteY117" fmla="*/ 204875 h 219493"/>
                <a:gd name="connsiteX118" fmla="*/ 746299 w 1623171"/>
                <a:gd name="connsiteY118" fmla="*/ 215141 h 219493"/>
                <a:gd name="connsiteX119" fmla="*/ 720188 w 1623171"/>
                <a:gd name="connsiteY119" fmla="*/ 218712 h 219493"/>
                <a:gd name="connsiteX120" fmla="*/ 746746 w 1623171"/>
                <a:gd name="connsiteY120" fmla="*/ 122635 h 219493"/>
                <a:gd name="connsiteX121" fmla="*/ 737595 w 1623171"/>
                <a:gd name="connsiteY121" fmla="*/ 101099 h 219493"/>
                <a:gd name="connsiteX122" fmla="*/ 718179 w 1623171"/>
                <a:gd name="connsiteY122" fmla="*/ 93176 h 219493"/>
                <a:gd name="connsiteX123" fmla="*/ 696977 w 1623171"/>
                <a:gd name="connsiteY123" fmla="*/ 101099 h 219493"/>
                <a:gd name="connsiteX124" fmla="*/ 687269 w 1623171"/>
                <a:gd name="connsiteY124" fmla="*/ 122635 h 219493"/>
                <a:gd name="connsiteX125" fmla="*/ 746746 w 1623171"/>
                <a:gd name="connsiteY125" fmla="*/ 122635 h 219493"/>
                <a:gd name="connsiteX126" fmla="*/ 813029 w 1623171"/>
                <a:gd name="connsiteY126" fmla="*/ 1562 h 219493"/>
                <a:gd name="connsiteX127" fmla="*/ 861011 w 1623171"/>
                <a:gd name="connsiteY127" fmla="*/ 1562 h 219493"/>
                <a:gd name="connsiteX128" fmla="*/ 861011 w 1623171"/>
                <a:gd name="connsiteY128" fmla="*/ 82017 h 219493"/>
                <a:gd name="connsiteX129" fmla="*/ 861904 w 1623171"/>
                <a:gd name="connsiteY129" fmla="*/ 82017 h 219493"/>
                <a:gd name="connsiteX130" fmla="*/ 880428 w 1623171"/>
                <a:gd name="connsiteY130" fmla="*/ 65056 h 219493"/>
                <a:gd name="connsiteX131" fmla="*/ 906651 w 1623171"/>
                <a:gd name="connsiteY131" fmla="*/ 59030 h 219493"/>
                <a:gd name="connsiteX132" fmla="*/ 928745 w 1623171"/>
                <a:gd name="connsiteY132" fmla="*/ 63270 h 219493"/>
                <a:gd name="connsiteX133" fmla="*/ 945260 w 1623171"/>
                <a:gd name="connsiteY133" fmla="*/ 75099 h 219493"/>
                <a:gd name="connsiteX134" fmla="*/ 955638 w 1623171"/>
                <a:gd name="connsiteY134" fmla="*/ 93064 h 219493"/>
                <a:gd name="connsiteX135" fmla="*/ 959209 w 1623171"/>
                <a:gd name="connsiteY135" fmla="*/ 116163 h 219493"/>
                <a:gd name="connsiteX136" fmla="*/ 959209 w 1623171"/>
                <a:gd name="connsiteY136" fmla="*/ 214249 h 219493"/>
                <a:gd name="connsiteX137" fmla="*/ 911226 w 1623171"/>
                <a:gd name="connsiteY137" fmla="*/ 214249 h 219493"/>
                <a:gd name="connsiteX138" fmla="*/ 911226 w 1623171"/>
                <a:gd name="connsiteY138" fmla="*/ 125871 h 219493"/>
                <a:gd name="connsiteX139" fmla="*/ 905312 w 1623171"/>
                <a:gd name="connsiteY139" fmla="*/ 106455 h 219493"/>
                <a:gd name="connsiteX140" fmla="*/ 887681 w 1623171"/>
                <a:gd name="connsiteY140" fmla="*/ 99090 h 219493"/>
                <a:gd name="connsiteX141" fmla="*/ 868376 w 1623171"/>
                <a:gd name="connsiteY141" fmla="*/ 107905 h 219493"/>
                <a:gd name="connsiteX142" fmla="*/ 861123 w 1623171"/>
                <a:gd name="connsiteY142" fmla="*/ 130892 h 219493"/>
                <a:gd name="connsiteX143" fmla="*/ 861123 w 1623171"/>
                <a:gd name="connsiteY143" fmla="*/ 214249 h 219493"/>
                <a:gd name="connsiteX144" fmla="*/ 813140 w 1623171"/>
                <a:gd name="connsiteY144" fmla="*/ 214249 h 219493"/>
                <a:gd name="connsiteX145" fmla="*/ 813140 w 1623171"/>
                <a:gd name="connsiteY145" fmla="*/ 1451 h 219493"/>
                <a:gd name="connsiteX146" fmla="*/ 1054951 w 1623171"/>
                <a:gd name="connsiteY146" fmla="*/ 219047 h 219493"/>
                <a:gd name="connsiteX147" fmla="*/ 1021809 w 1623171"/>
                <a:gd name="connsiteY147" fmla="*/ 213021 h 219493"/>
                <a:gd name="connsiteX148" fmla="*/ 996256 w 1623171"/>
                <a:gd name="connsiteY148" fmla="*/ 196171 h 219493"/>
                <a:gd name="connsiteX149" fmla="*/ 979964 w 1623171"/>
                <a:gd name="connsiteY149" fmla="*/ 170841 h 219493"/>
                <a:gd name="connsiteX150" fmla="*/ 974161 w 1623171"/>
                <a:gd name="connsiteY150" fmla="*/ 139150 h 219493"/>
                <a:gd name="connsiteX151" fmla="*/ 979964 w 1623171"/>
                <a:gd name="connsiteY151" fmla="*/ 107459 h 219493"/>
                <a:gd name="connsiteX152" fmla="*/ 996256 w 1623171"/>
                <a:gd name="connsiteY152" fmla="*/ 82129 h 219493"/>
                <a:gd name="connsiteX153" fmla="*/ 1021809 w 1623171"/>
                <a:gd name="connsiteY153" fmla="*/ 65390 h 219493"/>
                <a:gd name="connsiteX154" fmla="*/ 1054951 w 1623171"/>
                <a:gd name="connsiteY154" fmla="*/ 59365 h 219493"/>
                <a:gd name="connsiteX155" fmla="*/ 1088093 w 1623171"/>
                <a:gd name="connsiteY155" fmla="*/ 65390 h 219493"/>
                <a:gd name="connsiteX156" fmla="*/ 1113423 w 1623171"/>
                <a:gd name="connsiteY156" fmla="*/ 82129 h 219493"/>
                <a:gd name="connsiteX157" fmla="*/ 1129603 w 1623171"/>
                <a:gd name="connsiteY157" fmla="*/ 107459 h 219493"/>
                <a:gd name="connsiteX158" fmla="*/ 1135294 w 1623171"/>
                <a:gd name="connsiteY158" fmla="*/ 139150 h 219493"/>
                <a:gd name="connsiteX159" fmla="*/ 1129603 w 1623171"/>
                <a:gd name="connsiteY159" fmla="*/ 170841 h 219493"/>
                <a:gd name="connsiteX160" fmla="*/ 1113423 w 1623171"/>
                <a:gd name="connsiteY160" fmla="*/ 196171 h 219493"/>
                <a:gd name="connsiteX161" fmla="*/ 1088093 w 1623171"/>
                <a:gd name="connsiteY161" fmla="*/ 213021 h 219493"/>
                <a:gd name="connsiteX162" fmla="*/ 1054951 w 1623171"/>
                <a:gd name="connsiteY162" fmla="*/ 219047 h 219493"/>
                <a:gd name="connsiteX163" fmla="*/ 1054616 w 1623171"/>
                <a:gd name="connsiteY163" fmla="*/ 184901 h 219493"/>
                <a:gd name="connsiteX164" fmla="*/ 1078608 w 1623171"/>
                <a:gd name="connsiteY164" fmla="*/ 172403 h 219493"/>
                <a:gd name="connsiteX165" fmla="*/ 1086753 w 1623171"/>
                <a:gd name="connsiteY165" fmla="*/ 139262 h 219493"/>
                <a:gd name="connsiteX166" fmla="*/ 1078608 w 1623171"/>
                <a:gd name="connsiteY166" fmla="*/ 106008 h 219493"/>
                <a:gd name="connsiteX167" fmla="*/ 1054616 w 1623171"/>
                <a:gd name="connsiteY167" fmla="*/ 93287 h 219493"/>
                <a:gd name="connsiteX168" fmla="*/ 1030736 w 1623171"/>
                <a:gd name="connsiteY168" fmla="*/ 106008 h 219493"/>
                <a:gd name="connsiteX169" fmla="*/ 1022814 w 1623171"/>
                <a:gd name="connsiteY169" fmla="*/ 139262 h 219493"/>
                <a:gd name="connsiteX170" fmla="*/ 1030736 w 1623171"/>
                <a:gd name="connsiteY170" fmla="*/ 172403 h 219493"/>
                <a:gd name="connsiteX171" fmla="*/ 1054616 w 1623171"/>
                <a:gd name="connsiteY171" fmla="*/ 184901 h 219493"/>
                <a:gd name="connsiteX172" fmla="*/ 1203474 w 1623171"/>
                <a:gd name="connsiteY172" fmla="*/ 218824 h 219493"/>
                <a:gd name="connsiteX173" fmla="*/ 1163861 w 1623171"/>
                <a:gd name="connsiteY173" fmla="*/ 203313 h 219493"/>
                <a:gd name="connsiteX174" fmla="*/ 1150470 w 1623171"/>
                <a:gd name="connsiteY174" fmla="*/ 162472 h 219493"/>
                <a:gd name="connsiteX175" fmla="*/ 1150470 w 1623171"/>
                <a:gd name="connsiteY175" fmla="*/ 63493 h 219493"/>
                <a:gd name="connsiteX176" fmla="*/ 1198230 w 1623171"/>
                <a:gd name="connsiteY176" fmla="*/ 63493 h 219493"/>
                <a:gd name="connsiteX177" fmla="*/ 1198230 w 1623171"/>
                <a:gd name="connsiteY177" fmla="*/ 152541 h 219493"/>
                <a:gd name="connsiteX178" fmla="*/ 1203809 w 1623171"/>
                <a:gd name="connsiteY178" fmla="*/ 171510 h 219493"/>
                <a:gd name="connsiteX179" fmla="*/ 1220882 w 1623171"/>
                <a:gd name="connsiteY179" fmla="*/ 178094 h 219493"/>
                <a:gd name="connsiteX180" fmla="*/ 1240298 w 1623171"/>
                <a:gd name="connsiteY180" fmla="*/ 169725 h 219493"/>
                <a:gd name="connsiteX181" fmla="*/ 1247328 w 1623171"/>
                <a:gd name="connsiteY181" fmla="*/ 147742 h 219493"/>
                <a:gd name="connsiteX182" fmla="*/ 1247328 w 1623171"/>
                <a:gd name="connsiteY182" fmla="*/ 63493 h 219493"/>
                <a:gd name="connsiteX183" fmla="*/ 1295311 w 1623171"/>
                <a:gd name="connsiteY183" fmla="*/ 63493 h 219493"/>
                <a:gd name="connsiteX184" fmla="*/ 1295311 w 1623171"/>
                <a:gd name="connsiteY184" fmla="*/ 214360 h 219493"/>
                <a:gd name="connsiteX185" fmla="*/ 1249337 w 1623171"/>
                <a:gd name="connsiteY185" fmla="*/ 214360 h 219493"/>
                <a:gd name="connsiteX186" fmla="*/ 1249337 w 1623171"/>
                <a:gd name="connsiteY186" fmla="*/ 195837 h 219493"/>
                <a:gd name="connsiteX187" fmla="*/ 1248444 w 1623171"/>
                <a:gd name="connsiteY187" fmla="*/ 195837 h 219493"/>
                <a:gd name="connsiteX188" fmla="*/ 1229698 w 1623171"/>
                <a:gd name="connsiteY188" fmla="*/ 212910 h 219493"/>
                <a:gd name="connsiteX189" fmla="*/ 1203363 w 1623171"/>
                <a:gd name="connsiteY189" fmla="*/ 218824 h 219493"/>
                <a:gd name="connsiteX190" fmla="*/ 1385474 w 1623171"/>
                <a:gd name="connsiteY190" fmla="*/ 219158 h 219493"/>
                <a:gd name="connsiteX191" fmla="*/ 1332693 w 1623171"/>
                <a:gd name="connsiteY191" fmla="*/ 204875 h 219493"/>
                <a:gd name="connsiteX192" fmla="*/ 1312049 w 1623171"/>
                <a:gd name="connsiteY192" fmla="*/ 165485 h 219493"/>
                <a:gd name="connsiteX193" fmla="*/ 1357466 w 1623171"/>
                <a:gd name="connsiteY193" fmla="*/ 165485 h 219493"/>
                <a:gd name="connsiteX194" fmla="*/ 1366058 w 1623171"/>
                <a:gd name="connsiteY194" fmla="*/ 182334 h 219493"/>
                <a:gd name="connsiteX195" fmla="*/ 1385251 w 1623171"/>
                <a:gd name="connsiteY195" fmla="*/ 187914 h 219493"/>
                <a:gd name="connsiteX196" fmla="*/ 1402435 w 1623171"/>
                <a:gd name="connsiteY196" fmla="*/ 184120 h 219493"/>
                <a:gd name="connsiteX197" fmla="*/ 1408796 w 1623171"/>
                <a:gd name="connsiteY197" fmla="*/ 172961 h 219493"/>
                <a:gd name="connsiteX198" fmla="*/ 1405560 w 1623171"/>
                <a:gd name="connsiteY198" fmla="*/ 164815 h 219493"/>
                <a:gd name="connsiteX199" fmla="*/ 1396968 w 1623171"/>
                <a:gd name="connsiteY199" fmla="*/ 159794 h 219493"/>
                <a:gd name="connsiteX200" fmla="*/ 1384693 w 1623171"/>
                <a:gd name="connsiteY200" fmla="*/ 156892 h 219493"/>
                <a:gd name="connsiteX201" fmla="*/ 1370410 w 1623171"/>
                <a:gd name="connsiteY201" fmla="*/ 154438 h 219493"/>
                <a:gd name="connsiteX202" fmla="*/ 1350993 w 1623171"/>
                <a:gd name="connsiteY202" fmla="*/ 150197 h 219493"/>
                <a:gd name="connsiteX203" fmla="*/ 1333474 w 1623171"/>
                <a:gd name="connsiteY203" fmla="*/ 142721 h 219493"/>
                <a:gd name="connsiteX204" fmla="*/ 1320976 w 1623171"/>
                <a:gd name="connsiteY204" fmla="*/ 129330 h 219493"/>
                <a:gd name="connsiteX205" fmla="*/ 1316290 w 1623171"/>
                <a:gd name="connsiteY205" fmla="*/ 107682 h 219493"/>
                <a:gd name="connsiteX206" fmla="*/ 1321423 w 1623171"/>
                <a:gd name="connsiteY206" fmla="*/ 86704 h 219493"/>
                <a:gd name="connsiteX207" fmla="*/ 1335483 w 1623171"/>
                <a:gd name="connsiteY207" fmla="*/ 71528 h 219493"/>
                <a:gd name="connsiteX208" fmla="*/ 1356238 w 1623171"/>
                <a:gd name="connsiteY208" fmla="*/ 62378 h 219493"/>
                <a:gd name="connsiteX209" fmla="*/ 1381457 w 1623171"/>
                <a:gd name="connsiteY209" fmla="*/ 59253 h 219493"/>
                <a:gd name="connsiteX210" fmla="*/ 1430667 w 1623171"/>
                <a:gd name="connsiteY210" fmla="*/ 72197 h 219493"/>
                <a:gd name="connsiteX211" fmla="*/ 1449525 w 1623171"/>
                <a:gd name="connsiteY211" fmla="*/ 107571 h 219493"/>
                <a:gd name="connsiteX212" fmla="*/ 1405337 w 1623171"/>
                <a:gd name="connsiteY212" fmla="*/ 107571 h 219493"/>
                <a:gd name="connsiteX213" fmla="*/ 1397525 w 1623171"/>
                <a:gd name="connsiteY213" fmla="*/ 93622 h 219493"/>
                <a:gd name="connsiteX214" fmla="*/ 1381122 w 1623171"/>
                <a:gd name="connsiteY214" fmla="*/ 89940 h 219493"/>
                <a:gd name="connsiteX215" fmla="*/ 1366281 w 1623171"/>
                <a:gd name="connsiteY215" fmla="*/ 93287 h 219493"/>
                <a:gd name="connsiteX216" fmla="*/ 1360255 w 1623171"/>
                <a:gd name="connsiteY216" fmla="*/ 103777 h 219493"/>
                <a:gd name="connsiteX217" fmla="*/ 1363156 w 1623171"/>
                <a:gd name="connsiteY217" fmla="*/ 110249 h 219493"/>
                <a:gd name="connsiteX218" fmla="*/ 1371079 w 1623171"/>
                <a:gd name="connsiteY218" fmla="*/ 114266 h 219493"/>
                <a:gd name="connsiteX219" fmla="*/ 1382684 w 1623171"/>
                <a:gd name="connsiteY219" fmla="*/ 117056 h 219493"/>
                <a:gd name="connsiteX220" fmla="*/ 1396410 w 1623171"/>
                <a:gd name="connsiteY220" fmla="*/ 119399 h 219493"/>
                <a:gd name="connsiteX221" fmla="*/ 1416607 w 1623171"/>
                <a:gd name="connsiteY221" fmla="*/ 123639 h 219493"/>
                <a:gd name="connsiteX222" fmla="*/ 1435131 w 1623171"/>
                <a:gd name="connsiteY222" fmla="*/ 131450 h 219493"/>
                <a:gd name="connsiteX223" fmla="*/ 1448856 w 1623171"/>
                <a:gd name="connsiteY223" fmla="*/ 145734 h 219493"/>
                <a:gd name="connsiteX224" fmla="*/ 1454212 w 1623171"/>
                <a:gd name="connsiteY224" fmla="*/ 169167 h 219493"/>
                <a:gd name="connsiteX225" fmla="*/ 1449079 w 1623171"/>
                <a:gd name="connsiteY225" fmla="*/ 190927 h 219493"/>
                <a:gd name="connsiteX226" fmla="*/ 1434796 w 1623171"/>
                <a:gd name="connsiteY226" fmla="*/ 206549 h 219493"/>
                <a:gd name="connsiteX227" fmla="*/ 1413036 w 1623171"/>
                <a:gd name="connsiteY227" fmla="*/ 216034 h 219493"/>
                <a:gd name="connsiteX228" fmla="*/ 1385586 w 1623171"/>
                <a:gd name="connsiteY228" fmla="*/ 219270 h 219493"/>
                <a:gd name="connsiteX229" fmla="*/ 1547946 w 1623171"/>
                <a:gd name="connsiteY229" fmla="*/ 218935 h 219493"/>
                <a:gd name="connsiteX230" fmla="*/ 1514358 w 1623171"/>
                <a:gd name="connsiteY230" fmla="*/ 212910 h 219493"/>
                <a:gd name="connsiteX231" fmla="*/ 1489027 w 1623171"/>
                <a:gd name="connsiteY231" fmla="*/ 196060 h 219493"/>
                <a:gd name="connsiteX232" fmla="*/ 1473070 w 1623171"/>
                <a:gd name="connsiteY232" fmla="*/ 170618 h 219493"/>
                <a:gd name="connsiteX233" fmla="*/ 1467491 w 1623171"/>
                <a:gd name="connsiteY233" fmla="*/ 138815 h 219493"/>
                <a:gd name="connsiteX234" fmla="*/ 1473070 w 1623171"/>
                <a:gd name="connsiteY234" fmla="*/ 107459 h 219493"/>
                <a:gd name="connsiteX235" fmla="*/ 1489027 w 1623171"/>
                <a:gd name="connsiteY235" fmla="*/ 82129 h 219493"/>
                <a:gd name="connsiteX236" fmla="*/ 1513465 w 1623171"/>
                <a:gd name="connsiteY236" fmla="*/ 65390 h 219493"/>
                <a:gd name="connsiteX237" fmla="*/ 1545045 w 1623171"/>
                <a:gd name="connsiteY237" fmla="*/ 59365 h 219493"/>
                <a:gd name="connsiteX238" fmla="*/ 1574057 w 1623171"/>
                <a:gd name="connsiteY238" fmla="*/ 64386 h 219493"/>
                <a:gd name="connsiteX239" fmla="*/ 1596598 w 1623171"/>
                <a:gd name="connsiteY239" fmla="*/ 78223 h 219493"/>
                <a:gd name="connsiteX240" fmla="*/ 1616795 w 1623171"/>
                <a:gd name="connsiteY240" fmla="*/ 109579 h 219493"/>
                <a:gd name="connsiteX241" fmla="*/ 1623156 w 1623171"/>
                <a:gd name="connsiteY241" fmla="*/ 151536 h 219493"/>
                <a:gd name="connsiteX242" fmla="*/ 1514693 w 1623171"/>
                <a:gd name="connsiteY242" fmla="*/ 151536 h 219493"/>
                <a:gd name="connsiteX243" fmla="*/ 1525293 w 1623171"/>
                <a:gd name="connsiteY243" fmla="*/ 175751 h 219493"/>
                <a:gd name="connsiteX244" fmla="*/ 1548615 w 1623171"/>
                <a:gd name="connsiteY244" fmla="*/ 184566 h 219493"/>
                <a:gd name="connsiteX245" fmla="*/ 1564238 w 1623171"/>
                <a:gd name="connsiteY245" fmla="*/ 180549 h 219493"/>
                <a:gd name="connsiteX246" fmla="*/ 1573723 w 1623171"/>
                <a:gd name="connsiteY246" fmla="*/ 169502 h 219493"/>
                <a:gd name="connsiteX247" fmla="*/ 1620590 w 1623171"/>
                <a:gd name="connsiteY247" fmla="*/ 169502 h 219493"/>
                <a:gd name="connsiteX248" fmla="*/ 1611774 w 1623171"/>
                <a:gd name="connsiteY248" fmla="*/ 189141 h 219493"/>
                <a:gd name="connsiteX249" fmla="*/ 1595259 w 1623171"/>
                <a:gd name="connsiteY249" fmla="*/ 205210 h 219493"/>
                <a:gd name="connsiteX250" fmla="*/ 1574169 w 1623171"/>
                <a:gd name="connsiteY250" fmla="*/ 215476 h 219493"/>
                <a:gd name="connsiteX251" fmla="*/ 1548057 w 1623171"/>
                <a:gd name="connsiteY251" fmla="*/ 219047 h 219493"/>
                <a:gd name="connsiteX252" fmla="*/ 1574615 w 1623171"/>
                <a:gd name="connsiteY252" fmla="*/ 122970 h 219493"/>
                <a:gd name="connsiteX253" fmla="*/ 1565465 w 1623171"/>
                <a:gd name="connsiteY253" fmla="*/ 101433 h 219493"/>
                <a:gd name="connsiteX254" fmla="*/ 1546049 w 1623171"/>
                <a:gd name="connsiteY254" fmla="*/ 93511 h 219493"/>
                <a:gd name="connsiteX255" fmla="*/ 1524847 w 1623171"/>
                <a:gd name="connsiteY255" fmla="*/ 101433 h 219493"/>
                <a:gd name="connsiteX256" fmla="*/ 1515139 w 1623171"/>
                <a:gd name="connsiteY256" fmla="*/ 122970 h 219493"/>
                <a:gd name="connsiteX257" fmla="*/ 1574615 w 1623171"/>
                <a:gd name="connsiteY257" fmla="*/ 122970 h 21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623171" h="219493">
                  <a:moveTo>
                    <a:pt x="100206" y="219493"/>
                  </a:moveTo>
                  <a:cubicBezTo>
                    <a:pt x="85030" y="219493"/>
                    <a:pt x="71528" y="216927"/>
                    <a:pt x="59588" y="211794"/>
                  </a:cubicBezTo>
                  <a:cubicBezTo>
                    <a:pt x="47648" y="206661"/>
                    <a:pt x="37159" y="199407"/>
                    <a:pt x="28343" y="190034"/>
                  </a:cubicBezTo>
                  <a:cubicBezTo>
                    <a:pt x="19082" y="179991"/>
                    <a:pt x="12052" y="168274"/>
                    <a:pt x="7253" y="154661"/>
                  </a:cubicBezTo>
                  <a:cubicBezTo>
                    <a:pt x="2455" y="141159"/>
                    <a:pt x="0" y="126317"/>
                    <a:pt x="0" y="110137"/>
                  </a:cubicBezTo>
                  <a:cubicBezTo>
                    <a:pt x="0" y="93957"/>
                    <a:pt x="2678" y="78111"/>
                    <a:pt x="8146" y="64051"/>
                  </a:cubicBezTo>
                  <a:cubicBezTo>
                    <a:pt x="13502" y="49991"/>
                    <a:pt x="21202" y="37940"/>
                    <a:pt x="31245" y="28009"/>
                  </a:cubicBezTo>
                  <a:cubicBezTo>
                    <a:pt x="40060" y="19193"/>
                    <a:pt x="50438" y="12275"/>
                    <a:pt x="62489" y="7365"/>
                  </a:cubicBezTo>
                  <a:cubicBezTo>
                    <a:pt x="74429" y="2455"/>
                    <a:pt x="88154" y="0"/>
                    <a:pt x="103442" y="0"/>
                  </a:cubicBezTo>
                  <a:cubicBezTo>
                    <a:pt x="116944" y="0"/>
                    <a:pt x="129219" y="1674"/>
                    <a:pt x="139931" y="5133"/>
                  </a:cubicBezTo>
                  <a:cubicBezTo>
                    <a:pt x="150755" y="8592"/>
                    <a:pt x="160129" y="13502"/>
                    <a:pt x="167940" y="19863"/>
                  </a:cubicBezTo>
                  <a:cubicBezTo>
                    <a:pt x="175751" y="26223"/>
                    <a:pt x="182111" y="33923"/>
                    <a:pt x="186910" y="42961"/>
                  </a:cubicBezTo>
                  <a:cubicBezTo>
                    <a:pt x="191708" y="52000"/>
                    <a:pt x="195055" y="62043"/>
                    <a:pt x="196729" y="72978"/>
                  </a:cubicBezTo>
                  <a:lnTo>
                    <a:pt x="146068" y="72978"/>
                  </a:lnTo>
                  <a:cubicBezTo>
                    <a:pt x="144060" y="64386"/>
                    <a:pt x="139708" y="57133"/>
                    <a:pt x="132789" y="51442"/>
                  </a:cubicBezTo>
                  <a:cubicBezTo>
                    <a:pt x="125871" y="45751"/>
                    <a:pt x="116721" y="42850"/>
                    <a:pt x="105116" y="42850"/>
                  </a:cubicBezTo>
                  <a:cubicBezTo>
                    <a:pt x="96412" y="42850"/>
                    <a:pt x="88824" y="44635"/>
                    <a:pt x="82240" y="47983"/>
                  </a:cubicBezTo>
                  <a:cubicBezTo>
                    <a:pt x="75657" y="51442"/>
                    <a:pt x="70189" y="56129"/>
                    <a:pt x="65837" y="62154"/>
                  </a:cubicBezTo>
                  <a:cubicBezTo>
                    <a:pt x="61485" y="68180"/>
                    <a:pt x="58249" y="75210"/>
                    <a:pt x="56129" y="83356"/>
                  </a:cubicBezTo>
                  <a:cubicBezTo>
                    <a:pt x="54008" y="91502"/>
                    <a:pt x="52893" y="100429"/>
                    <a:pt x="52893" y="110026"/>
                  </a:cubicBezTo>
                  <a:cubicBezTo>
                    <a:pt x="52893" y="119622"/>
                    <a:pt x="54120" y="128549"/>
                    <a:pt x="56575" y="136807"/>
                  </a:cubicBezTo>
                  <a:cubicBezTo>
                    <a:pt x="59030" y="145064"/>
                    <a:pt x="62489" y="152206"/>
                    <a:pt x="67064" y="158120"/>
                  </a:cubicBezTo>
                  <a:cubicBezTo>
                    <a:pt x="71639" y="164146"/>
                    <a:pt x="77107" y="168832"/>
                    <a:pt x="83691" y="172068"/>
                  </a:cubicBezTo>
                  <a:cubicBezTo>
                    <a:pt x="90275" y="175416"/>
                    <a:pt x="97639" y="177090"/>
                    <a:pt x="105897" y="177090"/>
                  </a:cubicBezTo>
                  <a:cubicBezTo>
                    <a:pt x="112704" y="177090"/>
                    <a:pt x="118953" y="176086"/>
                    <a:pt x="124309" y="173965"/>
                  </a:cubicBezTo>
                  <a:cubicBezTo>
                    <a:pt x="129665" y="171957"/>
                    <a:pt x="134352" y="169167"/>
                    <a:pt x="138146" y="165708"/>
                  </a:cubicBezTo>
                  <a:cubicBezTo>
                    <a:pt x="141940" y="162249"/>
                    <a:pt x="145064" y="158343"/>
                    <a:pt x="147296" y="153880"/>
                  </a:cubicBezTo>
                  <a:cubicBezTo>
                    <a:pt x="149528" y="149528"/>
                    <a:pt x="150978" y="144953"/>
                    <a:pt x="151536" y="140154"/>
                  </a:cubicBezTo>
                  <a:lnTo>
                    <a:pt x="151536" y="139596"/>
                  </a:lnTo>
                  <a:lnTo>
                    <a:pt x="112034" y="139596"/>
                  </a:lnTo>
                  <a:lnTo>
                    <a:pt x="112034" y="101322"/>
                  </a:lnTo>
                  <a:lnTo>
                    <a:pt x="199854" y="101322"/>
                  </a:lnTo>
                  <a:lnTo>
                    <a:pt x="199854" y="214472"/>
                  </a:lnTo>
                  <a:lnTo>
                    <a:pt x="163365" y="214472"/>
                  </a:lnTo>
                  <a:lnTo>
                    <a:pt x="160463" y="189141"/>
                  </a:lnTo>
                  <a:lnTo>
                    <a:pt x="159905" y="189141"/>
                  </a:lnTo>
                  <a:cubicBezTo>
                    <a:pt x="152987" y="199965"/>
                    <a:pt x="144506" y="207665"/>
                    <a:pt x="134463" y="212240"/>
                  </a:cubicBezTo>
                  <a:cubicBezTo>
                    <a:pt x="124309" y="216815"/>
                    <a:pt x="112927" y="219158"/>
                    <a:pt x="100094" y="219158"/>
                  </a:cubicBezTo>
                  <a:moveTo>
                    <a:pt x="277184" y="218824"/>
                  </a:moveTo>
                  <a:cubicBezTo>
                    <a:pt x="259665" y="218824"/>
                    <a:pt x="246497" y="213691"/>
                    <a:pt x="237570" y="203313"/>
                  </a:cubicBezTo>
                  <a:cubicBezTo>
                    <a:pt x="228643" y="193047"/>
                    <a:pt x="224180" y="179433"/>
                    <a:pt x="224180" y="162472"/>
                  </a:cubicBezTo>
                  <a:lnTo>
                    <a:pt x="224180" y="63493"/>
                  </a:lnTo>
                  <a:lnTo>
                    <a:pt x="271939" y="63493"/>
                  </a:lnTo>
                  <a:lnTo>
                    <a:pt x="271939" y="152541"/>
                  </a:lnTo>
                  <a:cubicBezTo>
                    <a:pt x="271939" y="160798"/>
                    <a:pt x="273836" y="167159"/>
                    <a:pt x="277519" y="171510"/>
                  </a:cubicBezTo>
                  <a:cubicBezTo>
                    <a:pt x="281201" y="175974"/>
                    <a:pt x="287004" y="178094"/>
                    <a:pt x="294592" y="178094"/>
                  </a:cubicBezTo>
                  <a:cubicBezTo>
                    <a:pt x="302849" y="178094"/>
                    <a:pt x="309321" y="175304"/>
                    <a:pt x="314008" y="169725"/>
                  </a:cubicBezTo>
                  <a:cubicBezTo>
                    <a:pt x="318695" y="164146"/>
                    <a:pt x="321038" y="156781"/>
                    <a:pt x="321038" y="147742"/>
                  </a:cubicBezTo>
                  <a:lnTo>
                    <a:pt x="321038" y="63493"/>
                  </a:lnTo>
                  <a:lnTo>
                    <a:pt x="369021" y="63493"/>
                  </a:lnTo>
                  <a:lnTo>
                    <a:pt x="369021" y="214360"/>
                  </a:lnTo>
                  <a:lnTo>
                    <a:pt x="323047" y="214360"/>
                  </a:lnTo>
                  <a:lnTo>
                    <a:pt x="323047" y="195837"/>
                  </a:lnTo>
                  <a:lnTo>
                    <a:pt x="322154" y="195837"/>
                  </a:lnTo>
                  <a:cubicBezTo>
                    <a:pt x="316686" y="203313"/>
                    <a:pt x="310437" y="209004"/>
                    <a:pt x="303407" y="212910"/>
                  </a:cubicBezTo>
                  <a:cubicBezTo>
                    <a:pt x="296489" y="216815"/>
                    <a:pt x="287673" y="218824"/>
                    <a:pt x="277072" y="218824"/>
                  </a:cubicBezTo>
                  <a:moveTo>
                    <a:pt x="396360" y="1674"/>
                  </a:moveTo>
                  <a:lnTo>
                    <a:pt x="444343" y="1674"/>
                  </a:lnTo>
                  <a:lnTo>
                    <a:pt x="444343" y="42627"/>
                  </a:lnTo>
                  <a:lnTo>
                    <a:pt x="396360" y="42627"/>
                  </a:lnTo>
                  <a:lnTo>
                    <a:pt x="396360" y="1674"/>
                  </a:lnTo>
                  <a:close/>
                  <a:moveTo>
                    <a:pt x="396360" y="63493"/>
                  </a:moveTo>
                  <a:lnTo>
                    <a:pt x="444343" y="63493"/>
                  </a:lnTo>
                  <a:lnTo>
                    <a:pt x="444343" y="214360"/>
                  </a:lnTo>
                  <a:lnTo>
                    <a:pt x="396360" y="214360"/>
                  </a:lnTo>
                  <a:lnTo>
                    <a:pt x="396360" y="63493"/>
                  </a:lnTo>
                  <a:close/>
                  <a:moveTo>
                    <a:pt x="531046" y="219047"/>
                  </a:moveTo>
                  <a:cubicBezTo>
                    <a:pt x="521450" y="219047"/>
                    <a:pt x="512523" y="217261"/>
                    <a:pt x="504488" y="213579"/>
                  </a:cubicBezTo>
                  <a:cubicBezTo>
                    <a:pt x="496454" y="209897"/>
                    <a:pt x="489424" y="204652"/>
                    <a:pt x="483621" y="197845"/>
                  </a:cubicBezTo>
                  <a:cubicBezTo>
                    <a:pt x="477707" y="190927"/>
                    <a:pt x="473132" y="182558"/>
                    <a:pt x="469896" y="172626"/>
                  </a:cubicBezTo>
                  <a:cubicBezTo>
                    <a:pt x="466660" y="162695"/>
                    <a:pt x="464986" y="151425"/>
                    <a:pt x="464986" y="138927"/>
                  </a:cubicBezTo>
                  <a:cubicBezTo>
                    <a:pt x="464986" y="127098"/>
                    <a:pt x="466660" y="116386"/>
                    <a:pt x="469896" y="106455"/>
                  </a:cubicBezTo>
                  <a:cubicBezTo>
                    <a:pt x="473132" y="96635"/>
                    <a:pt x="477707" y="88266"/>
                    <a:pt x="483398" y="81236"/>
                  </a:cubicBezTo>
                  <a:cubicBezTo>
                    <a:pt x="489201" y="74317"/>
                    <a:pt x="496119" y="68850"/>
                    <a:pt x="504154" y="64833"/>
                  </a:cubicBezTo>
                  <a:cubicBezTo>
                    <a:pt x="512188" y="60927"/>
                    <a:pt x="521115" y="58918"/>
                    <a:pt x="530935" y="58918"/>
                  </a:cubicBezTo>
                  <a:cubicBezTo>
                    <a:pt x="541536" y="58918"/>
                    <a:pt x="550128" y="60927"/>
                    <a:pt x="556600" y="64944"/>
                  </a:cubicBezTo>
                  <a:cubicBezTo>
                    <a:pt x="563072" y="68961"/>
                    <a:pt x="568540" y="74094"/>
                    <a:pt x="573115" y="80455"/>
                  </a:cubicBezTo>
                  <a:lnTo>
                    <a:pt x="574008" y="80455"/>
                  </a:lnTo>
                  <a:lnTo>
                    <a:pt x="574008" y="1451"/>
                  </a:lnTo>
                  <a:lnTo>
                    <a:pt x="621990" y="1451"/>
                  </a:lnTo>
                  <a:lnTo>
                    <a:pt x="621990" y="214249"/>
                  </a:lnTo>
                  <a:lnTo>
                    <a:pt x="576016" y="214249"/>
                  </a:lnTo>
                  <a:lnTo>
                    <a:pt x="576016" y="193940"/>
                  </a:lnTo>
                  <a:lnTo>
                    <a:pt x="575458" y="193940"/>
                  </a:lnTo>
                  <a:cubicBezTo>
                    <a:pt x="570995" y="201751"/>
                    <a:pt x="564857" y="207888"/>
                    <a:pt x="557381" y="212352"/>
                  </a:cubicBezTo>
                  <a:cubicBezTo>
                    <a:pt x="549793" y="216815"/>
                    <a:pt x="541089" y="218935"/>
                    <a:pt x="531046" y="218935"/>
                  </a:cubicBezTo>
                  <a:moveTo>
                    <a:pt x="543433" y="180884"/>
                  </a:moveTo>
                  <a:cubicBezTo>
                    <a:pt x="553475" y="180884"/>
                    <a:pt x="561287" y="176978"/>
                    <a:pt x="566866" y="169056"/>
                  </a:cubicBezTo>
                  <a:cubicBezTo>
                    <a:pt x="572445" y="161244"/>
                    <a:pt x="575235" y="151090"/>
                    <a:pt x="575235" y="138704"/>
                  </a:cubicBezTo>
                  <a:cubicBezTo>
                    <a:pt x="575235" y="132455"/>
                    <a:pt x="574566" y="126541"/>
                    <a:pt x="573338" y="121184"/>
                  </a:cubicBezTo>
                  <a:cubicBezTo>
                    <a:pt x="572111" y="115828"/>
                    <a:pt x="570102" y="111141"/>
                    <a:pt x="567424" y="107347"/>
                  </a:cubicBezTo>
                  <a:cubicBezTo>
                    <a:pt x="564746" y="103553"/>
                    <a:pt x="561510" y="100541"/>
                    <a:pt x="557716" y="98309"/>
                  </a:cubicBezTo>
                  <a:cubicBezTo>
                    <a:pt x="553922" y="96189"/>
                    <a:pt x="549347" y="95073"/>
                    <a:pt x="543991" y="95073"/>
                  </a:cubicBezTo>
                  <a:cubicBezTo>
                    <a:pt x="534394" y="95073"/>
                    <a:pt x="526918" y="99090"/>
                    <a:pt x="521561" y="107013"/>
                  </a:cubicBezTo>
                  <a:cubicBezTo>
                    <a:pt x="516205" y="114935"/>
                    <a:pt x="513639" y="125313"/>
                    <a:pt x="513639" y="138146"/>
                  </a:cubicBezTo>
                  <a:cubicBezTo>
                    <a:pt x="513639" y="150978"/>
                    <a:pt x="516205" y="161691"/>
                    <a:pt x="521450" y="169390"/>
                  </a:cubicBezTo>
                  <a:cubicBezTo>
                    <a:pt x="526694" y="177090"/>
                    <a:pt x="533948" y="180884"/>
                    <a:pt x="543433" y="180884"/>
                  </a:cubicBezTo>
                  <a:moveTo>
                    <a:pt x="720188" y="218601"/>
                  </a:moveTo>
                  <a:cubicBezTo>
                    <a:pt x="707801" y="218601"/>
                    <a:pt x="696643" y="216592"/>
                    <a:pt x="686600" y="212575"/>
                  </a:cubicBezTo>
                  <a:cubicBezTo>
                    <a:pt x="676557" y="208558"/>
                    <a:pt x="668076" y="202978"/>
                    <a:pt x="661269" y="195725"/>
                  </a:cubicBezTo>
                  <a:cubicBezTo>
                    <a:pt x="654351" y="188583"/>
                    <a:pt x="649106" y="180103"/>
                    <a:pt x="645312" y="170283"/>
                  </a:cubicBezTo>
                  <a:cubicBezTo>
                    <a:pt x="641630" y="160463"/>
                    <a:pt x="639733" y="149862"/>
                    <a:pt x="639733" y="138480"/>
                  </a:cubicBezTo>
                  <a:cubicBezTo>
                    <a:pt x="639733" y="127098"/>
                    <a:pt x="641630" y="116832"/>
                    <a:pt x="645312" y="107124"/>
                  </a:cubicBezTo>
                  <a:cubicBezTo>
                    <a:pt x="648995" y="97416"/>
                    <a:pt x="654351" y="88935"/>
                    <a:pt x="661269" y="81794"/>
                  </a:cubicBezTo>
                  <a:cubicBezTo>
                    <a:pt x="668188" y="74652"/>
                    <a:pt x="676334" y="69073"/>
                    <a:pt x="685707" y="65056"/>
                  </a:cubicBezTo>
                  <a:cubicBezTo>
                    <a:pt x="695080" y="61039"/>
                    <a:pt x="705681" y="59030"/>
                    <a:pt x="717286" y="59030"/>
                  </a:cubicBezTo>
                  <a:cubicBezTo>
                    <a:pt x="728110" y="59030"/>
                    <a:pt x="737818" y="60704"/>
                    <a:pt x="746299" y="64051"/>
                  </a:cubicBezTo>
                  <a:cubicBezTo>
                    <a:pt x="754891" y="67399"/>
                    <a:pt x="762368" y="71974"/>
                    <a:pt x="768840" y="77888"/>
                  </a:cubicBezTo>
                  <a:cubicBezTo>
                    <a:pt x="777879" y="86146"/>
                    <a:pt x="784574" y="96635"/>
                    <a:pt x="789037" y="109244"/>
                  </a:cubicBezTo>
                  <a:cubicBezTo>
                    <a:pt x="793501" y="121965"/>
                    <a:pt x="795509" y="135914"/>
                    <a:pt x="795398" y="151201"/>
                  </a:cubicBezTo>
                  <a:lnTo>
                    <a:pt x="686934" y="151201"/>
                  </a:lnTo>
                  <a:cubicBezTo>
                    <a:pt x="688497" y="161468"/>
                    <a:pt x="692067" y="169502"/>
                    <a:pt x="697535" y="175416"/>
                  </a:cubicBezTo>
                  <a:cubicBezTo>
                    <a:pt x="703003" y="181330"/>
                    <a:pt x="710814" y="184231"/>
                    <a:pt x="720857" y="184231"/>
                  </a:cubicBezTo>
                  <a:cubicBezTo>
                    <a:pt x="727106" y="184231"/>
                    <a:pt x="732351" y="182892"/>
                    <a:pt x="736479" y="180214"/>
                  </a:cubicBezTo>
                  <a:cubicBezTo>
                    <a:pt x="740608" y="177536"/>
                    <a:pt x="743733" y="173854"/>
                    <a:pt x="745853" y="169167"/>
                  </a:cubicBezTo>
                  <a:lnTo>
                    <a:pt x="792720" y="169167"/>
                  </a:lnTo>
                  <a:cubicBezTo>
                    <a:pt x="791157" y="176086"/>
                    <a:pt x="788145" y="182558"/>
                    <a:pt x="783904" y="188807"/>
                  </a:cubicBezTo>
                  <a:cubicBezTo>
                    <a:pt x="779552" y="194944"/>
                    <a:pt x="774084" y="200300"/>
                    <a:pt x="767389" y="204875"/>
                  </a:cubicBezTo>
                  <a:cubicBezTo>
                    <a:pt x="761140" y="209450"/>
                    <a:pt x="754110" y="212798"/>
                    <a:pt x="746299" y="215141"/>
                  </a:cubicBezTo>
                  <a:cubicBezTo>
                    <a:pt x="738600" y="217485"/>
                    <a:pt x="729896" y="218712"/>
                    <a:pt x="720188" y="218712"/>
                  </a:cubicBezTo>
                  <a:moveTo>
                    <a:pt x="746746" y="122635"/>
                  </a:moveTo>
                  <a:cubicBezTo>
                    <a:pt x="745741" y="113596"/>
                    <a:pt x="742728" y="106455"/>
                    <a:pt x="737595" y="101099"/>
                  </a:cubicBezTo>
                  <a:cubicBezTo>
                    <a:pt x="732462" y="95854"/>
                    <a:pt x="725990" y="93176"/>
                    <a:pt x="718179" y="93176"/>
                  </a:cubicBezTo>
                  <a:cubicBezTo>
                    <a:pt x="708917" y="93176"/>
                    <a:pt x="701887" y="95854"/>
                    <a:pt x="696977" y="101099"/>
                  </a:cubicBezTo>
                  <a:cubicBezTo>
                    <a:pt x="692067" y="106455"/>
                    <a:pt x="688831" y="113596"/>
                    <a:pt x="687269" y="122635"/>
                  </a:cubicBezTo>
                  <a:lnTo>
                    <a:pt x="746746" y="122635"/>
                  </a:lnTo>
                  <a:close/>
                  <a:moveTo>
                    <a:pt x="813029" y="1562"/>
                  </a:moveTo>
                  <a:lnTo>
                    <a:pt x="861011" y="1562"/>
                  </a:lnTo>
                  <a:lnTo>
                    <a:pt x="861011" y="82017"/>
                  </a:lnTo>
                  <a:lnTo>
                    <a:pt x="861904" y="82017"/>
                  </a:lnTo>
                  <a:cubicBezTo>
                    <a:pt x="867372" y="74764"/>
                    <a:pt x="873621" y="69073"/>
                    <a:pt x="880428" y="65056"/>
                  </a:cubicBezTo>
                  <a:cubicBezTo>
                    <a:pt x="887346" y="61039"/>
                    <a:pt x="896050" y="59030"/>
                    <a:pt x="906651" y="59030"/>
                  </a:cubicBezTo>
                  <a:cubicBezTo>
                    <a:pt x="914908" y="59030"/>
                    <a:pt x="922273" y="60481"/>
                    <a:pt x="928745" y="63270"/>
                  </a:cubicBezTo>
                  <a:cubicBezTo>
                    <a:pt x="935217" y="66060"/>
                    <a:pt x="940685" y="70077"/>
                    <a:pt x="945260" y="75099"/>
                  </a:cubicBezTo>
                  <a:cubicBezTo>
                    <a:pt x="949835" y="80120"/>
                    <a:pt x="953183" y="86146"/>
                    <a:pt x="955638" y="93064"/>
                  </a:cubicBezTo>
                  <a:cubicBezTo>
                    <a:pt x="957981" y="99983"/>
                    <a:pt x="959209" y="107794"/>
                    <a:pt x="959209" y="116163"/>
                  </a:cubicBezTo>
                  <a:lnTo>
                    <a:pt x="959209" y="214249"/>
                  </a:lnTo>
                  <a:lnTo>
                    <a:pt x="911226" y="214249"/>
                  </a:lnTo>
                  <a:lnTo>
                    <a:pt x="911226" y="125871"/>
                  </a:lnTo>
                  <a:cubicBezTo>
                    <a:pt x="911226" y="117837"/>
                    <a:pt x="909217" y="111365"/>
                    <a:pt x="905312" y="106455"/>
                  </a:cubicBezTo>
                  <a:cubicBezTo>
                    <a:pt x="901406" y="101545"/>
                    <a:pt x="895492" y="99090"/>
                    <a:pt x="887681" y="99090"/>
                  </a:cubicBezTo>
                  <a:cubicBezTo>
                    <a:pt x="879870" y="99090"/>
                    <a:pt x="873174" y="101991"/>
                    <a:pt x="868376" y="107905"/>
                  </a:cubicBezTo>
                  <a:cubicBezTo>
                    <a:pt x="863578" y="113820"/>
                    <a:pt x="861123" y="121519"/>
                    <a:pt x="861123" y="130892"/>
                  </a:cubicBezTo>
                  <a:lnTo>
                    <a:pt x="861123" y="214249"/>
                  </a:lnTo>
                  <a:lnTo>
                    <a:pt x="813140" y="214249"/>
                  </a:lnTo>
                  <a:lnTo>
                    <a:pt x="813140" y="1451"/>
                  </a:lnTo>
                  <a:close/>
                  <a:moveTo>
                    <a:pt x="1054951" y="219047"/>
                  </a:moveTo>
                  <a:cubicBezTo>
                    <a:pt x="1042788" y="219047"/>
                    <a:pt x="1031741" y="217038"/>
                    <a:pt x="1021809" y="213021"/>
                  </a:cubicBezTo>
                  <a:cubicBezTo>
                    <a:pt x="1011878" y="209004"/>
                    <a:pt x="1003397" y="203425"/>
                    <a:pt x="996256" y="196171"/>
                  </a:cubicBezTo>
                  <a:cubicBezTo>
                    <a:pt x="989226" y="189030"/>
                    <a:pt x="983758" y="180549"/>
                    <a:pt x="979964" y="170841"/>
                  </a:cubicBezTo>
                  <a:cubicBezTo>
                    <a:pt x="976170" y="161133"/>
                    <a:pt x="974161" y="150532"/>
                    <a:pt x="974161" y="139150"/>
                  </a:cubicBezTo>
                  <a:cubicBezTo>
                    <a:pt x="974161" y="127768"/>
                    <a:pt x="976058" y="117167"/>
                    <a:pt x="979964" y="107459"/>
                  </a:cubicBezTo>
                  <a:cubicBezTo>
                    <a:pt x="983758" y="97751"/>
                    <a:pt x="989226" y="89270"/>
                    <a:pt x="996256" y="82129"/>
                  </a:cubicBezTo>
                  <a:cubicBezTo>
                    <a:pt x="1003286" y="74987"/>
                    <a:pt x="1011878" y="69408"/>
                    <a:pt x="1021809" y="65390"/>
                  </a:cubicBezTo>
                  <a:cubicBezTo>
                    <a:pt x="1031741" y="61373"/>
                    <a:pt x="1042788" y="59365"/>
                    <a:pt x="1054951" y="59365"/>
                  </a:cubicBezTo>
                  <a:cubicBezTo>
                    <a:pt x="1067114" y="59365"/>
                    <a:pt x="1078161" y="61373"/>
                    <a:pt x="1088093" y="65390"/>
                  </a:cubicBezTo>
                  <a:cubicBezTo>
                    <a:pt x="1098024" y="69408"/>
                    <a:pt x="1106505" y="74987"/>
                    <a:pt x="1113423" y="82129"/>
                  </a:cubicBezTo>
                  <a:cubicBezTo>
                    <a:pt x="1120341" y="89270"/>
                    <a:pt x="1125809" y="97751"/>
                    <a:pt x="1129603" y="107459"/>
                  </a:cubicBezTo>
                  <a:cubicBezTo>
                    <a:pt x="1133397" y="117167"/>
                    <a:pt x="1135294" y="127768"/>
                    <a:pt x="1135294" y="139150"/>
                  </a:cubicBezTo>
                  <a:cubicBezTo>
                    <a:pt x="1135294" y="150532"/>
                    <a:pt x="1133397" y="161133"/>
                    <a:pt x="1129603" y="170841"/>
                  </a:cubicBezTo>
                  <a:cubicBezTo>
                    <a:pt x="1125809" y="180549"/>
                    <a:pt x="1120341" y="189030"/>
                    <a:pt x="1113423" y="196171"/>
                  </a:cubicBezTo>
                  <a:cubicBezTo>
                    <a:pt x="1106505" y="203313"/>
                    <a:pt x="1098024" y="208892"/>
                    <a:pt x="1088093" y="213021"/>
                  </a:cubicBezTo>
                  <a:cubicBezTo>
                    <a:pt x="1078161" y="217038"/>
                    <a:pt x="1067114" y="219047"/>
                    <a:pt x="1054951" y="219047"/>
                  </a:cubicBezTo>
                  <a:moveTo>
                    <a:pt x="1054616" y="184901"/>
                  </a:moveTo>
                  <a:cubicBezTo>
                    <a:pt x="1065217" y="184901"/>
                    <a:pt x="1073251" y="180772"/>
                    <a:pt x="1078608" y="172403"/>
                  </a:cubicBezTo>
                  <a:cubicBezTo>
                    <a:pt x="1084075" y="164034"/>
                    <a:pt x="1086753" y="152987"/>
                    <a:pt x="1086753" y="139262"/>
                  </a:cubicBezTo>
                  <a:cubicBezTo>
                    <a:pt x="1086753" y="125536"/>
                    <a:pt x="1084075" y="114377"/>
                    <a:pt x="1078608" y="106008"/>
                  </a:cubicBezTo>
                  <a:cubicBezTo>
                    <a:pt x="1073251" y="97528"/>
                    <a:pt x="1065217" y="93287"/>
                    <a:pt x="1054616" y="93287"/>
                  </a:cubicBezTo>
                  <a:cubicBezTo>
                    <a:pt x="1044015" y="93287"/>
                    <a:pt x="1036093" y="97528"/>
                    <a:pt x="1030736" y="106008"/>
                  </a:cubicBezTo>
                  <a:cubicBezTo>
                    <a:pt x="1025492" y="114489"/>
                    <a:pt x="1022814" y="125536"/>
                    <a:pt x="1022814" y="139262"/>
                  </a:cubicBezTo>
                  <a:cubicBezTo>
                    <a:pt x="1022814" y="152987"/>
                    <a:pt x="1025492" y="164034"/>
                    <a:pt x="1030736" y="172403"/>
                  </a:cubicBezTo>
                  <a:cubicBezTo>
                    <a:pt x="1036093" y="180772"/>
                    <a:pt x="1044015" y="184901"/>
                    <a:pt x="1054616" y="184901"/>
                  </a:cubicBezTo>
                  <a:moveTo>
                    <a:pt x="1203474" y="218824"/>
                  </a:moveTo>
                  <a:cubicBezTo>
                    <a:pt x="1185955" y="218824"/>
                    <a:pt x="1172788" y="213691"/>
                    <a:pt x="1163861" y="203313"/>
                  </a:cubicBezTo>
                  <a:cubicBezTo>
                    <a:pt x="1154934" y="193047"/>
                    <a:pt x="1150470" y="179433"/>
                    <a:pt x="1150470" y="162472"/>
                  </a:cubicBezTo>
                  <a:lnTo>
                    <a:pt x="1150470" y="63493"/>
                  </a:lnTo>
                  <a:lnTo>
                    <a:pt x="1198230" y="63493"/>
                  </a:lnTo>
                  <a:lnTo>
                    <a:pt x="1198230" y="152541"/>
                  </a:lnTo>
                  <a:cubicBezTo>
                    <a:pt x="1198230" y="160798"/>
                    <a:pt x="1200127" y="167159"/>
                    <a:pt x="1203809" y="171510"/>
                  </a:cubicBezTo>
                  <a:cubicBezTo>
                    <a:pt x="1207492" y="175974"/>
                    <a:pt x="1213294" y="178094"/>
                    <a:pt x="1220882" y="178094"/>
                  </a:cubicBezTo>
                  <a:cubicBezTo>
                    <a:pt x="1229140" y="178094"/>
                    <a:pt x="1235612" y="175304"/>
                    <a:pt x="1240298" y="169725"/>
                  </a:cubicBezTo>
                  <a:cubicBezTo>
                    <a:pt x="1244985" y="164146"/>
                    <a:pt x="1247328" y="156781"/>
                    <a:pt x="1247328" y="147742"/>
                  </a:cubicBezTo>
                  <a:lnTo>
                    <a:pt x="1247328" y="63493"/>
                  </a:lnTo>
                  <a:lnTo>
                    <a:pt x="1295311" y="63493"/>
                  </a:lnTo>
                  <a:lnTo>
                    <a:pt x="1295311" y="214360"/>
                  </a:lnTo>
                  <a:lnTo>
                    <a:pt x="1249337" y="214360"/>
                  </a:lnTo>
                  <a:lnTo>
                    <a:pt x="1249337" y="195837"/>
                  </a:lnTo>
                  <a:lnTo>
                    <a:pt x="1248444" y="195837"/>
                  </a:lnTo>
                  <a:cubicBezTo>
                    <a:pt x="1242976" y="203313"/>
                    <a:pt x="1236727" y="209004"/>
                    <a:pt x="1229698" y="212910"/>
                  </a:cubicBezTo>
                  <a:cubicBezTo>
                    <a:pt x="1222779" y="216815"/>
                    <a:pt x="1213964" y="218824"/>
                    <a:pt x="1203363" y="218824"/>
                  </a:cubicBezTo>
                  <a:moveTo>
                    <a:pt x="1385474" y="219158"/>
                  </a:moveTo>
                  <a:cubicBezTo>
                    <a:pt x="1363268" y="219158"/>
                    <a:pt x="1345749" y="214360"/>
                    <a:pt x="1332693" y="204875"/>
                  </a:cubicBezTo>
                  <a:cubicBezTo>
                    <a:pt x="1319749" y="195390"/>
                    <a:pt x="1312830" y="182223"/>
                    <a:pt x="1312049" y="165485"/>
                  </a:cubicBezTo>
                  <a:lnTo>
                    <a:pt x="1357466" y="165485"/>
                  </a:lnTo>
                  <a:cubicBezTo>
                    <a:pt x="1358470" y="172961"/>
                    <a:pt x="1361259" y="178540"/>
                    <a:pt x="1366058" y="182334"/>
                  </a:cubicBezTo>
                  <a:cubicBezTo>
                    <a:pt x="1370744" y="186017"/>
                    <a:pt x="1377105" y="187914"/>
                    <a:pt x="1385251" y="187914"/>
                  </a:cubicBezTo>
                  <a:cubicBezTo>
                    <a:pt x="1392504" y="187914"/>
                    <a:pt x="1398307" y="186686"/>
                    <a:pt x="1402435" y="184120"/>
                  </a:cubicBezTo>
                  <a:cubicBezTo>
                    <a:pt x="1406676" y="181553"/>
                    <a:pt x="1408796" y="177871"/>
                    <a:pt x="1408796" y="172961"/>
                  </a:cubicBezTo>
                  <a:cubicBezTo>
                    <a:pt x="1408796" y="169613"/>
                    <a:pt x="1407680" y="166935"/>
                    <a:pt x="1405560" y="164815"/>
                  </a:cubicBezTo>
                  <a:cubicBezTo>
                    <a:pt x="1403440" y="162807"/>
                    <a:pt x="1400538" y="161133"/>
                    <a:pt x="1396968" y="159794"/>
                  </a:cubicBezTo>
                  <a:cubicBezTo>
                    <a:pt x="1393397" y="158566"/>
                    <a:pt x="1389380" y="157562"/>
                    <a:pt x="1384693" y="156892"/>
                  </a:cubicBezTo>
                  <a:cubicBezTo>
                    <a:pt x="1380118" y="156223"/>
                    <a:pt x="1375319" y="155330"/>
                    <a:pt x="1370410" y="154438"/>
                  </a:cubicBezTo>
                  <a:cubicBezTo>
                    <a:pt x="1363938" y="153210"/>
                    <a:pt x="1357466" y="151871"/>
                    <a:pt x="1350993" y="150197"/>
                  </a:cubicBezTo>
                  <a:cubicBezTo>
                    <a:pt x="1344521" y="148523"/>
                    <a:pt x="1338719" y="146068"/>
                    <a:pt x="1333474" y="142721"/>
                  </a:cubicBezTo>
                  <a:cubicBezTo>
                    <a:pt x="1328229" y="139373"/>
                    <a:pt x="1324101" y="134910"/>
                    <a:pt x="1320976" y="129330"/>
                  </a:cubicBezTo>
                  <a:cubicBezTo>
                    <a:pt x="1317852" y="123751"/>
                    <a:pt x="1316290" y="116498"/>
                    <a:pt x="1316290" y="107682"/>
                  </a:cubicBezTo>
                  <a:cubicBezTo>
                    <a:pt x="1316290" y="99871"/>
                    <a:pt x="1317963" y="92841"/>
                    <a:pt x="1321423" y="86704"/>
                  </a:cubicBezTo>
                  <a:cubicBezTo>
                    <a:pt x="1324882" y="80678"/>
                    <a:pt x="1329569" y="75545"/>
                    <a:pt x="1335483" y="71528"/>
                  </a:cubicBezTo>
                  <a:cubicBezTo>
                    <a:pt x="1341397" y="67511"/>
                    <a:pt x="1348315" y="64498"/>
                    <a:pt x="1356238" y="62378"/>
                  </a:cubicBezTo>
                  <a:cubicBezTo>
                    <a:pt x="1364161" y="60369"/>
                    <a:pt x="1372641" y="59253"/>
                    <a:pt x="1381457" y="59253"/>
                  </a:cubicBezTo>
                  <a:cubicBezTo>
                    <a:pt x="1402882" y="59253"/>
                    <a:pt x="1419285" y="63605"/>
                    <a:pt x="1430667" y="72197"/>
                  </a:cubicBezTo>
                  <a:cubicBezTo>
                    <a:pt x="1442049" y="80790"/>
                    <a:pt x="1448298" y="92618"/>
                    <a:pt x="1449525" y="107571"/>
                  </a:cubicBezTo>
                  <a:lnTo>
                    <a:pt x="1405337" y="107571"/>
                  </a:lnTo>
                  <a:cubicBezTo>
                    <a:pt x="1404332" y="100652"/>
                    <a:pt x="1401766" y="96077"/>
                    <a:pt x="1397525" y="93622"/>
                  </a:cubicBezTo>
                  <a:cubicBezTo>
                    <a:pt x="1393285" y="91167"/>
                    <a:pt x="1387817" y="89940"/>
                    <a:pt x="1381122" y="89940"/>
                  </a:cubicBezTo>
                  <a:cubicBezTo>
                    <a:pt x="1375208" y="89940"/>
                    <a:pt x="1370298" y="91056"/>
                    <a:pt x="1366281" y="93287"/>
                  </a:cubicBezTo>
                  <a:cubicBezTo>
                    <a:pt x="1362264" y="95519"/>
                    <a:pt x="1360255" y="98978"/>
                    <a:pt x="1360255" y="103777"/>
                  </a:cubicBezTo>
                  <a:cubicBezTo>
                    <a:pt x="1360255" y="106566"/>
                    <a:pt x="1361259" y="108687"/>
                    <a:pt x="1363156" y="110249"/>
                  </a:cubicBezTo>
                  <a:cubicBezTo>
                    <a:pt x="1365165" y="111811"/>
                    <a:pt x="1367732" y="113150"/>
                    <a:pt x="1371079" y="114266"/>
                  </a:cubicBezTo>
                  <a:cubicBezTo>
                    <a:pt x="1374427" y="115382"/>
                    <a:pt x="1378332" y="116274"/>
                    <a:pt x="1382684" y="117056"/>
                  </a:cubicBezTo>
                  <a:cubicBezTo>
                    <a:pt x="1387148" y="117837"/>
                    <a:pt x="1391723" y="118618"/>
                    <a:pt x="1396410" y="119399"/>
                  </a:cubicBezTo>
                  <a:cubicBezTo>
                    <a:pt x="1403105" y="120515"/>
                    <a:pt x="1409800" y="121965"/>
                    <a:pt x="1416607" y="123639"/>
                  </a:cubicBezTo>
                  <a:cubicBezTo>
                    <a:pt x="1423414" y="125313"/>
                    <a:pt x="1429551" y="127880"/>
                    <a:pt x="1435131" y="131450"/>
                  </a:cubicBezTo>
                  <a:cubicBezTo>
                    <a:pt x="1440710" y="135021"/>
                    <a:pt x="1445285" y="139708"/>
                    <a:pt x="1448856" y="145734"/>
                  </a:cubicBezTo>
                  <a:cubicBezTo>
                    <a:pt x="1452427" y="151759"/>
                    <a:pt x="1454212" y="159571"/>
                    <a:pt x="1454212" y="169167"/>
                  </a:cubicBezTo>
                  <a:cubicBezTo>
                    <a:pt x="1454212" y="177425"/>
                    <a:pt x="1452427" y="184678"/>
                    <a:pt x="1449079" y="190927"/>
                  </a:cubicBezTo>
                  <a:cubicBezTo>
                    <a:pt x="1445620" y="197176"/>
                    <a:pt x="1440822" y="202420"/>
                    <a:pt x="1434796" y="206549"/>
                  </a:cubicBezTo>
                  <a:cubicBezTo>
                    <a:pt x="1428658" y="210678"/>
                    <a:pt x="1421405" y="213802"/>
                    <a:pt x="1413036" y="216034"/>
                  </a:cubicBezTo>
                  <a:cubicBezTo>
                    <a:pt x="1404556" y="218154"/>
                    <a:pt x="1395405" y="219270"/>
                    <a:pt x="1385586" y="219270"/>
                  </a:cubicBezTo>
                  <a:moveTo>
                    <a:pt x="1547946" y="218935"/>
                  </a:moveTo>
                  <a:cubicBezTo>
                    <a:pt x="1535560" y="218935"/>
                    <a:pt x="1524401" y="216927"/>
                    <a:pt x="1514358" y="212910"/>
                  </a:cubicBezTo>
                  <a:cubicBezTo>
                    <a:pt x="1504315" y="208892"/>
                    <a:pt x="1495946" y="203313"/>
                    <a:pt x="1489027" y="196060"/>
                  </a:cubicBezTo>
                  <a:cubicBezTo>
                    <a:pt x="1482109" y="188918"/>
                    <a:pt x="1476864" y="180437"/>
                    <a:pt x="1473070" y="170618"/>
                  </a:cubicBezTo>
                  <a:cubicBezTo>
                    <a:pt x="1469388" y="160798"/>
                    <a:pt x="1467491" y="150197"/>
                    <a:pt x="1467491" y="138815"/>
                  </a:cubicBezTo>
                  <a:cubicBezTo>
                    <a:pt x="1467491" y="127433"/>
                    <a:pt x="1469388" y="117167"/>
                    <a:pt x="1473070" y="107459"/>
                  </a:cubicBezTo>
                  <a:cubicBezTo>
                    <a:pt x="1476753" y="97751"/>
                    <a:pt x="1482109" y="89270"/>
                    <a:pt x="1489027" y="82129"/>
                  </a:cubicBezTo>
                  <a:cubicBezTo>
                    <a:pt x="1495946" y="74987"/>
                    <a:pt x="1504092" y="69408"/>
                    <a:pt x="1513465" y="65390"/>
                  </a:cubicBezTo>
                  <a:cubicBezTo>
                    <a:pt x="1522950" y="61373"/>
                    <a:pt x="1533439" y="59365"/>
                    <a:pt x="1545045" y="59365"/>
                  </a:cubicBezTo>
                  <a:cubicBezTo>
                    <a:pt x="1555869" y="59365"/>
                    <a:pt x="1565465" y="61039"/>
                    <a:pt x="1574057" y="64386"/>
                  </a:cubicBezTo>
                  <a:cubicBezTo>
                    <a:pt x="1582650" y="67734"/>
                    <a:pt x="1590126" y="72309"/>
                    <a:pt x="1596598" y="78223"/>
                  </a:cubicBezTo>
                  <a:cubicBezTo>
                    <a:pt x="1605637" y="86481"/>
                    <a:pt x="1612332" y="96970"/>
                    <a:pt x="1616795" y="109579"/>
                  </a:cubicBezTo>
                  <a:cubicBezTo>
                    <a:pt x="1621259" y="122300"/>
                    <a:pt x="1623379" y="136249"/>
                    <a:pt x="1623156" y="151536"/>
                  </a:cubicBezTo>
                  <a:lnTo>
                    <a:pt x="1514693" y="151536"/>
                  </a:lnTo>
                  <a:cubicBezTo>
                    <a:pt x="1516255" y="161802"/>
                    <a:pt x="1519826" y="169837"/>
                    <a:pt x="1525293" y="175751"/>
                  </a:cubicBezTo>
                  <a:cubicBezTo>
                    <a:pt x="1530761" y="181665"/>
                    <a:pt x="1538572" y="184566"/>
                    <a:pt x="1548615" y="184566"/>
                  </a:cubicBezTo>
                  <a:cubicBezTo>
                    <a:pt x="1554864" y="184566"/>
                    <a:pt x="1560109" y="183227"/>
                    <a:pt x="1564238" y="180549"/>
                  </a:cubicBezTo>
                  <a:cubicBezTo>
                    <a:pt x="1568366" y="177871"/>
                    <a:pt x="1571491" y="174189"/>
                    <a:pt x="1573723" y="169502"/>
                  </a:cubicBezTo>
                  <a:lnTo>
                    <a:pt x="1620590" y="169502"/>
                  </a:lnTo>
                  <a:cubicBezTo>
                    <a:pt x="1619027" y="176420"/>
                    <a:pt x="1616126" y="182892"/>
                    <a:pt x="1611774" y="189141"/>
                  </a:cubicBezTo>
                  <a:cubicBezTo>
                    <a:pt x="1607422" y="195390"/>
                    <a:pt x="1601954" y="200635"/>
                    <a:pt x="1595259" y="205210"/>
                  </a:cubicBezTo>
                  <a:cubicBezTo>
                    <a:pt x="1589010" y="209785"/>
                    <a:pt x="1581980" y="213133"/>
                    <a:pt x="1574169" y="215476"/>
                  </a:cubicBezTo>
                  <a:cubicBezTo>
                    <a:pt x="1566358" y="217819"/>
                    <a:pt x="1557654" y="219047"/>
                    <a:pt x="1548057" y="219047"/>
                  </a:cubicBezTo>
                  <a:moveTo>
                    <a:pt x="1574615" y="122970"/>
                  </a:moveTo>
                  <a:cubicBezTo>
                    <a:pt x="1573611" y="113931"/>
                    <a:pt x="1570598" y="106790"/>
                    <a:pt x="1565465" y="101433"/>
                  </a:cubicBezTo>
                  <a:cubicBezTo>
                    <a:pt x="1560332" y="96189"/>
                    <a:pt x="1553860" y="93511"/>
                    <a:pt x="1546049" y="93511"/>
                  </a:cubicBezTo>
                  <a:cubicBezTo>
                    <a:pt x="1536787" y="93511"/>
                    <a:pt x="1529757" y="96189"/>
                    <a:pt x="1524847" y="101433"/>
                  </a:cubicBezTo>
                  <a:cubicBezTo>
                    <a:pt x="1519937" y="106790"/>
                    <a:pt x="1516701" y="113931"/>
                    <a:pt x="1515139" y="122970"/>
                  </a:cubicBezTo>
                  <a:lnTo>
                    <a:pt x="1574615" y="122970"/>
                  </a:lnTo>
                  <a:close/>
                </a:path>
              </a:pathLst>
            </a:custGeom>
            <a:solidFill>
              <a:srgbClr val="000000"/>
            </a:solidFill>
            <a:ln w="0" cap="flat">
              <a:noFill/>
              <a:prstDash val="solid"/>
              <a:miter/>
            </a:ln>
          </p:spPr>
          <p:txBody>
            <a:bodyPr rtlCol="0" anchor="ctr"/>
            <a:lstStyle/>
            <a:p>
              <a:endParaRPr lang="en-US" dirty="0"/>
            </a:p>
          </p:txBody>
        </p:sp>
        <p:sp>
          <p:nvSpPr>
            <p:cNvPr id="5" name="Freeform: Shape 4">
              <a:extLst>
                <a:ext uri="{FF2B5EF4-FFF2-40B4-BE49-F238E27FC236}">
                  <a16:creationId xmlns:a16="http://schemas.microsoft.com/office/drawing/2014/main" id="{B8BE45A8-7D4A-2619-F500-657F89EDC4C3}"/>
                </a:ext>
              </a:extLst>
            </p:cNvPr>
            <p:cNvSpPr/>
            <p:nvPr/>
          </p:nvSpPr>
          <p:spPr>
            <a:xfrm>
              <a:off x="828067" y="1270996"/>
              <a:ext cx="211570" cy="522565"/>
            </a:xfrm>
            <a:custGeom>
              <a:avLst/>
              <a:gdLst>
                <a:gd name="connsiteX0" fmla="*/ 0 w 211570"/>
                <a:gd name="connsiteY0" fmla="*/ 0 h 522565"/>
                <a:gd name="connsiteX1" fmla="*/ 0 w 211570"/>
                <a:gd name="connsiteY1" fmla="*/ 368909 h 522565"/>
                <a:gd name="connsiteX2" fmla="*/ 211013 w 211570"/>
                <a:gd name="connsiteY2" fmla="*/ 522566 h 522565"/>
                <a:gd name="connsiteX3" fmla="*/ 211570 w 211570"/>
                <a:gd name="connsiteY3" fmla="*/ 522008 h 522565"/>
                <a:gd name="connsiteX4" fmla="*/ 0 w 211570"/>
                <a:gd name="connsiteY4" fmla="*/ 0 h 522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570" h="522565">
                  <a:moveTo>
                    <a:pt x="0" y="0"/>
                  </a:moveTo>
                  <a:lnTo>
                    <a:pt x="0" y="368909"/>
                  </a:lnTo>
                  <a:lnTo>
                    <a:pt x="211013" y="522566"/>
                  </a:lnTo>
                  <a:cubicBezTo>
                    <a:pt x="211013" y="522566"/>
                    <a:pt x="211459" y="522119"/>
                    <a:pt x="211570" y="522008"/>
                  </a:cubicBezTo>
                  <a:lnTo>
                    <a:pt x="0" y="0"/>
                  </a:lnTo>
                  <a:close/>
                </a:path>
              </a:pathLst>
            </a:custGeom>
            <a:solidFill>
              <a:srgbClr val="93D500"/>
            </a:solidFill>
            <a:ln w="0" cap="flat">
              <a:noFill/>
              <a:prstDash val="solid"/>
              <a:miter/>
            </a:ln>
          </p:spPr>
          <p:txBody>
            <a:bodyPr rtlCol="0" anchor="ctr"/>
            <a:lstStyle/>
            <a:p>
              <a:endParaRPr lang="en-US" dirty="0"/>
            </a:p>
          </p:txBody>
        </p:sp>
        <p:sp>
          <p:nvSpPr>
            <p:cNvPr id="6" name="Freeform: Shape 5">
              <a:extLst>
                <a:ext uri="{FF2B5EF4-FFF2-40B4-BE49-F238E27FC236}">
                  <a16:creationId xmlns:a16="http://schemas.microsoft.com/office/drawing/2014/main" id="{BCAA6B34-39D1-54FF-1A5D-0509D410AD3D}"/>
                </a:ext>
              </a:extLst>
            </p:cNvPr>
            <p:cNvSpPr/>
            <p:nvPr/>
          </p:nvSpPr>
          <p:spPr>
            <a:xfrm>
              <a:off x="616497" y="1270996"/>
              <a:ext cx="211570" cy="522454"/>
            </a:xfrm>
            <a:custGeom>
              <a:avLst/>
              <a:gdLst>
                <a:gd name="connsiteX0" fmla="*/ 0 w 211570"/>
                <a:gd name="connsiteY0" fmla="*/ 521896 h 522454"/>
                <a:gd name="connsiteX1" fmla="*/ 558 w 211570"/>
                <a:gd name="connsiteY1" fmla="*/ 522454 h 522454"/>
                <a:gd name="connsiteX2" fmla="*/ 211570 w 211570"/>
                <a:gd name="connsiteY2" fmla="*/ 368798 h 522454"/>
                <a:gd name="connsiteX3" fmla="*/ 211570 w 211570"/>
                <a:gd name="connsiteY3" fmla="*/ 0 h 522454"/>
                <a:gd name="connsiteX4" fmla="*/ 0 w 211570"/>
                <a:gd name="connsiteY4" fmla="*/ 521896 h 522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570" h="522454">
                  <a:moveTo>
                    <a:pt x="0" y="521896"/>
                  </a:moveTo>
                  <a:cubicBezTo>
                    <a:pt x="0" y="521896"/>
                    <a:pt x="446" y="522343"/>
                    <a:pt x="558" y="522454"/>
                  </a:cubicBezTo>
                  <a:lnTo>
                    <a:pt x="211570" y="368798"/>
                  </a:lnTo>
                  <a:lnTo>
                    <a:pt x="211570" y="0"/>
                  </a:lnTo>
                  <a:lnTo>
                    <a:pt x="0" y="521896"/>
                  </a:lnTo>
                  <a:close/>
                </a:path>
              </a:pathLst>
            </a:custGeom>
            <a:solidFill>
              <a:srgbClr val="000000"/>
            </a:solidFill>
            <a:ln w="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141300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2 - Dark">
    <p:bg>
      <p:bgPr>
        <a:solidFill>
          <a:schemeClr val="tx2"/>
        </a:solidFill>
        <a:effectLst/>
      </p:bgPr>
    </p:bg>
    <p:spTree>
      <p:nvGrpSpPr>
        <p:cNvPr id="1" name=""/>
        <p:cNvGrpSpPr/>
        <p:nvPr/>
      </p:nvGrpSpPr>
      <p:grpSpPr>
        <a:xfrm>
          <a:off x="0" y="0"/>
          <a:ext cx="0" cy="0"/>
          <a:chOff x="0" y="0"/>
          <a:chExt cx="0" cy="0"/>
        </a:xfrm>
      </p:grpSpPr>
      <p:sp>
        <p:nvSpPr>
          <p:cNvPr id="12" name="Text Placeholder 14">
            <a:extLst>
              <a:ext uri="{FF2B5EF4-FFF2-40B4-BE49-F238E27FC236}">
                <a16:creationId xmlns:a16="http://schemas.microsoft.com/office/drawing/2014/main" id="{DE3CA1B0-623A-9E3F-9B2B-5EFA479D7D93}"/>
              </a:ext>
            </a:extLst>
          </p:cNvPr>
          <p:cNvSpPr>
            <a:spLocks noGrp="1"/>
          </p:cNvSpPr>
          <p:nvPr>
            <p:ph type="body" sz="quarter" idx="10" hasCustomPrompt="1"/>
          </p:nvPr>
        </p:nvSpPr>
        <p:spPr>
          <a:xfrm>
            <a:off x="938562" y="2453998"/>
            <a:ext cx="7552295" cy="2000804"/>
          </a:xfrm>
        </p:spPr>
        <p:txBody>
          <a:bodyPr wrap="square" anchor="t">
            <a:noAutofit/>
          </a:bodyPr>
          <a:lstStyle>
            <a:lvl1pPr>
              <a:lnSpc>
                <a:spcPct val="90000"/>
              </a:lnSpc>
              <a:spcAft>
                <a:spcPts val="0"/>
              </a:spcAft>
              <a:defRPr sz="7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a:t>
            </a:r>
            <a:br>
              <a:rPr lang="en-US"/>
            </a:br>
            <a:r>
              <a:rPr lang="en-US"/>
              <a:t>Title Here</a:t>
            </a:r>
          </a:p>
        </p:txBody>
      </p:sp>
      <p:sp>
        <p:nvSpPr>
          <p:cNvPr id="13" name="Text Placeholder 16">
            <a:extLst>
              <a:ext uri="{FF2B5EF4-FFF2-40B4-BE49-F238E27FC236}">
                <a16:creationId xmlns:a16="http://schemas.microsoft.com/office/drawing/2014/main" id="{353296DA-3EB1-2F89-5D2A-CD471FFD68DE}"/>
              </a:ext>
            </a:extLst>
          </p:cNvPr>
          <p:cNvSpPr>
            <a:spLocks noGrp="1"/>
          </p:cNvSpPr>
          <p:nvPr>
            <p:ph type="body" sz="quarter" idx="12" hasCustomPrompt="1"/>
          </p:nvPr>
        </p:nvSpPr>
        <p:spPr>
          <a:xfrm>
            <a:off x="938562" y="5956756"/>
            <a:ext cx="7552345" cy="215444"/>
          </a:xfrm>
        </p:spPr>
        <p:txBody>
          <a:bodyPr wrap="square" anchor="b">
            <a:noAutofit/>
          </a:bodyPr>
          <a:lstStyle>
            <a:lvl1pPr>
              <a:spcAft>
                <a:spcPts val="0"/>
              </a:spcAft>
              <a:defRPr sz="1400" b="1" cap="all" spc="300" baseline="0">
                <a:solidFill>
                  <a:schemeClr val="accent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dustry Name</a:t>
            </a:r>
          </a:p>
        </p:txBody>
      </p:sp>
      <p:pic>
        <p:nvPicPr>
          <p:cNvPr id="8" name="Graphic 7">
            <a:extLst>
              <a:ext uri="{FF2B5EF4-FFF2-40B4-BE49-F238E27FC236}">
                <a16:creationId xmlns:a16="http://schemas.microsoft.com/office/drawing/2014/main" id="{3AB37842-EC51-8631-1C75-0B1DCCBB602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2569"/>
            <a:ext cx="1799617" cy="457200"/>
          </a:xfrm>
          <a:prstGeom prst="rect">
            <a:avLst/>
          </a:prstGeom>
        </p:spPr>
      </p:pic>
      <p:sp>
        <p:nvSpPr>
          <p:cNvPr id="16" name="Text Placeholder 16">
            <a:extLst>
              <a:ext uri="{FF2B5EF4-FFF2-40B4-BE49-F238E27FC236}">
                <a16:creationId xmlns:a16="http://schemas.microsoft.com/office/drawing/2014/main" id="{73ECA860-D36F-D1ED-E741-2F6625B97D3D}"/>
              </a:ext>
            </a:extLst>
          </p:cNvPr>
          <p:cNvSpPr>
            <a:spLocks noGrp="1"/>
          </p:cNvSpPr>
          <p:nvPr>
            <p:ph type="body" sz="quarter" idx="11" hasCustomPrompt="1"/>
          </p:nvPr>
        </p:nvSpPr>
        <p:spPr>
          <a:xfrm>
            <a:off x="938562" y="4942006"/>
            <a:ext cx="7552295" cy="738664"/>
          </a:xfrm>
        </p:spPr>
        <p:txBody>
          <a:bodyPr anchor="b">
            <a:noAutofit/>
          </a:bodyPr>
          <a:lstStyle>
            <a:lvl1pPr algn="l">
              <a:spcAft>
                <a:spcPts val="0"/>
              </a:spcAft>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grpSp>
        <p:nvGrpSpPr>
          <p:cNvPr id="4" name="Group 3">
            <a:extLst>
              <a:ext uri="{FF2B5EF4-FFF2-40B4-BE49-F238E27FC236}">
                <a16:creationId xmlns:a16="http://schemas.microsoft.com/office/drawing/2014/main" id="{F1D1B2D9-69D8-BCE4-17C2-3031E4E8385D}"/>
              </a:ext>
            </a:extLst>
          </p:cNvPr>
          <p:cNvGrpSpPr/>
          <p:nvPr userDrawn="1"/>
        </p:nvGrpSpPr>
        <p:grpSpPr>
          <a:xfrm>
            <a:off x="938562" y="1983579"/>
            <a:ext cx="7552295" cy="0"/>
            <a:chOff x="938562" y="1983579"/>
            <a:chExt cx="7552295" cy="0"/>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flipH="1">
              <a:off x="938562" y="1983579"/>
              <a:ext cx="7552295"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1543059" y="1379082"/>
              <a:ext cx="0" cy="1208993"/>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6" name="Graphic 5">
            <a:extLst>
              <a:ext uri="{FF2B5EF4-FFF2-40B4-BE49-F238E27FC236}">
                <a16:creationId xmlns:a16="http://schemas.microsoft.com/office/drawing/2014/main" id="{5A739C11-B85C-1E6D-6FEF-0C04AE381823}"/>
              </a:ext>
            </a:extLst>
          </p:cNvPr>
          <p:cNvPicPr/>
          <p:nvPr userDrawn="1"/>
        </p:nvPicPr>
        <p:blipFill rotWithShape="1">
          <a:blip r:embed="rId4">
            <a:extLst>
              <a:ext uri="{96DAC541-7B7A-43D3-8B79-37D633B846F1}">
                <asvg:svgBlip xmlns:asvg="http://schemas.microsoft.com/office/drawing/2016/SVG/main" r:embed="rId5"/>
              </a:ext>
            </a:extLst>
          </a:blip>
          <a:srcRect t="2988" b="2988"/>
          <a:stretch/>
        </p:blipFill>
        <p:spPr>
          <a:xfrm>
            <a:off x="9566275" y="0"/>
            <a:ext cx="2260386" cy="6858000"/>
          </a:xfrm>
          <a:prstGeom prst="rect">
            <a:avLst/>
          </a:prstGeom>
        </p:spPr>
      </p:pic>
    </p:spTree>
    <p:extLst>
      <p:ext uri="{BB962C8B-B14F-4D97-AF65-F5344CB8AC3E}">
        <p14:creationId xmlns:p14="http://schemas.microsoft.com/office/powerpoint/2010/main" val="13233558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1 with horizontal image - Dark ">
    <p:bg>
      <p:bgPr>
        <a:solidFill>
          <a:schemeClr val="tx2">
            <a:lumMod val="90000"/>
            <a:lumOff val="10000"/>
          </a:schemeClr>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106BDF57-DECC-8B8C-6F4A-719D8D26FC25}"/>
              </a:ext>
            </a:extLst>
          </p:cNvPr>
          <p:cNvSpPr>
            <a:spLocks noGrp="1"/>
          </p:cNvSpPr>
          <p:nvPr>
            <p:ph type="pic" sz="quarter" idx="16" hasCustomPrompt="1"/>
          </p:nvPr>
        </p:nvSpPr>
        <p:spPr>
          <a:xfrm>
            <a:off x="1" y="0"/>
            <a:ext cx="12192000" cy="2882899"/>
          </a:xfrm>
          <a:solidFill>
            <a:schemeClr val="bg1">
              <a:lumMod val="75000"/>
            </a:schemeClr>
          </a:solidFill>
        </p:spPr>
        <p:txBody>
          <a:bodyPr anchor="ctr"/>
          <a:lstStyle>
            <a:lvl1pPr algn="ctr">
              <a:defRPr sz="1000" b="0"/>
            </a:lvl1pPr>
          </a:lstStyle>
          <a:p>
            <a:r>
              <a:rPr lang="en-US" dirty="0"/>
              <a:t>Insert Photo</a:t>
            </a:r>
          </a:p>
        </p:txBody>
      </p:sp>
      <p:sp>
        <p:nvSpPr>
          <p:cNvPr id="2" name="Rectangle 1">
            <a:extLst>
              <a:ext uri="{FF2B5EF4-FFF2-40B4-BE49-F238E27FC236}">
                <a16:creationId xmlns:a16="http://schemas.microsoft.com/office/drawing/2014/main" id="{0C1A42ED-98C2-0925-4548-9A57C0E8C3BF}"/>
              </a:ext>
            </a:extLst>
          </p:cNvPr>
          <p:cNvSpPr/>
          <p:nvPr/>
        </p:nvSpPr>
        <p:spPr>
          <a:xfrm>
            <a:off x="0" y="2882900"/>
            <a:ext cx="12192000" cy="39751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a:extLst>
              <a:ext uri="{FF2B5EF4-FFF2-40B4-BE49-F238E27FC236}">
                <a16:creationId xmlns:a16="http://schemas.microsoft.com/office/drawing/2014/main" id="{98DC4B6A-4CBA-E0F1-E91D-A6319EE1FAC8}"/>
              </a:ext>
            </a:extLst>
          </p:cNvPr>
          <p:cNvCxnSpPr>
            <a:cxnSpLocks/>
          </p:cNvCxnSpPr>
          <p:nvPr/>
        </p:nvCxnSpPr>
        <p:spPr>
          <a:xfrm>
            <a:off x="609600" y="5325247"/>
            <a:ext cx="10972800" cy="0"/>
          </a:xfrm>
          <a:prstGeom prst="line">
            <a:avLst/>
          </a:prstGeom>
          <a:ln w="190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9CB1E87D-CF80-16E1-E2DA-D366BCB64A7C}"/>
              </a:ext>
            </a:extLst>
          </p:cNvPr>
          <p:cNvSpPr>
            <a:spLocks noGrp="1"/>
          </p:cNvSpPr>
          <p:nvPr>
            <p:ph type="body" sz="quarter" idx="10" hasCustomPrompt="1"/>
          </p:nvPr>
        </p:nvSpPr>
        <p:spPr>
          <a:xfrm>
            <a:off x="609600" y="3517900"/>
            <a:ext cx="8102600" cy="1505797"/>
          </a:xfrm>
        </p:spPr>
        <p:txBody>
          <a:bodyPr wrap="square" anchor="b">
            <a:noAutofit/>
          </a:bodyPr>
          <a:lstStyle>
            <a:lvl1pPr>
              <a:lnSpc>
                <a:spcPct val="80000"/>
              </a:lnSpc>
              <a:spcAft>
                <a:spcPts val="0"/>
              </a:spcAft>
              <a:defRPr sz="6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ation title extends up to 2 lines</a:t>
            </a:r>
          </a:p>
        </p:txBody>
      </p:sp>
      <p:sp>
        <p:nvSpPr>
          <p:cNvPr id="18" name="Text Placeholder 16">
            <a:extLst>
              <a:ext uri="{FF2B5EF4-FFF2-40B4-BE49-F238E27FC236}">
                <a16:creationId xmlns:a16="http://schemas.microsoft.com/office/drawing/2014/main" id="{F2A9289B-23E0-657B-DF89-7F9B74F7660F}"/>
              </a:ext>
            </a:extLst>
          </p:cNvPr>
          <p:cNvSpPr>
            <a:spLocks noGrp="1"/>
          </p:cNvSpPr>
          <p:nvPr>
            <p:ph type="body" sz="quarter" idx="12" hasCustomPrompt="1"/>
          </p:nvPr>
        </p:nvSpPr>
        <p:spPr>
          <a:xfrm>
            <a:off x="9113520" y="3530600"/>
            <a:ext cx="2468880" cy="223908"/>
          </a:xfrm>
        </p:spPr>
        <p:txBody>
          <a:bodyPr wrap="square">
            <a:noAutofit/>
          </a:bodyPr>
          <a:lstStyle>
            <a:lvl1pPr algn="r">
              <a:spcAft>
                <a:spcPts val="0"/>
              </a:spcAft>
              <a:defRPr sz="1400" b="1" cap="all" spc="30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2" name="Graphic 31">
            <a:extLst>
              <a:ext uri="{FF2B5EF4-FFF2-40B4-BE49-F238E27FC236}">
                <a16:creationId xmlns:a16="http://schemas.microsoft.com/office/drawing/2014/main" id="{63BBE4A5-01FB-BD6C-513D-9B06278F44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48012" y="6090476"/>
            <a:ext cx="1834388" cy="210312"/>
          </a:xfrm>
          <a:prstGeom prst="rect">
            <a:avLst/>
          </a:prstGeom>
        </p:spPr>
      </p:pic>
      <p:sp>
        <p:nvSpPr>
          <p:cNvPr id="6" name="Text Placeholder 33">
            <a:extLst>
              <a:ext uri="{FF2B5EF4-FFF2-40B4-BE49-F238E27FC236}">
                <a16:creationId xmlns:a16="http://schemas.microsoft.com/office/drawing/2014/main" id="{475AB097-4F05-F770-F35D-E9419CED53AF}"/>
              </a:ext>
            </a:extLst>
          </p:cNvPr>
          <p:cNvSpPr>
            <a:spLocks noGrp="1"/>
          </p:cNvSpPr>
          <p:nvPr>
            <p:ph type="body" sz="quarter" idx="17" hasCustomPrompt="1"/>
          </p:nvPr>
        </p:nvSpPr>
        <p:spPr>
          <a:xfrm>
            <a:off x="600808" y="5617063"/>
            <a:ext cx="5387082" cy="307777"/>
          </a:xfrm>
        </p:spPr>
        <p:txBody>
          <a:bodyPr wrap="square">
            <a:noAutofit/>
          </a:bodyPr>
          <a:lstStyle>
            <a:lvl1pPr marL="0" indent="0">
              <a:spcAft>
                <a:spcPts val="300"/>
              </a:spcAft>
              <a:buFont typeface="Arial" panose="020B0604020202020204" pitchFamily="34" charset="0"/>
              <a:buNone/>
              <a:defRPr b="1">
                <a:solidFill>
                  <a:schemeClr val="accent1"/>
                </a:solidFill>
                <a:latin typeface="+mj-lt"/>
              </a:defRPr>
            </a:lvl1pPr>
            <a:lvl2pPr marL="0" indent="0">
              <a:spcAft>
                <a:spcPts val="300"/>
              </a:spcAft>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s Name</a:t>
            </a:r>
          </a:p>
        </p:txBody>
      </p:sp>
      <p:sp>
        <p:nvSpPr>
          <p:cNvPr id="7" name="Text Placeholder 33">
            <a:extLst>
              <a:ext uri="{FF2B5EF4-FFF2-40B4-BE49-F238E27FC236}">
                <a16:creationId xmlns:a16="http://schemas.microsoft.com/office/drawing/2014/main" id="{521D3A68-E6AF-97E4-C9F7-23113EEF10B8}"/>
              </a:ext>
            </a:extLst>
          </p:cNvPr>
          <p:cNvSpPr>
            <a:spLocks noGrp="1"/>
          </p:cNvSpPr>
          <p:nvPr>
            <p:ph type="body" sz="quarter" idx="18" hasCustomPrompt="1"/>
          </p:nvPr>
        </p:nvSpPr>
        <p:spPr>
          <a:xfrm>
            <a:off x="611556" y="5957352"/>
            <a:ext cx="5387082" cy="276999"/>
          </a:xfrm>
        </p:spPr>
        <p:txBody>
          <a:bodyPr wrap="square">
            <a:noAutofit/>
          </a:bodyPr>
          <a:lstStyle>
            <a:lvl1pPr marL="0" indent="0">
              <a:spcAft>
                <a:spcPts val="300"/>
              </a:spcAft>
              <a:buFont typeface="Arial" panose="020B0604020202020204" pitchFamily="34" charset="0"/>
              <a:buNone/>
              <a:defRPr sz="1800" b="0">
                <a:solidFill>
                  <a:schemeClr val="bg1"/>
                </a:solidFill>
                <a:latin typeface="+mn-lt"/>
              </a:defRPr>
            </a:lvl1pPr>
            <a:lvl2pPr marL="0" indent="0">
              <a:spcAft>
                <a:spcPts val="300"/>
              </a:spcAft>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Position</a:t>
            </a:r>
          </a:p>
        </p:txBody>
      </p:sp>
      <p:grpSp>
        <p:nvGrpSpPr>
          <p:cNvPr id="3" name="Graphic 3">
            <a:extLst>
              <a:ext uri="{FF2B5EF4-FFF2-40B4-BE49-F238E27FC236}">
                <a16:creationId xmlns:a16="http://schemas.microsoft.com/office/drawing/2014/main" id="{E5FB8962-920A-B245-9219-020C4F3680DC}"/>
              </a:ext>
            </a:extLst>
          </p:cNvPr>
          <p:cNvGrpSpPr>
            <a:grpSpLocks noChangeAspect="1"/>
          </p:cNvGrpSpPr>
          <p:nvPr userDrawn="1"/>
        </p:nvGrpSpPr>
        <p:grpSpPr>
          <a:xfrm>
            <a:off x="609600" y="557212"/>
            <a:ext cx="1734668" cy="438912"/>
            <a:chOff x="609600" y="557212"/>
            <a:chExt cx="2667656" cy="674980"/>
          </a:xfrm>
        </p:grpSpPr>
        <p:sp>
          <p:nvSpPr>
            <p:cNvPr id="4" name="Freeform: Shape 3">
              <a:extLst>
                <a:ext uri="{FF2B5EF4-FFF2-40B4-BE49-F238E27FC236}">
                  <a16:creationId xmlns:a16="http://schemas.microsoft.com/office/drawing/2014/main" id="{2B4BBB7B-4AD7-5D5E-FE88-2CB32AA35640}"/>
                </a:ext>
              </a:extLst>
            </p:cNvPr>
            <p:cNvSpPr/>
            <p:nvPr/>
          </p:nvSpPr>
          <p:spPr>
            <a:xfrm>
              <a:off x="1180659" y="790421"/>
              <a:ext cx="2096597" cy="283512"/>
            </a:xfrm>
            <a:custGeom>
              <a:avLst/>
              <a:gdLst>
                <a:gd name="connsiteX0" fmla="*/ 129433 w 2096597"/>
                <a:gd name="connsiteY0" fmla="*/ 283512 h 283512"/>
                <a:gd name="connsiteX1" fmla="*/ 76968 w 2096597"/>
                <a:gd name="connsiteY1" fmla="*/ 273567 h 283512"/>
                <a:gd name="connsiteX2" fmla="*/ 36610 w 2096597"/>
                <a:gd name="connsiteY2" fmla="*/ 245461 h 283512"/>
                <a:gd name="connsiteX3" fmla="*/ 9369 w 2096597"/>
                <a:gd name="connsiteY3" fmla="*/ 199770 h 283512"/>
                <a:gd name="connsiteX4" fmla="*/ 0 w 2096597"/>
                <a:gd name="connsiteY4" fmla="*/ 142260 h 283512"/>
                <a:gd name="connsiteX5" fmla="*/ 10522 w 2096597"/>
                <a:gd name="connsiteY5" fmla="*/ 82733 h 283512"/>
                <a:gd name="connsiteX6" fmla="*/ 40358 w 2096597"/>
                <a:gd name="connsiteY6" fmla="*/ 36178 h 283512"/>
                <a:gd name="connsiteX7" fmla="*/ 80715 w 2096597"/>
                <a:gd name="connsiteY7" fmla="*/ 9513 h 283512"/>
                <a:gd name="connsiteX8" fmla="*/ 133612 w 2096597"/>
                <a:gd name="connsiteY8" fmla="*/ 0 h 283512"/>
                <a:gd name="connsiteX9" fmla="*/ 180744 w 2096597"/>
                <a:gd name="connsiteY9" fmla="*/ 6630 h 283512"/>
                <a:gd name="connsiteX10" fmla="*/ 216922 w 2096597"/>
                <a:gd name="connsiteY10" fmla="*/ 25656 h 283512"/>
                <a:gd name="connsiteX11" fmla="*/ 241425 w 2096597"/>
                <a:gd name="connsiteY11" fmla="*/ 55492 h 283512"/>
                <a:gd name="connsiteX12" fmla="*/ 254109 w 2096597"/>
                <a:gd name="connsiteY12" fmla="*/ 94264 h 283512"/>
                <a:gd name="connsiteX13" fmla="*/ 188672 w 2096597"/>
                <a:gd name="connsiteY13" fmla="*/ 94264 h 283512"/>
                <a:gd name="connsiteX14" fmla="*/ 171520 w 2096597"/>
                <a:gd name="connsiteY14" fmla="*/ 66446 h 283512"/>
                <a:gd name="connsiteX15" fmla="*/ 135774 w 2096597"/>
                <a:gd name="connsiteY15" fmla="*/ 55348 h 283512"/>
                <a:gd name="connsiteX16" fmla="*/ 106227 w 2096597"/>
                <a:gd name="connsiteY16" fmla="*/ 61978 h 283512"/>
                <a:gd name="connsiteX17" fmla="*/ 85039 w 2096597"/>
                <a:gd name="connsiteY17" fmla="*/ 80283 h 283512"/>
                <a:gd name="connsiteX18" fmla="*/ 72500 w 2096597"/>
                <a:gd name="connsiteY18" fmla="*/ 107668 h 283512"/>
                <a:gd name="connsiteX19" fmla="*/ 68320 w 2096597"/>
                <a:gd name="connsiteY19" fmla="*/ 142116 h 283512"/>
                <a:gd name="connsiteX20" fmla="*/ 73076 w 2096597"/>
                <a:gd name="connsiteY20" fmla="*/ 176709 h 283512"/>
                <a:gd name="connsiteX21" fmla="*/ 86625 w 2096597"/>
                <a:gd name="connsiteY21" fmla="*/ 204238 h 283512"/>
                <a:gd name="connsiteX22" fmla="*/ 108101 w 2096597"/>
                <a:gd name="connsiteY22" fmla="*/ 222255 h 283512"/>
                <a:gd name="connsiteX23" fmla="*/ 136783 w 2096597"/>
                <a:gd name="connsiteY23" fmla="*/ 228741 h 283512"/>
                <a:gd name="connsiteX24" fmla="*/ 160566 w 2096597"/>
                <a:gd name="connsiteY24" fmla="*/ 224705 h 283512"/>
                <a:gd name="connsiteX25" fmla="*/ 178438 w 2096597"/>
                <a:gd name="connsiteY25" fmla="*/ 214039 h 283512"/>
                <a:gd name="connsiteX26" fmla="*/ 190257 w 2096597"/>
                <a:gd name="connsiteY26" fmla="*/ 198761 h 283512"/>
                <a:gd name="connsiteX27" fmla="*/ 195734 w 2096597"/>
                <a:gd name="connsiteY27" fmla="*/ 181033 h 283512"/>
                <a:gd name="connsiteX28" fmla="*/ 195734 w 2096597"/>
                <a:gd name="connsiteY28" fmla="*/ 180312 h 283512"/>
                <a:gd name="connsiteX29" fmla="*/ 144711 w 2096597"/>
                <a:gd name="connsiteY29" fmla="*/ 180312 h 283512"/>
                <a:gd name="connsiteX30" fmla="*/ 144711 w 2096597"/>
                <a:gd name="connsiteY30" fmla="*/ 130874 h 283512"/>
                <a:gd name="connsiteX31" fmla="*/ 258144 w 2096597"/>
                <a:gd name="connsiteY31" fmla="*/ 130874 h 283512"/>
                <a:gd name="connsiteX32" fmla="*/ 258144 w 2096597"/>
                <a:gd name="connsiteY32" fmla="*/ 277026 h 283512"/>
                <a:gd name="connsiteX33" fmla="*/ 211013 w 2096597"/>
                <a:gd name="connsiteY33" fmla="*/ 277026 h 283512"/>
                <a:gd name="connsiteX34" fmla="*/ 207265 w 2096597"/>
                <a:gd name="connsiteY34" fmla="*/ 244308 h 283512"/>
                <a:gd name="connsiteX35" fmla="*/ 206544 w 2096597"/>
                <a:gd name="connsiteY35" fmla="*/ 244308 h 283512"/>
                <a:gd name="connsiteX36" fmla="*/ 173682 w 2096597"/>
                <a:gd name="connsiteY36" fmla="*/ 274143 h 283512"/>
                <a:gd name="connsiteX37" fmla="*/ 129288 w 2096597"/>
                <a:gd name="connsiteY37" fmla="*/ 283080 h 283512"/>
                <a:gd name="connsiteX38" fmla="*/ 358029 w 2096597"/>
                <a:gd name="connsiteY38" fmla="*/ 282647 h 283512"/>
                <a:gd name="connsiteX39" fmla="*/ 306862 w 2096597"/>
                <a:gd name="connsiteY39" fmla="*/ 262613 h 283512"/>
                <a:gd name="connsiteX40" fmla="*/ 289566 w 2096597"/>
                <a:gd name="connsiteY40" fmla="*/ 209859 h 283512"/>
                <a:gd name="connsiteX41" fmla="*/ 289566 w 2096597"/>
                <a:gd name="connsiteY41" fmla="*/ 82012 h 283512"/>
                <a:gd name="connsiteX42" fmla="*/ 351255 w 2096597"/>
                <a:gd name="connsiteY42" fmla="*/ 82012 h 283512"/>
                <a:gd name="connsiteX43" fmla="*/ 351255 w 2096597"/>
                <a:gd name="connsiteY43" fmla="*/ 197032 h 283512"/>
                <a:gd name="connsiteX44" fmla="*/ 358462 w 2096597"/>
                <a:gd name="connsiteY44" fmla="*/ 221534 h 283512"/>
                <a:gd name="connsiteX45" fmla="*/ 380514 w 2096597"/>
                <a:gd name="connsiteY45" fmla="*/ 230038 h 283512"/>
                <a:gd name="connsiteX46" fmla="*/ 405594 w 2096597"/>
                <a:gd name="connsiteY46" fmla="*/ 219228 h 283512"/>
                <a:gd name="connsiteX47" fmla="*/ 414674 w 2096597"/>
                <a:gd name="connsiteY47" fmla="*/ 190834 h 283512"/>
                <a:gd name="connsiteX48" fmla="*/ 414674 w 2096597"/>
                <a:gd name="connsiteY48" fmla="*/ 82012 h 283512"/>
                <a:gd name="connsiteX49" fmla="*/ 476652 w 2096597"/>
                <a:gd name="connsiteY49" fmla="*/ 82012 h 283512"/>
                <a:gd name="connsiteX50" fmla="*/ 476652 w 2096597"/>
                <a:gd name="connsiteY50" fmla="*/ 276882 h 283512"/>
                <a:gd name="connsiteX51" fmla="*/ 417269 w 2096597"/>
                <a:gd name="connsiteY51" fmla="*/ 276882 h 283512"/>
                <a:gd name="connsiteX52" fmla="*/ 417269 w 2096597"/>
                <a:gd name="connsiteY52" fmla="*/ 252956 h 283512"/>
                <a:gd name="connsiteX53" fmla="*/ 416116 w 2096597"/>
                <a:gd name="connsiteY53" fmla="*/ 252956 h 283512"/>
                <a:gd name="connsiteX54" fmla="*/ 391901 w 2096597"/>
                <a:gd name="connsiteY54" fmla="*/ 275008 h 283512"/>
                <a:gd name="connsiteX55" fmla="*/ 357885 w 2096597"/>
                <a:gd name="connsiteY55" fmla="*/ 282647 h 283512"/>
                <a:gd name="connsiteX56" fmla="*/ 511965 w 2096597"/>
                <a:gd name="connsiteY56" fmla="*/ 2162 h 283512"/>
                <a:gd name="connsiteX57" fmla="*/ 573943 w 2096597"/>
                <a:gd name="connsiteY57" fmla="*/ 2162 h 283512"/>
                <a:gd name="connsiteX58" fmla="*/ 573943 w 2096597"/>
                <a:gd name="connsiteY58" fmla="*/ 55059 h 283512"/>
                <a:gd name="connsiteX59" fmla="*/ 511965 w 2096597"/>
                <a:gd name="connsiteY59" fmla="*/ 55059 h 283512"/>
                <a:gd name="connsiteX60" fmla="*/ 511965 w 2096597"/>
                <a:gd name="connsiteY60" fmla="*/ 2162 h 283512"/>
                <a:gd name="connsiteX61" fmla="*/ 511965 w 2096597"/>
                <a:gd name="connsiteY61" fmla="*/ 82012 h 283512"/>
                <a:gd name="connsiteX62" fmla="*/ 573943 w 2096597"/>
                <a:gd name="connsiteY62" fmla="*/ 82012 h 283512"/>
                <a:gd name="connsiteX63" fmla="*/ 573943 w 2096597"/>
                <a:gd name="connsiteY63" fmla="*/ 276882 h 283512"/>
                <a:gd name="connsiteX64" fmla="*/ 511965 w 2096597"/>
                <a:gd name="connsiteY64" fmla="*/ 276882 h 283512"/>
                <a:gd name="connsiteX65" fmla="*/ 511965 w 2096597"/>
                <a:gd name="connsiteY65" fmla="*/ 82012 h 283512"/>
                <a:gd name="connsiteX66" fmla="*/ 685935 w 2096597"/>
                <a:gd name="connsiteY66" fmla="*/ 282936 h 283512"/>
                <a:gd name="connsiteX67" fmla="*/ 651631 w 2096597"/>
                <a:gd name="connsiteY67" fmla="*/ 275873 h 283512"/>
                <a:gd name="connsiteX68" fmla="*/ 624678 w 2096597"/>
                <a:gd name="connsiteY68" fmla="*/ 255550 h 283512"/>
                <a:gd name="connsiteX69" fmla="*/ 606949 w 2096597"/>
                <a:gd name="connsiteY69" fmla="*/ 222976 h 283512"/>
                <a:gd name="connsiteX70" fmla="*/ 600607 w 2096597"/>
                <a:gd name="connsiteY70" fmla="*/ 179447 h 283512"/>
                <a:gd name="connsiteX71" fmla="*/ 606949 w 2096597"/>
                <a:gd name="connsiteY71" fmla="*/ 137504 h 283512"/>
                <a:gd name="connsiteX72" fmla="*/ 624390 w 2096597"/>
                <a:gd name="connsiteY72" fmla="*/ 104930 h 283512"/>
                <a:gd name="connsiteX73" fmla="*/ 651199 w 2096597"/>
                <a:gd name="connsiteY73" fmla="*/ 83742 h 283512"/>
                <a:gd name="connsiteX74" fmla="*/ 685791 w 2096597"/>
                <a:gd name="connsiteY74" fmla="*/ 76103 h 283512"/>
                <a:gd name="connsiteX75" fmla="*/ 718942 w 2096597"/>
                <a:gd name="connsiteY75" fmla="*/ 83886 h 283512"/>
                <a:gd name="connsiteX76" fmla="*/ 740273 w 2096597"/>
                <a:gd name="connsiteY76" fmla="*/ 103921 h 283512"/>
                <a:gd name="connsiteX77" fmla="*/ 741426 w 2096597"/>
                <a:gd name="connsiteY77" fmla="*/ 103921 h 283512"/>
                <a:gd name="connsiteX78" fmla="*/ 741426 w 2096597"/>
                <a:gd name="connsiteY78" fmla="*/ 1874 h 283512"/>
                <a:gd name="connsiteX79" fmla="*/ 803404 w 2096597"/>
                <a:gd name="connsiteY79" fmla="*/ 1874 h 283512"/>
                <a:gd name="connsiteX80" fmla="*/ 803404 w 2096597"/>
                <a:gd name="connsiteY80" fmla="*/ 276738 h 283512"/>
                <a:gd name="connsiteX81" fmla="*/ 744021 w 2096597"/>
                <a:gd name="connsiteY81" fmla="*/ 276738 h 283512"/>
                <a:gd name="connsiteX82" fmla="*/ 744021 w 2096597"/>
                <a:gd name="connsiteY82" fmla="*/ 250505 h 283512"/>
                <a:gd name="connsiteX83" fmla="*/ 743300 w 2096597"/>
                <a:gd name="connsiteY83" fmla="*/ 250505 h 283512"/>
                <a:gd name="connsiteX84" fmla="*/ 719951 w 2096597"/>
                <a:gd name="connsiteY84" fmla="*/ 274287 h 283512"/>
                <a:gd name="connsiteX85" fmla="*/ 685935 w 2096597"/>
                <a:gd name="connsiteY85" fmla="*/ 282791 h 283512"/>
                <a:gd name="connsiteX86" fmla="*/ 701934 w 2096597"/>
                <a:gd name="connsiteY86" fmla="*/ 233642 h 283512"/>
                <a:gd name="connsiteX87" fmla="*/ 732202 w 2096597"/>
                <a:gd name="connsiteY87" fmla="*/ 218363 h 283512"/>
                <a:gd name="connsiteX88" fmla="*/ 743012 w 2096597"/>
                <a:gd name="connsiteY88" fmla="*/ 179159 h 283512"/>
                <a:gd name="connsiteX89" fmla="*/ 740562 w 2096597"/>
                <a:gd name="connsiteY89" fmla="*/ 156530 h 283512"/>
                <a:gd name="connsiteX90" fmla="*/ 732923 w 2096597"/>
                <a:gd name="connsiteY90" fmla="*/ 138657 h 283512"/>
                <a:gd name="connsiteX91" fmla="*/ 720383 w 2096597"/>
                <a:gd name="connsiteY91" fmla="*/ 126982 h 283512"/>
                <a:gd name="connsiteX92" fmla="*/ 702654 w 2096597"/>
                <a:gd name="connsiteY92" fmla="*/ 122802 h 283512"/>
                <a:gd name="connsiteX93" fmla="*/ 673683 w 2096597"/>
                <a:gd name="connsiteY93" fmla="*/ 138225 h 283512"/>
                <a:gd name="connsiteX94" fmla="*/ 663450 w 2096597"/>
                <a:gd name="connsiteY94" fmla="*/ 178438 h 283512"/>
                <a:gd name="connsiteX95" fmla="*/ 673539 w 2096597"/>
                <a:gd name="connsiteY95" fmla="*/ 218796 h 283512"/>
                <a:gd name="connsiteX96" fmla="*/ 701934 w 2096597"/>
                <a:gd name="connsiteY96" fmla="*/ 233642 h 283512"/>
                <a:gd name="connsiteX97" fmla="*/ 930242 w 2096597"/>
                <a:gd name="connsiteY97" fmla="*/ 282359 h 283512"/>
                <a:gd name="connsiteX98" fmla="*/ 886858 w 2096597"/>
                <a:gd name="connsiteY98" fmla="*/ 274576 h 283512"/>
                <a:gd name="connsiteX99" fmla="*/ 854139 w 2096597"/>
                <a:gd name="connsiteY99" fmla="*/ 252811 h 283512"/>
                <a:gd name="connsiteX100" fmla="*/ 833528 w 2096597"/>
                <a:gd name="connsiteY100" fmla="*/ 219949 h 283512"/>
                <a:gd name="connsiteX101" fmla="*/ 826322 w 2096597"/>
                <a:gd name="connsiteY101" fmla="*/ 178871 h 283512"/>
                <a:gd name="connsiteX102" fmla="*/ 833528 w 2096597"/>
                <a:gd name="connsiteY102" fmla="*/ 138369 h 283512"/>
                <a:gd name="connsiteX103" fmla="*/ 854139 w 2096597"/>
                <a:gd name="connsiteY103" fmla="*/ 105650 h 283512"/>
                <a:gd name="connsiteX104" fmla="*/ 885705 w 2096597"/>
                <a:gd name="connsiteY104" fmla="*/ 84030 h 283512"/>
                <a:gd name="connsiteX105" fmla="*/ 926495 w 2096597"/>
                <a:gd name="connsiteY105" fmla="*/ 76247 h 283512"/>
                <a:gd name="connsiteX106" fmla="*/ 963970 w 2096597"/>
                <a:gd name="connsiteY106" fmla="*/ 82733 h 283512"/>
                <a:gd name="connsiteX107" fmla="*/ 993085 w 2096597"/>
                <a:gd name="connsiteY107" fmla="*/ 100606 h 283512"/>
                <a:gd name="connsiteX108" fmla="*/ 1019173 w 2096597"/>
                <a:gd name="connsiteY108" fmla="*/ 141107 h 283512"/>
                <a:gd name="connsiteX109" fmla="*/ 1027389 w 2096597"/>
                <a:gd name="connsiteY109" fmla="*/ 195302 h 283512"/>
                <a:gd name="connsiteX110" fmla="*/ 887290 w 2096597"/>
                <a:gd name="connsiteY110" fmla="*/ 195302 h 283512"/>
                <a:gd name="connsiteX111" fmla="*/ 900983 w 2096597"/>
                <a:gd name="connsiteY111" fmla="*/ 226579 h 283512"/>
                <a:gd name="connsiteX112" fmla="*/ 931107 w 2096597"/>
                <a:gd name="connsiteY112" fmla="*/ 237966 h 283512"/>
                <a:gd name="connsiteX113" fmla="*/ 951286 w 2096597"/>
                <a:gd name="connsiteY113" fmla="*/ 232777 h 283512"/>
                <a:gd name="connsiteX114" fmla="*/ 963393 w 2096597"/>
                <a:gd name="connsiteY114" fmla="*/ 218508 h 283512"/>
                <a:gd name="connsiteX115" fmla="*/ 1023930 w 2096597"/>
                <a:gd name="connsiteY115" fmla="*/ 218508 h 283512"/>
                <a:gd name="connsiteX116" fmla="*/ 1012543 w 2096597"/>
                <a:gd name="connsiteY116" fmla="*/ 243875 h 283512"/>
                <a:gd name="connsiteX117" fmla="*/ 991211 w 2096597"/>
                <a:gd name="connsiteY117" fmla="*/ 264630 h 283512"/>
                <a:gd name="connsiteX118" fmla="*/ 963970 w 2096597"/>
                <a:gd name="connsiteY118" fmla="*/ 277891 h 283512"/>
                <a:gd name="connsiteX119" fmla="*/ 930242 w 2096597"/>
                <a:gd name="connsiteY119" fmla="*/ 282503 h 283512"/>
                <a:gd name="connsiteX120" fmla="*/ 964546 w 2096597"/>
                <a:gd name="connsiteY120" fmla="*/ 158404 h 283512"/>
                <a:gd name="connsiteX121" fmla="*/ 952727 w 2096597"/>
                <a:gd name="connsiteY121" fmla="*/ 130586 h 283512"/>
                <a:gd name="connsiteX122" fmla="*/ 927648 w 2096597"/>
                <a:gd name="connsiteY122" fmla="*/ 120352 h 283512"/>
                <a:gd name="connsiteX123" fmla="*/ 900262 w 2096597"/>
                <a:gd name="connsiteY123" fmla="*/ 130586 h 283512"/>
                <a:gd name="connsiteX124" fmla="*/ 887723 w 2096597"/>
                <a:gd name="connsiteY124" fmla="*/ 158404 h 283512"/>
                <a:gd name="connsiteX125" fmla="*/ 964546 w 2096597"/>
                <a:gd name="connsiteY125" fmla="*/ 158404 h 283512"/>
                <a:gd name="connsiteX126" fmla="*/ 1050162 w 2096597"/>
                <a:gd name="connsiteY126" fmla="*/ 2018 h 283512"/>
                <a:gd name="connsiteX127" fmla="*/ 1112140 w 2096597"/>
                <a:gd name="connsiteY127" fmla="*/ 2018 h 283512"/>
                <a:gd name="connsiteX128" fmla="*/ 1112140 w 2096597"/>
                <a:gd name="connsiteY128" fmla="*/ 105939 h 283512"/>
                <a:gd name="connsiteX129" fmla="*/ 1113293 w 2096597"/>
                <a:gd name="connsiteY129" fmla="*/ 105939 h 283512"/>
                <a:gd name="connsiteX130" fmla="*/ 1137219 w 2096597"/>
                <a:gd name="connsiteY130" fmla="*/ 84030 h 283512"/>
                <a:gd name="connsiteX131" fmla="*/ 1171091 w 2096597"/>
                <a:gd name="connsiteY131" fmla="*/ 76247 h 283512"/>
                <a:gd name="connsiteX132" fmla="*/ 1199629 w 2096597"/>
                <a:gd name="connsiteY132" fmla="*/ 81724 h 283512"/>
                <a:gd name="connsiteX133" fmla="*/ 1220961 w 2096597"/>
                <a:gd name="connsiteY133" fmla="*/ 97002 h 283512"/>
                <a:gd name="connsiteX134" fmla="*/ 1234366 w 2096597"/>
                <a:gd name="connsiteY134" fmla="*/ 120208 h 283512"/>
                <a:gd name="connsiteX135" fmla="*/ 1238978 w 2096597"/>
                <a:gd name="connsiteY135" fmla="*/ 150044 h 283512"/>
                <a:gd name="connsiteX136" fmla="*/ 1238978 w 2096597"/>
                <a:gd name="connsiteY136" fmla="*/ 276738 h 283512"/>
                <a:gd name="connsiteX137" fmla="*/ 1177000 w 2096597"/>
                <a:gd name="connsiteY137" fmla="*/ 276738 h 283512"/>
                <a:gd name="connsiteX138" fmla="*/ 1177000 w 2096597"/>
                <a:gd name="connsiteY138" fmla="*/ 162583 h 283512"/>
                <a:gd name="connsiteX139" fmla="*/ 1169361 w 2096597"/>
                <a:gd name="connsiteY139" fmla="*/ 137504 h 283512"/>
                <a:gd name="connsiteX140" fmla="*/ 1146588 w 2096597"/>
                <a:gd name="connsiteY140" fmla="*/ 127991 h 283512"/>
                <a:gd name="connsiteX141" fmla="*/ 1121653 w 2096597"/>
                <a:gd name="connsiteY141" fmla="*/ 139378 h 283512"/>
                <a:gd name="connsiteX142" fmla="*/ 1112284 w 2096597"/>
                <a:gd name="connsiteY142" fmla="*/ 169069 h 283512"/>
                <a:gd name="connsiteX143" fmla="*/ 1112284 w 2096597"/>
                <a:gd name="connsiteY143" fmla="*/ 276738 h 283512"/>
                <a:gd name="connsiteX144" fmla="*/ 1050306 w 2096597"/>
                <a:gd name="connsiteY144" fmla="*/ 276738 h 283512"/>
                <a:gd name="connsiteX145" fmla="*/ 1050306 w 2096597"/>
                <a:gd name="connsiteY145" fmla="*/ 1874 h 283512"/>
                <a:gd name="connsiteX146" fmla="*/ 1362645 w 2096597"/>
                <a:gd name="connsiteY146" fmla="*/ 282936 h 283512"/>
                <a:gd name="connsiteX147" fmla="*/ 1319837 w 2096597"/>
                <a:gd name="connsiteY147" fmla="*/ 275152 h 283512"/>
                <a:gd name="connsiteX148" fmla="*/ 1286830 w 2096597"/>
                <a:gd name="connsiteY148" fmla="*/ 253388 h 283512"/>
                <a:gd name="connsiteX149" fmla="*/ 1265787 w 2096597"/>
                <a:gd name="connsiteY149" fmla="*/ 220670 h 283512"/>
                <a:gd name="connsiteX150" fmla="*/ 1258292 w 2096597"/>
                <a:gd name="connsiteY150" fmla="*/ 179735 h 283512"/>
                <a:gd name="connsiteX151" fmla="*/ 1265787 w 2096597"/>
                <a:gd name="connsiteY151" fmla="*/ 138801 h 283512"/>
                <a:gd name="connsiteX152" fmla="*/ 1286830 w 2096597"/>
                <a:gd name="connsiteY152" fmla="*/ 106083 h 283512"/>
                <a:gd name="connsiteX153" fmla="*/ 1319837 w 2096597"/>
                <a:gd name="connsiteY153" fmla="*/ 84463 h 283512"/>
                <a:gd name="connsiteX154" fmla="*/ 1362645 w 2096597"/>
                <a:gd name="connsiteY154" fmla="*/ 76679 h 283512"/>
                <a:gd name="connsiteX155" fmla="*/ 1405453 w 2096597"/>
                <a:gd name="connsiteY155" fmla="*/ 84463 h 283512"/>
                <a:gd name="connsiteX156" fmla="*/ 1438171 w 2096597"/>
                <a:gd name="connsiteY156" fmla="*/ 106083 h 283512"/>
                <a:gd name="connsiteX157" fmla="*/ 1459071 w 2096597"/>
                <a:gd name="connsiteY157" fmla="*/ 138801 h 283512"/>
                <a:gd name="connsiteX158" fmla="*/ 1466422 w 2096597"/>
                <a:gd name="connsiteY158" fmla="*/ 179735 h 283512"/>
                <a:gd name="connsiteX159" fmla="*/ 1459071 w 2096597"/>
                <a:gd name="connsiteY159" fmla="*/ 220670 h 283512"/>
                <a:gd name="connsiteX160" fmla="*/ 1438171 w 2096597"/>
                <a:gd name="connsiteY160" fmla="*/ 253388 h 283512"/>
                <a:gd name="connsiteX161" fmla="*/ 1405453 w 2096597"/>
                <a:gd name="connsiteY161" fmla="*/ 275152 h 283512"/>
                <a:gd name="connsiteX162" fmla="*/ 1362645 w 2096597"/>
                <a:gd name="connsiteY162" fmla="*/ 282936 h 283512"/>
                <a:gd name="connsiteX163" fmla="*/ 1362213 w 2096597"/>
                <a:gd name="connsiteY163" fmla="*/ 238830 h 283512"/>
                <a:gd name="connsiteX164" fmla="*/ 1393201 w 2096597"/>
                <a:gd name="connsiteY164" fmla="*/ 222687 h 283512"/>
                <a:gd name="connsiteX165" fmla="*/ 1403723 w 2096597"/>
                <a:gd name="connsiteY165" fmla="*/ 179880 h 283512"/>
                <a:gd name="connsiteX166" fmla="*/ 1393201 w 2096597"/>
                <a:gd name="connsiteY166" fmla="*/ 136928 h 283512"/>
                <a:gd name="connsiteX167" fmla="*/ 1362213 w 2096597"/>
                <a:gd name="connsiteY167" fmla="*/ 120496 h 283512"/>
                <a:gd name="connsiteX168" fmla="*/ 1331368 w 2096597"/>
                <a:gd name="connsiteY168" fmla="*/ 136928 h 283512"/>
                <a:gd name="connsiteX169" fmla="*/ 1321134 w 2096597"/>
                <a:gd name="connsiteY169" fmla="*/ 179880 h 283512"/>
                <a:gd name="connsiteX170" fmla="*/ 1331368 w 2096597"/>
                <a:gd name="connsiteY170" fmla="*/ 222687 h 283512"/>
                <a:gd name="connsiteX171" fmla="*/ 1362213 w 2096597"/>
                <a:gd name="connsiteY171" fmla="*/ 238830 h 283512"/>
                <a:gd name="connsiteX172" fmla="*/ 1554488 w 2096597"/>
                <a:gd name="connsiteY172" fmla="*/ 282647 h 283512"/>
                <a:gd name="connsiteX173" fmla="*/ 1503320 w 2096597"/>
                <a:gd name="connsiteY173" fmla="*/ 262613 h 283512"/>
                <a:gd name="connsiteX174" fmla="*/ 1486024 w 2096597"/>
                <a:gd name="connsiteY174" fmla="*/ 209859 h 283512"/>
                <a:gd name="connsiteX175" fmla="*/ 1486024 w 2096597"/>
                <a:gd name="connsiteY175" fmla="*/ 82012 h 283512"/>
                <a:gd name="connsiteX176" fmla="*/ 1547713 w 2096597"/>
                <a:gd name="connsiteY176" fmla="*/ 82012 h 283512"/>
                <a:gd name="connsiteX177" fmla="*/ 1547713 w 2096597"/>
                <a:gd name="connsiteY177" fmla="*/ 197032 h 283512"/>
                <a:gd name="connsiteX178" fmla="*/ 1554920 w 2096597"/>
                <a:gd name="connsiteY178" fmla="*/ 221534 h 283512"/>
                <a:gd name="connsiteX179" fmla="*/ 1576973 w 2096597"/>
                <a:gd name="connsiteY179" fmla="*/ 230038 h 283512"/>
                <a:gd name="connsiteX180" fmla="*/ 1602052 w 2096597"/>
                <a:gd name="connsiteY180" fmla="*/ 219228 h 283512"/>
                <a:gd name="connsiteX181" fmla="*/ 1611132 w 2096597"/>
                <a:gd name="connsiteY181" fmla="*/ 190834 h 283512"/>
                <a:gd name="connsiteX182" fmla="*/ 1611132 w 2096597"/>
                <a:gd name="connsiteY182" fmla="*/ 82012 h 283512"/>
                <a:gd name="connsiteX183" fmla="*/ 1673110 w 2096597"/>
                <a:gd name="connsiteY183" fmla="*/ 82012 h 283512"/>
                <a:gd name="connsiteX184" fmla="*/ 1673110 w 2096597"/>
                <a:gd name="connsiteY184" fmla="*/ 276882 h 283512"/>
                <a:gd name="connsiteX185" fmla="*/ 1613727 w 2096597"/>
                <a:gd name="connsiteY185" fmla="*/ 276882 h 283512"/>
                <a:gd name="connsiteX186" fmla="*/ 1613727 w 2096597"/>
                <a:gd name="connsiteY186" fmla="*/ 252956 h 283512"/>
                <a:gd name="connsiteX187" fmla="*/ 1612574 w 2096597"/>
                <a:gd name="connsiteY187" fmla="*/ 252956 h 283512"/>
                <a:gd name="connsiteX188" fmla="*/ 1588359 w 2096597"/>
                <a:gd name="connsiteY188" fmla="*/ 275008 h 283512"/>
                <a:gd name="connsiteX189" fmla="*/ 1554344 w 2096597"/>
                <a:gd name="connsiteY189" fmla="*/ 282647 h 283512"/>
                <a:gd name="connsiteX190" fmla="*/ 1789571 w 2096597"/>
                <a:gd name="connsiteY190" fmla="*/ 283080 h 283512"/>
                <a:gd name="connsiteX191" fmla="*/ 1721395 w 2096597"/>
                <a:gd name="connsiteY191" fmla="*/ 264630 h 283512"/>
                <a:gd name="connsiteX192" fmla="*/ 1694730 w 2096597"/>
                <a:gd name="connsiteY192" fmla="*/ 213751 h 283512"/>
                <a:gd name="connsiteX193" fmla="*/ 1753393 w 2096597"/>
                <a:gd name="connsiteY193" fmla="*/ 213751 h 283512"/>
                <a:gd name="connsiteX194" fmla="*/ 1764491 w 2096597"/>
                <a:gd name="connsiteY194" fmla="*/ 235515 h 283512"/>
                <a:gd name="connsiteX195" fmla="*/ 1789282 w 2096597"/>
                <a:gd name="connsiteY195" fmla="*/ 242722 h 283512"/>
                <a:gd name="connsiteX196" fmla="*/ 1811479 w 2096597"/>
                <a:gd name="connsiteY196" fmla="*/ 237821 h 283512"/>
                <a:gd name="connsiteX197" fmla="*/ 1819695 w 2096597"/>
                <a:gd name="connsiteY197" fmla="*/ 223408 h 283512"/>
                <a:gd name="connsiteX198" fmla="*/ 1815515 w 2096597"/>
                <a:gd name="connsiteY198" fmla="*/ 212886 h 283512"/>
                <a:gd name="connsiteX199" fmla="*/ 1804416 w 2096597"/>
                <a:gd name="connsiteY199" fmla="*/ 206400 h 283512"/>
                <a:gd name="connsiteX200" fmla="*/ 1788562 w 2096597"/>
                <a:gd name="connsiteY200" fmla="*/ 202653 h 283512"/>
                <a:gd name="connsiteX201" fmla="*/ 1770112 w 2096597"/>
                <a:gd name="connsiteY201" fmla="*/ 199482 h 283512"/>
                <a:gd name="connsiteX202" fmla="*/ 1745033 w 2096597"/>
                <a:gd name="connsiteY202" fmla="*/ 194005 h 283512"/>
                <a:gd name="connsiteX203" fmla="*/ 1722404 w 2096597"/>
                <a:gd name="connsiteY203" fmla="*/ 184348 h 283512"/>
                <a:gd name="connsiteX204" fmla="*/ 1706261 w 2096597"/>
                <a:gd name="connsiteY204" fmla="*/ 167052 h 283512"/>
                <a:gd name="connsiteX205" fmla="*/ 1700207 w 2096597"/>
                <a:gd name="connsiteY205" fmla="*/ 139090 h 283512"/>
                <a:gd name="connsiteX206" fmla="*/ 1706837 w 2096597"/>
                <a:gd name="connsiteY206" fmla="*/ 111992 h 283512"/>
                <a:gd name="connsiteX207" fmla="*/ 1724999 w 2096597"/>
                <a:gd name="connsiteY207" fmla="*/ 92390 h 283512"/>
                <a:gd name="connsiteX208" fmla="*/ 1751808 w 2096597"/>
                <a:gd name="connsiteY208" fmla="*/ 80571 h 283512"/>
                <a:gd name="connsiteX209" fmla="*/ 1784382 w 2096597"/>
                <a:gd name="connsiteY209" fmla="*/ 76535 h 283512"/>
                <a:gd name="connsiteX210" fmla="*/ 1847945 w 2096597"/>
                <a:gd name="connsiteY210" fmla="*/ 93255 h 283512"/>
                <a:gd name="connsiteX211" fmla="*/ 1872304 w 2096597"/>
                <a:gd name="connsiteY211" fmla="*/ 138945 h 283512"/>
                <a:gd name="connsiteX212" fmla="*/ 1815226 w 2096597"/>
                <a:gd name="connsiteY212" fmla="*/ 138945 h 283512"/>
                <a:gd name="connsiteX213" fmla="*/ 1805137 w 2096597"/>
                <a:gd name="connsiteY213" fmla="*/ 120929 h 283512"/>
                <a:gd name="connsiteX214" fmla="*/ 1783949 w 2096597"/>
                <a:gd name="connsiteY214" fmla="*/ 116172 h 283512"/>
                <a:gd name="connsiteX215" fmla="*/ 1764780 w 2096597"/>
                <a:gd name="connsiteY215" fmla="*/ 120496 h 283512"/>
                <a:gd name="connsiteX216" fmla="*/ 1756996 w 2096597"/>
                <a:gd name="connsiteY216" fmla="*/ 134045 h 283512"/>
                <a:gd name="connsiteX217" fmla="*/ 1760744 w 2096597"/>
                <a:gd name="connsiteY217" fmla="*/ 142405 h 283512"/>
                <a:gd name="connsiteX218" fmla="*/ 1770977 w 2096597"/>
                <a:gd name="connsiteY218" fmla="*/ 147593 h 283512"/>
                <a:gd name="connsiteX219" fmla="*/ 1785967 w 2096597"/>
                <a:gd name="connsiteY219" fmla="*/ 151197 h 283512"/>
                <a:gd name="connsiteX220" fmla="*/ 1803696 w 2096597"/>
                <a:gd name="connsiteY220" fmla="*/ 154224 h 283512"/>
                <a:gd name="connsiteX221" fmla="*/ 1829784 w 2096597"/>
                <a:gd name="connsiteY221" fmla="*/ 159701 h 283512"/>
                <a:gd name="connsiteX222" fmla="*/ 1853710 w 2096597"/>
                <a:gd name="connsiteY222" fmla="*/ 169790 h 283512"/>
                <a:gd name="connsiteX223" fmla="*/ 1871439 w 2096597"/>
                <a:gd name="connsiteY223" fmla="*/ 188239 h 283512"/>
                <a:gd name="connsiteX224" fmla="*/ 1878357 w 2096597"/>
                <a:gd name="connsiteY224" fmla="*/ 218508 h 283512"/>
                <a:gd name="connsiteX225" fmla="*/ 1871727 w 2096597"/>
                <a:gd name="connsiteY225" fmla="*/ 246614 h 283512"/>
                <a:gd name="connsiteX226" fmla="*/ 1853278 w 2096597"/>
                <a:gd name="connsiteY226" fmla="*/ 266792 h 283512"/>
                <a:gd name="connsiteX227" fmla="*/ 1825172 w 2096597"/>
                <a:gd name="connsiteY227" fmla="*/ 279044 h 283512"/>
                <a:gd name="connsiteX228" fmla="*/ 1789715 w 2096597"/>
                <a:gd name="connsiteY228" fmla="*/ 283224 h 283512"/>
                <a:gd name="connsiteX229" fmla="*/ 1999430 w 2096597"/>
                <a:gd name="connsiteY229" fmla="*/ 282791 h 283512"/>
                <a:gd name="connsiteX230" fmla="*/ 1956046 w 2096597"/>
                <a:gd name="connsiteY230" fmla="*/ 275008 h 283512"/>
                <a:gd name="connsiteX231" fmla="*/ 1923327 w 2096597"/>
                <a:gd name="connsiteY231" fmla="*/ 253244 h 283512"/>
                <a:gd name="connsiteX232" fmla="*/ 1902716 w 2096597"/>
                <a:gd name="connsiteY232" fmla="*/ 220381 h 283512"/>
                <a:gd name="connsiteX233" fmla="*/ 1895509 w 2096597"/>
                <a:gd name="connsiteY233" fmla="*/ 179303 h 283512"/>
                <a:gd name="connsiteX234" fmla="*/ 1902716 w 2096597"/>
                <a:gd name="connsiteY234" fmla="*/ 138801 h 283512"/>
                <a:gd name="connsiteX235" fmla="*/ 1923327 w 2096597"/>
                <a:gd name="connsiteY235" fmla="*/ 106083 h 283512"/>
                <a:gd name="connsiteX236" fmla="*/ 1954893 w 2096597"/>
                <a:gd name="connsiteY236" fmla="*/ 84463 h 283512"/>
                <a:gd name="connsiteX237" fmla="*/ 1995683 w 2096597"/>
                <a:gd name="connsiteY237" fmla="*/ 76679 h 283512"/>
                <a:gd name="connsiteX238" fmla="*/ 2033157 w 2096597"/>
                <a:gd name="connsiteY238" fmla="*/ 83165 h 283512"/>
                <a:gd name="connsiteX239" fmla="*/ 2062273 w 2096597"/>
                <a:gd name="connsiteY239" fmla="*/ 101038 h 283512"/>
                <a:gd name="connsiteX240" fmla="*/ 2088361 w 2096597"/>
                <a:gd name="connsiteY240" fmla="*/ 141540 h 283512"/>
                <a:gd name="connsiteX241" fmla="*/ 2096577 w 2096597"/>
                <a:gd name="connsiteY241" fmla="*/ 195734 h 283512"/>
                <a:gd name="connsiteX242" fmla="*/ 1956478 w 2096597"/>
                <a:gd name="connsiteY242" fmla="*/ 195734 h 283512"/>
                <a:gd name="connsiteX243" fmla="*/ 1970171 w 2096597"/>
                <a:gd name="connsiteY243" fmla="*/ 227011 h 283512"/>
                <a:gd name="connsiteX244" fmla="*/ 2000295 w 2096597"/>
                <a:gd name="connsiteY244" fmla="*/ 238398 h 283512"/>
                <a:gd name="connsiteX245" fmla="*/ 2020474 w 2096597"/>
                <a:gd name="connsiteY245" fmla="*/ 233209 h 283512"/>
                <a:gd name="connsiteX246" fmla="*/ 2032725 w 2096597"/>
                <a:gd name="connsiteY246" fmla="*/ 218940 h 283512"/>
                <a:gd name="connsiteX247" fmla="*/ 2093262 w 2096597"/>
                <a:gd name="connsiteY247" fmla="*/ 218940 h 283512"/>
                <a:gd name="connsiteX248" fmla="*/ 2081875 w 2096597"/>
                <a:gd name="connsiteY248" fmla="*/ 244308 h 283512"/>
                <a:gd name="connsiteX249" fmla="*/ 2060543 w 2096597"/>
                <a:gd name="connsiteY249" fmla="*/ 265063 h 283512"/>
                <a:gd name="connsiteX250" fmla="*/ 2033302 w 2096597"/>
                <a:gd name="connsiteY250" fmla="*/ 278323 h 283512"/>
                <a:gd name="connsiteX251" fmla="*/ 1999574 w 2096597"/>
                <a:gd name="connsiteY251" fmla="*/ 282936 h 283512"/>
                <a:gd name="connsiteX252" fmla="*/ 2033878 w 2096597"/>
                <a:gd name="connsiteY252" fmla="*/ 158836 h 283512"/>
                <a:gd name="connsiteX253" fmla="*/ 2022059 w 2096597"/>
                <a:gd name="connsiteY253" fmla="*/ 131018 h 283512"/>
                <a:gd name="connsiteX254" fmla="*/ 1996980 w 2096597"/>
                <a:gd name="connsiteY254" fmla="*/ 120784 h 283512"/>
                <a:gd name="connsiteX255" fmla="*/ 1969594 w 2096597"/>
                <a:gd name="connsiteY255" fmla="*/ 131018 h 283512"/>
                <a:gd name="connsiteX256" fmla="*/ 1957055 w 2096597"/>
                <a:gd name="connsiteY256" fmla="*/ 158836 h 283512"/>
                <a:gd name="connsiteX257" fmla="*/ 2033878 w 2096597"/>
                <a:gd name="connsiteY257" fmla="*/ 158836 h 28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2096597" h="283512">
                  <a:moveTo>
                    <a:pt x="129433" y="283512"/>
                  </a:moveTo>
                  <a:cubicBezTo>
                    <a:pt x="109830" y="283512"/>
                    <a:pt x="92390" y="280197"/>
                    <a:pt x="76968" y="273567"/>
                  </a:cubicBezTo>
                  <a:cubicBezTo>
                    <a:pt x="61545" y="266937"/>
                    <a:pt x="47997" y="257568"/>
                    <a:pt x="36610" y="245461"/>
                  </a:cubicBezTo>
                  <a:cubicBezTo>
                    <a:pt x="24647" y="232489"/>
                    <a:pt x="15567" y="217354"/>
                    <a:pt x="9369" y="199770"/>
                  </a:cubicBezTo>
                  <a:cubicBezTo>
                    <a:pt x="3171" y="182330"/>
                    <a:pt x="0" y="163160"/>
                    <a:pt x="0" y="142260"/>
                  </a:cubicBezTo>
                  <a:cubicBezTo>
                    <a:pt x="0" y="121361"/>
                    <a:pt x="3459" y="100894"/>
                    <a:pt x="10522" y="82733"/>
                  </a:cubicBezTo>
                  <a:cubicBezTo>
                    <a:pt x="17440" y="64572"/>
                    <a:pt x="27386" y="49006"/>
                    <a:pt x="40358" y="36178"/>
                  </a:cubicBezTo>
                  <a:cubicBezTo>
                    <a:pt x="51744" y="24791"/>
                    <a:pt x="65149" y="15855"/>
                    <a:pt x="80715" y="9513"/>
                  </a:cubicBezTo>
                  <a:cubicBezTo>
                    <a:pt x="96138" y="3171"/>
                    <a:pt x="113866" y="0"/>
                    <a:pt x="133612" y="0"/>
                  </a:cubicBezTo>
                  <a:cubicBezTo>
                    <a:pt x="151053" y="0"/>
                    <a:pt x="166907" y="2162"/>
                    <a:pt x="180744" y="6630"/>
                  </a:cubicBezTo>
                  <a:cubicBezTo>
                    <a:pt x="194725" y="11098"/>
                    <a:pt x="206833" y="17440"/>
                    <a:pt x="216922" y="25656"/>
                  </a:cubicBezTo>
                  <a:cubicBezTo>
                    <a:pt x="227011" y="33872"/>
                    <a:pt x="235227" y="43817"/>
                    <a:pt x="241425" y="55492"/>
                  </a:cubicBezTo>
                  <a:cubicBezTo>
                    <a:pt x="247623" y="67167"/>
                    <a:pt x="251947" y="80139"/>
                    <a:pt x="254109" y="94264"/>
                  </a:cubicBezTo>
                  <a:lnTo>
                    <a:pt x="188672" y="94264"/>
                  </a:lnTo>
                  <a:cubicBezTo>
                    <a:pt x="186077" y="83165"/>
                    <a:pt x="180456" y="73797"/>
                    <a:pt x="171520" y="66446"/>
                  </a:cubicBezTo>
                  <a:cubicBezTo>
                    <a:pt x="162583" y="59095"/>
                    <a:pt x="150764" y="55348"/>
                    <a:pt x="135774" y="55348"/>
                  </a:cubicBezTo>
                  <a:cubicBezTo>
                    <a:pt x="124532" y="55348"/>
                    <a:pt x="114731" y="57654"/>
                    <a:pt x="106227" y="61978"/>
                  </a:cubicBezTo>
                  <a:cubicBezTo>
                    <a:pt x="97723" y="66446"/>
                    <a:pt x="90660" y="72500"/>
                    <a:pt x="85039" y="80283"/>
                  </a:cubicBezTo>
                  <a:cubicBezTo>
                    <a:pt x="79418" y="88066"/>
                    <a:pt x="75238" y="97146"/>
                    <a:pt x="72500" y="107668"/>
                  </a:cubicBezTo>
                  <a:cubicBezTo>
                    <a:pt x="69761" y="118190"/>
                    <a:pt x="68320" y="129721"/>
                    <a:pt x="68320" y="142116"/>
                  </a:cubicBezTo>
                  <a:cubicBezTo>
                    <a:pt x="68320" y="154512"/>
                    <a:pt x="69905" y="166043"/>
                    <a:pt x="73076" y="176709"/>
                  </a:cubicBezTo>
                  <a:cubicBezTo>
                    <a:pt x="76247" y="187375"/>
                    <a:pt x="80715" y="196599"/>
                    <a:pt x="86625" y="204238"/>
                  </a:cubicBezTo>
                  <a:cubicBezTo>
                    <a:pt x="92534" y="212021"/>
                    <a:pt x="99597" y="218075"/>
                    <a:pt x="108101" y="222255"/>
                  </a:cubicBezTo>
                  <a:cubicBezTo>
                    <a:pt x="116605" y="226579"/>
                    <a:pt x="126117" y="228741"/>
                    <a:pt x="136783" y="228741"/>
                  </a:cubicBezTo>
                  <a:cubicBezTo>
                    <a:pt x="145576" y="228741"/>
                    <a:pt x="153647" y="227444"/>
                    <a:pt x="160566" y="224705"/>
                  </a:cubicBezTo>
                  <a:cubicBezTo>
                    <a:pt x="167484" y="222111"/>
                    <a:pt x="173538" y="218508"/>
                    <a:pt x="178438" y="214039"/>
                  </a:cubicBezTo>
                  <a:cubicBezTo>
                    <a:pt x="183339" y="209571"/>
                    <a:pt x="187375" y="204526"/>
                    <a:pt x="190257" y="198761"/>
                  </a:cubicBezTo>
                  <a:cubicBezTo>
                    <a:pt x="193140" y="193140"/>
                    <a:pt x="195014" y="187230"/>
                    <a:pt x="195734" y="181033"/>
                  </a:cubicBezTo>
                  <a:lnTo>
                    <a:pt x="195734" y="180312"/>
                  </a:lnTo>
                  <a:lnTo>
                    <a:pt x="144711" y="180312"/>
                  </a:lnTo>
                  <a:lnTo>
                    <a:pt x="144711" y="130874"/>
                  </a:lnTo>
                  <a:lnTo>
                    <a:pt x="258144" y="130874"/>
                  </a:lnTo>
                  <a:lnTo>
                    <a:pt x="258144" y="277026"/>
                  </a:lnTo>
                  <a:lnTo>
                    <a:pt x="211013" y="277026"/>
                  </a:lnTo>
                  <a:lnTo>
                    <a:pt x="207265" y="244308"/>
                  </a:lnTo>
                  <a:lnTo>
                    <a:pt x="206544" y="244308"/>
                  </a:lnTo>
                  <a:cubicBezTo>
                    <a:pt x="197608" y="258289"/>
                    <a:pt x="186654" y="268234"/>
                    <a:pt x="173682" y="274143"/>
                  </a:cubicBezTo>
                  <a:cubicBezTo>
                    <a:pt x="160566" y="280053"/>
                    <a:pt x="145864" y="283080"/>
                    <a:pt x="129288" y="283080"/>
                  </a:cubicBezTo>
                  <a:moveTo>
                    <a:pt x="358029" y="282647"/>
                  </a:moveTo>
                  <a:cubicBezTo>
                    <a:pt x="335400" y="282647"/>
                    <a:pt x="318393" y="276017"/>
                    <a:pt x="306862" y="262613"/>
                  </a:cubicBezTo>
                  <a:cubicBezTo>
                    <a:pt x="295331" y="249352"/>
                    <a:pt x="289566" y="231768"/>
                    <a:pt x="289566" y="209859"/>
                  </a:cubicBezTo>
                  <a:lnTo>
                    <a:pt x="289566" y="82012"/>
                  </a:lnTo>
                  <a:lnTo>
                    <a:pt x="351255" y="82012"/>
                  </a:lnTo>
                  <a:lnTo>
                    <a:pt x="351255" y="197032"/>
                  </a:lnTo>
                  <a:cubicBezTo>
                    <a:pt x="351255" y="207697"/>
                    <a:pt x="353705" y="215913"/>
                    <a:pt x="358462" y="221534"/>
                  </a:cubicBezTo>
                  <a:cubicBezTo>
                    <a:pt x="363218" y="227300"/>
                    <a:pt x="370713" y="230038"/>
                    <a:pt x="380514" y="230038"/>
                  </a:cubicBezTo>
                  <a:cubicBezTo>
                    <a:pt x="391180" y="230038"/>
                    <a:pt x="399540" y="226435"/>
                    <a:pt x="405594" y="219228"/>
                  </a:cubicBezTo>
                  <a:cubicBezTo>
                    <a:pt x="411647" y="212021"/>
                    <a:pt x="414674" y="202509"/>
                    <a:pt x="414674" y="190834"/>
                  </a:cubicBezTo>
                  <a:lnTo>
                    <a:pt x="414674" y="82012"/>
                  </a:lnTo>
                  <a:lnTo>
                    <a:pt x="476652" y="82012"/>
                  </a:lnTo>
                  <a:lnTo>
                    <a:pt x="476652" y="276882"/>
                  </a:lnTo>
                  <a:lnTo>
                    <a:pt x="417269" y="276882"/>
                  </a:lnTo>
                  <a:lnTo>
                    <a:pt x="417269" y="252956"/>
                  </a:lnTo>
                  <a:lnTo>
                    <a:pt x="416116" y="252956"/>
                  </a:lnTo>
                  <a:cubicBezTo>
                    <a:pt x="409053" y="262613"/>
                    <a:pt x="400981" y="269963"/>
                    <a:pt x="391901" y="275008"/>
                  </a:cubicBezTo>
                  <a:cubicBezTo>
                    <a:pt x="382965" y="280053"/>
                    <a:pt x="371578" y="282647"/>
                    <a:pt x="357885" y="282647"/>
                  </a:cubicBezTo>
                  <a:moveTo>
                    <a:pt x="511965" y="2162"/>
                  </a:moveTo>
                  <a:lnTo>
                    <a:pt x="573943" y="2162"/>
                  </a:lnTo>
                  <a:lnTo>
                    <a:pt x="573943" y="55059"/>
                  </a:lnTo>
                  <a:lnTo>
                    <a:pt x="511965" y="55059"/>
                  </a:lnTo>
                  <a:lnTo>
                    <a:pt x="511965" y="2162"/>
                  </a:lnTo>
                  <a:close/>
                  <a:moveTo>
                    <a:pt x="511965" y="82012"/>
                  </a:moveTo>
                  <a:lnTo>
                    <a:pt x="573943" y="82012"/>
                  </a:lnTo>
                  <a:lnTo>
                    <a:pt x="573943" y="276882"/>
                  </a:lnTo>
                  <a:lnTo>
                    <a:pt x="511965" y="276882"/>
                  </a:lnTo>
                  <a:lnTo>
                    <a:pt x="511965" y="82012"/>
                  </a:lnTo>
                  <a:close/>
                  <a:moveTo>
                    <a:pt x="685935" y="282936"/>
                  </a:moveTo>
                  <a:cubicBezTo>
                    <a:pt x="673539" y="282936"/>
                    <a:pt x="662009" y="280629"/>
                    <a:pt x="651631" y="275873"/>
                  </a:cubicBezTo>
                  <a:cubicBezTo>
                    <a:pt x="641253" y="271117"/>
                    <a:pt x="632173" y="264342"/>
                    <a:pt x="624678" y="255550"/>
                  </a:cubicBezTo>
                  <a:cubicBezTo>
                    <a:pt x="617039" y="246614"/>
                    <a:pt x="611129" y="235804"/>
                    <a:pt x="606949" y="222976"/>
                  </a:cubicBezTo>
                  <a:cubicBezTo>
                    <a:pt x="602769" y="210148"/>
                    <a:pt x="600607" y="195590"/>
                    <a:pt x="600607" y="179447"/>
                  </a:cubicBezTo>
                  <a:cubicBezTo>
                    <a:pt x="600607" y="164169"/>
                    <a:pt x="602769" y="150332"/>
                    <a:pt x="606949" y="137504"/>
                  </a:cubicBezTo>
                  <a:cubicBezTo>
                    <a:pt x="611129" y="124820"/>
                    <a:pt x="617039" y="114010"/>
                    <a:pt x="624390" y="104930"/>
                  </a:cubicBezTo>
                  <a:cubicBezTo>
                    <a:pt x="631884" y="95993"/>
                    <a:pt x="640821" y="88931"/>
                    <a:pt x="651199" y="83742"/>
                  </a:cubicBezTo>
                  <a:cubicBezTo>
                    <a:pt x="661576" y="78697"/>
                    <a:pt x="673107" y="76103"/>
                    <a:pt x="685791" y="76103"/>
                  </a:cubicBezTo>
                  <a:cubicBezTo>
                    <a:pt x="699483" y="76103"/>
                    <a:pt x="710582" y="78697"/>
                    <a:pt x="718942" y="83886"/>
                  </a:cubicBezTo>
                  <a:cubicBezTo>
                    <a:pt x="727301" y="89075"/>
                    <a:pt x="734364" y="95705"/>
                    <a:pt x="740273" y="103921"/>
                  </a:cubicBezTo>
                  <a:lnTo>
                    <a:pt x="741426" y="103921"/>
                  </a:lnTo>
                  <a:lnTo>
                    <a:pt x="741426" y="1874"/>
                  </a:lnTo>
                  <a:lnTo>
                    <a:pt x="803404" y="1874"/>
                  </a:lnTo>
                  <a:lnTo>
                    <a:pt x="803404" y="276738"/>
                  </a:lnTo>
                  <a:lnTo>
                    <a:pt x="744021" y="276738"/>
                  </a:lnTo>
                  <a:lnTo>
                    <a:pt x="744021" y="250505"/>
                  </a:lnTo>
                  <a:lnTo>
                    <a:pt x="743300" y="250505"/>
                  </a:lnTo>
                  <a:cubicBezTo>
                    <a:pt x="737535" y="260595"/>
                    <a:pt x="729607" y="268522"/>
                    <a:pt x="719951" y="274287"/>
                  </a:cubicBezTo>
                  <a:cubicBezTo>
                    <a:pt x="710149" y="280053"/>
                    <a:pt x="698907" y="282791"/>
                    <a:pt x="685935" y="282791"/>
                  </a:cubicBezTo>
                  <a:moveTo>
                    <a:pt x="701934" y="233642"/>
                  </a:moveTo>
                  <a:cubicBezTo>
                    <a:pt x="714906" y="233642"/>
                    <a:pt x="724995" y="228597"/>
                    <a:pt x="732202" y="218363"/>
                  </a:cubicBezTo>
                  <a:cubicBezTo>
                    <a:pt x="739409" y="208274"/>
                    <a:pt x="743012" y="195158"/>
                    <a:pt x="743012" y="179159"/>
                  </a:cubicBezTo>
                  <a:cubicBezTo>
                    <a:pt x="743012" y="171087"/>
                    <a:pt x="742147" y="163448"/>
                    <a:pt x="740562" y="156530"/>
                  </a:cubicBezTo>
                  <a:cubicBezTo>
                    <a:pt x="738976" y="149611"/>
                    <a:pt x="736382" y="143558"/>
                    <a:pt x="732923" y="138657"/>
                  </a:cubicBezTo>
                  <a:cubicBezTo>
                    <a:pt x="729463" y="133757"/>
                    <a:pt x="725284" y="129865"/>
                    <a:pt x="720383" y="126982"/>
                  </a:cubicBezTo>
                  <a:cubicBezTo>
                    <a:pt x="715482" y="124244"/>
                    <a:pt x="709573" y="122802"/>
                    <a:pt x="702654" y="122802"/>
                  </a:cubicBezTo>
                  <a:cubicBezTo>
                    <a:pt x="690259" y="122802"/>
                    <a:pt x="680602" y="127991"/>
                    <a:pt x="673683" y="138225"/>
                  </a:cubicBezTo>
                  <a:cubicBezTo>
                    <a:pt x="666765" y="148458"/>
                    <a:pt x="663450" y="161863"/>
                    <a:pt x="663450" y="178438"/>
                  </a:cubicBezTo>
                  <a:cubicBezTo>
                    <a:pt x="663450" y="195014"/>
                    <a:pt x="666765" y="208851"/>
                    <a:pt x="673539" y="218796"/>
                  </a:cubicBezTo>
                  <a:cubicBezTo>
                    <a:pt x="680314" y="228741"/>
                    <a:pt x="689682" y="233642"/>
                    <a:pt x="701934" y="233642"/>
                  </a:cubicBezTo>
                  <a:moveTo>
                    <a:pt x="930242" y="282359"/>
                  </a:moveTo>
                  <a:cubicBezTo>
                    <a:pt x="914243" y="282359"/>
                    <a:pt x="899830" y="279765"/>
                    <a:pt x="886858" y="274576"/>
                  </a:cubicBezTo>
                  <a:cubicBezTo>
                    <a:pt x="873886" y="269387"/>
                    <a:pt x="862932" y="262180"/>
                    <a:pt x="854139" y="252811"/>
                  </a:cubicBezTo>
                  <a:cubicBezTo>
                    <a:pt x="845203" y="243587"/>
                    <a:pt x="838429" y="232633"/>
                    <a:pt x="833528" y="219949"/>
                  </a:cubicBezTo>
                  <a:cubicBezTo>
                    <a:pt x="828772" y="207265"/>
                    <a:pt x="826322" y="193572"/>
                    <a:pt x="826322" y="178871"/>
                  </a:cubicBezTo>
                  <a:cubicBezTo>
                    <a:pt x="826322" y="164169"/>
                    <a:pt x="828772" y="150909"/>
                    <a:pt x="833528" y="138369"/>
                  </a:cubicBezTo>
                  <a:cubicBezTo>
                    <a:pt x="838285" y="125829"/>
                    <a:pt x="845203" y="114875"/>
                    <a:pt x="854139" y="105650"/>
                  </a:cubicBezTo>
                  <a:cubicBezTo>
                    <a:pt x="863076" y="96426"/>
                    <a:pt x="873598" y="89219"/>
                    <a:pt x="885705" y="84030"/>
                  </a:cubicBezTo>
                  <a:cubicBezTo>
                    <a:pt x="897812" y="78841"/>
                    <a:pt x="911505" y="76247"/>
                    <a:pt x="926495" y="76247"/>
                  </a:cubicBezTo>
                  <a:cubicBezTo>
                    <a:pt x="940476" y="76247"/>
                    <a:pt x="953016" y="78409"/>
                    <a:pt x="963970" y="82733"/>
                  </a:cubicBezTo>
                  <a:cubicBezTo>
                    <a:pt x="975068" y="87057"/>
                    <a:pt x="984725" y="92967"/>
                    <a:pt x="993085" y="100606"/>
                  </a:cubicBezTo>
                  <a:cubicBezTo>
                    <a:pt x="1004760" y="111272"/>
                    <a:pt x="1013408" y="124820"/>
                    <a:pt x="1019173" y="141107"/>
                  </a:cubicBezTo>
                  <a:cubicBezTo>
                    <a:pt x="1024939" y="157539"/>
                    <a:pt x="1027533" y="175556"/>
                    <a:pt x="1027389" y="195302"/>
                  </a:cubicBezTo>
                  <a:lnTo>
                    <a:pt x="887290" y="195302"/>
                  </a:lnTo>
                  <a:cubicBezTo>
                    <a:pt x="889308" y="208562"/>
                    <a:pt x="893921" y="218940"/>
                    <a:pt x="900983" y="226579"/>
                  </a:cubicBezTo>
                  <a:cubicBezTo>
                    <a:pt x="908046" y="234218"/>
                    <a:pt x="918135" y="237966"/>
                    <a:pt x="931107" y="237966"/>
                  </a:cubicBezTo>
                  <a:cubicBezTo>
                    <a:pt x="939179" y="237966"/>
                    <a:pt x="945953" y="236236"/>
                    <a:pt x="951286" y="232777"/>
                  </a:cubicBezTo>
                  <a:cubicBezTo>
                    <a:pt x="956619" y="229318"/>
                    <a:pt x="960655" y="224561"/>
                    <a:pt x="963393" y="218508"/>
                  </a:cubicBezTo>
                  <a:lnTo>
                    <a:pt x="1023930" y="218508"/>
                  </a:lnTo>
                  <a:cubicBezTo>
                    <a:pt x="1021912" y="227444"/>
                    <a:pt x="1018020" y="235804"/>
                    <a:pt x="1012543" y="243875"/>
                  </a:cubicBezTo>
                  <a:cubicBezTo>
                    <a:pt x="1006922" y="251803"/>
                    <a:pt x="999859" y="258721"/>
                    <a:pt x="991211" y="264630"/>
                  </a:cubicBezTo>
                  <a:cubicBezTo>
                    <a:pt x="983140" y="270540"/>
                    <a:pt x="974059" y="274864"/>
                    <a:pt x="963970" y="277891"/>
                  </a:cubicBezTo>
                  <a:cubicBezTo>
                    <a:pt x="954024" y="280918"/>
                    <a:pt x="942782" y="282503"/>
                    <a:pt x="930242" y="282503"/>
                  </a:cubicBezTo>
                  <a:moveTo>
                    <a:pt x="964546" y="158404"/>
                  </a:moveTo>
                  <a:cubicBezTo>
                    <a:pt x="963249" y="146729"/>
                    <a:pt x="959357" y="137504"/>
                    <a:pt x="952727" y="130586"/>
                  </a:cubicBezTo>
                  <a:cubicBezTo>
                    <a:pt x="946097" y="123811"/>
                    <a:pt x="937737" y="120352"/>
                    <a:pt x="927648" y="120352"/>
                  </a:cubicBezTo>
                  <a:cubicBezTo>
                    <a:pt x="915685" y="120352"/>
                    <a:pt x="906604" y="123811"/>
                    <a:pt x="900262" y="130586"/>
                  </a:cubicBezTo>
                  <a:cubicBezTo>
                    <a:pt x="893921" y="137504"/>
                    <a:pt x="889741" y="146729"/>
                    <a:pt x="887723" y="158404"/>
                  </a:cubicBezTo>
                  <a:lnTo>
                    <a:pt x="964546" y="158404"/>
                  </a:lnTo>
                  <a:close/>
                  <a:moveTo>
                    <a:pt x="1050162" y="2018"/>
                  </a:moveTo>
                  <a:lnTo>
                    <a:pt x="1112140" y="2018"/>
                  </a:lnTo>
                  <a:lnTo>
                    <a:pt x="1112140" y="105939"/>
                  </a:lnTo>
                  <a:lnTo>
                    <a:pt x="1113293" y="105939"/>
                  </a:lnTo>
                  <a:cubicBezTo>
                    <a:pt x="1120355" y="96570"/>
                    <a:pt x="1128427" y="89219"/>
                    <a:pt x="1137219" y="84030"/>
                  </a:cubicBezTo>
                  <a:cubicBezTo>
                    <a:pt x="1146155" y="78841"/>
                    <a:pt x="1157398" y="76247"/>
                    <a:pt x="1171091" y="76247"/>
                  </a:cubicBezTo>
                  <a:cubicBezTo>
                    <a:pt x="1181757" y="76247"/>
                    <a:pt x="1191269" y="78121"/>
                    <a:pt x="1199629" y="81724"/>
                  </a:cubicBezTo>
                  <a:cubicBezTo>
                    <a:pt x="1207989" y="85327"/>
                    <a:pt x="1215052" y="90516"/>
                    <a:pt x="1220961" y="97002"/>
                  </a:cubicBezTo>
                  <a:cubicBezTo>
                    <a:pt x="1226871" y="103488"/>
                    <a:pt x="1231195" y="111272"/>
                    <a:pt x="1234366" y="120208"/>
                  </a:cubicBezTo>
                  <a:cubicBezTo>
                    <a:pt x="1237392" y="129144"/>
                    <a:pt x="1238978" y="139234"/>
                    <a:pt x="1238978" y="150044"/>
                  </a:cubicBezTo>
                  <a:lnTo>
                    <a:pt x="1238978" y="276738"/>
                  </a:lnTo>
                  <a:lnTo>
                    <a:pt x="1177000" y="276738"/>
                  </a:lnTo>
                  <a:lnTo>
                    <a:pt x="1177000" y="162583"/>
                  </a:lnTo>
                  <a:cubicBezTo>
                    <a:pt x="1177000" y="152206"/>
                    <a:pt x="1174406" y="143846"/>
                    <a:pt x="1169361" y="137504"/>
                  </a:cubicBezTo>
                  <a:cubicBezTo>
                    <a:pt x="1164316" y="131162"/>
                    <a:pt x="1156677" y="127991"/>
                    <a:pt x="1146588" y="127991"/>
                  </a:cubicBezTo>
                  <a:cubicBezTo>
                    <a:pt x="1136498" y="127991"/>
                    <a:pt x="1127850" y="131739"/>
                    <a:pt x="1121653" y="139378"/>
                  </a:cubicBezTo>
                  <a:cubicBezTo>
                    <a:pt x="1115455" y="147017"/>
                    <a:pt x="1112284" y="156962"/>
                    <a:pt x="1112284" y="169069"/>
                  </a:cubicBezTo>
                  <a:lnTo>
                    <a:pt x="1112284" y="276738"/>
                  </a:lnTo>
                  <a:lnTo>
                    <a:pt x="1050306" y="276738"/>
                  </a:lnTo>
                  <a:lnTo>
                    <a:pt x="1050306" y="1874"/>
                  </a:lnTo>
                  <a:close/>
                  <a:moveTo>
                    <a:pt x="1362645" y="282936"/>
                  </a:moveTo>
                  <a:cubicBezTo>
                    <a:pt x="1346935" y="282936"/>
                    <a:pt x="1332665" y="280341"/>
                    <a:pt x="1319837" y="275152"/>
                  </a:cubicBezTo>
                  <a:cubicBezTo>
                    <a:pt x="1307009" y="269963"/>
                    <a:pt x="1296055" y="262757"/>
                    <a:pt x="1286830" y="253388"/>
                  </a:cubicBezTo>
                  <a:cubicBezTo>
                    <a:pt x="1277750" y="244163"/>
                    <a:pt x="1270687" y="233209"/>
                    <a:pt x="1265787" y="220670"/>
                  </a:cubicBezTo>
                  <a:cubicBezTo>
                    <a:pt x="1260886" y="208130"/>
                    <a:pt x="1258292" y="194437"/>
                    <a:pt x="1258292" y="179735"/>
                  </a:cubicBezTo>
                  <a:cubicBezTo>
                    <a:pt x="1258292" y="165034"/>
                    <a:pt x="1260742" y="151341"/>
                    <a:pt x="1265787" y="138801"/>
                  </a:cubicBezTo>
                  <a:cubicBezTo>
                    <a:pt x="1270687" y="126262"/>
                    <a:pt x="1277750" y="115307"/>
                    <a:pt x="1286830" y="106083"/>
                  </a:cubicBezTo>
                  <a:cubicBezTo>
                    <a:pt x="1295911" y="96858"/>
                    <a:pt x="1307009" y="89651"/>
                    <a:pt x="1319837" y="84463"/>
                  </a:cubicBezTo>
                  <a:cubicBezTo>
                    <a:pt x="1332665" y="79274"/>
                    <a:pt x="1346935" y="76679"/>
                    <a:pt x="1362645" y="76679"/>
                  </a:cubicBezTo>
                  <a:cubicBezTo>
                    <a:pt x="1378356" y="76679"/>
                    <a:pt x="1392625" y="79274"/>
                    <a:pt x="1405453" y="84463"/>
                  </a:cubicBezTo>
                  <a:cubicBezTo>
                    <a:pt x="1418281" y="89651"/>
                    <a:pt x="1429235" y="96858"/>
                    <a:pt x="1438171" y="106083"/>
                  </a:cubicBezTo>
                  <a:cubicBezTo>
                    <a:pt x="1447108" y="115307"/>
                    <a:pt x="1454170" y="126262"/>
                    <a:pt x="1459071" y="138801"/>
                  </a:cubicBezTo>
                  <a:cubicBezTo>
                    <a:pt x="1463971" y="151341"/>
                    <a:pt x="1466422" y="165034"/>
                    <a:pt x="1466422" y="179735"/>
                  </a:cubicBezTo>
                  <a:cubicBezTo>
                    <a:pt x="1466422" y="194437"/>
                    <a:pt x="1463971" y="208130"/>
                    <a:pt x="1459071" y="220670"/>
                  </a:cubicBezTo>
                  <a:cubicBezTo>
                    <a:pt x="1454170" y="233209"/>
                    <a:pt x="1447108" y="244163"/>
                    <a:pt x="1438171" y="253388"/>
                  </a:cubicBezTo>
                  <a:cubicBezTo>
                    <a:pt x="1429235" y="262613"/>
                    <a:pt x="1418281" y="269819"/>
                    <a:pt x="1405453" y="275152"/>
                  </a:cubicBezTo>
                  <a:cubicBezTo>
                    <a:pt x="1392625" y="280341"/>
                    <a:pt x="1378356" y="282936"/>
                    <a:pt x="1362645" y="282936"/>
                  </a:cubicBezTo>
                  <a:moveTo>
                    <a:pt x="1362213" y="238830"/>
                  </a:moveTo>
                  <a:cubicBezTo>
                    <a:pt x="1375905" y="238830"/>
                    <a:pt x="1386283" y="233497"/>
                    <a:pt x="1393201" y="222687"/>
                  </a:cubicBezTo>
                  <a:cubicBezTo>
                    <a:pt x="1400264" y="211877"/>
                    <a:pt x="1403723" y="197608"/>
                    <a:pt x="1403723" y="179880"/>
                  </a:cubicBezTo>
                  <a:cubicBezTo>
                    <a:pt x="1403723" y="162151"/>
                    <a:pt x="1400264" y="147738"/>
                    <a:pt x="1393201" y="136928"/>
                  </a:cubicBezTo>
                  <a:cubicBezTo>
                    <a:pt x="1386283" y="125973"/>
                    <a:pt x="1375905" y="120496"/>
                    <a:pt x="1362213" y="120496"/>
                  </a:cubicBezTo>
                  <a:cubicBezTo>
                    <a:pt x="1348520" y="120496"/>
                    <a:pt x="1338286" y="125973"/>
                    <a:pt x="1331368" y="136928"/>
                  </a:cubicBezTo>
                  <a:cubicBezTo>
                    <a:pt x="1324594" y="147882"/>
                    <a:pt x="1321134" y="162151"/>
                    <a:pt x="1321134" y="179880"/>
                  </a:cubicBezTo>
                  <a:cubicBezTo>
                    <a:pt x="1321134" y="197608"/>
                    <a:pt x="1324594" y="211877"/>
                    <a:pt x="1331368" y="222687"/>
                  </a:cubicBezTo>
                  <a:cubicBezTo>
                    <a:pt x="1338286" y="233497"/>
                    <a:pt x="1348520" y="238830"/>
                    <a:pt x="1362213" y="238830"/>
                  </a:cubicBezTo>
                  <a:moveTo>
                    <a:pt x="1554488" y="282647"/>
                  </a:moveTo>
                  <a:cubicBezTo>
                    <a:pt x="1531859" y="282647"/>
                    <a:pt x="1514851" y="276017"/>
                    <a:pt x="1503320" y="262613"/>
                  </a:cubicBezTo>
                  <a:cubicBezTo>
                    <a:pt x="1491789" y="249352"/>
                    <a:pt x="1486024" y="231768"/>
                    <a:pt x="1486024" y="209859"/>
                  </a:cubicBezTo>
                  <a:lnTo>
                    <a:pt x="1486024" y="82012"/>
                  </a:lnTo>
                  <a:lnTo>
                    <a:pt x="1547713" y="82012"/>
                  </a:lnTo>
                  <a:lnTo>
                    <a:pt x="1547713" y="197032"/>
                  </a:lnTo>
                  <a:cubicBezTo>
                    <a:pt x="1547713" y="207697"/>
                    <a:pt x="1550164" y="215913"/>
                    <a:pt x="1554920" y="221534"/>
                  </a:cubicBezTo>
                  <a:cubicBezTo>
                    <a:pt x="1559677" y="227300"/>
                    <a:pt x="1567172" y="230038"/>
                    <a:pt x="1576973" y="230038"/>
                  </a:cubicBezTo>
                  <a:cubicBezTo>
                    <a:pt x="1587639" y="230038"/>
                    <a:pt x="1595998" y="226435"/>
                    <a:pt x="1602052" y="219228"/>
                  </a:cubicBezTo>
                  <a:cubicBezTo>
                    <a:pt x="1608106" y="212021"/>
                    <a:pt x="1611132" y="202509"/>
                    <a:pt x="1611132" y="190834"/>
                  </a:cubicBezTo>
                  <a:lnTo>
                    <a:pt x="1611132" y="82012"/>
                  </a:lnTo>
                  <a:lnTo>
                    <a:pt x="1673110" y="82012"/>
                  </a:lnTo>
                  <a:lnTo>
                    <a:pt x="1673110" y="276882"/>
                  </a:lnTo>
                  <a:lnTo>
                    <a:pt x="1613727" y="276882"/>
                  </a:lnTo>
                  <a:lnTo>
                    <a:pt x="1613727" y="252956"/>
                  </a:lnTo>
                  <a:lnTo>
                    <a:pt x="1612574" y="252956"/>
                  </a:lnTo>
                  <a:cubicBezTo>
                    <a:pt x="1605511" y="262613"/>
                    <a:pt x="1597440" y="269963"/>
                    <a:pt x="1588359" y="275008"/>
                  </a:cubicBezTo>
                  <a:cubicBezTo>
                    <a:pt x="1579423" y="280053"/>
                    <a:pt x="1568036" y="282647"/>
                    <a:pt x="1554344" y="282647"/>
                  </a:cubicBezTo>
                  <a:moveTo>
                    <a:pt x="1789571" y="283080"/>
                  </a:moveTo>
                  <a:cubicBezTo>
                    <a:pt x="1760888" y="283080"/>
                    <a:pt x="1738259" y="276882"/>
                    <a:pt x="1721395" y="264630"/>
                  </a:cubicBezTo>
                  <a:cubicBezTo>
                    <a:pt x="1704676" y="252379"/>
                    <a:pt x="1695739" y="235371"/>
                    <a:pt x="1694730" y="213751"/>
                  </a:cubicBezTo>
                  <a:lnTo>
                    <a:pt x="1753393" y="213751"/>
                  </a:lnTo>
                  <a:cubicBezTo>
                    <a:pt x="1754690" y="223408"/>
                    <a:pt x="1758294" y="230615"/>
                    <a:pt x="1764491" y="235515"/>
                  </a:cubicBezTo>
                  <a:cubicBezTo>
                    <a:pt x="1770545" y="240272"/>
                    <a:pt x="1778761" y="242722"/>
                    <a:pt x="1789282" y="242722"/>
                  </a:cubicBezTo>
                  <a:cubicBezTo>
                    <a:pt x="1798651" y="242722"/>
                    <a:pt x="1806146" y="241137"/>
                    <a:pt x="1811479" y="237821"/>
                  </a:cubicBezTo>
                  <a:cubicBezTo>
                    <a:pt x="1816956" y="234506"/>
                    <a:pt x="1819695" y="229750"/>
                    <a:pt x="1819695" y="223408"/>
                  </a:cubicBezTo>
                  <a:cubicBezTo>
                    <a:pt x="1819695" y="219084"/>
                    <a:pt x="1818253" y="215625"/>
                    <a:pt x="1815515" y="212886"/>
                  </a:cubicBezTo>
                  <a:cubicBezTo>
                    <a:pt x="1812776" y="210292"/>
                    <a:pt x="1809029" y="208130"/>
                    <a:pt x="1804416" y="206400"/>
                  </a:cubicBezTo>
                  <a:cubicBezTo>
                    <a:pt x="1799804" y="204815"/>
                    <a:pt x="1794615" y="203518"/>
                    <a:pt x="1788562" y="202653"/>
                  </a:cubicBezTo>
                  <a:cubicBezTo>
                    <a:pt x="1782652" y="201788"/>
                    <a:pt x="1776454" y="200635"/>
                    <a:pt x="1770112" y="199482"/>
                  </a:cubicBezTo>
                  <a:cubicBezTo>
                    <a:pt x="1761753" y="197896"/>
                    <a:pt x="1753393" y="196167"/>
                    <a:pt x="1745033" y="194005"/>
                  </a:cubicBezTo>
                  <a:cubicBezTo>
                    <a:pt x="1736673" y="191843"/>
                    <a:pt x="1729178" y="188672"/>
                    <a:pt x="1722404" y="184348"/>
                  </a:cubicBezTo>
                  <a:cubicBezTo>
                    <a:pt x="1715630" y="180024"/>
                    <a:pt x="1710297" y="174258"/>
                    <a:pt x="1706261" y="167052"/>
                  </a:cubicBezTo>
                  <a:cubicBezTo>
                    <a:pt x="1702225" y="159845"/>
                    <a:pt x="1700207" y="150476"/>
                    <a:pt x="1700207" y="139090"/>
                  </a:cubicBezTo>
                  <a:cubicBezTo>
                    <a:pt x="1700207" y="129000"/>
                    <a:pt x="1702369" y="119920"/>
                    <a:pt x="1706837" y="111992"/>
                  </a:cubicBezTo>
                  <a:cubicBezTo>
                    <a:pt x="1711306" y="104209"/>
                    <a:pt x="1717359" y="97579"/>
                    <a:pt x="1724999" y="92390"/>
                  </a:cubicBezTo>
                  <a:cubicBezTo>
                    <a:pt x="1732638" y="87201"/>
                    <a:pt x="1741574" y="83310"/>
                    <a:pt x="1751808" y="80571"/>
                  </a:cubicBezTo>
                  <a:cubicBezTo>
                    <a:pt x="1762041" y="77977"/>
                    <a:pt x="1772995" y="76535"/>
                    <a:pt x="1784382" y="76535"/>
                  </a:cubicBezTo>
                  <a:cubicBezTo>
                    <a:pt x="1812056" y="76535"/>
                    <a:pt x="1833243" y="82157"/>
                    <a:pt x="1847945" y="93255"/>
                  </a:cubicBezTo>
                  <a:cubicBezTo>
                    <a:pt x="1862647" y="104353"/>
                    <a:pt x="1870718" y="119631"/>
                    <a:pt x="1872304" y="138945"/>
                  </a:cubicBezTo>
                  <a:lnTo>
                    <a:pt x="1815226" y="138945"/>
                  </a:lnTo>
                  <a:cubicBezTo>
                    <a:pt x="1813929" y="130009"/>
                    <a:pt x="1810614" y="124100"/>
                    <a:pt x="1805137" y="120929"/>
                  </a:cubicBezTo>
                  <a:cubicBezTo>
                    <a:pt x="1799660" y="117758"/>
                    <a:pt x="1792598" y="116172"/>
                    <a:pt x="1783949" y="116172"/>
                  </a:cubicBezTo>
                  <a:cubicBezTo>
                    <a:pt x="1776310" y="116172"/>
                    <a:pt x="1769968" y="117614"/>
                    <a:pt x="1764780" y="120496"/>
                  </a:cubicBezTo>
                  <a:cubicBezTo>
                    <a:pt x="1759591" y="123379"/>
                    <a:pt x="1756996" y="127847"/>
                    <a:pt x="1756996" y="134045"/>
                  </a:cubicBezTo>
                  <a:cubicBezTo>
                    <a:pt x="1756996" y="137648"/>
                    <a:pt x="1758294" y="140387"/>
                    <a:pt x="1760744" y="142405"/>
                  </a:cubicBezTo>
                  <a:cubicBezTo>
                    <a:pt x="1763338" y="144423"/>
                    <a:pt x="1766653" y="146152"/>
                    <a:pt x="1770977" y="147593"/>
                  </a:cubicBezTo>
                  <a:cubicBezTo>
                    <a:pt x="1775301" y="149035"/>
                    <a:pt x="1780346" y="150188"/>
                    <a:pt x="1785967" y="151197"/>
                  </a:cubicBezTo>
                  <a:cubicBezTo>
                    <a:pt x="1791733" y="152206"/>
                    <a:pt x="1797642" y="153215"/>
                    <a:pt x="1803696" y="154224"/>
                  </a:cubicBezTo>
                  <a:cubicBezTo>
                    <a:pt x="1812344" y="155665"/>
                    <a:pt x="1820992" y="157539"/>
                    <a:pt x="1829784" y="159701"/>
                  </a:cubicBezTo>
                  <a:cubicBezTo>
                    <a:pt x="1838576" y="161863"/>
                    <a:pt x="1846504" y="165178"/>
                    <a:pt x="1853710" y="169790"/>
                  </a:cubicBezTo>
                  <a:cubicBezTo>
                    <a:pt x="1860917" y="174402"/>
                    <a:pt x="1866827" y="180456"/>
                    <a:pt x="1871439" y="188239"/>
                  </a:cubicBezTo>
                  <a:cubicBezTo>
                    <a:pt x="1876051" y="196023"/>
                    <a:pt x="1878357" y="206112"/>
                    <a:pt x="1878357" y="218508"/>
                  </a:cubicBezTo>
                  <a:cubicBezTo>
                    <a:pt x="1878357" y="229173"/>
                    <a:pt x="1876051" y="238542"/>
                    <a:pt x="1871727" y="246614"/>
                  </a:cubicBezTo>
                  <a:cubicBezTo>
                    <a:pt x="1867259" y="254685"/>
                    <a:pt x="1861061" y="261460"/>
                    <a:pt x="1853278" y="266792"/>
                  </a:cubicBezTo>
                  <a:cubicBezTo>
                    <a:pt x="1845350" y="272125"/>
                    <a:pt x="1835982" y="276161"/>
                    <a:pt x="1825172" y="279044"/>
                  </a:cubicBezTo>
                  <a:cubicBezTo>
                    <a:pt x="1814218" y="281782"/>
                    <a:pt x="1802399" y="283224"/>
                    <a:pt x="1789715" y="283224"/>
                  </a:cubicBezTo>
                  <a:moveTo>
                    <a:pt x="1999430" y="282791"/>
                  </a:moveTo>
                  <a:cubicBezTo>
                    <a:pt x="1983431" y="282791"/>
                    <a:pt x="1969018" y="280197"/>
                    <a:pt x="1956046" y="275008"/>
                  </a:cubicBezTo>
                  <a:cubicBezTo>
                    <a:pt x="1943073" y="269819"/>
                    <a:pt x="1932263" y="262613"/>
                    <a:pt x="1923327" y="253244"/>
                  </a:cubicBezTo>
                  <a:cubicBezTo>
                    <a:pt x="1914391" y="244019"/>
                    <a:pt x="1907617" y="233065"/>
                    <a:pt x="1902716" y="220381"/>
                  </a:cubicBezTo>
                  <a:cubicBezTo>
                    <a:pt x="1897960" y="207697"/>
                    <a:pt x="1895509" y="194005"/>
                    <a:pt x="1895509" y="179303"/>
                  </a:cubicBezTo>
                  <a:cubicBezTo>
                    <a:pt x="1895509" y="164601"/>
                    <a:pt x="1897960" y="151341"/>
                    <a:pt x="1902716" y="138801"/>
                  </a:cubicBezTo>
                  <a:cubicBezTo>
                    <a:pt x="1907473" y="126262"/>
                    <a:pt x="1914391" y="115307"/>
                    <a:pt x="1923327" y="106083"/>
                  </a:cubicBezTo>
                  <a:cubicBezTo>
                    <a:pt x="1932263" y="96858"/>
                    <a:pt x="1942785" y="89651"/>
                    <a:pt x="1954893" y="84463"/>
                  </a:cubicBezTo>
                  <a:cubicBezTo>
                    <a:pt x="1967144" y="79274"/>
                    <a:pt x="1980693" y="76679"/>
                    <a:pt x="1995683" y="76679"/>
                  </a:cubicBezTo>
                  <a:cubicBezTo>
                    <a:pt x="2009664" y="76679"/>
                    <a:pt x="2022059" y="78841"/>
                    <a:pt x="2033157" y="83165"/>
                  </a:cubicBezTo>
                  <a:cubicBezTo>
                    <a:pt x="2044256" y="87489"/>
                    <a:pt x="2053913" y="93399"/>
                    <a:pt x="2062273" y="101038"/>
                  </a:cubicBezTo>
                  <a:cubicBezTo>
                    <a:pt x="2073947" y="111704"/>
                    <a:pt x="2082596" y="125253"/>
                    <a:pt x="2088361" y="141540"/>
                  </a:cubicBezTo>
                  <a:cubicBezTo>
                    <a:pt x="2094126" y="157971"/>
                    <a:pt x="2096865" y="175988"/>
                    <a:pt x="2096577" y="195734"/>
                  </a:cubicBezTo>
                  <a:lnTo>
                    <a:pt x="1956478" y="195734"/>
                  </a:lnTo>
                  <a:cubicBezTo>
                    <a:pt x="1958496" y="208995"/>
                    <a:pt x="1963108" y="219372"/>
                    <a:pt x="1970171" y="227011"/>
                  </a:cubicBezTo>
                  <a:cubicBezTo>
                    <a:pt x="1977233" y="234651"/>
                    <a:pt x="1987323" y="238398"/>
                    <a:pt x="2000295" y="238398"/>
                  </a:cubicBezTo>
                  <a:cubicBezTo>
                    <a:pt x="2008366" y="238398"/>
                    <a:pt x="2015141" y="236668"/>
                    <a:pt x="2020474" y="233209"/>
                  </a:cubicBezTo>
                  <a:cubicBezTo>
                    <a:pt x="2025807" y="229750"/>
                    <a:pt x="2029842" y="224994"/>
                    <a:pt x="2032725" y="218940"/>
                  </a:cubicBezTo>
                  <a:lnTo>
                    <a:pt x="2093262" y="218940"/>
                  </a:lnTo>
                  <a:cubicBezTo>
                    <a:pt x="2091244" y="227876"/>
                    <a:pt x="2087496" y="236236"/>
                    <a:pt x="2081875" y="244308"/>
                  </a:cubicBezTo>
                  <a:cubicBezTo>
                    <a:pt x="2076254" y="252379"/>
                    <a:pt x="2069191" y="259153"/>
                    <a:pt x="2060543" y="265063"/>
                  </a:cubicBezTo>
                  <a:cubicBezTo>
                    <a:pt x="2052472" y="270972"/>
                    <a:pt x="2043391" y="275296"/>
                    <a:pt x="2033302" y="278323"/>
                  </a:cubicBezTo>
                  <a:cubicBezTo>
                    <a:pt x="2023212" y="281350"/>
                    <a:pt x="2011970" y="282936"/>
                    <a:pt x="1999574" y="282936"/>
                  </a:cubicBezTo>
                  <a:moveTo>
                    <a:pt x="2033878" y="158836"/>
                  </a:moveTo>
                  <a:cubicBezTo>
                    <a:pt x="2032581" y="147161"/>
                    <a:pt x="2028689" y="137936"/>
                    <a:pt x="2022059" y="131018"/>
                  </a:cubicBezTo>
                  <a:cubicBezTo>
                    <a:pt x="2015429" y="124244"/>
                    <a:pt x="2007069" y="120784"/>
                    <a:pt x="1996980" y="120784"/>
                  </a:cubicBezTo>
                  <a:cubicBezTo>
                    <a:pt x="1985017" y="120784"/>
                    <a:pt x="1975936" y="124244"/>
                    <a:pt x="1969594" y="131018"/>
                  </a:cubicBezTo>
                  <a:cubicBezTo>
                    <a:pt x="1963252" y="137936"/>
                    <a:pt x="1959072" y="147161"/>
                    <a:pt x="1957055" y="158836"/>
                  </a:cubicBezTo>
                  <a:lnTo>
                    <a:pt x="2033878" y="158836"/>
                  </a:lnTo>
                  <a:close/>
                </a:path>
              </a:pathLst>
            </a:custGeom>
            <a:solidFill>
              <a:srgbClr val="000000"/>
            </a:solidFill>
            <a:ln w="0"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0C81B6D3-A66D-8259-C0DD-97A297F4A0B1}"/>
                </a:ext>
              </a:extLst>
            </p:cNvPr>
            <p:cNvSpPr/>
            <p:nvPr/>
          </p:nvSpPr>
          <p:spPr>
            <a:xfrm>
              <a:off x="882878" y="557212"/>
              <a:ext cx="273278" cy="674980"/>
            </a:xfrm>
            <a:custGeom>
              <a:avLst/>
              <a:gdLst>
                <a:gd name="connsiteX0" fmla="*/ 0 w 273278"/>
                <a:gd name="connsiteY0" fmla="*/ 0 h 674980"/>
                <a:gd name="connsiteX1" fmla="*/ 0 w 273278"/>
                <a:gd name="connsiteY1" fmla="*/ 476508 h 674980"/>
                <a:gd name="connsiteX2" fmla="*/ 272558 w 273278"/>
                <a:gd name="connsiteY2" fmla="*/ 674981 h 674980"/>
                <a:gd name="connsiteX3" fmla="*/ 273278 w 273278"/>
                <a:gd name="connsiteY3" fmla="*/ 674260 h 674980"/>
                <a:gd name="connsiteX4" fmla="*/ 0 w 273278"/>
                <a:gd name="connsiteY4" fmla="*/ 0 h 674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980">
                  <a:moveTo>
                    <a:pt x="0" y="0"/>
                  </a:moveTo>
                  <a:lnTo>
                    <a:pt x="0" y="476508"/>
                  </a:lnTo>
                  <a:lnTo>
                    <a:pt x="272558" y="674981"/>
                  </a:lnTo>
                  <a:cubicBezTo>
                    <a:pt x="272558" y="674981"/>
                    <a:pt x="273134" y="674404"/>
                    <a:pt x="273278" y="674260"/>
                  </a:cubicBezTo>
                  <a:lnTo>
                    <a:pt x="0" y="0"/>
                  </a:lnTo>
                  <a:close/>
                </a:path>
              </a:pathLst>
            </a:custGeom>
            <a:solidFill>
              <a:srgbClr val="93D500"/>
            </a:solidFill>
            <a:ln w="0"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DFB5D050-2221-BBA3-9A1D-21B84CC42A4A}"/>
                </a:ext>
              </a:extLst>
            </p:cNvPr>
            <p:cNvSpPr/>
            <p:nvPr/>
          </p:nvSpPr>
          <p:spPr>
            <a:xfrm>
              <a:off x="609600" y="557212"/>
              <a:ext cx="273278" cy="674836"/>
            </a:xfrm>
            <a:custGeom>
              <a:avLst/>
              <a:gdLst>
                <a:gd name="connsiteX0" fmla="*/ 0 w 273278"/>
                <a:gd name="connsiteY0" fmla="*/ 674116 h 674836"/>
                <a:gd name="connsiteX1" fmla="*/ 721 w 273278"/>
                <a:gd name="connsiteY1" fmla="*/ 674837 h 674836"/>
                <a:gd name="connsiteX2" fmla="*/ 273278 w 273278"/>
                <a:gd name="connsiteY2" fmla="*/ 476364 h 674836"/>
                <a:gd name="connsiteX3" fmla="*/ 273278 w 273278"/>
                <a:gd name="connsiteY3" fmla="*/ 0 h 674836"/>
                <a:gd name="connsiteX4" fmla="*/ 0 w 273278"/>
                <a:gd name="connsiteY4" fmla="*/ 674116 h 674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278" h="674836">
                  <a:moveTo>
                    <a:pt x="0" y="674116"/>
                  </a:moveTo>
                  <a:cubicBezTo>
                    <a:pt x="0" y="674116"/>
                    <a:pt x="577" y="674692"/>
                    <a:pt x="721" y="674837"/>
                  </a:cubicBezTo>
                  <a:lnTo>
                    <a:pt x="273278" y="476364"/>
                  </a:lnTo>
                  <a:lnTo>
                    <a:pt x="273278" y="0"/>
                  </a:lnTo>
                  <a:lnTo>
                    <a:pt x="0" y="674116"/>
                  </a:lnTo>
                  <a:close/>
                </a:path>
              </a:pathLst>
            </a:custGeom>
            <a:solidFill>
              <a:srgbClr val="000000"/>
            </a:solidFill>
            <a:ln w="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77568555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2 - Light">
    <p:bg>
      <p:bgPr>
        <a:solidFill>
          <a:srgbClr val="F3F3F3"/>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A392F83-2467-8DF1-A072-47811A39DF5F}"/>
              </a:ext>
            </a:extLst>
          </p:cNvPr>
          <p:cNvGrpSpPr/>
          <p:nvPr/>
        </p:nvGrpSpPr>
        <p:grpSpPr>
          <a:xfrm>
            <a:off x="938562" y="1983578"/>
            <a:ext cx="7556215" cy="1"/>
            <a:chOff x="938562" y="1983578"/>
            <a:chExt cx="7556215" cy="1"/>
          </a:xfrm>
        </p:grpSpPr>
        <p:cxnSp>
          <p:nvCxnSpPr>
            <p:cNvPr id="2" name="Straight Connector 1">
              <a:extLst>
                <a:ext uri="{FF2B5EF4-FFF2-40B4-BE49-F238E27FC236}">
                  <a16:creationId xmlns:a16="http://schemas.microsoft.com/office/drawing/2014/main" id="{0E4290B1-C5D4-50D5-BCF3-3E59301DBD78}"/>
                </a:ext>
              </a:extLst>
            </p:cNvPr>
            <p:cNvCxnSpPr>
              <a:cxnSpLocks/>
            </p:cNvCxnSpPr>
            <p:nvPr/>
          </p:nvCxnSpPr>
          <p:spPr>
            <a:xfrm flipH="1">
              <a:off x="938562" y="1983578"/>
              <a:ext cx="755621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7537F7F-A3FD-E47E-4415-2126205ED623}"/>
                </a:ext>
              </a:extLst>
            </p:cNvPr>
            <p:cNvCxnSpPr>
              <a:cxnSpLocks/>
            </p:cNvCxnSpPr>
            <p:nvPr/>
          </p:nvCxnSpPr>
          <p:spPr>
            <a:xfrm rot="5400000" flipH="1">
              <a:off x="1543059" y="1379082"/>
              <a:ext cx="0" cy="1208993"/>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4" name="Graphic 3">
            <a:extLst>
              <a:ext uri="{FF2B5EF4-FFF2-40B4-BE49-F238E27FC236}">
                <a16:creationId xmlns:a16="http://schemas.microsoft.com/office/drawing/2014/main" id="{F6EA8AA0-F903-6C8E-6D87-56CECC2A2D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8562" y="1066649"/>
            <a:ext cx="1783555" cy="453120"/>
          </a:xfrm>
          <a:prstGeom prst="rect">
            <a:avLst/>
          </a:prstGeom>
        </p:spPr>
      </p:pic>
      <p:sp>
        <p:nvSpPr>
          <p:cNvPr id="15" name="Text Placeholder 14">
            <a:extLst>
              <a:ext uri="{FF2B5EF4-FFF2-40B4-BE49-F238E27FC236}">
                <a16:creationId xmlns:a16="http://schemas.microsoft.com/office/drawing/2014/main" id="{1CA173CA-8280-BC75-9ADA-A758945C9B57}"/>
              </a:ext>
            </a:extLst>
          </p:cNvPr>
          <p:cNvSpPr>
            <a:spLocks noGrp="1"/>
          </p:cNvSpPr>
          <p:nvPr>
            <p:ph type="body" sz="quarter" idx="10" hasCustomPrompt="1"/>
          </p:nvPr>
        </p:nvSpPr>
        <p:spPr>
          <a:xfrm>
            <a:off x="938562" y="2453998"/>
            <a:ext cx="7552944" cy="2000804"/>
          </a:xfrm>
        </p:spPr>
        <p:txBody>
          <a:bodyPr wrap="square" anchor="t">
            <a:noAutofit/>
          </a:bodyPr>
          <a:lstStyle>
            <a:lvl1pPr>
              <a:lnSpc>
                <a:spcPct val="90000"/>
              </a:lnSpc>
              <a:spcAft>
                <a:spcPts val="0"/>
              </a:spcAft>
              <a:defRPr sz="72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a:t>
            </a:r>
            <a:br>
              <a:rPr lang="en-US"/>
            </a:br>
            <a:r>
              <a:rPr lang="en-US"/>
              <a:t>Title Here</a:t>
            </a:r>
          </a:p>
        </p:txBody>
      </p:sp>
      <p:sp>
        <p:nvSpPr>
          <p:cNvPr id="16" name="Text Placeholder 16">
            <a:extLst>
              <a:ext uri="{FF2B5EF4-FFF2-40B4-BE49-F238E27FC236}">
                <a16:creationId xmlns:a16="http://schemas.microsoft.com/office/drawing/2014/main" id="{0A035E54-E921-86F2-0D4B-5D1D8B09F809}"/>
              </a:ext>
            </a:extLst>
          </p:cNvPr>
          <p:cNvSpPr>
            <a:spLocks noGrp="1"/>
          </p:cNvSpPr>
          <p:nvPr>
            <p:ph type="body" sz="quarter" idx="12" hasCustomPrompt="1"/>
          </p:nvPr>
        </p:nvSpPr>
        <p:spPr>
          <a:xfrm>
            <a:off x="938562" y="5956756"/>
            <a:ext cx="7552944" cy="215444"/>
          </a:xfrm>
        </p:spPr>
        <p:txBody>
          <a:bodyPr anchor="b">
            <a:noAutofit/>
          </a:bodyPr>
          <a:lstStyle>
            <a:lvl1pPr>
              <a:spcAft>
                <a:spcPts val="0"/>
              </a:spcAft>
              <a:defRPr sz="1400" b="1" cap="all" spc="300" baseline="0">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dustry name</a:t>
            </a:r>
          </a:p>
        </p:txBody>
      </p:sp>
      <p:sp>
        <p:nvSpPr>
          <p:cNvPr id="17" name="Text Placeholder 16">
            <a:extLst>
              <a:ext uri="{FF2B5EF4-FFF2-40B4-BE49-F238E27FC236}">
                <a16:creationId xmlns:a16="http://schemas.microsoft.com/office/drawing/2014/main" id="{F319FCB8-4E4F-F7FC-F575-05569591DC4D}"/>
              </a:ext>
            </a:extLst>
          </p:cNvPr>
          <p:cNvSpPr>
            <a:spLocks noGrp="1"/>
          </p:cNvSpPr>
          <p:nvPr>
            <p:ph type="body" sz="quarter" idx="11" hasCustomPrompt="1"/>
          </p:nvPr>
        </p:nvSpPr>
        <p:spPr>
          <a:xfrm>
            <a:off x="938562" y="4942006"/>
            <a:ext cx="7552295" cy="738664"/>
          </a:xfrm>
        </p:spPr>
        <p:txBody>
          <a:bodyPr anchor="b">
            <a:noAutofit/>
          </a:bodyPr>
          <a:lstStyle>
            <a:lvl1pPr algn="l">
              <a:spcAft>
                <a:spcPts val="0"/>
              </a:spcAft>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pic>
        <p:nvPicPr>
          <p:cNvPr id="6" name="Graphic 5">
            <a:extLst>
              <a:ext uri="{FF2B5EF4-FFF2-40B4-BE49-F238E27FC236}">
                <a16:creationId xmlns:a16="http://schemas.microsoft.com/office/drawing/2014/main" id="{905D1414-51F8-1738-37D9-17673BA32726}"/>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2950" b="2950"/>
          <a:stretch/>
        </p:blipFill>
        <p:spPr>
          <a:xfrm>
            <a:off x="9568093" y="1"/>
            <a:ext cx="2258568" cy="6858000"/>
          </a:xfrm>
          <a:prstGeom prst="rect">
            <a:avLst/>
          </a:prstGeom>
        </p:spPr>
      </p:pic>
    </p:spTree>
    <p:extLst>
      <p:ext uri="{BB962C8B-B14F-4D97-AF65-F5344CB8AC3E}">
        <p14:creationId xmlns:p14="http://schemas.microsoft.com/office/powerpoint/2010/main" val="36335245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 Light">
    <p:bg>
      <p:bgPr>
        <a:solidFill>
          <a:srgbClr val="F3F3F3"/>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0C8FFF-896B-C00B-0DB5-47AE19F7A2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54968733-400C-5979-E644-B56A408FA437}"/>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22D4DD51-735A-7535-A95D-705BC060EA7D}"/>
              </a:ext>
            </a:extLst>
          </p:cNvPr>
          <p:cNvSpPr>
            <a:spLocks noGrp="1"/>
          </p:cNvSpPr>
          <p:nvPr>
            <p:ph type="body" sz="quarter" idx="13"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3" name="Date Placeholder 12">
            <a:extLst>
              <a:ext uri="{FF2B5EF4-FFF2-40B4-BE49-F238E27FC236}">
                <a16:creationId xmlns:a16="http://schemas.microsoft.com/office/drawing/2014/main" id="{799F83DB-AA7E-BB5E-7B33-972A27C7753A}"/>
              </a:ext>
            </a:extLst>
          </p:cNvPr>
          <p:cNvSpPr>
            <a:spLocks noGrp="1"/>
          </p:cNvSpPr>
          <p:nvPr>
            <p:ph type="dt" sz="half" idx="14"/>
          </p:nvPr>
        </p:nvSpPr>
        <p:spPr>
          <a:xfrm>
            <a:off x="10236555" y="136647"/>
            <a:ext cx="1345845" cy="153888"/>
          </a:xfrm>
        </p:spPr>
        <p:txBody>
          <a:bodyPr>
            <a:noAutofit/>
          </a:bodyPr>
          <a:lstStyle>
            <a:lvl1pPr>
              <a:defRPr>
                <a:solidFill>
                  <a:schemeClr val="tx1">
                    <a:lumMod val="75000"/>
                    <a:lumOff val="25000"/>
                  </a:schemeClr>
                </a:solidFill>
              </a:defRPr>
            </a:lvl1pPr>
          </a:lstStyle>
          <a:p>
            <a:fld id="{F3BBCB4A-96EC-42F1-B069-CFD71CA20D1D}" type="datetime4">
              <a:rPr lang="en-US" smtClean="0"/>
              <a:t>May 17, 2025</a:t>
            </a:fld>
            <a:endParaRPr lang="en-US" dirty="0"/>
          </a:p>
        </p:txBody>
      </p:sp>
      <p:sp>
        <p:nvSpPr>
          <p:cNvPr id="2" name="Footer Placeholder 13">
            <a:extLst>
              <a:ext uri="{FF2B5EF4-FFF2-40B4-BE49-F238E27FC236}">
                <a16:creationId xmlns:a16="http://schemas.microsoft.com/office/drawing/2014/main" id="{1359ABA9-E719-0B1D-942C-C6EA5B5666DE}"/>
              </a:ext>
            </a:extLst>
          </p:cNvPr>
          <p:cNvSpPr>
            <a:spLocks noGrp="1" noRot="1" noMove="1" noResize="1" noEditPoints="1" noAdjustHandles="1" noChangeArrowheads="1" noChangeShapeType="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4 Guidehouse</a:t>
            </a:r>
          </a:p>
        </p:txBody>
      </p:sp>
      <p:sp>
        <p:nvSpPr>
          <p:cNvPr id="5" name="Slide Number Placeholder 14">
            <a:extLst>
              <a:ext uri="{FF2B5EF4-FFF2-40B4-BE49-F238E27FC236}">
                <a16:creationId xmlns:a16="http://schemas.microsoft.com/office/drawing/2014/main" id="{C05DBC64-9732-7E1D-33A5-8C08DBE34CE1}"/>
              </a:ext>
            </a:extLst>
          </p:cNvPr>
          <p:cNvSpPr>
            <a:spLocks noGrp="1" noRot="1" noMove="1" noResize="1" noEditPoints="1" noAdjustHandles="1" noChangeArrowheads="1" noChangeShapeType="1"/>
          </p:cNvSpPr>
          <p:nvPr>
            <p:ph type="sldNum" sz="quarter" idx="16"/>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Tree>
    <p:extLst>
      <p:ext uri="{BB962C8B-B14F-4D97-AF65-F5344CB8AC3E}">
        <p14:creationId xmlns:p14="http://schemas.microsoft.com/office/powerpoint/2010/main" val="14231386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and Content - Dark">
    <p:bg>
      <p:bgPr>
        <a:solidFill>
          <a:schemeClr val="tx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0C8FFF-896B-C00B-0DB5-47AE19F7A2A3}"/>
              </a:ext>
            </a:extLst>
          </p:cNvPr>
          <p:cNvSpPr>
            <a:spLocks noGrp="1"/>
          </p:cNvSpPr>
          <p:nvPr>
            <p:ph idx="1"/>
          </p:nvPr>
        </p:nvSpPr>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54968733-400C-5979-E644-B56A408FA43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22D4DD51-735A-7535-A95D-705BC060EA7D}"/>
              </a:ext>
            </a:extLst>
          </p:cNvPr>
          <p:cNvSpPr>
            <a:spLocks noGrp="1"/>
          </p:cNvSpPr>
          <p:nvPr>
            <p:ph type="body" sz="quarter" idx="13"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13" name="Date Placeholder 12">
            <a:extLst>
              <a:ext uri="{FF2B5EF4-FFF2-40B4-BE49-F238E27FC236}">
                <a16:creationId xmlns:a16="http://schemas.microsoft.com/office/drawing/2014/main" id="{799F83DB-AA7E-BB5E-7B33-972A27C7753A}"/>
              </a:ext>
            </a:extLst>
          </p:cNvPr>
          <p:cNvSpPr>
            <a:spLocks noGrp="1"/>
          </p:cNvSpPr>
          <p:nvPr>
            <p:ph type="dt" sz="half" idx="14"/>
          </p:nvPr>
        </p:nvSpPr>
        <p:spPr>
          <a:xfrm>
            <a:off x="10236555" y="138027"/>
            <a:ext cx="1345845" cy="153888"/>
          </a:xfrm>
        </p:spPr>
        <p:txBody>
          <a:bodyPr>
            <a:noAutofit/>
          </a:bodyPr>
          <a:lstStyle>
            <a:lvl1pPr>
              <a:defRPr>
                <a:solidFill>
                  <a:schemeClr val="bg1">
                    <a:lumMod val="65000"/>
                  </a:schemeClr>
                </a:solidFill>
              </a:defRPr>
            </a:lvl1pPr>
          </a:lstStyle>
          <a:p>
            <a:fld id="{8C57FC58-AF68-4D48-A6BA-854FC596FD33}" type="datetime4">
              <a:rPr lang="en-US" smtClean="0"/>
              <a:t>May 17, 2025</a:t>
            </a:fld>
            <a:endParaRPr lang="en-US" dirty="0"/>
          </a:p>
        </p:txBody>
      </p:sp>
      <p:sp>
        <p:nvSpPr>
          <p:cNvPr id="14" name="Footer Placeholder 13">
            <a:extLst>
              <a:ext uri="{FF2B5EF4-FFF2-40B4-BE49-F238E27FC236}">
                <a16:creationId xmlns:a16="http://schemas.microsoft.com/office/drawing/2014/main" id="{1359ABA9-E719-0B1D-942C-C6EA5B5666DE}"/>
              </a:ext>
            </a:extLst>
          </p:cNvPr>
          <p:cNvSpPr>
            <a:spLocks noGrp="1"/>
          </p:cNvSpPr>
          <p:nvPr>
            <p:ph type="ftr" sz="quarter" idx="15"/>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4 Guidehouse</a:t>
            </a:r>
          </a:p>
        </p:txBody>
      </p:sp>
      <p:sp>
        <p:nvSpPr>
          <p:cNvPr id="15" name="Slide Number Placeholder 14">
            <a:extLst>
              <a:ext uri="{FF2B5EF4-FFF2-40B4-BE49-F238E27FC236}">
                <a16:creationId xmlns:a16="http://schemas.microsoft.com/office/drawing/2014/main" id="{C05DBC64-9732-7E1D-33A5-8C08DBE34CE1}"/>
              </a:ext>
            </a:extLst>
          </p:cNvPr>
          <p:cNvSpPr>
            <a:spLocks noGrp="1"/>
          </p:cNvSpPr>
          <p:nvPr>
            <p:ph type="sldNum" sz="quarter" idx="16"/>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pic>
        <p:nvPicPr>
          <p:cNvPr id="2" name="Graphic 1">
            <a:extLst>
              <a:ext uri="{FF2B5EF4-FFF2-40B4-BE49-F238E27FC236}">
                <a16:creationId xmlns:a16="http://schemas.microsoft.com/office/drawing/2014/main" id="{E33F4F06-5D7C-327A-7908-6DE931CA6E3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6" name="Straight Connector 5">
            <a:extLst>
              <a:ext uri="{FF2B5EF4-FFF2-40B4-BE49-F238E27FC236}">
                <a16:creationId xmlns:a16="http://schemas.microsoft.com/office/drawing/2014/main" id="{AE5B9F64-B66D-E6EB-C8EC-A9824DAB4E8D}"/>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44C0331-4583-5CCE-84B1-9859951C2CDF}"/>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54509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Subtitle - Light">
    <p:bg>
      <p:bgPr>
        <a:solidFill>
          <a:srgbClr val="F3F3F3"/>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4 Guidehouse</a:t>
            </a:r>
          </a:p>
        </p:txBody>
      </p:sp>
      <p:sp>
        <p:nvSpPr>
          <p:cNvPr id="6" name="Slide Number Placeholder 5">
            <a:extLst>
              <a:ext uri="{FF2B5EF4-FFF2-40B4-BE49-F238E27FC236}">
                <a16:creationId xmlns:a16="http://schemas.microsoft.com/office/drawing/2014/main" id="{C2E6CDED-3690-C823-89B5-50C27CBFD364}"/>
              </a:ext>
            </a:extLst>
          </p:cNvPr>
          <p:cNvSpPr>
            <a:spLocks noGrp="1"/>
          </p:cNvSpPr>
          <p:nvPr>
            <p:ph type="sldNum" sz="quarter" idx="12"/>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109728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p:txBody>
          <a:bodyPr/>
          <a:lstStyle/>
          <a:p>
            <a:r>
              <a:rPr lang="en-US"/>
              <a:t>Click to edit Master title style</a:t>
            </a:r>
          </a:p>
        </p:txBody>
      </p:sp>
      <p:sp>
        <p:nvSpPr>
          <p:cNvPr id="9" name="Text Placeholder 7">
            <a:extLst>
              <a:ext uri="{FF2B5EF4-FFF2-40B4-BE49-F238E27FC236}">
                <a16:creationId xmlns:a16="http://schemas.microsoft.com/office/drawing/2014/main" id="{5CED7064-E79D-96CC-BCD5-91C093F5AB7D}"/>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Date Placeholder 12">
            <a:extLst>
              <a:ext uri="{FF2B5EF4-FFF2-40B4-BE49-F238E27FC236}">
                <a16:creationId xmlns:a16="http://schemas.microsoft.com/office/drawing/2014/main" id="{59D8E57A-19A4-8130-A78B-E7988B8DA91F}"/>
              </a:ext>
            </a:extLst>
          </p:cNvPr>
          <p:cNvSpPr>
            <a:spLocks noGrp="1"/>
          </p:cNvSpPr>
          <p:nvPr>
            <p:ph type="dt" sz="half" idx="15"/>
          </p:nvPr>
        </p:nvSpPr>
        <p:spPr>
          <a:xfrm>
            <a:off x="10236555" y="136647"/>
            <a:ext cx="1345845" cy="153888"/>
          </a:xfrm>
        </p:spPr>
        <p:txBody>
          <a:bodyPr>
            <a:noAutofit/>
          </a:bodyPr>
          <a:lstStyle>
            <a:lvl1pPr>
              <a:defRPr>
                <a:solidFill>
                  <a:schemeClr val="tx1">
                    <a:lumMod val="75000"/>
                    <a:lumOff val="25000"/>
                  </a:schemeClr>
                </a:solidFill>
              </a:defRPr>
            </a:lvl1pPr>
          </a:lstStyle>
          <a:p>
            <a:fld id="{078FAA32-B910-4033-ACC0-2DF9C585C3FB}" type="datetime4">
              <a:rPr lang="en-US" smtClean="0"/>
              <a:t>May 17, 2025</a:t>
            </a:fld>
            <a:endParaRPr lang="en-US" dirty="0"/>
          </a:p>
        </p:txBody>
      </p:sp>
    </p:spTree>
    <p:extLst>
      <p:ext uri="{BB962C8B-B14F-4D97-AF65-F5344CB8AC3E}">
        <p14:creationId xmlns:p14="http://schemas.microsoft.com/office/powerpoint/2010/main" val="11079130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3644F2F-8058-0037-6983-DD53BBDAE613}"/>
              </a:ext>
            </a:extLst>
          </p:cNvPr>
          <p:cNvSpPr>
            <a:spLocks noGrp="1"/>
          </p:cNvSpPr>
          <p:nvPr>
            <p:ph type="ftr" sz="quarter" idx="11"/>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4 Guidehouse</a:t>
            </a:r>
          </a:p>
        </p:txBody>
      </p:sp>
      <p:sp>
        <p:nvSpPr>
          <p:cNvPr id="4" name="Text Placeholder 3">
            <a:extLst>
              <a:ext uri="{FF2B5EF4-FFF2-40B4-BE49-F238E27FC236}">
                <a16:creationId xmlns:a16="http://schemas.microsoft.com/office/drawing/2014/main" id="{A5985037-0DF6-C09A-FF7F-5A35AE79B3BB}"/>
              </a:ext>
            </a:extLst>
          </p:cNvPr>
          <p:cNvSpPr>
            <a:spLocks noGrp="1"/>
          </p:cNvSpPr>
          <p:nvPr>
            <p:ph type="body" sz="quarter" idx="13" hasCustomPrompt="1"/>
          </p:nvPr>
        </p:nvSpPr>
        <p:spPr>
          <a:xfrm>
            <a:off x="609600" y="1380152"/>
            <a:ext cx="6705600" cy="307777"/>
          </a:xfrm>
        </p:spPr>
        <p:txBody>
          <a:bodyPr wrap="square">
            <a:noAutofit/>
          </a:bodyPr>
          <a:lstStyle>
            <a:lvl1pPr>
              <a:defRPr>
                <a:solidFill>
                  <a:schemeClr val="tx1">
                    <a:lumMod val="50000"/>
                    <a:lumOff val="50000"/>
                  </a:schemeClr>
                </a:solidFill>
              </a:defRPr>
            </a:lvl1pPr>
          </a:lstStyle>
          <a:p>
            <a:pPr lvl="0"/>
            <a:r>
              <a:rPr lang="en-US"/>
              <a:t>Subtitle</a:t>
            </a:r>
          </a:p>
        </p:txBody>
      </p:sp>
      <p:sp>
        <p:nvSpPr>
          <p:cNvPr id="3" name="Title 2">
            <a:extLst>
              <a:ext uri="{FF2B5EF4-FFF2-40B4-BE49-F238E27FC236}">
                <a16:creationId xmlns:a16="http://schemas.microsoft.com/office/drawing/2014/main" id="{88FE771C-AF3B-746F-8A25-2C5C4A481262}"/>
              </a:ext>
            </a:extLst>
          </p:cNvPr>
          <p:cNvSpPr>
            <a:spLocks noGrp="1"/>
          </p:cNvSpPr>
          <p:nvPr>
            <p:ph type="title"/>
          </p:nvPr>
        </p:nvSpPr>
        <p:spPr>
          <a:xfrm>
            <a:off x="609600" y="800754"/>
            <a:ext cx="6705600" cy="553998"/>
          </a:xfrm>
        </p:spPr>
        <p:txBody>
          <a:bodyPr/>
          <a:lstStyle/>
          <a:p>
            <a:r>
              <a:rPr lang="en-US"/>
              <a:t>Click to edit Master title style</a:t>
            </a:r>
          </a:p>
        </p:txBody>
      </p:sp>
      <p:sp>
        <p:nvSpPr>
          <p:cNvPr id="9" name="Text Placeholder 7">
            <a:extLst>
              <a:ext uri="{FF2B5EF4-FFF2-40B4-BE49-F238E27FC236}">
                <a16:creationId xmlns:a16="http://schemas.microsoft.com/office/drawing/2014/main" id="{5CED7064-E79D-96CC-BCD5-91C093F5AB7D}"/>
              </a:ext>
            </a:extLst>
          </p:cNvPr>
          <p:cNvSpPr>
            <a:spLocks noGrp="1"/>
          </p:cNvSpPr>
          <p:nvPr>
            <p:ph type="body" sz="quarter" idx="14"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2" name="Date Placeholder 12">
            <a:extLst>
              <a:ext uri="{FF2B5EF4-FFF2-40B4-BE49-F238E27FC236}">
                <a16:creationId xmlns:a16="http://schemas.microsoft.com/office/drawing/2014/main" id="{3BB0FB85-B250-7191-C62E-FCBF4D35D49F}"/>
              </a:ext>
            </a:extLst>
          </p:cNvPr>
          <p:cNvSpPr>
            <a:spLocks noGrp="1"/>
          </p:cNvSpPr>
          <p:nvPr>
            <p:ph type="dt" sz="half" idx="15"/>
          </p:nvPr>
        </p:nvSpPr>
        <p:spPr>
          <a:xfrm>
            <a:off x="10236555" y="136647"/>
            <a:ext cx="1345845" cy="153888"/>
          </a:xfrm>
        </p:spPr>
        <p:txBody>
          <a:bodyPr>
            <a:noAutofit/>
          </a:bodyPr>
          <a:lstStyle>
            <a:lvl1pPr>
              <a:defRPr>
                <a:solidFill>
                  <a:schemeClr val="tx1">
                    <a:lumMod val="75000"/>
                    <a:lumOff val="25000"/>
                  </a:schemeClr>
                </a:solidFill>
              </a:defRPr>
            </a:lvl1pPr>
          </a:lstStyle>
          <a:p>
            <a:fld id="{40A4C574-FC99-4BD6-93EA-66C88A52739F}" type="datetime4">
              <a:rPr lang="en-US" smtClean="0"/>
              <a:t>May 17, 2025</a:t>
            </a:fld>
            <a:endParaRPr lang="en-US" dirty="0"/>
          </a:p>
        </p:txBody>
      </p:sp>
    </p:spTree>
    <p:extLst>
      <p:ext uri="{BB962C8B-B14F-4D97-AF65-F5344CB8AC3E}">
        <p14:creationId xmlns:p14="http://schemas.microsoft.com/office/powerpoint/2010/main" val="38374353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itle + Subtitle - Dark">
    <p:bg>
      <p:bgPr>
        <a:solidFill>
          <a:schemeClr val="tx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968733-400C-5979-E644-B56A408FA437}"/>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7">
            <a:extLst>
              <a:ext uri="{FF2B5EF4-FFF2-40B4-BE49-F238E27FC236}">
                <a16:creationId xmlns:a16="http://schemas.microsoft.com/office/drawing/2014/main" id="{AD73F8FF-87F8-5777-F2B8-54C34E74CB5E}"/>
              </a:ext>
            </a:extLst>
          </p:cNvPr>
          <p:cNvSpPr>
            <a:spLocks noGrp="1"/>
          </p:cNvSpPr>
          <p:nvPr>
            <p:ph type="body" sz="quarter" idx="13" hasCustomPrompt="1"/>
          </p:nvPr>
        </p:nvSpPr>
        <p:spPr>
          <a:xfrm>
            <a:off x="609600" y="138027"/>
            <a:ext cx="4076700" cy="153888"/>
          </a:xfrm>
        </p:spPr>
        <p:txBody>
          <a:bodyPr anchor="ctr">
            <a:noAutofit/>
          </a:bodyPr>
          <a:lstStyle>
            <a:lvl1pPr>
              <a:spcAft>
                <a:spcPts val="0"/>
              </a:spcAft>
              <a:defRPr sz="1000" b="0" cap="all" spc="0" baseline="0">
                <a:solidFill>
                  <a:schemeClr val="accent1"/>
                </a:solidFill>
                <a:latin typeface="+mj-lt"/>
              </a:defRPr>
            </a:lvl1pPr>
          </a:lstStyle>
          <a:p>
            <a:pPr lvl="0"/>
            <a:r>
              <a:rPr lang="en-US"/>
              <a:t>Industry Name / Section Title</a:t>
            </a:r>
          </a:p>
        </p:txBody>
      </p:sp>
      <p:sp>
        <p:nvSpPr>
          <p:cNvPr id="5" name="Date Placeholder 12">
            <a:extLst>
              <a:ext uri="{FF2B5EF4-FFF2-40B4-BE49-F238E27FC236}">
                <a16:creationId xmlns:a16="http://schemas.microsoft.com/office/drawing/2014/main" id="{16B6FA5E-4B4C-6913-F7A2-06F9B28C3427}"/>
              </a:ext>
            </a:extLst>
          </p:cNvPr>
          <p:cNvSpPr>
            <a:spLocks noGrp="1"/>
          </p:cNvSpPr>
          <p:nvPr>
            <p:ph type="dt" sz="half" idx="14"/>
          </p:nvPr>
        </p:nvSpPr>
        <p:spPr>
          <a:xfrm>
            <a:off x="10236555" y="138027"/>
            <a:ext cx="1345845" cy="153888"/>
          </a:xfrm>
        </p:spPr>
        <p:txBody>
          <a:bodyPr>
            <a:noAutofit/>
          </a:bodyPr>
          <a:lstStyle>
            <a:lvl1pPr>
              <a:defRPr>
                <a:solidFill>
                  <a:schemeClr val="bg1">
                    <a:lumMod val="65000"/>
                  </a:schemeClr>
                </a:solidFill>
              </a:defRPr>
            </a:lvl1pPr>
          </a:lstStyle>
          <a:p>
            <a:fld id="{AE4C89DD-A233-483F-952B-953E38B66C25}" type="datetime4">
              <a:rPr lang="en-US" smtClean="0"/>
              <a:t>May 17, 2025</a:t>
            </a:fld>
            <a:endParaRPr lang="en-US" dirty="0"/>
          </a:p>
        </p:txBody>
      </p:sp>
      <p:sp>
        <p:nvSpPr>
          <p:cNvPr id="9" name="Footer Placeholder 13">
            <a:extLst>
              <a:ext uri="{FF2B5EF4-FFF2-40B4-BE49-F238E27FC236}">
                <a16:creationId xmlns:a16="http://schemas.microsoft.com/office/drawing/2014/main" id="{4869AC9E-3246-DF81-8D19-B4FBEF99B354}"/>
              </a:ext>
            </a:extLst>
          </p:cNvPr>
          <p:cNvSpPr>
            <a:spLocks noGrp="1"/>
          </p:cNvSpPr>
          <p:nvPr>
            <p:ph type="ftr" sz="quarter" idx="15"/>
          </p:nvPr>
        </p:nvSpPr>
        <p:spPr>
          <a:xfrm>
            <a:off x="609600" y="6566085"/>
            <a:ext cx="10083800" cy="153888"/>
          </a:xfrm>
          <a:prstGeom prst="rect">
            <a:avLst/>
          </a:prstGeom>
        </p:spPr>
        <p:txBody>
          <a:bodyPr>
            <a:noAutofit/>
          </a:bodyPr>
          <a:lstStyle>
            <a:lvl1pPr>
              <a:defRPr>
                <a:solidFill>
                  <a:schemeClr val="bg1">
                    <a:lumMod val="65000"/>
                  </a:schemeClr>
                </a:solidFill>
              </a:defRPr>
            </a:lvl1pPr>
          </a:lstStyle>
          <a:p>
            <a:r>
              <a:rPr lang="en-US" dirty="0"/>
              <a:t>© 2024 Guidehouse</a:t>
            </a:r>
          </a:p>
        </p:txBody>
      </p:sp>
      <p:sp>
        <p:nvSpPr>
          <p:cNvPr id="10" name="Slide Number Placeholder 14">
            <a:extLst>
              <a:ext uri="{FF2B5EF4-FFF2-40B4-BE49-F238E27FC236}">
                <a16:creationId xmlns:a16="http://schemas.microsoft.com/office/drawing/2014/main" id="{92633B27-C072-D47F-D637-89DAFCE73693}"/>
              </a:ext>
            </a:extLst>
          </p:cNvPr>
          <p:cNvSpPr>
            <a:spLocks noGrp="1"/>
          </p:cNvSpPr>
          <p:nvPr>
            <p:ph type="sldNum" sz="quarter" idx="16"/>
          </p:nvPr>
        </p:nvSpPr>
        <p:spPr>
          <a:xfrm>
            <a:off x="11248008" y="6566085"/>
            <a:ext cx="334392" cy="153888"/>
          </a:xfrm>
          <a:prstGeom prst="rect">
            <a:avLst/>
          </a:prstGeom>
        </p:spPr>
        <p:txBody>
          <a:bodyPr>
            <a:noAutofit/>
          </a:bodyPr>
          <a:lstStyle>
            <a:lvl1pPr>
              <a:defRPr>
                <a:solidFill>
                  <a:schemeClr val="bg1">
                    <a:lumMod val="65000"/>
                  </a:schemeClr>
                </a:solidFill>
              </a:defRPr>
            </a:lvl1pPr>
          </a:lstStyle>
          <a:p>
            <a:fld id="{FD814145-5B10-4F3F-A6BF-3641B91211CF}" type="slidenum">
              <a:rPr lang="en-US" smtClean="0"/>
              <a:pPr/>
              <a:t>‹#›</a:t>
            </a:fld>
            <a:endParaRPr lang="en-US" dirty="0"/>
          </a:p>
        </p:txBody>
      </p:sp>
      <p:pic>
        <p:nvPicPr>
          <p:cNvPr id="11" name="Graphic 10">
            <a:extLst>
              <a:ext uri="{FF2B5EF4-FFF2-40B4-BE49-F238E27FC236}">
                <a16:creationId xmlns:a16="http://schemas.microsoft.com/office/drawing/2014/main" id="{77CCD9F6-7E28-EE74-1488-42ADF692A9C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603876" y="88565"/>
            <a:ext cx="995110" cy="252812"/>
          </a:xfrm>
          <a:prstGeom prst="rect">
            <a:avLst/>
          </a:prstGeom>
        </p:spPr>
      </p:pic>
      <p:cxnSp>
        <p:nvCxnSpPr>
          <p:cNvPr id="12" name="Straight Connector 11">
            <a:extLst>
              <a:ext uri="{FF2B5EF4-FFF2-40B4-BE49-F238E27FC236}">
                <a16:creationId xmlns:a16="http://schemas.microsoft.com/office/drawing/2014/main" id="{B0592E0A-6277-7467-2818-E2E769654D97}"/>
              </a:ext>
            </a:extLst>
          </p:cNvPr>
          <p:cNvCxnSpPr>
            <a:cxnSpLocks/>
          </p:cNvCxnSpPr>
          <p:nvPr/>
        </p:nvCxnSpPr>
        <p:spPr>
          <a:xfrm>
            <a:off x="0" y="426998"/>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9520B4-734E-FCA4-984F-7727B42D3211}"/>
              </a:ext>
            </a:extLst>
          </p:cNvPr>
          <p:cNvCxnSpPr>
            <a:cxnSpLocks/>
          </p:cNvCxnSpPr>
          <p:nvPr/>
        </p:nvCxnSpPr>
        <p:spPr>
          <a:xfrm>
            <a:off x="0" y="6431003"/>
            <a:ext cx="121920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18539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F3F3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4B2B4B-82F9-1536-578C-43BD5CE8AF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E24B2B4B-82F9-1536-578C-43BD5CE8A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itle 44">
            <a:extLst>
              <a:ext uri="{FF2B5EF4-FFF2-40B4-BE49-F238E27FC236}">
                <a16:creationId xmlns:a16="http://schemas.microsoft.com/office/drawing/2014/main" id="{8C8DBED3-A629-FC99-1B8F-BE074A307F8C}"/>
              </a:ext>
            </a:extLst>
          </p:cNvPr>
          <p:cNvSpPr>
            <a:spLocks noGrp="1"/>
          </p:cNvSpPr>
          <p:nvPr>
            <p:ph type="title" hasCustomPrompt="1"/>
          </p:nvPr>
        </p:nvSpPr>
        <p:spPr>
          <a:xfrm>
            <a:off x="609600" y="800754"/>
            <a:ext cx="5486400" cy="553998"/>
          </a:xfrm>
        </p:spPr>
        <p:txBody>
          <a:bodyPr vert="horz">
            <a:noAutofit/>
          </a:bodyPr>
          <a:lstStyle>
            <a:lvl1pPr>
              <a:defRPr/>
            </a:lvl1pPr>
          </a:lstStyle>
          <a:p>
            <a:r>
              <a:rPr lang="en-US"/>
              <a:t>Agenda</a:t>
            </a:r>
          </a:p>
        </p:txBody>
      </p:sp>
      <p:sp>
        <p:nvSpPr>
          <p:cNvPr id="50" name="Date Placeholder 49">
            <a:extLst>
              <a:ext uri="{FF2B5EF4-FFF2-40B4-BE49-F238E27FC236}">
                <a16:creationId xmlns:a16="http://schemas.microsoft.com/office/drawing/2014/main" id="{EA0F5283-5BB3-BAFD-B526-21B425D92197}"/>
              </a:ext>
            </a:extLst>
          </p:cNvPr>
          <p:cNvSpPr>
            <a:spLocks noGrp="1"/>
          </p:cNvSpPr>
          <p:nvPr>
            <p:ph type="dt" sz="half" idx="14"/>
          </p:nvPr>
        </p:nvSpPr>
        <p:spPr>
          <a:xfrm>
            <a:off x="10236555" y="136647"/>
            <a:ext cx="1345845" cy="153888"/>
          </a:xfrm>
        </p:spPr>
        <p:txBody>
          <a:bodyPr>
            <a:noAutofit/>
          </a:bodyPr>
          <a:lstStyle>
            <a:lvl1pPr>
              <a:defRPr>
                <a:solidFill>
                  <a:schemeClr val="tx1">
                    <a:lumMod val="75000"/>
                    <a:lumOff val="25000"/>
                  </a:schemeClr>
                </a:solidFill>
              </a:defRPr>
            </a:lvl1pPr>
          </a:lstStyle>
          <a:p>
            <a:fld id="{F390B173-6391-41DD-B68F-04C7E2E107FB}" type="datetime4">
              <a:rPr lang="en-US" smtClean="0"/>
              <a:t>May 17, 2025</a:t>
            </a:fld>
            <a:endParaRPr lang="en-US" dirty="0"/>
          </a:p>
        </p:txBody>
      </p:sp>
      <p:sp>
        <p:nvSpPr>
          <p:cNvPr id="51" name="Footer Placeholder 50">
            <a:extLst>
              <a:ext uri="{FF2B5EF4-FFF2-40B4-BE49-F238E27FC236}">
                <a16:creationId xmlns:a16="http://schemas.microsoft.com/office/drawing/2014/main" id="{E6307089-0337-1E41-2413-B773C7DDA356}"/>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4 Guidehouse</a:t>
            </a:r>
          </a:p>
        </p:txBody>
      </p:sp>
      <p:sp>
        <p:nvSpPr>
          <p:cNvPr id="52" name="Slide Number Placeholder 51">
            <a:extLst>
              <a:ext uri="{FF2B5EF4-FFF2-40B4-BE49-F238E27FC236}">
                <a16:creationId xmlns:a16="http://schemas.microsoft.com/office/drawing/2014/main" id="{0B037B46-B41D-26FD-DD47-435EFB15F5A1}"/>
              </a:ext>
            </a:extLst>
          </p:cNvPr>
          <p:cNvSpPr>
            <a:spLocks noGrp="1"/>
          </p:cNvSpPr>
          <p:nvPr>
            <p:ph type="sldNum" sz="quarter" idx="16"/>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sp>
        <p:nvSpPr>
          <p:cNvPr id="53" name="Text Placeholder 7">
            <a:extLst>
              <a:ext uri="{FF2B5EF4-FFF2-40B4-BE49-F238E27FC236}">
                <a16:creationId xmlns:a16="http://schemas.microsoft.com/office/drawing/2014/main" id="{835ECE48-5FE3-A1E7-D32C-C2F6ADBC4A87}"/>
              </a:ext>
            </a:extLst>
          </p:cNvPr>
          <p:cNvSpPr>
            <a:spLocks noGrp="1"/>
          </p:cNvSpPr>
          <p:nvPr>
            <p:ph type="body" sz="quarter" idx="1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7FA0D2-F8F7-895F-2FBF-67E102F5B1D5}"/>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BC655C-7979-A16B-0182-2803B04DF645}"/>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 name="think-cell data - do not delete" hidden="1">
            <a:extLst>
              <a:ext uri="{FF2B5EF4-FFF2-40B4-BE49-F238E27FC236}">
                <a16:creationId xmlns:a16="http://schemas.microsoft.com/office/drawing/2014/main" id="{2B7035D9-E229-7717-77FC-A94230A289C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think-cell data - do not delete" hidden="1">
                        <a:extLst>
                          <a:ext uri="{FF2B5EF4-FFF2-40B4-BE49-F238E27FC236}">
                            <a16:creationId xmlns:a16="http://schemas.microsoft.com/office/drawing/2014/main" id="{2B7035D9-E229-7717-77FC-A94230A289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11A09011-87C2-6782-3CBF-F646B77AF192}"/>
              </a:ext>
            </a:extLst>
          </p:cNvPr>
          <p:cNvSpPr>
            <a:spLocks noGrp="1"/>
          </p:cNvSpPr>
          <p:nvPr>
            <p:ph type="body" sz="quarter" idx="18" hasCustomPrompt="1"/>
          </p:nvPr>
        </p:nvSpPr>
        <p:spPr>
          <a:xfrm>
            <a:off x="609600" y="1609344"/>
            <a:ext cx="5486400" cy="475485"/>
          </a:xfrm>
        </p:spPr>
        <p:txBody>
          <a:bodyPr anchor="ctr">
            <a:noAutofit/>
          </a:bodyPr>
          <a:lstStyle>
            <a:lvl1pPr>
              <a:defRPr b="1" baseline="0">
                <a:latin typeface="+mj-lt"/>
              </a:defRPr>
            </a:lvl1pPr>
          </a:lstStyle>
          <a:p>
            <a:pPr lvl="0"/>
            <a:r>
              <a:rPr lang="en-US"/>
              <a:t>Insert header here</a:t>
            </a:r>
          </a:p>
        </p:txBody>
      </p:sp>
      <p:sp>
        <p:nvSpPr>
          <p:cNvPr id="8" name="Text Placeholder 7">
            <a:extLst>
              <a:ext uri="{FF2B5EF4-FFF2-40B4-BE49-F238E27FC236}">
                <a16:creationId xmlns:a16="http://schemas.microsoft.com/office/drawing/2014/main" id="{C8D5FB3A-753A-A01D-9A42-264E2905FBFF}"/>
              </a:ext>
            </a:extLst>
          </p:cNvPr>
          <p:cNvSpPr>
            <a:spLocks noGrp="1"/>
          </p:cNvSpPr>
          <p:nvPr>
            <p:ph type="body" sz="quarter" idx="19" hasCustomPrompt="1"/>
          </p:nvPr>
        </p:nvSpPr>
        <p:spPr>
          <a:xfrm>
            <a:off x="749808" y="2198053"/>
            <a:ext cx="4359614" cy="349250"/>
          </a:xfrm>
        </p:spPr>
        <p:txBody>
          <a:bodyPr>
            <a:noAutofit/>
          </a:bodyPr>
          <a:lstStyle>
            <a:lvl1pPr>
              <a:defRPr sz="1600"/>
            </a:lvl1pPr>
          </a:lstStyle>
          <a:p>
            <a:pPr lvl="0"/>
            <a:r>
              <a:rPr lang="en-US"/>
              <a:t>Topic name</a:t>
            </a:r>
          </a:p>
        </p:txBody>
      </p:sp>
      <p:sp>
        <p:nvSpPr>
          <p:cNvPr id="9" name="Text Placeholder 7">
            <a:extLst>
              <a:ext uri="{FF2B5EF4-FFF2-40B4-BE49-F238E27FC236}">
                <a16:creationId xmlns:a16="http://schemas.microsoft.com/office/drawing/2014/main" id="{5F6C7AD8-EBB1-B2EC-D16B-83CEE2FE0AD5}"/>
              </a:ext>
            </a:extLst>
          </p:cNvPr>
          <p:cNvSpPr>
            <a:spLocks noGrp="1"/>
          </p:cNvSpPr>
          <p:nvPr>
            <p:ph type="body" sz="quarter" idx="20" hasCustomPrompt="1"/>
          </p:nvPr>
        </p:nvSpPr>
        <p:spPr>
          <a:xfrm>
            <a:off x="749808" y="2675705"/>
            <a:ext cx="4359614" cy="349250"/>
          </a:xfrm>
        </p:spPr>
        <p:txBody>
          <a:bodyPr>
            <a:noAutofit/>
          </a:bodyPr>
          <a:lstStyle>
            <a:lvl1pPr>
              <a:defRPr sz="1600"/>
            </a:lvl1pPr>
          </a:lstStyle>
          <a:p>
            <a:pPr lvl="0"/>
            <a:r>
              <a:rPr lang="en-US"/>
              <a:t>Topic name</a:t>
            </a:r>
          </a:p>
        </p:txBody>
      </p:sp>
      <p:sp>
        <p:nvSpPr>
          <p:cNvPr id="10" name="Text Placeholder 7">
            <a:extLst>
              <a:ext uri="{FF2B5EF4-FFF2-40B4-BE49-F238E27FC236}">
                <a16:creationId xmlns:a16="http://schemas.microsoft.com/office/drawing/2014/main" id="{C65026CD-CCD9-594F-B624-278B0B50C18E}"/>
              </a:ext>
            </a:extLst>
          </p:cNvPr>
          <p:cNvSpPr>
            <a:spLocks noGrp="1"/>
          </p:cNvSpPr>
          <p:nvPr>
            <p:ph type="body" sz="quarter" idx="21" hasCustomPrompt="1"/>
          </p:nvPr>
        </p:nvSpPr>
        <p:spPr>
          <a:xfrm>
            <a:off x="749808" y="3153357"/>
            <a:ext cx="4359614" cy="349250"/>
          </a:xfrm>
        </p:spPr>
        <p:txBody>
          <a:bodyPr>
            <a:noAutofit/>
          </a:bodyPr>
          <a:lstStyle>
            <a:lvl1pPr>
              <a:defRPr sz="1600"/>
            </a:lvl1pPr>
          </a:lstStyle>
          <a:p>
            <a:pPr lvl="0"/>
            <a:r>
              <a:rPr lang="en-US"/>
              <a:t>Topic name</a:t>
            </a:r>
          </a:p>
        </p:txBody>
      </p:sp>
      <p:sp>
        <p:nvSpPr>
          <p:cNvPr id="14" name="Text Placeholder 7">
            <a:extLst>
              <a:ext uri="{FF2B5EF4-FFF2-40B4-BE49-F238E27FC236}">
                <a16:creationId xmlns:a16="http://schemas.microsoft.com/office/drawing/2014/main" id="{24686BDC-013B-6FB4-AE77-F2E70CEA8BFE}"/>
              </a:ext>
            </a:extLst>
          </p:cNvPr>
          <p:cNvSpPr>
            <a:spLocks noGrp="1"/>
          </p:cNvSpPr>
          <p:nvPr>
            <p:ph type="body" sz="quarter" idx="22" hasCustomPrompt="1"/>
          </p:nvPr>
        </p:nvSpPr>
        <p:spPr>
          <a:xfrm>
            <a:off x="749808" y="3631009"/>
            <a:ext cx="4359614" cy="349250"/>
          </a:xfrm>
        </p:spPr>
        <p:txBody>
          <a:bodyPr>
            <a:noAutofit/>
          </a:bodyPr>
          <a:lstStyle>
            <a:lvl1pPr>
              <a:defRPr sz="1600"/>
            </a:lvl1pPr>
          </a:lstStyle>
          <a:p>
            <a:pPr lvl="0"/>
            <a:r>
              <a:rPr lang="en-US"/>
              <a:t>Topic name</a:t>
            </a:r>
          </a:p>
        </p:txBody>
      </p:sp>
      <p:sp>
        <p:nvSpPr>
          <p:cNvPr id="15" name="Text Placeholder 7">
            <a:extLst>
              <a:ext uri="{FF2B5EF4-FFF2-40B4-BE49-F238E27FC236}">
                <a16:creationId xmlns:a16="http://schemas.microsoft.com/office/drawing/2014/main" id="{41FF509A-1B91-E966-15BC-77B3C666E4EC}"/>
              </a:ext>
            </a:extLst>
          </p:cNvPr>
          <p:cNvSpPr>
            <a:spLocks noGrp="1"/>
          </p:cNvSpPr>
          <p:nvPr>
            <p:ph type="body" sz="quarter" idx="23" hasCustomPrompt="1"/>
          </p:nvPr>
        </p:nvSpPr>
        <p:spPr>
          <a:xfrm>
            <a:off x="749808" y="4108523"/>
            <a:ext cx="4359614" cy="349250"/>
          </a:xfrm>
        </p:spPr>
        <p:txBody>
          <a:bodyPr>
            <a:noAutofit/>
          </a:bodyPr>
          <a:lstStyle>
            <a:lvl1pPr>
              <a:defRPr sz="1600"/>
            </a:lvl1pPr>
          </a:lstStyle>
          <a:p>
            <a:pPr lvl="0"/>
            <a:r>
              <a:rPr lang="en-US"/>
              <a:t>Topic name</a:t>
            </a:r>
          </a:p>
        </p:txBody>
      </p:sp>
      <p:sp>
        <p:nvSpPr>
          <p:cNvPr id="16" name="Text Placeholder 7">
            <a:extLst>
              <a:ext uri="{FF2B5EF4-FFF2-40B4-BE49-F238E27FC236}">
                <a16:creationId xmlns:a16="http://schemas.microsoft.com/office/drawing/2014/main" id="{37FC06F9-E814-94E2-56AC-6B1D1023C5EB}"/>
              </a:ext>
            </a:extLst>
          </p:cNvPr>
          <p:cNvSpPr>
            <a:spLocks noGrp="1"/>
          </p:cNvSpPr>
          <p:nvPr>
            <p:ph type="body" sz="quarter" idx="24" hasCustomPrompt="1"/>
          </p:nvPr>
        </p:nvSpPr>
        <p:spPr>
          <a:xfrm>
            <a:off x="749808" y="4586175"/>
            <a:ext cx="4359614" cy="349250"/>
          </a:xfrm>
        </p:spPr>
        <p:txBody>
          <a:bodyPr>
            <a:noAutofit/>
          </a:bodyPr>
          <a:lstStyle>
            <a:lvl1pPr>
              <a:defRPr sz="1600"/>
            </a:lvl1pPr>
          </a:lstStyle>
          <a:p>
            <a:pPr lvl="0"/>
            <a:r>
              <a:rPr lang="en-US"/>
              <a:t>Topic name</a:t>
            </a:r>
          </a:p>
        </p:txBody>
      </p:sp>
      <p:sp>
        <p:nvSpPr>
          <p:cNvPr id="18" name="Text Placeholder 7">
            <a:extLst>
              <a:ext uri="{FF2B5EF4-FFF2-40B4-BE49-F238E27FC236}">
                <a16:creationId xmlns:a16="http://schemas.microsoft.com/office/drawing/2014/main" id="{F928F26A-7879-11DE-CD3A-CC8DF5E2E449}"/>
              </a:ext>
            </a:extLst>
          </p:cNvPr>
          <p:cNvSpPr>
            <a:spLocks noGrp="1"/>
          </p:cNvSpPr>
          <p:nvPr>
            <p:ph type="body" sz="quarter" idx="25" hasCustomPrompt="1"/>
          </p:nvPr>
        </p:nvSpPr>
        <p:spPr>
          <a:xfrm>
            <a:off x="749808" y="5063827"/>
            <a:ext cx="4359614" cy="349250"/>
          </a:xfrm>
        </p:spPr>
        <p:txBody>
          <a:bodyPr>
            <a:noAutofit/>
          </a:bodyPr>
          <a:lstStyle>
            <a:lvl1pPr>
              <a:defRPr sz="1600"/>
            </a:lvl1pPr>
          </a:lstStyle>
          <a:p>
            <a:pPr lvl="0"/>
            <a:r>
              <a:rPr lang="en-US"/>
              <a:t>Topic name</a:t>
            </a:r>
          </a:p>
        </p:txBody>
      </p:sp>
      <p:sp>
        <p:nvSpPr>
          <p:cNvPr id="19" name="Text Placeholder 7">
            <a:extLst>
              <a:ext uri="{FF2B5EF4-FFF2-40B4-BE49-F238E27FC236}">
                <a16:creationId xmlns:a16="http://schemas.microsoft.com/office/drawing/2014/main" id="{36A63A15-7117-48B6-EB15-6BDB415E273F}"/>
              </a:ext>
            </a:extLst>
          </p:cNvPr>
          <p:cNvSpPr>
            <a:spLocks noGrp="1"/>
          </p:cNvSpPr>
          <p:nvPr>
            <p:ph type="body" sz="quarter" idx="26" hasCustomPrompt="1"/>
          </p:nvPr>
        </p:nvSpPr>
        <p:spPr>
          <a:xfrm>
            <a:off x="749808" y="5541479"/>
            <a:ext cx="4359614" cy="349250"/>
          </a:xfrm>
        </p:spPr>
        <p:txBody>
          <a:bodyPr>
            <a:noAutofit/>
          </a:bodyPr>
          <a:lstStyle>
            <a:lvl1pPr>
              <a:defRPr sz="1600"/>
            </a:lvl1pPr>
          </a:lstStyle>
          <a:p>
            <a:pPr lvl="0"/>
            <a:r>
              <a:rPr lang="en-US"/>
              <a:t>Topic name</a:t>
            </a:r>
          </a:p>
        </p:txBody>
      </p:sp>
      <p:sp>
        <p:nvSpPr>
          <p:cNvPr id="20" name="Text Placeholder 7">
            <a:extLst>
              <a:ext uri="{FF2B5EF4-FFF2-40B4-BE49-F238E27FC236}">
                <a16:creationId xmlns:a16="http://schemas.microsoft.com/office/drawing/2014/main" id="{8CABE08C-5097-0E3B-630D-DB4908CABB56}"/>
              </a:ext>
            </a:extLst>
          </p:cNvPr>
          <p:cNvSpPr>
            <a:spLocks noGrp="1"/>
          </p:cNvSpPr>
          <p:nvPr>
            <p:ph type="body" sz="quarter" idx="27" hasCustomPrompt="1"/>
          </p:nvPr>
        </p:nvSpPr>
        <p:spPr>
          <a:xfrm>
            <a:off x="5135351" y="2198053"/>
            <a:ext cx="386079" cy="349250"/>
          </a:xfrm>
        </p:spPr>
        <p:txBody>
          <a:bodyPr>
            <a:noAutofit/>
          </a:bodyPr>
          <a:lstStyle>
            <a:lvl1pPr algn="r">
              <a:defRPr sz="1600"/>
            </a:lvl1pPr>
          </a:lstStyle>
          <a:p>
            <a:pPr lvl="0"/>
            <a:r>
              <a:rPr lang="en-US"/>
              <a:t>00</a:t>
            </a:r>
          </a:p>
        </p:txBody>
      </p:sp>
      <p:sp>
        <p:nvSpPr>
          <p:cNvPr id="21" name="Text Placeholder 7">
            <a:extLst>
              <a:ext uri="{FF2B5EF4-FFF2-40B4-BE49-F238E27FC236}">
                <a16:creationId xmlns:a16="http://schemas.microsoft.com/office/drawing/2014/main" id="{FFCE9D85-E295-E133-C5E9-55DC5E703E1C}"/>
              </a:ext>
            </a:extLst>
          </p:cNvPr>
          <p:cNvSpPr>
            <a:spLocks noGrp="1"/>
          </p:cNvSpPr>
          <p:nvPr>
            <p:ph type="body" sz="quarter" idx="28" hasCustomPrompt="1"/>
          </p:nvPr>
        </p:nvSpPr>
        <p:spPr>
          <a:xfrm>
            <a:off x="5135351" y="2675705"/>
            <a:ext cx="386079" cy="349250"/>
          </a:xfrm>
        </p:spPr>
        <p:txBody>
          <a:bodyPr>
            <a:noAutofit/>
          </a:bodyPr>
          <a:lstStyle>
            <a:lvl1pPr algn="r">
              <a:defRPr sz="1600"/>
            </a:lvl1pPr>
          </a:lstStyle>
          <a:p>
            <a:pPr lvl="0"/>
            <a:r>
              <a:rPr lang="en-US"/>
              <a:t>00</a:t>
            </a:r>
          </a:p>
        </p:txBody>
      </p:sp>
      <p:sp>
        <p:nvSpPr>
          <p:cNvPr id="22" name="Text Placeholder 7">
            <a:extLst>
              <a:ext uri="{FF2B5EF4-FFF2-40B4-BE49-F238E27FC236}">
                <a16:creationId xmlns:a16="http://schemas.microsoft.com/office/drawing/2014/main" id="{30580CFE-3066-D52F-BF0C-607962B6402D}"/>
              </a:ext>
            </a:extLst>
          </p:cNvPr>
          <p:cNvSpPr>
            <a:spLocks noGrp="1"/>
          </p:cNvSpPr>
          <p:nvPr>
            <p:ph type="body" sz="quarter" idx="29" hasCustomPrompt="1"/>
          </p:nvPr>
        </p:nvSpPr>
        <p:spPr>
          <a:xfrm>
            <a:off x="5135351" y="3153357"/>
            <a:ext cx="386079" cy="349250"/>
          </a:xfrm>
        </p:spPr>
        <p:txBody>
          <a:bodyPr>
            <a:noAutofit/>
          </a:bodyPr>
          <a:lstStyle>
            <a:lvl1pPr algn="r">
              <a:defRPr sz="1600"/>
            </a:lvl1pPr>
          </a:lstStyle>
          <a:p>
            <a:pPr lvl="0"/>
            <a:r>
              <a:rPr lang="en-US"/>
              <a:t>00</a:t>
            </a:r>
          </a:p>
        </p:txBody>
      </p:sp>
      <p:sp>
        <p:nvSpPr>
          <p:cNvPr id="23" name="Text Placeholder 7">
            <a:extLst>
              <a:ext uri="{FF2B5EF4-FFF2-40B4-BE49-F238E27FC236}">
                <a16:creationId xmlns:a16="http://schemas.microsoft.com/office/drawing/2014/main" id="{83A8285B-9771-221E-276E-38A0469F9665}"/>
              </a:ext>
            </a:extLst>
          </p:cNvPr>
          <p:cNvSpPr>
            <a:spLocks noGrp="1"/>
          </p:cNvSpPr>
          <p:nvPr>
            <p:ph type="body" sz="quarter" idx="30" hasCustomPrompt="1"/>
          </p:nvPr>
        </p:nvSpPr>
        <p:spPr>
          <a:xfrm>
            <a:off x="5135351" y="3631009"/>
            <a:ext cx="386079" cy="349250"/>
          </a:xfrm>
        </p:spPr>
        <p:txBody>
          <a:bodyPr>
            <a:noAutofit/>
          </a:bodyPr>
          <a:lstStyle>
            <a:lvl1pPr algn="r">
              <a:defRPr sz="1600"/>
            </a:lvl1pPr>
          </a:lstStyle>
          <a:p>
            <a:pPr lvl="0"/>
            <a:r>
              <a:rPr lang="en-US"/>
              <a:t>00</a:t>
            </a:r>
          </a:p>
        </p:txBody>
      </p:sp>
      <p:sp>
        <p:nvSpPr>
          <p:cNvPr id="24" name="Text Placeholder 7">
            <a:extLst>
              <a:ext uri="{FF2B5EF4-FFF2-40B4-BE49-F238E27FC236}">
                <a16:creationId xmlns:a16="http://schemas.microsoft.com/office/drawing/2014/main" id="{CD292018-47A5-F28E-E40D-02ED0EBF3D37}"/>
              </a:ext>
            </a:extLst>
          </p:cNvPr>
          <p:cNvSpPr>
            <a:spLocks noGrp="1"/>
          </p:cNvSpPr>
          <p:nvPr>
            <p:ph type="body" sz="quarter" idx="31" hasCustomPrompt="1"/>
          </p:nvPr>
        </p:nvSpPr>
        <p:spPr>
          <a:xfrm>
            <a:off x="5135351" y="4108523"/>
            <a:ext cx="386079" cy="349250"/>
          </a:xfrm>
        </p:spPr>
        <p:txBody>
          <a:bodyPr>
            <a:noAutofit/>
          </a:bodyPr>
          <a:lstStyle>
            <a:lvl1pPr algn="r">
              <a:defRPr sz="1600"/>
            </a:lvl1pPr>
          </a:lstStyle>
          <a:p>
            <a:pPr lvl="0"/>
            <a:r>
              <a:rPr lang="en-US"/>
              <a:t>00</a:t>
            </a:r>
          </a:p>
        </p:txBody>
      </p:sp>
      <p:sp>
        <p:nvSpPr>
          <p:cNvPr id="25" name="Text Placeholder 7">
            <a:extLst>
              <a:ext uri="{FF2B5EF4-FFF2-40B4-BE49-F238E27FC236}">
                <a16:creationId xmlns:a16="http://schemas.microsoft.com/office/drawing/2014/main" id="{375D8AE7-3E52-ADD1-F076-54A550F88EA3}"/>
              </a:ext>
            </a:extLst>
          </p:cNvPr>
          <p:cNvSpPr>
            <a:spLocks noGrp="1"/>
          </p:cNvSpPr>
          <p:nvPr>
            <p:ph type="body" sz="quarter" idx="32" hasCustomPrompt="1"/>
          </p:nvPr>
        </p:nvSpPr>
        <p:spPr>
          <a:xfrm>
            <a:off x="5135351" y="4586175"/>
            <a:ext cx="386079" cy="349250"/>
          </a:xfrm>
        </p:spPr>
        <p:txBody>
          <a:bodyPr>
            <a:noAutofit/>
          </a:bodyPr>
          <a:lstStyle>
            <a:lvl1pPr algn="r">
              <a:defRPr sz="1600"/>
            </a:lvl1pPr>
          </a:lstStyle>
          <a:p>
            <a:pPr lvl="0"/>
            <a:r>
              <a:rPr lang="en-US"/>
              <a:t>00</a:t>
            </a:r>
          </a:p>
        </p:txBody>
      </p:sp>
      <p:sp>
        <p:nvSpPr>
          <p:cNvPr id="26" name="Text Placeholder 7">
            <a:extLst>
              <a:ext uri="{FF2B5EF4-FFF2-40B4-BE49-F238E27FC236}">
                <a16:creationId xmlns:a16="http://schemas.microsoft.com/office/drawing/2014/main" id="{4DE56228-A543-6045-7006-DDA45A0F3170}"/>
              </a:ext>
            </a:extLst>
          </p:cNvPr>
          <p:cNvSpPr>
            <a:spLocks noGrp="1"/>
          </p:cNvSpPr>
          <p:nvPr>
            <p:ph type="body" sz="quarter" idx="33" hasCustomPrompt="1"/>
          </p:nvPr>
        </p:nvSpPr>
        <p:spPr>
          <a:xfrm>
            <a:off x="5135351" y="5063827"/>
            <a:ext cx="386079" cy="349250"/>
          </a:xfrm>
        </p:spPr>
        <p:txBody>
          <a:bodyPr>
            <a:noAutofit/>
          </a:bodyPr>
          <a:lstStyle>
            <a:lvl1pPr algn="r">
              <a:defRPr sz="1600"/>
            </a:lvl1pPr>
          </a:lstStyle>
          <a:p>
            <a:pPr lvl="0"/>
            <a:r>
              <a:rPr lang="en-US"/>
              <a:t>00</a:t>
            </a:r>
          </a:p>
        </p:txBody>
      </p:sp>
      <p:sp>
        <p:nvSpPr>
          <p:cNvPr id="27" name="Text Placeholder 7">
            <a:extLst>
              <a:ext uri="{FF2B5EF4-FFF2-40B4-BE49-F238E27FC236}">
                <a16:creationId xmlns:a16="http://schemas.microsoft.com/office/drawing/2014/main" id="{F326C1AA-B979-78CD-10CB-A2845ED8BA0C}"/>
              </a:ext>
            </a:extLst>
          </p:cNvPr>
          <p:cNvSpPr>
            <a:spLocks noGrp="1"/>
          </p:cNvSpPr>
          <p:nvPr>
            <p:ph type="body" sz="quarter" idx="34" hasCustomPrompt="1"/>
          </p:nvPr>
        </p:nvSpPr>
        <p:spPr>
          <a:xfrm>
            <a:off x="5135351" y="5541479"/>
            <a:ext cx="386079" cy="349250"/>
          </a:xfrm>
        </p:spPr>
        <p:txBody>
          <a:bodyPr>
            <a:noAutofit/>
          </a:bodyPr>
          <a:lstStyle>
            <a:lvl1pPr algn="r">
              <a:defRPr sz="1600"/>
            </a:lvl1pPr>
          </a:lstStyle>
          <a:p>
            <a:pPr lvl="0"/>
            <a:r>
              <a:rPr lang="en-US"/>
              <a:t>00</a:t>
            </a:r>
          </a:p>
        </p:txBody>
      </p:sp>
      <p:cxnSp>
        <p:nvCxnSpPr>
          <p:cNvPr id="31" name="Straight Connector 30">
            <a:extLst>
              <a:ext uri="{FF2B5EF4-FFF2-40B4-BE49-F238E27FC236}">
                <a16:creationId xmlns:a16="http://schemas.microsoft.com/office/drawing/2014/main" id="{459E8D3A-F0D2-3CC8-1EAC-4F5617758398}"/>
              </a:ext>
            </a:extLst>
          </p:cNvPr>
          <p:cNvCxnSpPr/>
          <p:nvPr userDrawn="1"/>
        </p:nvCxnSpPr>
        <p:spPr>
          <a:xfrm>
            <a:off x="609600" y="2081019"/>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8CF153A-3D7B-20C6-4A3D-209764A6B679}"/>
              </a:ext>
            </a:extLst>
          </p:cNvPr>
          <p:cNvCxnSpPr>
            <a:cxnSpLocks/>
          </p:cNvCxnSpPr>
          <p:nvPr userDrawn="1"/>
        </p:nvCxnSpPr>
        <p:spPr>
          <a:xfrm>
            <a:off x="609600" y="2561778"/>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97CBDAA-D266-433C-1CA0-290F687AF69C}"/>
              </a:ext>
            </a:extLst>
          </p:cNvPr>
          <p:cNvCxnSpPr>
            <a:cxnSpLocks/>
          </p:cNvCxnSpPr>
          <p:nvPr userDrawn="1"/>
        </p:nvCxnSpPr>
        <p:spPr>
          <a:xfrm>
            <a:off x="609600" y="3037147"/>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AD345FC-2496-C23E-1596-9409AF73FC00}"/>
              </a:ext>
            </a:extLst>
          </p:cNvPr>
          <p:cNvCxnSpPr/>
          <p:nvPr userDrawn="1"/>
        </p:nvCxnSpPr>
        <p:spPr>
          <a:xfrm>
            <a:off x="609600" y="3512826"/>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B5F1207-492B-078B-5E56-1803A6966A29}"/>
              </a:ext>
            </a:extLst>
          </p:cNvPr>
          <p:cNvCxnSpPr/>
          <p:nvPr userDrawn="1"/>
        </p:nvCxnSpPr>
        <p:spPr>
          <a:xfrm>
            <a:off x="609600" y="3993790"/>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7494232-D572-42CC-9E23-F0D11C88EB15}"/>
              </a:ext>
            </a:extLst>
          </p:cNvPr>
          <p:cNvCxnSpPr/>
          <p:nvPr userDrawn="1"/>
        </p:nvCxnSpPr>
        <p:spPr>
          <a:xfrm>
            <a:off x="609600" y="4469469"/>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93BD674-3947-6D81-5787-1E2DC3FA1DC2}"/>
              </a:ext>
            </a:extLst>
          </p:cNvPr>
          <p:cNvCxnSpPr/>
          <p:nvPr userDrawn="1"/>
        </p:nvCxnSpPr>
        <p:spPr>
          <a:xfrm>
            <a:off x="609600" y="4947558"/>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B0C53B9-671E-80F3-76FB-49AC9F85B77F}"/>
              </a:ext>
            </a:extLst>
          </p:cNvPr>
          <p:cNvCxnSpPr/>
          <p:nvPr userDrawn="1"/>
        </p:nvCxnSpPr>
        <p:spPr>
          <a:xfrm>
            <a:off x="609600" y="5423237"/>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5B64B03-F7F4-FFAE-B082-BD2304593826}"/>
              </a:ext>
            </a:extLst>
          </p:cNvPr>
          <p:cNvCxnSpPr/>
          <p:nvPr userDrawn="1"/>
        </p:nvCxnSpPr>
        <p:spPr>
          <a:xfrm>
            <a:off x="609600" y="5905500"/>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B61D6326-F6C2-B0AC-49E3-BBDCC4BEAC09}"/>
              </a:ext>
            </a:extLst>
          </p:cNvPr>
          <p:cNvPicPr/>
          <p:nvPr userDrawn="1"/>
        </p:nvPicPr>
        <p:blipFill>
          <a:blip r:embed="rId6">
            <a:extLst>
              <a:ext uri="{96DAC541-7B7A-43D3-8B79-37D633B846F1}">
                <asvg:svgBlip xmlns:asvg="http://schemas.microsoft.com/office/drawing/2016/SVG/main" r:embed="rId7"/>
              </a:ext>
            </a:extLst>
          </a:blip>
          <a:stretch>
            <a:fillRect/>
          </a:stretch>
        </p:blipFill>
        <p:spPr>
          <a:xfrm>
            <a:off x="7143751" y="1388452"/>
            <a:ext cx="4114798" cy="4114798"/>
          </a:xfrm>
          <a:prstGeom prst="rect">
            <a:avLst/>
          </a:prstGeom>
        </p:spPr>
      </p:pic>
    </p:spTree>
    <p:extLst>
      <p:ext uri="{BB962C8B-B14F-4D97-AF65-F5344CB8AC3E}">
        <p14:creationId xmlns:p14="http://schemas.microsoft.com/office/powerpoint/2010/main" val="21097626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One-column - Dark">
    <p:bg>
      <p:bgPr>
        <a:solidFill>
          <a:srgbClr val="F3F3F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9D163-6DF6-9BE0-6173-D594B244B93D}"/>
              </a:ext>
            </a:extLst>
          </p:cNvPr>
          <p:cNvSpPr>
            <a:spLocks noGrp="1"/>
          </p:cNvSpPr>
          <p:nvPr>
            <p:ph type="title"/>
          </p:nvPr>
        </p:nvSpPr>
        <p:spPr>
          <a:xfrm>
            <a:off x="609600" y="800754"/>
            <a:ext cx="5486400" cy="553998"/>
          </a:xfrm>
        </p:spPr>
        <p:txBody>
          <a:bodyPr>
            <a:noAutofit/>
          </a:bodyPr>
          <a:lstStyle/>
          <a:p>
            <a:r>
              <a:rPr lang="en-US"/>
              <a:t>Click to edit Master title style</a:t>
            </a:r>
          </a:p>
        </p:txBody>
      </p:sp>
      <p:grpSp>
        <p:nvGrpSpPr>
          <p:cNvPr id="8" name="Group 7">
            <a:extLst>
              <a:ext uri="{FF2B5EF4-FFF2-40B4-BE49-F238E27FC236}">
                <a16:creationId xmlns:a16="http://schemas.microsoft.com/office/drawing/2014/main" id="{64C4FB5F-2777-A396-392E-B3E9DAA8798E}"/>
              </a:ext>
            </a:extLst>
          </p:cNvPr>
          <p:cNvGrpSpPr/>
          <p:nvPr/>
        </p:nvGrpSpPr>
        <p:grpSpPr>
          <a:xfrm>
            <a:off x="609601" y="3909255"/>
            <a:ext cx="5486400" cy="0"/>
            <a:chOff x="609601" y="3820887"/>
            <a:chExt cx="5486400" cy="0"/>
          </a:xfrm>
        </p:grpSpPr>
        <p:cxnSp>
          <p:nvCxnSpPr>
            <p:cNvPr id="9" name="Straight Connector 8">
              <a:extLst>
                <a:ext uri="{FF2B5EF4-FFF2-40B4-BE49-F238E27FC236}">
                  <a16:creationId xmlns:a16="http://schemas.microsoft.com/office/drawing/2014/main" id="{E255DCA8-F14C-04CA-3EA7-7EA803486E91}"/>
                </a:ext>
              </a:extLst>
            </p:cNvPr>
            <p:cNvCxnSpPr>
              <a:cxnSpLocks/>
            </p:cNvCxnSpPr>
            <p:nvPr/>
          </p:nvCxnSpPr>
          <p:spPr>
            <a:xfrm flipH="1">
              <a:off x="609601" y="3820887"/>
              <a:ext cx="5486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455279C-DE5C-A0A2-0FEF-CA7EEA14EEF6}"/>
                </a:ext>
              </a:extLst>
            </p:cNvPr>
            <p:cNvCxnSpPr>
              <a:cxnSpLocks/>
            </p:cNvCxnSpPr>
            <p:nvPr/>
          </p:nvCxnSpPr>
          <p:spPr>
            <a:xfrm rot="5400000" flipH="1">
              <a:off x="1274547" y="3155941"/>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420A254F-BDD5-C9AF-1DD7-05ACB129B577}"/>
              </a:ext>
            </a:extLst>
          </p:cNvPr>
          <p:cNvSpPr/>
          <p:nvPr/>
        </p:nvSpPr>
        <p:spPr>
          <a:xfrm>
            <a:off x="7019925" y="431800"/>
            <a:ext cx="5172075" cy="599670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3">
            <a:extLst>
              <a:ext uri="{FF2B5EF4-FFF2-40B4-BE49-F238E27FC236}">
                <a16:creationId xmlns:a16="http://schemas.microsoft.com/office/drawing/2014/main" id="{F8511C82-C1B8-2B85-F38D-ACDB893239CC}"/>
              </a:ext>
            </a:extLst>
          </p:cNvPr>
          <p:cNvSpPr>
            <a:spLocks noGrp="1"/>
          </p:cNvSpPr>
          <p:nvPr>
            <p:ph type="body" sz="quarter" idx="13" hasCustomPrompt="1"/>
          </p:nvPr>
        </p:nvSpPr>
        <p:spPr>
          <a:xfrm>
            <a:off x="609600" y="1371912"/>
            <a:ext cx="5486400" cy="307777"/>
          </a:xfrm>
        </p:spPr>
        <p:txBody>
          <a:bodyPr>
            <a:noAutofit/>
          </a:bodyPr>
          <a:lstStyle>
            <a:lvl1pPr>
              <a:defRPr>
                <a:solidFill>
                  <a:schemeClr val="tx1">
                    <a:lumMod val="75000"/>
                    <a:lumOff val="25000"/>
                  </a:schemeClr>
                </a:solidFill>
              </a:defRPr>
            </a:lvl1pPr>
          </a:lstStyle>
          <a:p>
            <a:pPr lvl="0"/>
            <a:r>
              <a:rPr lang="en-US"/>
              <a:t>Subtitle</a:t>
            </a:r>
          </a:p>
        </p:txBody>
      </p:sp>
      <p:sp>
        <p:nvSpPr>
          <p:cNvPr id="42" name="Text Placeholder 37">
            <a:extLst>
              <a:ext uri="{FF2B5EF4-FFF2-40B4-BE49-F238E27FC236}">
                <a16:creationId xmlns:a16="http://schemas.microsoft.com/office/drawing/2014/main" id="{F4AE42DD-CBC4-0669-9A85-81A01695BC05}"/>
              </a:ext>
            </a:extLst>
          </p:cNvPr>
          <p:cNvSpPr>
            <a:spLocks noGrp="1"/>
          </p:cNvSpPr>
          <p:nvPr>
            <p:ph type="body" sz="quarter" idx="16"/>
          </p:nvPr>
        </p:nvSpPr>
        <p:spPr>
          <a:xfrm>
            <a:off x="609601" y="4225518"/>
            <a:ext cx="5486400" cy="1389888"/>
          </a:xfrm>
        </p:spPr>
        <p:txBody>
          <a:bodyPr>
            <a:noAutofit/>
          </a:bodyPr>
          <a:lstStyle>
            <a:lvl1pPr>
              <a:defRPr sz="1800">
                <a:solidFill>
                  <a:schemeClr val="tx2"/>
                </a:solidFill>
              </a:defRPr>
            </a:lvl1pPr>
            <a:lvl2pPr marL="0" indent="0">
              <a:buNone/>
              <a:defRPr/>
            </a:lvl2pPr>
          </a:lstStyle>
          <a:p>
            <a:pPr lvl="0"/>
            <a:r>
              <a:rPr lang="en-US"/>
              <a:t>Click to edit Master text styles</a:t>
            </a:r>
          </a:p>
        </p:txBody>
      </p:sp>
      <p:sp>
        <p:nvSpPr>
          <p:cNvPr id="47" name="Text Placeholder 46">
            <a:extLst>
              <a:ext uri="{FF2B5EF4-FFF2-40B4-BE49-F238E27FC236}">
                <a16:creationId xmlns:a16="http://schemas.microsoft.com/office/drawing/2014/main" id="{2AAAC208-B9A3-AB8D-8A3F-5267EA42C800}"/>
              </a:ext>
            </a:extLst>
          </p:cNvPr>
          <p:cNvSpPr>
            <a:spLocks noGrp="1"/>
          </p:cNvSpPr>
          <p:nvPr>
            <p:ph type="body" sz="quarter" idx="30"/>
          </p:nvPr>
        </p:nvSpPr>
        <p:spPr>
          <a:xfrm>
            <a:off x="609601" y="2111664"/>
            <a:ext cx="5486400" cy="1481328"/>
          </a:xfrm>
        </p:spPr>
        <p:txBody>
          <a:bodyPr anchor="b">
            <a:noAutofit/>
          </a:bodyPr>
          <a:lstStyle>
            <a:lvl1pPr>
              <a:defRPr sz="3200"/>
            </a:lvl1pPr>
          </a:lstStyle>
          <a:p>
            <a:pPr lvl="0"/>
            <a:r>
              <a:rPr lang="en-US"/>
              <a:t>Click to edit Master text styles</a:t>
            </a:r>
          </a:p>
        </p:txBody>
      </p:sp>
      <p:sp>
        <p:nvSpPr>
          <p:cNvPr id="6" name="Date Placeholder 49">
            <a:extLst>
              <a:ext uri="{FF2B5EF4-FFF2-40B4-BE49-F238E27FC236}">
                <a16:creationId xmlns:a16="http://schemas.microsoft.com/office/drawing/2014/main" id="{5F217281-3A4E-E1DA-0ABE-80B7AC4FF1B8}"/>
              </a:ext>
            </a:extLst>
          </p:cNvPr>
          <p:cNvSpPr>
            <a:spLocks noGrp="1"/>
          </p:cNvSpPr>
          <p:nvPr>
            <p:ph type="dt" sz="half" idx="26"/>
          </p:nvPr>
        </p:nvSpPr>
        <p:spPr>
          <a:xfrm>
            <a:off x="10236555" y="136647"/>
            <a:ext cx="1345845" cy="153888"/>
          </a:xfrm>
        </p:spPr>
        <p:txBody>
          <a:bodyPr>
            <a:noAutofit/>
          </a:bodyPr>
          <a:lstStyle>
            <a:lvl1pPr>
              <a:defRPr>
                <a:solidFill>
                  <a:schemeClr val="tx1">
                    <a:lumMod val="75000"/>
                    <a:lumOff val="25000"/>
                  </a:schemeClr>
                </a:solidFill>
              </a:defRPr>
            </a:lvl1pPr>
          </a:lstStyle>
          <a:p>
            <a:fld id="{916DF86A-30B1-4B44-A04E-9B307D9D54ED}" type="datetime4">
              <a:rPr lang="en-US" smtClean="0"/>
              <a:t>May 17, 2025</a:t>
            </a:fld>
            <a:endParaRPr lang="en-US" dirty="0"/>
          </a:p>
        </p:txBody>
      </p:sp>
      <p:sp>
        <p:nvSpPr>
          <p:cNvPr id="7" name="Text Placeholder 7">
            <a:extLst>
              <a:ext uri="{FF2B5EF4-FFF2-40B4-BE49-F238E27FC236}">
                <a16:creationId xmlns:a16="http://schemas.microsoft.com/office/drawing/2014/main" id="{ECFB9608-E818-D2BF-8BF7-6E839B8050D1}"/>
              </a:ext>
            </a:extLst>
          </p:cNvPr>
          <p:cNvSpPr>
            <a:spLocks noGrp="1"/>
          </p:cNvSpPr>
          <p:nvPr>
            <p:ph type="body" sz="quarter" idx="28"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sp>
        <p:nvSpPr>
          <p:cNvPr id="12" name="Footer Placeholder 4">
            <a:extLst>
              <a:ext uri="{FF2B5EF4-FFF2-40B4-BE49-F238E27FC236}">
                <a16:creationId xmlns:a16="http://schemas.microsoft.com/office/drawing/2014/main" id="{8C85335B-FAF2-9208-41C9-63068D2F64D7}"/>
              </a:ext>
            </a:extLst>
          </p:cNvPr>
          <p:cNvSpPr>
            <a:spLocks noGrp="1"/>
          </p:cNvSpPr>
          <p:nvPr>
            <p:ph type="ftr" sz="quarter" idx="11"/>
          </p:nvPr>
        </p:nvSpPr>
        <p:spPr>
          <a:xfrm>
            <a:off x="609600" y="6567465"/>
            <a:ext cx="10083800" cy="153888"/>
          </a:xfrm>
          <a:prstGeom prst="rect">
            <a:avLst/>
          </a:prstGeom>
        </p:spPr>
        <p:txBody>
          <a:bodyPr>
            <a:noAutofit/>
          </a:bodyPr>
          <a:lstStyle>
            <a:lvl1pPr>
              <a:defRPr>
                <a:solidFill>
                  <a:schemeClr val="tx1">
                    <a:lumMod val="75000"/>
                    <a:lumOff val="25000"/>
                  </a:schemeClr>
                </a:solidFill>
              </a:defRPr>
            </a:lvl1pPr>
          </a:lstStyle>
          <a:p>
            <a:r>
              <a:rPr lang="en-US" dirty="0"/>
              <a:t>© 2024 Guidehouse</a:t>
            </a:r>
          </a:p>
        </p:txBody>
      </p:sp>
      <p:sp>
        <p:nvSpPr>
          <p:cNvPr id="13" name="Slide Number Placeholder 5">
            <a:extLst>
              <a:ext uri="{FF2B5EF4-FFF2-40B4-BE49-F238E27FC236}">
                <a16:creationId xmlns:a16="http://schemas.microsoft.com/office/drawing/2014/main" id="{44B1F0BD-22AE-6975-1D8F-0E77C97E263B}"/>
              </a:ext>
            </a:extLst>
          </p:cNvPr>
          <p:cNvSpPr>
            <a:spLocks noGrp="1"/>
          </p:cNvSpPr>
          <p:nvPr>
            <p:ph type="sldNum" sz="quarter" idx="12"/>
          </p:nvPr>
        </p:nvSpPr>
        <p:spPr>
          <a:xfrm>
            <a:off x="11248008" y="6567465"/>
            <a:ext cx="334392" cy="153888"/>
          </a:xfrm>
          <a:prstGeom prst="rect">
            <a:avLst/>
          </a:prstGeom>
        </p:spPr>
        <p:txBody>
          <a:bodyPr>
            <a:noAutofit/>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pic>
        <p:nvPicPr>
          <p:cNvPr id="4" name="Picture 3">
            <a:extLst>
              <a:ext uri="{FF2B5EF4-FFF2-40B4-BE49-F238E27FC236}">
                <a16:creationId xmlns:a16="http://schemas.microsoft.com/office/drawing/2014/main" id="{815BECC8-7D1B-6FCC-F690-CE812AE63D4C}"/>
              </a:ext>
            </a:extLst>
          </p:cNvPr>
          <p:cNvPicPr/>
          <p:nvPr userDrawn="1"/>
        </p:nvPicPr>
        <p:blipFill>
          <a:blip r:embed="rId2"/>
          <a:stretch>
            <a:fillRect/>
          </a:stretch>
        </p:blipFill>
        <p:spPr>
          <a:xfrm>
            <a:off x="7630516" y="1377621"/>
            <a:ext cx="3950550" cy="4121253"/>
          </a:xfrm>
          <a:prstGeom prst="rect">
            <a:avLst/>
          </a:prstGeom>
        </p:spPr>
      </p:pic>
    </p:spTree>
    <p:extLst>
      <p:ext uri="{BB962C8B-B14F-4D97-AF65-F5344CB8AC3E}">
        <p14:creationId xmlns:p14="http://schemas.microsoft.com/office/powerpoint/2010/main" val="10173306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 Image">
    <p:bg>
      <p:bgPr>
        <a:solidFill>
          <a:srgbClr val="F3F3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4B2B4B-82F9-1536-578C-43BD5CE8AFC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4" name="think-cell data - do not delete" hidden="1">
                        <a:extLst>
                          <a:ext uri="{FF2B5EF4-FFF2-40B4-BE49-F238E27FC236}">
                            <a16:creationId xmlns:a16="http://schemas.microsoft.com/office/drawing/2014/main" id="{E24B2B4B-82F9-1536-578C-43BD5CE8AF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Title 44">
            <a:extLst>
              <a:ext uri="{FF2B5EF4-FFF2-40B4-BE49-F238E27FC236}">
                <a16:creationId xmlns:a16="http://schemas.microsoft.com/office/drawing/2014/main" id="{8C8DBED3-A629-FC99-1B8F-BE074A307F8C}"/>
              </a:ext>
            </a:extLst>
          </p:cNvPr>
          <p:cNvSpPr>
            <a:spLocks noGrp="1"/>
          </p:cNvSpPr>
          <p:nvPr>
            <p:ph type="title" hasCustomPrompt="1"/>
          </p:nvPr>
        </p:nvSpPr>
        <p:spPr>
          <a:xfrm>
            <a:off x="609600" y="800754"/>
            <a:ext cx="5486400" cy="553998"/>
          </a:xfrm>
        </p:spPr>
        <p:txBody>
          <a:bodyPr vert="horz">
            <a:noAutofit/>
          </a:bodyPr>
          <a:lstStyle>
            <a:lvl1pPr>
              <a:defRPr/>
            </a:lvl1pPr>
          </a:lstStyle>
          <a:p>
            <a:r>
              <a:rPr lang="en-US"/>
              <a:t>Agenda</a:t>
            </a:r>
          </a:p>
        </p:txBody>
      </p:sp>
      <p:sp>
        <p:nvSpPr>
          <p:cNvPr id="51" name="Footer Placeholder 50">
            <a:extLst>
              <a:ext uri="{FF2B5EF4-FFF2-40B4-BE49-F238E27FC236}">
                <a16:creationId xmlns:a16="http://schemas.microsoft.com/office/drawing/2014/main" id="{E6307089-0337-1E41-2413-B773C7DDA356}"/>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4 Guidehouse</a:t>
            </a:r>
          </a:p>
        </p:txBody>
      </p:sp>
      <p:sp>
        <p:nvSpPr>
          <p:cNvPr id="53" name="Text Placeholder 7">
            <a:extLst>
              <a:ext uri="{FF2B5EF4-FFF2-40B4-BE49-F238E27FC236}">
                <a16:creationId xmlns:a16="http://schemas.microsoft.com/office/drawing/2014/main" id="{835ECE48-5FE3-A1E7-D32C-C2F6ADBC4A87}"/>
              </a:ext>
            </a:extLst>
          </p:cNvPr>
          <p:cNvSpPr>
            <a:spLocks noGrp="1"/>
          </p:cNvSpPr>
          <p:nvPr>
            <p:ph type="body" sz="quarter" idx="1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7FA0D2-F8F7-895F-2FBF-67E102F5B1D5}"/>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BC655C-7979-A16B-0182-2803B04DF645}"/>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Picture Placeholder 6">
            <a:extLst>
              <a:ext uri="{FF2B5EF4-FFF2-40B4-BE49-F238E27FC236}">
                <a16:creationId xmlns:a16="http://schemas.microsoft.com/office/drawing/2014/main" id="{10A51284-31AA-5A82-9D1B-95ECF46E976B}"/>
              </a:ext>
            </a:extLst>
          </p:cNvPr>
          <p:cNvSpPr>
            <a:spLocks noGrp="1"/>
          </p:cNvSpPr>
          <p:nvPr>
            <p:ph type="pic" sz="quarter" idx="18" hasCustomPrompt="1"/>
          </p:nvPr>
        </p:nvSpPr>
        <p:spPr>
          <a:xfrm>
            <a:off x="7137400" y="0"/>
            <a:ext cx="5054600" cy="6858000"/>
          </a:xfrm>
          <a:solidFill>
            <a:schemeClr val="bg1">
              <a:lumMod val="75000"/>
            </a:schemeClr>
          </a:solidFill>
        </p:spPr>
        <p:txBody>
          <a:bodyPr anchor="ctr"/>
          <a:lstStyle>
            <a:lvl1pPr algn="ctr">
              <a:defRPr sz="1000" b="0"/>
            </a:lvl1pPr>
          </a:lstStyle>
          <a:p>
            <a:r>
              <a:rPr lang="en-US" dirty="0"/>
              <a:t>Insert Photo</a:t>
            </a:r>
          </a:p>
        </p:txBody>
      </p:sp>
      <p:graphicFrame>
        <p:nvGraphicFramePr>
          <p:cNvPr id="3" name="think-cell data - do not delete" hidden="1">
            <a:extLst>
              <a:ext uri="{FF2B5EF4-FFF2-40B4-BE49-F238E27FC236}">
                <a16:creationId xmlns:a16="http://schemas.microsoft.com/office/drawing/2014/main" id="{8E62D234-D5FD-48E0-D01F-6175CB455F70}"/>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 name="think-cell data - do not delete" hidden="1">
                        <a:extLst>
                          <a:ext uri="{FF2B5EF4-FFF2-40B4-BE49-F238E27FC236}">
                            <a16:creationId xmlns:a16="http://schemas.microsoft.com/office/drawing/2014/main" id="{8E62D234-D5FD-48E0-D01F-6175CB455F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3B0381F1-E3BA-89CB-8B69-00C507D035B7}"/>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E1B46AC-808C-5D43-EA1B-15963FBCA79E}"/>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4">
            <a:extLst>
              <a:ext uri="{FF2B5EF4-FFF2-40B4-BE49-F238E27FC236}">
                <a16:creationId xmlns:a16="http://schemas.microsoft.com/office/drawing/2014/main" id="{EF2E75AC-868B-ABFD-D8E0-A1479E536EB7}"/>
              </a:ext>
            </a:extLst>
          </p:cNvPr>
          <p:cNvSpPr>
            <a:spLocks noGrp="1"/>
          </p:cNvSpPr>
          <p:nvPr>
            <p:ph type="body" sz="quarter" idx="19" hasCustomPrompt="1"/>
          </p:nvPr>
        </p:nvSpPr>
        <p:spPr>
          <a:xfrm>
            <a:off x="609600" y="1609344"/>
            <a:ext cx="5486400" cy="475485"/>
          </a:xfrm>
        </p:spPr>
        <p:txBody>
          <a:bodyPr anchor="ctr">
            <a:noAutofit/>
          </a:bodyPr>
          <a:lstStyle>
            <a:lvl1pPr>
              <a:defRPr b="1" baseline="0">
                <a:latin typeface="+mj-lt"/>
              </a:defRPr>
            </a:lvl1pPr>
          </a:lstStyle>
          <a:p>
            <a:pPr lvl="0"/>
            <a:r>
              <a:rPr lang="en-US"/>
              <a:t>Insert header here</a:t>
            </a:r>
          </a:p>
        </p:txBody>
      </p:sp>
      <p:sp>
        <p:nvSpPr>
          <p:cNvPr id="9" name="Text Placeholder 7">
            <a:extLst>
              <a:ext uri="{FF2B5EF4-FFF2-40B4-BE49-F238E27FC236}">
                <a16:creationId xmlns:a16="http://schemas.microsoft.com/office/drawing/2014/main" id="{A3AD7AF5-595C-F328-AFFD-8CA68D602C7E}"/>
              </a:ext>
            </a:extLst>
          </p:cNvPr>
          <p:cNvSpPr>
            <a:spLocks noGrp="1"/>
          </p:cNvSpPr>
          <p:nvPr>
            <p:ph type="body" sz="quarter" idx="20" hasCustomPrompt="1"/>
          </p:nvPr>
        </p:nvSpPr>
        <p:spPr>
          <a:xfrm>
            <a:off x="749808" y="2198053"/>
            <a:ext cx="4485132" cy="349250"/>
          </a:xfrm>
        </p:spPr>
        <p:txBody>
          <a:bodyPr>
            <a:noAutofit/>
          </a:bodyPr>
          <a:lstStyle>
            <a:lvl1pPr>
              <a:defRPr sz="1600"/>
            </a:lvl1pPr>
          </a:lstStyle>
          <a:p>
            <a:pPr lvl="0"/>
            <a:r>
              <a:rPr lang="en-US"/>
              <a:t>Topic name</a:t>
            </a:r>
          </a:p>
        </p:txBody>
      </p:sp>
      <p:sp>
        <p:nvSpPr>
          <p:cNvPr id="10" name="Text Placeholder 7">
            <a:extLst>
              <a:ext uri="{FF2B5EF4-FFF2-40B4-BE49-F238E27FC236}">
                <a16:creationId xmlns:a16="http://schemas.microsoft.com/office/drawing/2014/main" id="{63A1477D-36BF-21E4-9F74-270256AE680D}"/>
              </a:ext>
            </a:extLst>
          </p:cNvPr>
          <p:cNvSpPr>
            <a:spLocks noGrp="1"/>
          </p:cNvSpPr>
          <p:nvPr>
            <p:ph type="body" sz="quarter" idx="21" hasCustomPrompt="1"/>
          </p:nvPr>
        </p:nvSpPr>
        <p:spPr>
          <a:xfrm>
            <a:off x="749808" y="2675705"/>
            <a:ext cx="4485132" cy="349250"/>
          </a:xfrm>
        </p:spPr>
        <p:txBody>
          <a:bodyPr>
            <a:noAutofit/>
          </a:bodyPr>
          <a:lstStyle>
            <a:lvl1pPr>
              <a:defRPr sz="1600"/>
            </a:lvl1pPr>
          </a:lstStyle>
          <a:p>
            <a:pPr lvl="0"/>
            <a:r>
              <a:rPr lang="en-US"/>
              <a:t>Topic name</a:t>
            </a:r>
          </a:p>
        </p:txBody>
      </p:sp>
      <p:sp>
        <p:nvSpPr>
          <p:cNvPr id="14" name="Text Placeholder 7">
            <a:extLst>
              <a:ext uri="{FF2B5EF4-FFF2-40B4-BE49-F238E27FC236}">
                <a16:creationId xmlns:a16="http://schemas.microsoft.com/office/drawing/2014/main" id="{21254762-E52A-A886-D5FB-85F619DBD5D0}"/>
              </a:ext>
            </a:extLst>
          </p:cNvPr>
          <p:cNvSpPr>
            <a:spLocks noGrp="1"/>
          </p:cNvSpPr>
          <p:nvPr>
            <p:ph type="body" sz="quarter" idx="22" hasCustomPrompt="1"/>
          </p:nvPr>
        </p:nvSpPr>
        <p:spPr>
          <a:xfrm>
            <a:off x="749808" y="3153357"/>
            <a:ext cx="4485132" cy="349250"/>
          </a:xfrm>
        </p:spPr>
        <p:txBody>
          <a:bodyPr>
            <a:noAutofit/>
          </a:bodyPr>
          <a:lstStyle>
            <a:lvl1pPr>
              <a:defRPr sz="1600"/>
            </a:lvl1pPr>
          </a:lstStyle>
          <a:p>
            <a:pPr lvl="0"/>
            <a:r>
              <a:rPr lang="en-US"/>
              <a:t>Topic name</a:t>
            </a:r>
          </a:p>
        </p:txBody>
      </p:sp>
      <p:sp>
        <p:nvSpPr>
          <p:cNvPr id="15" name="Text Placeholder 7">
            <a:extLst>
              <a:ext uri="{FF2B5EF4-FFF2-40B4-BE49-F238E27FC236}">
                <a16:creationId xmlns:a16="http://schemas.microsoft.com/office/drawing/2014/main" id="{3F6E28D1-56E8-837D-5E6C-D6AF09C9C942}"/>
              </a:ext>
            </a:extLst>
          </p:cNvPr>
          <p:cNvSpPr>
            <a:spLocks noGrp="1"/>
          </p:cNvSpPr>
          <p:nvPr>
            <p:ph type="body" sz="quarter" idx="23" hasCustomPrompt="1"/>
          </p:nvPr>
        </p:nvSpPr>
        <p:spPr>
          <a:xfrm>
            <a:off x="749808" y="3631009"/>
            <a:ext cx="4485132" cy="349250"/>
          </a:xfrm>
        </p:spPr>
        <p:txBody>
          <a:bodyPr>
            <a:noAutofit/>
          </a:bodyPr>
          <a:lstStyle>
            <a:lvl1pPr>
              <a:defRPr sz="1600"/>
            </a:lvl1pPr>
          </a:lstStyle>
          <a:p>
            <a:pPr lvl="0"/>
            <a:r>
              <a:rPr lang="en-US"/>
              <a:t>Topic name</a:t>
            </a:r>
          </a:p>
        </p:txBody>
      </p:sp>
      <p:sp>
        <p:nvSpPr>
          <p:cNvPr id="16" name="Text Placeholder 7">
            <a:extLst>
              <a:ext uri="{FF2B5EF4-FFF2-40B4-BE49-F238E27FC236}">
                <a16:creationId xmlns:a16="http://schemas.microsoft.com/office/drawing/2014/main" id="{11F1E4AD-98B5-5194-501F-DA5B0D954F2E}"/>
              </a:ext>
            </a:extLst>
          </p:cNvPr>
          <p:cNvSpPr>
            <a:spLocks noGrp="1"/>
          </p:cNvSpPr>
          <p:nvPr>
            <p:ph type="body" sz="quarter" idx="24" hasCustomPrompt="1"/>
          </p:nvPr>
        </p:nvSpPr>
        <p:spPr>
          <a:xfrm>
            <a:off x="749808" y="4108523"/>
            <a:ext cx="4485132" cy="349250"/>
          </a:xfrm>
        </p:spPr>
        <p:txBody>
          <a:bodyPr>
            <a:noAutofit/>
          </a:bodyPr>
          <a:lstStyle>
            <a:lvl1pPr>
              <a:defRPr sz="1600"/>
            </a:lvl1pPr>
          </a:lstStyle>
          <a:p>
            <a:pPr lvl="0"/>
            <a:r>
              <a:rPr lang="en-US"/>
              <a:t>Topic name</a:t>
            </a:r>
          </a:p>
        </p:txBody>
      </p:sp>
      <p:sp>
        <p:nvSpPr>
          <p:cNvPr id="17" name="Text Placeholder 7">
            <a:extLst>
              <a:ext uri="{FF2B5EF4-FFF2-40B4-BE49-F238E27FC236}">
                <a16:creationId xmlns:a16="http://schemas.microsoft.com/office/drawing/2014/main" id="{AB6C6CCD-35D0-B2AF-EEE5-411C0D1E5F38}"/>
              </a:ext>
            </a:extLst>
          </p:cNvPr>
          <p:cNvSpPr>
            <a:spLocks noGrp="1"/>
          </p:cNvSpPr>
          <p:nvPr>
            <p:ph type="body" sz="quarter" idx="25" hasCustomPrompt="1"/>
          </p:nvPr>
        </p:nvSpPr>
        <p:spPr>
          <a:xfrm>
            <a:off x="749808" y="4586175"/>
            <a:ext cx="4485132" cy="349250"/>
          </a:xfrm>
        </p:spPr>
        <p:txBody>
          <a:bodyPr>
            <a:noAutofit/>
          </a:bodyPr>
          <a:lstStyle>
            <a:lvl1pPr>
              <a:defRPr sz="1600"/>
            </a:lvl1pPr>
          </a:lstStyle>
          <a:p>
            <a:pPr lvl="0"/>
            <a:r>
              <a:rPr lang="en-US"/>
              <a:t>Topic name</a:t>
            </a:r>
          </a:p>
        </p:txBody>
      </p:sp>
      <p:sp>
        <p:nvSpPr>
          <p:cNvPr id="18" name="Text Placeholder 7">
            <a:extLst>
              <a:ext uri="{FF2B5EF4-FFF2-40B4-BE49-F238E27FC236}">
                <a16:creationId xmlns:a16="http://schemas.microsoft.com/office/drawing/2014/main" id="{6AE2DD32-A179-D503-27E9-6B6F12028D1B}"/>
              </a:ext>
            </a:extLst>
          </p:cNvPr>
          <p:cNvSpPr>
            <a:spLocks noGrp="1"/>
          </p:cNvSpPr>
          <p:nvPr>
            <p:ph type="body" sz="quarter" idx="26" hasCustomPrompt="1"/>
          </p:nvPr>
        </p:nvSpPr>
        <p:spPr>
          <a:xfrm>
            <a:off x="749808" y="5063827"/>
            <a:ext cx="4485132" cy="349250"/>
          </a:xfrm>
        </p:spPr>
        <p:txBody>
          <a:bodyPr>
            <a:noAutofit/>
          </a:bodyPr>
          <a:lstStyle>
            <a:lvl1pPr>
              <a:defRPr sz="1600"/>
            </a:lvl1pPr>
          </a:lstStyle>
          <a:p>
            <a:pPr lvl="0"/>
            <a:r>
              <a:rPr lang="en-US"/>
              <a:t>Topic name</a:t>
            </a:r>
          </a:p>
        </p:txBody>
      </p:sp>
      <p:sp>
        <p:nvSpPr>
          <p:cNvPr id="19" name="Text Placeholder 7">
            <a:extLst>
              <a:ext uri="{FF2B5EF4-FFF2-40B4-BE49-F238E27FC236}">
                <a16:creationId xmlns:a16="http://schemas.microsoft.com/office/drawing/2014/main" id="{CDB6E2D2-C773-BAC9-9B73-82D96AD4D10E}"/>
              </a:ext>
            </a:extLst>
          </p:cNvPr>
          <p:cNvSpPr>
            <a:spLocks noGrp="1"/>
          </p:cNvSpPr>
          <p:nvPr>
            <p:ph type="body" sz="quarter" idx="27" hasCustomPrompt="1"/>
          </p:nvPr>
        </p:nvSpPr>
        <p:spPr>
          <a:xfrm>
            <a:off x="749808" y="5541479"/>
            <a:ext cx="4485132" cy="349250"/>
          </a:xfrm>
        </p:spPr>
        <p:txBody>
          <a:bodyPr>
            <a:noAutofit/>
          </a:bodyPr>
          <a:lstStyle>
            <a:lvl1pPr>
              <a:defRPr sz="1600"/>
            </a:lvl1pPr>
          </a:lstStyle>
          <a:p>
            <a:pPr lvl="0"/>
            <a:r>
              <a:rPr lang="en-US"/>
              <a:t>Topic name</a:t>
            </a:r>
          </a:p>
        </p:txBody>
      </p:sp>
      <p:sp>
        <p:nvSpPr>
          <p:cNvPr id="20" name="Text Placeholder 7">
            <a:extLst>
              <a:ext uri="{FF2B5EF4-FFF2-40B4-BE49-F238E27FC236}">
                <a16:creationId xmlns:a16="http://schemas.microsoft.com/office/drawing/2014/main" id="{D2F4AE02-2639-124D-374E-37A5808EC573}"/>
              </a:ext>
            </a:extLst>
          </p:cNvPr>
          <p:cNvSpPr>
            <a:spLocks noGrp="1"/>
          </p:cNvSpPr>
          <p:nvPr>
            <p:ph type="body" sz="quarter" idx="28" hasCustomPrompt="1"/>
          </p:nvPr>
        </p:nvSpPr>
        <p:spPr>
          <a:xfrm>
            <a:off x="5562600" y="2198053"/>
            <a:ext cx="386079" cy="349250"/>
          </a:xfrm>
        </p:spPr>
        <p:txBody>
          <a:bodyPr>
            <a:noAutofit/>
          </a:bodyPr>
          <a:lstStyle>
            <a:lvl1pPr algn="r">
              <a:defRPr sz="1600"/>
            </a:lvl1pPr>
          </a:lstStyle>
          <a:p>
            <a:pPr lvl="0"/>
            <a:r>
              <a:rPr lang="en-US"/>
              <a:t>00</a:t>
            </a:r>
          </a:p>
        </p:txBody>
      </p:sp>
      <p:sp>
        <p:nvSpPr>
          <p:cNvPr id="21" name="Text Placeholder 7">
            <a:extLst>
              <a:ext uri="{FF2B5EF4-FFF2-40B4-BE49-F238E27FC236}">
                <a16:creationId xmlns:a16="http://schemas.microsoft.com/office/drawing/2014/main" id="{83B3E7B2-969E-0FBC-C536-C21567270A2F}"/>
              </a:ext>
            </a:extLst>
          </p:cNvPr>
          <p:cNvSpPr>
            <a:spLocks noGrp="1"/>
          </p:cNvSpPr>
          <p:nvPr>
            <p:ph type="body" sz="quarter" idx="29" hasCustomPrompt="1"/>
          </p:nvPr>
        </p:nvSpPr>
        <p:spPr>
          <a:xfrm>
            <a:off x="5562600" y="2675705"/>
            <a:ext cx="386079" cy="349250"/>
          </a:xfrm>
        </p:spPr>
        <p:txBody>
          <a:bodyPr>
            <a:noAutofit/>
          </a:bodyPr>
          <a:lstStyle>
            <a:lvl1pPr algn="r">
              <a:defRPr sz="1600"/>
            </a:lvl1pPr>
          </a:lstStyle>
          <a:p>
            <a:pPr lvl="0"/>
            <a:r>
              <a:rPr lang="en-US"/>
              <a:t>00</a:t>
            </a:r>
          </a:p>
        </p:txBody>
      </p:sp>
      <p:sp>
        <p:nvSpPr>
          <p:cNvPr id="22" name="Text Placeholder 7">
            <a:extLst>
              <a:ext uri="{FF2B5EF4-FFF2-40B4-BE49-F238E27FC236}">
                <a16:creationId xmlns:a16="http://schemas.microsoft.com/office/drawing/2014/main" id="{7264CF90-E306-FDD8-41AD-3A64F5A8A520}"/>
              </a:ext>
            </a:extLst>
          </p:cNvPr>
          <p:cNvSpPr>
            <a:spLocks noGrp="1"/>
          </p:cNvSpPr>
          <p:nvPr>
            <p:ph type="body" sz="quarter" idx="30" hasCustomPrompt="1"/>
          </p:nvPr>
        </p:nvSpPr>
        <p:spPr>
          <a:xfrm>
            <a:off x="5562600" y="3153357"/>
            <a:ext cx="386079" cy="349250"/>
          </a:xfrm>
        </p:spPr>
        <p:txBody>
          <a:bodyPr>
            <a:noAutofit/>
          </a:bodyPr>
          <a:lstStyle>
            <a:lvl1pPr algn="r">
              <a:defRPr sz="1600"/>
            </a:lvl1pPr>
          </a:lstStyle>
          <a:p>
            <a:pPr lvl="0"/>
            <a:r>
              <a:rPr lang="en-US"/>
              <a:t>00</a:t>
            </a:r>
          </a:p>
        </p:txBody>
      </p:sp>
      <p:sp>
        <p:nvSpPr>
          <p:cNvPr id="23" name="Text Placeholder 7">
            <a:extLst>
              <a:ext uri="{FF2B5EF4-FFF2-40B4-BE49-F238E27FC236}">
                <a16:creationId xmlns:a16="http://schemas.microsoft.com/office/drawing/2014/main" id="{0E261DD9-B9CD-8A0C-93D6-32BC3F216DC7}"/>
              </a:ext>
            </a:extLst>
          </p:cNvPr>
          <p:cNvSpPr>
            <a:spLocks noGrp="1"/>
          </p:cNvSpPr>
          <p:nvPr>
            <p:ph type="body" sz="quarter" idx="31" hasCustomPrompt="1"/>
          </p:nvPr>
        </p:nvSpPr>
        <p:spPr>
          <a:xfrm>
            <a:off x="5562600" y="3631009"/>
            <a:ext cx="386079" cy="349250"/>
          </a:xfrm>
        </p:spPr>
        <p:txBody>
          <a:bodyPr>
            <a:noAutofit/>
          </a:bodyPr>
          <a:lstStyle>
            <a:lvl1pPr algn="r">
              <a:defRPr sz="1600"/>
            </a:lvl1pPr>
          </a:lstStyle>
          <a:p>
            <a:pPr lvl="0"/>
            <a:r>
              <a:rPr lang="en-US"/>
              <a:t>00</a:t>
            </a:r>
          </a:p>
        </p:txBody>
      </p:sp>
      <p:sp>
        <p:nvSpPr>
          <p:cNvPr id="24" name="Text Placeholder 7">
            <a:extLst>
              <a:ext uri="{FF2B5EF4-FFF2-40B4-BE49-F238E27FC236}">
                <a16:creationId xmlns:a16="http://schemas.microsoft.com/office/drawing/2014/main" id="{91897430-AD30-8217-BF29-76609DE1BF5D}"/>
              </a:ext>
            </a:extLst>
          </p:cNvPr>
          <p:cNvSpPr>
            <a:spLocks noGrp="1"/>
          </p:cNvSpPr>
          <p:nvPr>
            <p:ph type="body" sz="quarter" idx="32" hasCustomPrompt="1"/>
          </p:nvPr>
        </p:nvSpPr>
        <p:spPr>
          <a:xfrm>
            <a:off x="5562600" y="4108523"/>
            <a:ext cx="386079" cy="349250"/>
          </a:xfrm>
        </p:spPr>
        <p:txBody>
          <a:bodyPr>
            <a:noAutofit/>
          </a:bodyPr>
          <a:lstStyle>
            <a:lvl1pPr algn="r">
              <a:defRPr sz="1600"/>
            </a:lvl1pPr>
          </a:lstStyle>
          <a:p>
            <a:pPr lvl="0"/>
            <a:r>
              <a:rPr lang="en-US"/>
              <a:t>00</a:t>
            </a:r>
          </a:p>
        </p:txBody>
      </p:sp>
      <p:sp>
        <p:nvSpPr>
          <p:cNvPr id="25" name="Text Placeholder 7">
            <a:extLst>
              <a:ext uri="{FF2B5EF4-FFF2-40B4-BE49-F238E27FC236}">
                <a16:creationId xmlns:a16="http://schemas.microsoft.com/office/drawing/2014/main" id="{C154370D-A4F9-05EB-D1B1-4B90D6484677}"/>
              </a:ext>
            </a:extLst>
          </p:cNvPr>
          <p:cNvSpPr>
            <a:spLocks noGrp="1"/>
          </p:cNvSpPr>
          <p:nvPr>
            <p:ph type="body" sz="quarter" idx="33" hasCustomPrompt="1"/>
          </p:nvPr>
        </p:nvSpPr>
        <p:spPr>
          <a:xfrm>
            <a:off x="5562600" y="4586175"/>
            <a:ext cx="386079" cy="349250"/>
          </a:xfrm>
        </p:spPr>
        <p:txBody>
          <a:bodyPr>
            <a:noAutofit/>
          </a:bodyPr>
          <a:lstStyle>
            <a:lvl1pPr algn="r">
              <a:defRPr sz="1600"/>
            </a:lvl1pPr>
          </a:lstStyle>
          <a:p>
            <a:pPr lvl="0"/>
            <a:r>
              <a:rPr lang="en-US"/>
              <a:t>00</a:t>
            </a:r>
          </a:p>
        </p:txBody>
      </p:sp>
      <p:sp>
        <p:nvSpPr>
          <p:cNvPr id="26" name="Text Placeholder 7">
            <a:extLst>
              <a:ext uri="{FF2B5EF4-FFF2-40B4-BE49-F238E27FC236}">
                <a16:creationId xmlns:a16="http://schemas.microsoft.com/office/drawing/2014/main" id="{FD69A9A8-308F-E94F-B9B9-0EE766678012}"/>
              </a:ext>
            </a:extLst>
          </p:cNvPr>
          <p:cNvSpPr>
            <a:spLocks noGrp="1"/>
          </p:cNvSpPr>
          <p:nvPr>
            <p:ph type="body" sz="quarter" idx="34" hasCustomPrompt="1"/>
          </p:nvPr>
        </p:nvSpPr>
        <p:spPr>
          <a:xfrm>
            <a:off x="5562600" y="5063827"/>
            <a:ext cx="386079" cy="349250"/>
          </a:xfrm>
        </p:spPr>
        <p:txBody>
          <a:bodyPr>
            <a:noAutofit/>
          </a:bodyPr>
          <a:lstStyle>
            <a:lvl1pPr algn="r">
              <a:defRPr sz="1600"/>
            </a:lvl1pPr>
          </a:lstStyle>
          <a:p>
            <a:pPr lvl="0"/>
            <a:r>
              <a:rPr lang="en-US"/>
              <a:t>00</a:t>
            </a:r>
          </a:p>
        </p:txBody>
      </p:sp>
      <p:sp>
        <p:nvSpPr>
          <p:cNvPr id="27" name="Text Placeholder 7">
            <a:extLst>
              <a:ext uri="{FF2B5EF4-FFF2-40B4-BE49-F238E27FC236}">
                <a16:creationId xmlns:a16="http://schemas.microsoft.com/office/drawing/2014/main" id="{EE107922-B9C4-7B43-BC9F-3197F9336B58}"/>
              </a:ext>
            </a:extLst>
          </p:cNvPr>
          <p:cNvSpPr>
            <a:spLocks noGrp="1"/>
          </p:cNvSpPr>
          <p:nvPr>
            <p:ph type="body" sz="quarter" idx="35" hasCustomPrompt="1"/>
          </p:nvPr>
        </p:nvSpPr>
        <p:spPr>
          <a:xfrm>
            <a:off x="5562600" y="5541479"/>
            <a:ext cx="386079" cy="349250"/>
          </a:xfrm>
        </p:spPr>
        <p:txBody>
          <a:bodyPr>
            <a:noAutofit/>
          </a:bodyPr>
          <a:lstStyle>
            <a:lvl1pPr algn="r">
              <a:defRPr sz="1600"/>
            </a:lvl1pPr>
          </a:lstStyle>
          <a:p>
            <a:pPr lvl="0"/>
            <a:r>
              <a:rPr lang="en-US"/>
              <a:t>00</a:t>
            </a:r>
          </a:p>
        </p:txBody>
      </p:sp>
      <p:cxnSp>
        <p:nvCxnSpPr>
          <p:cNvPr id="28" name="Straight Connector 27">
            <a:extLst>
              <a:ext uri="{FF2B5EF4-FFF2-40B4-BE49-F238E27FC236}">
                <a16:creationId xmlns:a16="http://schemas.microsoft.com/office/drawing/2014/main" id="{6BD630D2-2057-F944-6AB9-25D424B4590A}"/>
              </a:ext>
            </a:extLst>
          </p:cNvPr>
          <p:cNvCxnSpPr/>
          <p:nvPr userDrawn="1"/>
        </p:nvCxnSpPr>
        <p:spPr>
          <a:xfrm>
            <a:off x="609600" y="2081019"/>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EDE7CE6-1F8F-912E-0255-9DEFEBD14513}"/>
              </a:ext>
            </a:extLst>
          </p:cNvPr>
          <p:cNvCxnSpPr>
            <a:cxnSpLocks/>
          </p:cNvCxnSpPr>
          <p:nvPr userDrawn="1"/>
        </p:nvCxnSpPr>
        <p:spPr>
          <a:xfrm>
            <a:off x="609600" y="2561778"/>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A5D0685-6368-4EFC-6ABF-6FBDA64620D3}"/>
              </a:ext>
            </a:extLst>
          </p:cNvPr>
          <p:cNvCxnSpPr>
            <a:cxnSpLocks/>
          </p:cNvCxnSpPr>
          <p:nvPr userDrawn="1"/>
        </p:nvCxnSpPr>
        <p:spPr>
          <a:xfrm>
            <a:off x="609600" y="3037147"/>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D31D586-C47A-BC1E-84C3-C22187C549C1}"/>
              </a:ext>
            </a:extLst>
          </p:cNvPr>
          <p:cNvCxnSpPr/>
          <p:nvPr userDrawn="1"/>
        </p:nvCxnSpPr>
        <p:spPr>
          <a:xfrm>
            <a:off x="609600" y="3512826"/>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2D8D352-4DAD-9AAD-381C-66D44F72050E}"/>
              </a:ext>
            </a:extLst>
          </p:cNvPr>
          <p:cNvCxnSpPr/>
          <p:nvPr userDrawn="1"/>
        </p:nvCxnSpPr>
        <p:spPr>
          <a:xfrm>
            <a:off x="609600" y="3993790"/>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5581177-466E-5025-CBB6-4C7A53C93462}"/>
              </a:ext>
            </a:extLst>
          </p:cNvPr>
          <p:cNvCxnSpPr/>
          <p:nvPr userDrawn="1"/>
        </p:nvCxnSpPr>
        <p:spPr>
          <a:xfrm>
            <a:off x="609600" y="4469469"/>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7F49381-136D-4144-69A9-FA2ADBC0DDD0}"/>
              </a:ext>
            </a:extLst>
          </p:cNvPr>
          <p:cNvCxnSpPr/>
          <p:nvPr userDrawn="1"/>
        </p:nvCxnSpPr>
        <p:spPr>
          <a:xfrm>
            <a:off x="609600" y="4947558"/>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1E9EB3C-EF38-1853-6B71-D11E37C84652}"/>
              </a:ext>
            </a:extLst>
          </p:cNvPr>
          <p:cNvCxnSpPr/>
          <p:nvPr userDrawn="1"/>
        </p:nvCxnSpPr>
        <p:spPr>
          <a:xfrm>
            <a:off x="609600" y="5423237"/>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6477247-7763-DAD0-F295-054F5E78F547}"/>
              </a:ext>
            </a:extLst>
          </p:cNvPr>
          <p:cNvCxnSpPr/>
          <p:nvPr userDrawn="1"/>
        </p:nvCxnSpPr>
        <p:spPr>
          <a:xfrm>
            <a:off x="609600" y="5905500"/>
            <a:ext cx="54864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751713"/>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Agenda + Icon Image">
    <p:bg>
      <p:bgPr>
        <a:solidFill>
          <a:srgbClr val="F3F3F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4B2B4B-82F9-1536-578C-43BD5CE8AF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think-cell data - do not delete" hidden="1">
                        <a:extLst>
                          <a:ext uri="{FF2B5EF4-FFF2-40B4-BE49-F238E27FC236}">
                            <a16:creationId xmlns:a16="http://schemas.microsoft.com/office/drawing/2014/main" id="{E24B2B4B-82F9-1536-578C-43BD5CE8A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itle 44">
            <a:extLst>
              <a:ext uri="{FF2B5EF4-FFF2-40B4-BE49-F238E27FC236}">
                <a16:creationId xmlns:a16="http://schemas.microsoft.com/office/drawing/2014/main" id="{8C8DBED3-A629-FC99-1B8F-BE074A307F8C}"/>
              </a:ext>
            </a:extLst>
          </p:cNvPr>
          <p:cNvSpPr>
            <a:spLocks noGrp="1"/>
          </p:cNvSpPr>
          <p:nvPr>
            <p:ph type="title" hasCustomPrompt="1"/>
          </p:nvPr>
        </p:nvSpPr>
        <p:spPr>
          <a:xfrm>
            <a:off x="609600" y="800754"/>
            <a:ext cx="5486400" cy="553998"/>
          </a:xfrm>
        </p:spPr>
        <p:txBody>
          <a:bodyPr vert="horz"/>
          <a:lstStyle>
            <a:lvl1pPr>
              <a:defRPr/>
            </a:lvl1pPr>
          </a:lstStyle>
          <a:p>
            <a:r>
              <a:rPr lang="en-US"/>
              <a:t>Agenda</a:t>
            </a:r>
          </a:p>
        </p:txBody>
      </p:sp>
      <p:sp>
        <p:nvSpPr>
          <p:cNvPr id="51" name="Footer Placeholder 50">
            <a:extLst>
              <a:ext uri="{FF2B5EF4-FFF2-40B4-BE49-F238E27FC236}">
                <a16:creationId xmlns:a16="http://schemas.microsoft.com/office/drawing/2014/main" id="{E6307089-0337-1E41-2413-B773C7DDA356}"/>
              </a:ext>
            </a:extLst>
          </p:cNvPr>
          <p:cNvSpPr>
            <a:spLocks noGrp="1"/>
          </p:cNvSpPr>
          <p:nvPr>
            <p:ph type="ftr" sz="quarter" idx="15"/>
          </p:nvPr>
        </p:nvSpPr>
        <p:spPr>
          <a:xfrm>
            <a:off x="609600" y="6567465"/>
            <a:ext cx="10083800" cy="153888"/>
          </a:xfrm>
          <a:prstGeom prst="rect">
            <a:avLst/>
          </a:prstGeom>
        </p:spPr>
        <p:txBody>
          <a:bodyPr/>
          <a:lstStyle>
            <a:lvl1pPr>
              <a:defRPr>
                <a:solidFill>
                  <a:schemeClr val="tx1">
                    <a:lumMod val="75000"/>
                    <a:lumOff val="25000"/>
                  </a:schemeClr>
                </a:solidFill>
              </a:defRPr>
            </a:lvl1pPr>
          </a:lstStyle>
          <a:p>
            <a:r>
              <a:rPr lang="en-US" dirty="0"/>
              <a:t>© 2024 Guidehouse</a:t>
            </a:r>
          </a:p>
        </p:txBody>
      </p:sp>
      <p:sp>
        <p:nvSpPr>
          <p:cNvPr id="53" name="Text Placeholder 7">
            <a:extLst>
              <a:ext uri="{FF2B5EF4-FFF2-40B4-BE49-F238E27FC236}">
                <a16:creationId xmlns:a16="http://schemas.microsoft.com/office/drawing/2014/main" id="{835ECE48-5FE3-A1E7-D32C-C2F6ADBC4A87}"/>
              </a:ext>
            </a:extLst>
          </p:cNvPr>
          <p:cNvSpPr>
            <a:spLocks noGrp="1"/>
          </p:cNvSpPr>
          <p:nvPr>
            <p:ph type="body" sz="quarter" idx="17" hasCustomPrompt="1"/>
          </p:nvPr>
        </p:nvSpPr>
        <p:spPr>
          <a:xfrm>
            <a:off x="609600" y="136647"/>
            <a:ext cx="4076700" cy="153888"/>
          </a:xfrm>
        </p:spPr>
        <p:txBody>
          <a:bodyPr anchor="ctr">
            <a:noAutofit/>
          </a:bodyPr>
          <a:lstStyle>
            <a:lvl1pPr>
              <a:spcAft>
                <a:spcPts val="0"/>
              </a:spcAft>
              <a:defRPr sz="1000" b="0" cap="all" spc="0" baseline="0">
                <a:solidFill>
                  <a:schemeClr val="tx1">
                    <a:lumMod val="75000"/>
                    <a:lumOff val="25000"/>
                  </a:schemeClr>
                </a:solidFill>
                <a:latin typeface="+mj-lt"/>
              </a:defRPr>
            </a:lvl1pPr>
          </a:lstStyle>
          <a:p>
            <a:pPr lvl="0"/>
            <a:r>
              <a:rPr lang="en-US"/>
              <a:t>Industry Name / Section Title</a:t>
            </a:r>
          </a:p>
        </p:txBody>
      </p:sp>
      <p:cxnSp>
        <p:nvCxnSpPr>
          <p:cNvPr id="12" name="Straight Connector 11">
            <a:extLst>
              <a:ext uri="{FF2B5EF4-FFF2-40B4-BE49-F238E27FC236}">
                <a16:creationId xmlns:a16="http://schemas.microsoft.com/office/drawing/2014/main" id="{847FA0D2-F8F7-895F-2FBF-67E102F5B1D5}"/>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BC655C-7979-A16B-0182-2803B04DF645}"/>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4" name="Picture Placeholder 43">
            <a:extLst>
              <a:ext uri="{FF2B5EF4-FFF2-40B4-BE49-F238E27FC236}">
                <a16:creationId xmlns:a16="http://schemas.microsoft.com/office/drawing/2014/main" id="{6C44CEA0-0F17-2C8E-18CE-EE665ED83B11}"/>
              </a:ext>
            </a:extLst>
          </p:cNvPr>
          <p:cNvSpPr>
            <a:spLocks noGrp="1"/>
          </p:cNvSpPr>
          <p:nvPr>
            <p:ph type="pic" sz="quarter" idx="18" hasCustomPrompt="1"/>
          </p:nvPr>
        </p:nvSpPr>
        <p:spPr>
          <a:xfrm>
            <a:off x="2" y="1600199"/>
            <a:ext cx="12191999" cy="3038475"/>
          </a:xfrm>
          <a:custGeom>
            <a:avLst/>
            <a:gdLst>
              <a:gd name="connsiteX0" fmla="*/ 0 w 12191999"/>
              <a:gd name="connsiteY0" fmla="*/ 0 h 3038475"/>
              <a:gd name="connsiteX1" fmla="*/ 9337309 w 12191999"/>
              <a:gd name="connsiteY1" fmla="*/ 0 h 3038475"/>
              <a:gd name="connsiteX2" fmla="*/ 9356682 w 12191999"/>
              <a:gd name="connsiteY2" fmla="*/ 95991 h 3038475"/>
              <a:gd name="connsiteX3" fmla="*/ 9618924 w 12191999"/>
              <a:gd name="connsiteY3" fmla="*/ 269803 h 3038475"/>
              <a:gd name="connsiteX4" fmla="*/ 9881167 w 12191999"/>
              <a:gd name="connsiteY4" fmla="*/ 95991 h 3038475"/>
              <a:gd name="connsiteX5" fmla="*/ 9900540 w 12191999"/>
              <a:gd name="connsiteY5" fmla="*/ 0 h 3038475"/>
              <a:gd name="connsiteX6" fmla="*/ 10157523 w 12191999"/>
              <a:gd name="connsiteY6" fmla="*/ 0 h 3038475"/>
              <a:gd name="connsiteX7" fmla="*/ 10177034 w 12191999"/>
              <a:gd name="connsiteY7" fmla="*/ 96672 h 3038475"/>
              <a:gd name="connsiteX8" fmla="*/ 10439283 w 12191999"/>
              <a:gd name="connsiteY8" fmla="*/ 270481 h 3038475"/>
              <a:gd name="connsiteX9" fmla="*/ 10701530 w 12191999"/>
              <a:gd name="connsiteY9" fmla="*/ 96672 h 3038475"/>
              <a:gd name="connsiteX10" fmla="*/ 10721041 w 12191999"/>
              <a:gd name="connsiteY10" fmla="*/ 0 h 3038475"/>
              <a:gd name="connsiteX11" fmla="*/ 10975649 w 12191999"/>
              <a:gd name="connsiteY11" fmla="*/ 0 h 3038475"/>
              <a:gd name="connsiteX12" fmla="*/ 10995160 w 12191999"/>
              <a:gd name="connsiteY12" fmla="*/ 96673 h 3038475"/>
              <a:gd name="connsiteX13" fmla="*/ 11257407 w 12191999"/>
              <a:gd name="connsiteY13" fmla="*/ 270482 h 3038475"/>
              <a:gd name="connsiteX14" fmla="*/ 11519656 w 12191999"/>
              <a:gd name="connsiteY14" fmla="*/ 96673 h 3038475"/>
              <a:gd name="connsiteX15" fmla="*/ 11539167 w 12191999"/>
              <a:gd name="connsiteY15" fmla="*/ 0 h 3038475"/>
              <a:gd name="connsiteX16" fmla="*/ 12191999 w 12191999"/>
              <a:gd name="connsiteY16" fmla="*/ 0 h 3038475"/>
              <a:gd name="connsiteX17" fmla="*/ 12191999 w 12191999"/>
              <a:gd name="connsiteY17" fmla="*/ 3038475 h 3038475"/>
              <a:gd name="connsiteX18" fmla="*/ 0 w 12191999"/>
              <a:gd name="connsiteY18" fmla="*/ 3038475 h 303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1999" h="3038475">
                <a:moveTo>
                  <a:pt x="0" y="0"/>
                </a:moveTo>
                <a:lnTo>
                  <a:pt x="9337309" y="0"/>
                </a:lnTo>
                <a:lnTo>
                  <a:pt x="9356682" y="95991"/>
                </a:lnTo>
                <a:cubicBezTo>
                  <a:pt x="9399879" y="198146"/>
                  <a:pt x="9501013" y="269803"/>
                  <a:pt x="9618924" y="269803"/>
                </a:cubicBezTo>
                <a:cubicBezTo>
                  <a:pt x="9736835" y="269803"/>
                  <a:pt x="9837969" y="198146"/>
                  <a:pt x="9881167" y="95991"/>
                </a:cubicBezTo>
                <a:lnTo>
                  <a:pt x="9900540" y="0"/>
                </a:lnTo>
                <a:lnTo>
                  <a:pt x="10157523" y="0"/>
                </a:lnTo>
                <a:lnTo>
                  <a:pt x="10177034" y="96672"/>
                </a:lnTo>
                <a:cubicBezTo>
                  <a:pt x="10220233" y="198825"/>
                  <a:pt x="10321369" y="270481"/>
                  <a:pt x="10439283" y="270481"/>
                </a:cubicBezTo>
                <a:cubicBezTo>
                  <a:pt x="10557197" y="270481"/>
                  <a:pt x="10658332" y="198825"/>
                  <a:pt x="10701530" y="96672"/>
                </a:cubicBezTo>
                <a:lnTo>
                  <a:pt x="10721041" y="0"/>
                </a:lnTo>
                <a:lnTo>
                  <a:pt x="10975649" y="0"/>
                </a:lnTo>
                <a:lnTo>
                  <a:pt x="10995160" y="96673"/>
                </a:lnTo>
                <a:cubicBezTo>
                  <a:pt x="11038358" y="198826"/>
                  <a:pt x="11139494" y="270482"/>
                  <a:pt x="11257407" y="270482"/>
                </a:cubicBezTo>
                <a:cubicBezTo>
                  <a:pt x="11375320" y="270482"/>
                  <a:pt x="11476457" y="198826"/>
                  <a:pt x="11519656" y="96673"/>
                </a:cubicBezTo>
                <a:lnTo>
                  <a:pt x="11539167" y="0"/>
                </a:lnTo>
                <a:lnTo>
                  <a:pt x="12191999" y="0"/>
                </a:lnTo>
                <a:lnTo>
                  <a:pt x="12191999" y="3038475"/>
                </a:lnTo>
                <a:lnTo>
                  <a:pt x="0" y="3038475"/>
                </a:lnTo>
                <a:close/>
              </a:path>
            </a:pathLst>
          </a:custGeom>
          <a:solidFill>
            <a:schemeClr val="bg1">
              <a:lumMod val="75000"/>
            </a:schemeClr>
          </a:solidFill>
        </p:spPr>
        <p:txBody>
          <a:bodyPr wrap="square" anchor="ctr">
            <a:noAutofit/>
          </a:bodyPr>
          <a:lstStyle>
            <a:lvl1pPr algn="ctr">
              <a:defRPr sz="1000" b="0"/>
            </a:lvl1pPr>
          </a:lstStyle>
          <a:p>
            <a:r>
              <a:rPr lang="en-US" dirty="0"/>
              <a:t>Insert Photo</a:t>
            </a:r>
          </a:p>
        </p:txBody>
      </p:sp>
      <p:graphicFrame>
        <p:nvGraphicFramePr>
          <p:cNvPr id="3" name="think-cell data - do not delete" hidden="1">
            <a:extLst>
              <a:ext uri="{FF2B5EF4-FFF2-40B4-BE49-F238E27FC236}">
                <a16:creationId xmlns:a16="http://schemas.microsoft.com/office/drawing/2014/main" id="{8E62D234-D5FD-48E0-D01F-6175CB455F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think-cell data - do not delete" hidden="1">
                        <a:extLst>
                          <a:ext uri="{FF2B5EF4-FFF2-40B4-BE49-F238E27FC236}">
                            <a16:creationId xmlns:a16="http://schemas.microsoft.com/office/drawing/2014/main" id="{8E62D234-D5FD-48E0-D01F-6175CB455F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3B0381F1-E3BA-89CB-8B69-00C507D035B7}"/>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E1B46AC-808C-5D43-EA1B-15963FBCA79E}"/>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24">
            <a:extLst>
              <a:ext uri="{FF2B5EF4-FFF2-40B4-BE49-F238E27FC236}">
                <a16:creationId xmlns:a16="http://schemas.microsoft.com/office/drawing/2014/main" id="{CE4D3010-E8F4-6ECE-FC85-E5C43829DD42}"/>
              </a:ext>
            </a:extLst>
          </p:cNvPr>
          <p:cNvSpPr>
            <a:spLocks noGrp="1"/>
          </p:cNvSpPr>
          <p:nvPr>
            <p:ph type="body" sz="quarter" idx="29"/>
          </p:nvPr>
        </p:nvSpPr>
        <p:spPr>
          <a:xfrm>
            <a:off x="609599"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8" name="Text Placeholder 26">
            <a:extLst>
              <a:ext uri="{FF2B5EF4-FFF2-40B4-BE49-F238E27FC236}">
                <a16:creationId xmlns:a16="http://schemas.microsoft.com/office/drawing/2014/main" id="{D3BAA845-643F-89D1-F332-B3E022656A10}"/>
              </a:ext>
            </a:extLst>
          </p:cNvPr>
          <p:cNvSpPr>
            <a:spLocks noGrp="1"/>
          </p:cNvSpPr>
          <p:nvPr>
            <p:ph type="body" sz="quarter" idx="37" hasCustomPrompt="1"/>
          </p:nvPr>
        </p:nvSpPr>
        <p:spPr>
          <a:xfrm>
            <a:off x="609600"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15" name="Text Placeholder 24">
            <a:extLst>
              <a:ext uri="{FF2B5EF4-FFF2-40B4-BE49-F238E27FC236}">
                <a16:creationId xmlns:a16="http://schemas.microsoft.com/office/drawing/2014/main" id="{DCEFF89C-78B8-ADF9-24ED-AEA05D3EC470}"/>
              </a:ext>
            </a:extLst>
          </p:cNvPr>
          <p:cNvSpPr>
            <a:spLocks noGrp="1"/>
          </p:cNvSpPr>
          <p:nvPr>
            <p:ph type="body" sz="quarter" idx="38"/>
          </p:nvPr>
        </p:nvSpPr>
        <p:spPr>
          <a:xfrm>
            <a:off x="3484244"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16" name="Text Placeholder 26">
            <a:extLst>
              <a:ext uri="{FF2B5EF4-FFF2-40B4-BE49-F238E27FC236}">
                <a16:creationId xmlns:a16="http://schemas.microsoft.com/office/drawing/2014/main" id="{D8446354-7DF9-CD63-06FD-34CC052BDF48}"/>
              </a:ext>
            </a:extLst>
          </p:cNvPr>
          <p:cNvSpPr>
            <a:spLocks noGrp="1"/>
          </p:cNvSpPr>
          <p:nvPr>
            <p:ph type="body" sz="quarter" idx="39" hasCustomPrompt="1"/>
          </p:nvPr>
        </p:nvSpPr>
        <p:spPr>
          <a:xfrm>
            <a:off x="3484244"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19" name="Text Placeholder 24">
            <a:extLst>
              <a:ext uri="{FF2B5EF4-FFF2-40B4-BE49-F238E27FC236}">
                <a16:creationId xmlns:a16="http://schemas.microsoft.com/office/drawing/2014/main" id="{A705EFF2-4847-92E0-5295-3C574E55E1DF}"/>
              </a:ext>
            </a:extLst>
          </p:cNvPr>
          <p:cNvSpPr>
            <a:spLocks noGrp="1"/>
          </p:cNvSpPr>
          <p:nvPr>
            <p:ph type="body" sz="quarter" idx="40"/>
          </p:nvPr>
        </p:nvSpPr>
        <p:spPr>
          <a:xfrm>
            <a:off x="6358889"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20" name="Text Placeholder 26">
            <a:extLst>
              <a:ext uri="{FF2B5EF4-FFF2-40B4-BE49-F238E27FC236}">
                <a16:creationId xmlns:a16="http://schemas.microsoft.com/office/drawing/2014/main" id="{AC7CA245-18EA-597A-82E5-BA3812A8DE29}"/>
              </a:ext>
            </a:extLst>
          </p:cNvPr>
          <p:cNvSpPr>
            <a:spLocks noGrp="1"/>
          </p:cNvSpPr>
          <p:nvPr>
            <p:ph type="body" sz="quarter" idx="41" hasCustomPrompt="1"/>
          </p:nvPr>
        </p:nvSpPr>
        <p:spPr>
          <a:xfrm>
            <a:off x="6358889"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23" name="Text Placeholder 24">
            <a:extLst>
              <a:ext uri="{FF2B5EF4-FFF2-40B4-BE49-F238E27FC236}">
                <a16:creationId xmlns:a16="http://schemas.microsoft.com/office/drawing/2014/main" id="{924E5149-F5C8-EA54-727E-B8B68A5FE9F7}"/>
              </a:ext>
            </a:extLst>
          </p:cNvPr>
          <p:cNvSpPr>
            <a:spLocks noGrp="1"/>
          </p:cNvSpPr>
          <p:nvPr>
            <p:ph type="body" sz="quarter" idx="42"/>
          </p:nvPr>
        </p:nvSpPr>
        <p:spPr>
          <a:xfrm>
            <a:off x="9233535" y="5601620"/>
            <a:ext cx="2348865" cy="646780"/>
          </a:xfrm>
        </p:spPr>
        <p:txBody>
          <a:bodyPr>
            <a:noAutofit/>
          </a:bodyPr>
          <a:lstStyle>
            <a:lvl1pPr marL="0" indent="0">
              <a:buFont typeface="Arial" panose="020B0604020202020204" pitchFamily="34" charset="0"/>
              <a:buNone/>
              <a:defRPr sz="1800" b="1">
                <a:latin typeface="+mj-lt"/>
              </a:defRPr>
            </a:lvl1pPr>
            <a:lvl2pPr marL="0" indent="0">
              <a:buNone/>
              <a:defRPr sz="1600"/>
            </a:lvl2pPr>
            <a:lvl3pPr marL="182880" indent="0">
              <a:buNone/>
              <a:defRPr/>
            </a:lvl3pPr>
          </a:lstStyle>
          <a:p>
            <a:pPr lvl="0"/>
            <a:r>
              <a:rPr lang="en-US"/>
              <a:t>Click to edit Master text styles</a:t>
            </a:r>
          </a:p>
        </p:txBody>
      </p:sp>
      <p:sp>
        <p:nvSpPr>
          <p:cNvPr id="24" name="Text Placeholder 26">
            <a:extLst>
              <a:ext uri="{FF2B5EF4-FFF2-40B4-BE49-F238E27FC236}">
                <a16:creationId xmlns:a16="http://schemas.microsoft.com/office/drawing/2014/main" id="{3489A859-38FC-693E-A6ED-DA783AAA67BC}"/>
              </a:ext>
            </a:extLst>
          </p:cNvPr>
          <p:cNvSpPr>
            <a:spLocks noGrp="1"/>
          </p:cNvSpPr>
          <p:nvPr>
            <p:ph type="body" sz="quarter" idx="43" hasCustomPrompt="1"/>
          </p:nvPr>
        </p:nvSpPr>
        <p:spPr>
          <a:xfrm>
            <a:off x="9233535" y="4884121"/>
            <a:ext cx="442911" cy="430887"/>
          </a:xfrm>
          <a:noFill/>
        </p:spPr>
        <p:txBody>
          <a:bodyPr wrap="square" anchor="b">
            <a:noAutofit/>
          </a:bodyPr>
          <a:lstStyle>
            <a:lvl1pPr algn="l">
              <a:defRPr sz="2800">
                <a:solidFill>
                  <a:schemeClr val="tx2"/>
                </a:solidFill>
              </a:defRPr>
            </a:lvl1pPr>
          </a:lstStyle>
          <a:p>
            <a:pPr lvl="0"/>
            <a:r>
              <a:rPr lang="en-US"/>
              <a:t>00</a:t>
            </a:r>
          </a:p>
        </p:txBody>
      </p:sp>
      <p:sp>
        <p:nvSpPr>
          <p:cNvPr id="29" name="Date Placeholder 49">
            <a:extLst>
              <a:ext uri="{FF2B5EF4-FFF2-40B4-BE49-F238E27FC236}">
                <a16:creationId xmlns:a16="http://schemas.microsoft.com/office/drawing/2014/main" id="{B060A5B5-C6DF-5D69-2D87-90F40677BABD}"/>
              </a:ext>
            </a:extLst>
          </p:cNvPr>
          <p:cNvSpPr>
            <a:spLocks noGrp="1"/>
          </p:cNvSpPr>
          <p:nvPr>
            <p:ph type="dt" sz="half" idx="44"/>
          </p:nvPr>
        </p:nvSpPr>
        <p:spPr>
          <a:xfrm>
            <a:off x="10236555" y="139419"/>
            <a:ext cx="1345845" cy="153888"/>
          </a:xfrm>
        </p:spPr>
        <p:txBody>
          <a:bodyPr>
            <a:noAutofit/>
          </a:bodyPr>
          <a:lstStyle>
            <a:lvl1pPr>
              <a:defRPr>
                <a:solidFill>
                  <a:schemeClr val="tx1">
                    <a:lumMod val="75000"/>
                    <a:lumOff val="25000"/>
                  </a:schemeClr>
                </a:solidFill>
              </a:defRPr>
            </a:lvl1pPr>
          </a:lstStyle>
          <a:p>
            <a:fld id="{8EC7FE3E-E251-492A-8A26-609F7661DDA5}" type="datetime4">
              <a:rPr lang="en-US" smtClean="0"/>
              <a:t>May 17, 2025</a:t>
            </a:fld>
            <a:endParaRPr lang="en-US" dirty="0"/>
          </a:p>
        </p:txBody>
      </p:sp>
      <p:sp>
        <p:nvSpPr>
          <p:cNvPr id="30" name="Slide Number Placeholder 5">
            <a:extLst>
              <a:ext uri="{FF2B5EF4-FFF2-40B4-BE49-F238E27FC236}">
                <a16:creationId xmlns:a16="http://schemas.microsoft.com/office/drawing/2014/main" id="{41599AF1-5158-10CB-A04F-6F714A9AF221}"/>
              </a:ext>
            </a:extLst>
          </p:cNvPr>
          <p:cNvSpPr>
            <a:spLocks noGrp="1"/>
          </p:cNvSpPr>
          <p:nvPr>
            <p:ph type="sldNum" sz="quarter" idx="12"/>
          </p:nvPr>
        </p:nvSpPr>
        <p:spPr>
          <a:xfrm>
            <a:off x="11248008" y="6567465"/>
            <a:ext cx="334392" cy="153888"/>
          </a:xfrm>
          <a:prstGeom prst="rect">
            <a:avLst/>
          </a:prstGeom>
        </p:spPr>
        <p:txBody>
          <a:bodyPr/>
          <a:lstStyle>
            <a:lvl1pPr>
              <a:defRPr>
                <a:solidFill>
                  <a:schemeClr val="tx1">
                    <a:lumMod val="75000"/>
                    <a:lumOff val="25000"/>
                  </a:schemeClr>
                </a:solidFill>
              </a:defRPr>
            </a:lvl1pPr>
          </a:lstStyle>
          <a:p>
            <a:fld id="{FD814145-5B10-4F3F-A6BF-3641B91211CF}" type="slidenum">
              <a:rPr lang="en-US" smtClean="0"/>
              <a:pPr/>
              <a:t>‹#›</a:t>
            </a:fld>
            <a:endParaRPr lang="en-US" dirty="0"/>
          </a:p>
        </p:txBody>
      </p:sp>
      <p:grpSp>
        <p:nvGrpSpPr>
          <p:cNvPr id="249" name="Group 248">
            <a:extLst>
              <a:ext uri="{FF2B5EF4-FFF2-40B4-BE49-F238E27FC236}">
                <a16:creationId xmlns:a16="http://schemas.microsoft.com/office/drawing/2014/main" id="{B87E5EE8-0F60-7D2F-48BC-101064EE28B1}"/>
              </a:ext>
            </a:extLst>
          </p:cNvPr>
          <p:cNvGrpSpPr>
            <a:grpSpLocks/>
          </p:cNvGrpSpPr>
          <p:nvPr userDrawn="1"/>
        </p:nvGrpSpPr>
        <p:grpSpPr>
          <a:xfrm>
            <a:off x="9335262" y="1312230"/>
            <a:ext cx="2209250" cy="569889"/>
            <a:chOff x="9334317" y="1300791"/>
            <a:chExt cx="2209250" cy="569889"/>
          </a:xfrm>
        </p:grpSpPr>
        <p:grpSp>
          <p:nvGrpSpPr>
            <p:cNvPr id="180" name="Graphic 62">
              <a:extLst>
                <a:ext uri="{FF2B5EF4-FFF2-40B4-BE49-F238E27FC236}">
                  <a16:creationId xmlns:a16="http://schemas.microsoft.com/office/drawing/2014/main" id="{2D0F0C4B-399D-E541-384A-E31D942F452D}"/>
                </a:ext>
              </a:extLst>
            </p:cNvPr>
            <p:cNvGrpSpPr>
              <a:grpSpLocks/>
            </p:cNvGrpSpPr>
            <p:nvPr/>
          </p:nvGrpSpPr>
          <p:grpSpPr>
            <a:xfrm rot="5400000">
              <a:off x="9334323" y="1300785"/>
              <a:ext cx="569206" cy="569218"/>
              <a:chOff x="10101437" y="6590521"/>
              <a:chExt cx="569206" cy="569218"/>
            </a:xfrm>
          </p:grpSpPr>
          <p:sp>
            <p:nvSpPr>
              <p:cNvPr id="181" name="Freeform: Shape 180">
                <a:extLst>
                  <a:ext uri="{FF2B5EF4-FFF2-40B4-BE49-F238E27FC236}">
                    <a16:creationId xmlns:a16="http://schemas.microsoft.com/office/drawing/2014/main" id="{43F08049-ADFC-4339-6C3C-50CFA503894E}"/>
                  </a:ext>
                </a:extLst>
              </p:cNvPr>
              <p:cNvSpPr>
                <a:spLocks/>
              </p:cNvSpPr>
              <p:nvPr/>
            </p:nvSpPr>
            <p:spPr>
              <a:xfrm>
                <a:off x="10101437" y="6590521"/>
                <a:ext cx="569206" cy="284609"/>
              </a:xfrm>
              <a:custGeom>
                <a:avLst/>
                <a:gdLst>
                  <a:gd name="connsiteX0" fmla="*/ 0 w 569206"/>
                  <a:gd name="connsiteY0" fmla="*/ 284609 h 284609"/>
                  <a:gd name="connsiteX1" fmla="*/ 284603 w 569206"/>
                  <a:gd name="connsiteY1" fmla="*/ 0 h 284609"/>
                  <a:gd name="connsiteX2" fmla="*/ 569207 w 569206"/>
                  <a:gd name="connsiteY2" fmla="*/ 284609 h 284609"/>
                  <a:gd name="connsiteX3" fmla="*/ 0 w 569206"/>
                  <a:gd name="connsiteY3" fmla="*/ 284609 h 284609"/>
                </a:gdLst>
                <a:ahLst/>
                <a:cxnLst>
                  <a:cxn ang="0">
                    <a:pos x="connsiteX0" y="connsiteY0"/>
                  </a:cxn>
                  <a:cxn ang="0">
                    <a:pos x="connsiteX1" y="connsiteY1"/>
                  </a:cxn>
                  <a:cxn ang="0">
                    <a:pos x="connsiteX2" y="connsiteY2"/>
                  </a:cxn>
                  <a:cxn ang="0">
                    <a:pos x="connsiteX3" y="connsiteY3"/>
                  </a:cxn>
                </a:cxnLst>
                <a:rect l="l" t="t" r="r" b="b"/>
                <a:pathLst>
                  <a:path w="569206" h="284609">
                    <a:moveTo>
                      <a:pt x="0" y="284609"/>
                    </a:moveTo>
                    <a:cubicBezTo>
                      <a:pt x="0" y="127391"/>
                      <a:pt x="127388" y="0"/>
                      <a:pt x="284603" y="0"/>
                    </a:cubicBezTo>
                    <a:cubicBezTo>
                      <a:pt x="441818" y="0"/>
                      <a:pt x="569207" y="127391"/>
                      <a:pt x="569207" y="284609"/>
                    </a:cubicBezTo>
                    <a:lnTo>
                      <a:pt x="0" y="284609"/>
                    </a:lnTo>
                    <a:close/>
                  </a:path>
                </a:pathLst>
              </a:custGeom>
              <a:solidFill>
                <a:srgbClr val="93D500"/>
              </a:solidFill>
              <a:ln w="0" cap="flat">
                <a:noFill/>
                <a:prstDash val="solid"/>
                <a:miter/>
              </a:ln>
            </p:spPr>
            <p:txBody>
              <a:bodyPr rtlCol="0" anchor="ctr"/>
              <a:lstStyle/>
              <a:p>
                <a:endParaRPr lang="en-US" dirty="0"/>
              </a:p>
            </p:txBody>
          </p:sp>
          <p:sp>
            <p:nvSpPr>
              <p:cNvPr id="182" name="Freeform: Shape 181">
                <a:extLst>
                  <a:ext uri="{FF2B5EF4-FFF2-40B4-BE49-F238E27FC236}">
                    <a16:creationId xmlns:a16="http://schemas.microsoft.com/office/drawing/2014/main" id="{620C853C-0076-DF88-1809-1B9D6272BA0E}"/>
                  </a:ext>
                </a:extLst>
              </p:cNvPr>
              <p:cNvSpPr>
                <a:spLocks/>
              </p:cNvSpPr>
              <p:nvPr/>
            </p:nvSpPr>
            <p:spPr>
              <a:xfrm>
                <a:off x="10101437" y="6875130"/>
                <a:ext cx="569206" cy="284609"/>
              </a:xfrm>
              <a:custGeom>
                <a:avLst/>
                <a:gdLst>
                  <a:gd name="connsiteX0" fmla="*/ 569207 w 569206"/>
                  <a:gd name="connsiteY0" fmla="*/ 0 h 284609"/>
                  <a:gd name="connsiteX1" fmla="*/ 284603 w 569206"/>
                  <a:gd name="connsiteY1" fmla="*/ 284609 h 284609"/>
                  <a:gd name="connsiteX2" fmla="*/ 0 w 569206"/>
                  <a:gd name="connsiteY2" fmla="*/ 0 h 284609"/>
                  <a:gd name="connsiteX3" fmla="*/ 569207 w 569206"/>
                  <a:gd name="connsiteY3" fmla="*/ 0 h 284609"/>
                </a:gdLst>
                <a:ahLst/>
                <a:cxnLst>
                  <a:cxn ang="0">
                    <a:pos x="connsiteX0" y="connsiteY0"/>
                  </a:cxn>
                  <a:cxn ang="0">
                    <a:pos x="connsiteX1" y="connsiteY1"/>
                  </a:cxn>
                  <a:cxn ang="0">
                    <a:pos x="connsiteX2" y="connsiteY2"/>
                  </a:cxn>
                  <a:cxn ang="0">
                    <a:pos x="connsiteX3" y="connsiteY3"/>
                  </a:cxn>
                </a:cxnLst>
                <a:rect l="l" t="t" r="r" b="b"/>
                <a:pathLst>
                  <a:path w="569206" h="284609">
                    <a:moveTo>
                      <a:pt x="569207" y="0"/>
                    </a:moveTo>
                    <a:cubicBezTo>
                      <a:pt x="569207" y="157218"/>
                      <a:pt x="441818" y="284609"/>
                      <a:pt x="284603" y="284609"/>
                    </a:cubicBezTo>
                    <a:cubicBezTo>
                      <a:pt x="127388" y="284609"/>
                      <a:pt x="0" y="157218"/>
                      <a:pt x="0" y="0"/>
                    </a:cubicBezTo>
                    <a:lnTo>
                      <a:pt x="569207" y="0"/>
                    </a:lnTo>
                    <a:close/>
                  </a:path>
                </a:pathLst>
              </a:custGeom>
              <a:solidFill>
                <a:srgbClr val="000000"/>
              </a:solidFill>
              <a:ln w="0" cap="flat">
                <a:noFill/>
                <a:prstDash val="solid"/>
                <a:miter/>
              </a:ln>
            </p:spPr>
            <p:txBody>
              <a:bodyPr rtlCol="0" anchor="ctr"/>
              <a:lstStyle/>
              <a:p>
                <a:endParaRPr lang="en-US" dirty="0"/>
              </a:p>
            </p:txBody>
          </p:sp>
        </p:grpSp>
        <p:grpSp>
          <p:nvGrpSpPr>
            <p:cNvPr id="183" name="Graphic 62">
              <a:extLst>
                <a:ext uri="{FF2B5EF4-FFF2-40B4-BE49-F238E27FC236}">
                  <a16:creationId xmlns:a16="http://schemas.microsoft.com/office/drawing/2014/main" id="{30C3B7C6-2CD7-73CC-419C-76B8123B9D0F}"/>
                </a:ext>
              </a:extLst>
            </p:cNvPr>
            <p:cNvGrpSpPr>
              <a:grpSpLocks/>
            </p:cNvGrpSpPr>
            <p:nvPr/>
          </p:nvGrpSpPr>
          <p:grpSpPr>
            <a:xfrm rot="5400000">
              <a:off x="10154681" y="1301468"/>
              <a:ext cx="569206" cy="569218"/>
              <a:chOff x="10102120" y="5770163"/>
              <a:chExt cx="569206" cy="569218"/>
            </a:xfrm>
          </p:grpSpPr>
          <p:sp>
            <p:nvSpPr>
              <p:cNvPr id="184" name="Freeform: Shape 183">
                <a:extLst>
                  <a:ext uri="{FF2B5EF4-FFF2-40B4-BE49-F238E27FC236}">
                    <a16:creationId xmlns:a16="http://schemas.microsoft.com/office/drawing/2014/main" id="{D7BC0D93-C77A-7CC8-E7A3-5C20CF2605C7}"/>
                  </a:ext>
                </a:extLst>
              </p:cNvPr>
              <p:cNvSpPr>
                <a:spLocks/>
              </p:cNvSpPr>
              <p:nvPr/>
            </p:nvSpPr>
            <p:spPr>
              <a:xfrm>
                <a:off x="10102120" y="5770163"/>
                <a:ext cx="284603" cy="569218"/>
              </a:xfrm>
              <a:custGeom>
                <a:avLst/>
                <a:gdLst>
                  <a:gd name="connsiteX0" fmla="*/ 284603 w 284603"/>
                  <a:gd name="connsiteY0" fmla="*/ 569218 h 569218"/>
                  <a:gd name="connsiteX1" fmla="*/ 0 w 284603"/>
                  <a:gd name="connsiteY1" fmla="*/ 284609 h 569218"/>
                  <a:gd name="connsiteX2" fmla="*/ 284603 w 284603"/>
                  <a:gd name="connsiteY2" fmla="*/ 0 h 569218"/>
                  <a:gd name="connsiteX3" fmla="*/ 284603 w 284603"/>
                  <a:gd name="connsiteY3" fmla="*/ 569218 h 569218"/>
                </a:gdLst>
                <a:ahLst/>
                <a:cxnLst>
                  <a:cxn ang="0">
                    <a:pos x="connsiteX0" y="connsiteY0"/>
                  </a:cxn>
                  <a:cxn ang="0">
                    <a:pos x="connsiteX1" y="connsiteY1"/>
                  </a:cxn>
                  <a:cxn ang="0">
                    <a:pos x="connsiteX2" y="connsiteY2"/>
                  </a:cxn>
                  <a:cxn ang="0">
                    <a:pos x="connsiteX3" y="connsiteY3"/>
                  </a:cxn>
                </a:cxnLst>
                <a:rect l="l" t="t" r="r" b="b"/>
                <a:pathLst>
                  <a:path w="284603" h="569218">
                    <a:moveTo>
                      <a:pt x="284603" y="569218"/>
                    </a:moveTo>
                    <a:cubicBezTo>
                      <a:pt x="127388" y="569218"/>
                      <a:pt x="0" y="441827"/>
                      <a:pt x="0" y="284609"/>
                    </a:cubicBezTo>
                    <a:cubicBezTo>
                      <a:pt x="0" y="127391"/>
                      <a:pt x="127388" y="0"/>
                      <a:pt x="284603" y="0"/>
                    </a:cubicBezTo>
                    <a:lnTo>
                      <a:pt x="284603" y="569218"/>
                    </a:lnTo>
                    <a:close/>
                  </a:path>
                </a:pathLst>
              </a:custGeom>
              <a:solidFill>
                <a:srgbClr val="93D500"/>
              </a:solidFill>
              <a:ln w="0" cap="flat">
                <a:noFill/>
                <a:prstDash val="solid"/>
                <a:miter/>
              </a:ln>
            </p:spPr>
            <p:txBody>
              <a:bodyPr rtlCol="0" anchor="ctr"/>
              <a:lstStyle/>
              <a:p>
                <a:endParaRPr lang="en-US" dirty="0"/>
              </a:p>
            </p:txBody>
          </p:sp>
          <p:sp>
            <p:nvSpPr>
              <p:cNvPr id="185" name="Freeform: Shape 184">
                <a:extLst>
                  <a:ext uri="{FF2B5EF4-FFF2-40B4-BE49-F238E27FC236}">
                    <a16:creationId xmlns:a16="http://schemas.microsoft.com/office/drawing/2014/main" id="{45B75FD7-BA33-7F11-2231-E6F49DE07731}"/>
                  </a:ext>
                </a:extLst>
              </p:cNvPr>
              <p:cNvSpPr>
                <a:spLocks/>
              </p:cNvSpPr>
              <p:nvPr/>
            </p:nvSpPr>
            <p:spPr>
              <a:xfrm>
                <a:off x="10386723" y="5770163"/>
                <a:ext cx="284603" cy="569218"/>
              </a:xfrm>
              <a:custGeom>
                <a:avLst/>
                <a:gdLst>
                  <a:gd name="connsiteX0" fmla="*/ 0 w 284603"/>
                  <a:gd name="connsiteY0" fmla="*/ 0 h 569218"/>
                  <a:gd name="connsiteX1" fmla="*/ 284603 w 284603"/>
                  <a:gd name="connsiteY1" fmla="*/ 284609 h 569218"/>
                  <a:gd name="connsiteX2" fmla="*/ 0 w 284603"/>
                  <a:gd name="connsiteY2" fmla="*/ 569218 h 569218"/>
                  <a:gd name="connsiteX3" fmla="*/ 0 w 284603"/>
                  <a:gd name="connsiteY3" fmla="*/ 0 h 569218"/>
                </a:gdLst>
                <a:ahLst/>
                <a:cxnLst>
                  <a:cxn ang="0">
                    <a:pos x="connsiteX0" y="connsiteY0"/>
                  </a:cxn>
                  <a:cxn ang="0">
                    <a:pos x="connsiteX1" y="connsiteY1"/>
                  </a:cxn>
                  <a:cxn ang="0">
                    <a:pos x="connsiteX2" y="connsiteY2"/>
                  </a:cxn>
                  <a:cxn ang="0">
                    <a:pos x="connsiteX3" y="connsiteY3"/>
                  </a:cxn>
                </a:cxnLst>
                <a:rect l="l" t="t" r="r" b="b"/>
                <a:pathLst>
                  <a:path w="284603" h="569218">
                    <a:moveTo>
                      <a:pt x="0" y="0"/>
                    </a:moveTo>
                    <a:cubicBezTo>
                      <a:pt x="157215" y="0"/>
                      <a:pt x="284603" y="127391"/>
                      <a:pt x="284603" y="284609"/>
                    </a:cubicBezTo>
                    <a:cubicBezTo>
                      <a:pt x="284603" y="441827"/>
                      <a:pt x="157215" y="569218"/>
                      <a:pt x="0" y="569218"/>
                    </a:cubicBezTo>
                    <a:lnTo>
                      <a:pt x="0" y="0"/>
                    </a:lnTo>
                    <a:close/>
                  </a:path>
                </a:pathLst>
              </a:custGeom>
              <a:solidFill>
                <a:srgbClr val="000000"/>
              </a:solidFill>
              <a:ln w="0" cap="flat">
                <a:noFill/>
                <a:prstDash val="solid"/>
                <a:miter/>
              </a:ln>
            </p:spPr>
            <p:txBody>
              <a:bodyPr rtlCol="0" anchor="ctr"/>
              <a:lstStyle/>
              <a:p>
                <a:endParaRPr lang="en-US" dirty="0"/>
              </a:p>
            </p:txBody>
          </p:sp>
        </p:grpSp>
        <p:grpSp>
          <p:nvGrpSpPr>
            <p:cNvPr id="189" name="Graphic 62">
              <a:extLst>
                <a:ext uri="{FF2B5EF4-FFF2-40B4-BE49-F238E27FC236}">
                  <a16:creationId xmlns:a16="http://schemas.microsoft.com/office/drawing/2014/main" id="{8C495686-DF44-2505-EDDB-0C9CAA7911E4}"/>
                </a:ext>
              </a:extLst>
            </p:cNvPr>
            <p:cNvGrpSpPr>
              <a:grpSpLocks/>
            </p:cNvGrpSpPr>
            <p:nvPr/>
          </p:nvGrpSpPr>
          <p:grpSpPr>
            <a:xfrm rot="5400000">
              <a:off x="10974355" y="1301468"/>
              <a:ext cx="569206" cy="569218"/>
              <a:chOff x="10102120" y="4950489"/>
              <a:chExt cx="569206" cy="569218"/>
            </a:xfrm>
          </p:grpSpPr>
          <p:sp>
            <p:nvSpPr>
              <p:cNvPr id="190" name="Freeform: Shape 189">
                <a:extLst>
                  <a:ext uri="{FF2B5EF4-FFF2-40B4-BE49-F238E27FC236}">
                    <a16:creationId xmlns:a16="http://schemas.microsoft.com/office/drawing/2014/main" id="{24E4E0CC-2C53-7DCE-1FA4-89FDB41B0EC5}"/>
                  </a:ext>
                </a:extLst>
              </p:cNvPr>
              <p:cNvSpPr>
                <a:spLocks/>
              </p:cNvSpPr>
              <p:nvPr/>
            </p:nvSpPr>
            <p:spPr>
              <a:xfrm>
                <a:off x="10102120" y="5235098"/>
                <a:ext cx="569206" cy="284609"/>
              </a:xfrm>
              <a:custGeom>
                <a:avLst/>
                <a:gdLst>
                  <a:gd name="connsiteX0" fmla="*/ 569207 w 569206"/>
                  <a:gd name="connsiteY0" fmla="*/ 0 h 284609"/>
                  <a:gd name="connsiteX1" fmla="*/ 284603 w 569206"/>
                  <a:gd name="connsiteY1" fmla="*/ 284609 h 284609"/>
                  <a:gd name="connsiteX2" fmla="*/ 0 w 569206"/>
                  <a:gd name="connsiteY2" fmla="*/ 0 h 284609"/>
                  <a:gd name="connsiteX3" fmla="*/ 569207 w 569206"/>
                  <a:gd name="connsiteY3" fmla="*/ 0 h 284609"/>
                </a:gdLst>
                <a:ahLst/>
                <a:cxnLst>
                  <a:cxn ang="0">
                    <a:pos x="connsiteX0" y="connsiteY0"/>
                  </a:cxn>
                  <a:cxn ang="0">
                    <a:pos x="connsiteX1" y="connsiteY1"/>
                  </a:cxn>
                  <a:cxn ang="0">
                    <a:pos x="connsiteX2" y="connsiteY2"/>
                  </a:cxn>
                  <a:cxn ang="0">
                    <a:pos x="connsiteX3" y="connsiteY3"/>
                  </a:cxn>
                </a:cxnLst>
                <a:rect l="l" t="t" r="r" b="b"/>
                <a:pathLst>
                  <a:path w="569206" h="284609">
                    <a:moveTo>
                      <a:pt x="569207" y="0"/>
                    </a:moveTo>
                    <a:cubicBezTo>
                      <a:pt x="569207" y="157218"/>
                      <a:pt x="441818" y="284609"/>
                      <a:pt x="284603" y="284609"/>
                    </a:cubicBezTo>
                    <a:cubicBezTo>
                      <a:pt x="127388" y="284609"/>
                      <a:pt x="0" y="157218"/>
                      <a:pt x="0" y="0"/>
                    </a:cubicBezTo>
                    <a:lnTo>
                      <a:pt x="569207" y="0"/>
                    </a:lnTo>
                    <a:close/>
                  </a:path>
                </a:pathLst>
              </a:custGeom>
              <a:solidFill>
                <a:srgbClr val="93D500"/>
              </a:solidFill>
              <a:ln w="0" cap="flat">
                <a:noFill/>
                <a:prstDash val="solid"/>
                <a:miter/>
              </a:ln>
            </p:spPr>
            <p:txBody>
              <a:bodyPr rtlCol="0" anchor="ctr"/>
              <a:lstStyle/>
              <a:p>
                <a:endParaRPr lang="en-US" dirty="0"/>
              </a:p>
            </p:txBody>
          </p:sp>
          <p:sp>
            <p:nvSpPr>
              <p:cNvPr id="191" name="Freeform: Shape 190">
                <a:extLst>
                  <a:ext uri="{FF2B5EF4-FFF2-40B4-BE49-F238E27FC236}">
                    <a16:creationId xmlns:a16="http://schemas.microsoft.com/office/drawing/2014/main" id="{559D7EA0-79B8-BF95-1F75-C0E4775E3019}"/>
                  </a:ext>
                </a:extLst>
              </p:cNvPr>
              <p:cNvSpPr>
                <a:spLocks/>
              </p:cNvSpPr>
              <p:nvPr/>
            </p:nvSpPr>
            <p:spPr>
              <a:xfrm>
                <a:off x="10102120" y="4950489"/>
                <a:ext cx="569206" cy="284609"/>
              </a:xfrm>
              <a:custGeom>
                <a:avLst/>
                <a:gdLst>
                  <a:gd name="connsiteX0" fmla="*/ 0 w 569206"/>
                  <a:gd name="connsiteY0" fmla="*/ 284609 h 284609"/>
                  <a:gd name="connsiteX1" fmla="*/ 284603 w 569206"/>
                  <a:gd name="connsiteY1" fmla="*/ 0 h 284609"/>
                  <a:gd name="connsiteX2" fmla="*/ 569207 w 569206"/>
                  <a:gd name="connsiteY2" fmla="*/ 284609 h 284609"/>
                  <a:gd name="connsiteX3" fmla="*/ 0 w 569206"/>
                  <a:gd name="connsiteY3" fmla="*/ 284609 h 284609"/>
                </a:gdLst>
                <a:ahLst/>
                <a:cxnLst>
                  <a:cxn ang="0">
                    <a:pos x="connsiteX0" y="connsiteY0"/>
                  </a:cxn>
                  <a:cxn ang="0">
                    <a:pos x="connsiteX1" y="connsiteY1"/>
                  </a:cxn>
                  <a:cxn ang="0">
                    <a:pos x="connsiteX2" y="connsiteY2"/>
                  </a:cxn>
                  <a:cxn ang="0">
                    <a:pos x="connsiteX3" y="connsiteY3"/>
                  </a:cxn>
                </a:cxnLst>
                <a:rect l="l" t="t" r="r" b="b"/>
                <a:pathLst>
                  <a:path w="569206" h="284609">
                    <a:moveTo>
                      <a:pt x="0" y="284609"/>
                    </a:moveTo>
                    <a:cubicBezTo>
                      <a:pt x="0" y="127391"/>
                      <a:pt x="127388" y="0"/>
                      <a:pt x="284603" y="0"/>
                    </a:cubicBezTo>
                    <a:cubicBezTo>
                      <a:pt x="441818" y="0"/>
                      <a:pt x="569207" y="127391"/>
                      <a:pt x="569207" y="284609"/>
                    </a:cubicBezTo>
                    <a:lnTo>
                      <a:pt x="0" y="284609"/>
                    </a:lnTo>
                    <a:close/>
                  </a:path>
                </a:pathLst>
              </a:custGeom>
              <a:solidFill>
                <a:srgbClr val="000000"/>
              </a:solidFill>
              <a:ln w="0"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3786185649"/>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image" Target="../media/image2.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ags" Target="../tags/tag2.xml"/><Relationship Id="rId8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2.xml"/><Relationship Id="rId21" Type="http://schemas.openxmlformats.org/officeDocument/2006/relationships/slideLayout" Target="../slideLayouts/slideLayout97.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63" Type="http://schemas.openxmlformats.org/officeDocument/2006/relationships/slideLayout" Target="../slideLayouts/slideLayout139.xml"/><Relationship Id="rId68" Type="http://schemas.openxmlformats.org/officeDocument/2006/relationships/slideLayout" Target="../slideLayouts/slideLayout144.xml"/><Relationship Id="rId16" Type="http://schemas.openxmlformats.org/officeDocument/2006/relationships/slideLayout" Target="../slideLayouts/slideLayout92.xml"/><Relationship Id="rId11" Type="http://schemas.openxmlformats.org/officeDocument/2006/relationships/slideLayout" Target="../slideLayouts/slideLayout87.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53" Type="http://schemas.openxmlformats.org/officeDocument/2006/relationships/slideLayout" Target="../slideLayouts/slideLayout129.xml"/><Relationship Id="rId58" Type="http://schemas.openxmlformats.org/officeDocument/2006/relationships/slideLayout" Target="../slideLayouts/slideLayout134.xml"/><Relationship Id="rId74" Type="http://schemas.openxmlformats.org/officeDocument/2006/relationships/slideLayout" Target="../slideLayouts/slideLayout150.xml"/><Relationship Id="rId79" Type="http://schemas.openxmlformats.org/officeDocument/2006/relationships/oleObject" Target="../embeddings/oleObject1.bin"/><Relationship Id="rId5" Type="http://schemas.openxmlformats.org/officeDocument/2006/relationships/slideLayout" Target="../slideLayouts/slideLayout81.xml"/><Relationship Id="rId61" Type="http://schemas.openxmlformats.org/officeDocument/2006/relationships/slideLayout" Target="../slideLayouts/slideLayout137.xml"/><Relationship Id="rId82" Type="http://schemas.openxmlformats.org/officeDocument/2006/relationships/image" Target="../media/image3.svg"/><Relationship Id="rId19" Type="http://schemas.openxmlformats.org/officeDocument/2006/relationships/slideLayout" Target="../slideLayouts/slideLayout9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56" Type="http://schemas.openxmlformats.org/officeDocument/2006/relationships/slideLayout" Target="../slideLayouts/slideLayout132.xml"/><Relationship Id="rId64" Type="http://schemas.openxmlformats.org/officeDocument/2006/relationships/slideLayout" Target="../slideLayouts/slideLayout140.xml"/><Relationship Id="rId69" Type="http://schemas.openxmlformats.org/officeDocument/2006/relationships/slideLayout" Target="../slideLayouts/slideLayout145.xml"/><Relationship Id="rId77" Type="http://schemas.openxmlformats.org/officeDocument/2006/relationships/tags" Target="../tags/tag12.xml"/><Relationship Id="rId8" Type="http://schemas.openxmlformats.org/officeDocument/2006/relationships/slideLayout" Target="../slideLayouts/slideLayout84.xml"/><Relationship Id="rId51" Type="http://schemas.openxmlformats.org/officeDocument/2006/relationships/slideLayout" Target="../slideLayouts/slideLayout127.xml"/><Relationship Id="rId72" Type="http://schemas.openxmlformats.org/officeDocument/2006/relationships/slideLayout" Target="../slideLayouts/slideLayout148.xml"/><Relationship Id="rId80" Type="http://schemas.openxmlformats.org/officeDocument/2006/relationships/image" Target="../media/image1.emf"/><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59" Type="http://schemas.openxmlformats.org/officeDocument/2006/relationships/slideLayout" Target="../slideLayouts/slideLayout135.xml"/><Relationship Id="rId67" Type="http://schemas.openxmlformats.org/officeDocument/2006/relationships/slideLayout" Target="../slideLayouts/slideLayout143.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54" Type="http://schemas.openxmlformats.org/officeDocument/2006/relationships/slideLayout" Target="../slideLayouts/slideLayout130.xml"/><Relationship Id="rId62" Type="http://schemas.openxmlformats.org/officeDocument/2006/relationships/slideLayout" Target="../slideLayouts/slideLayout138.xml"/><Relationship Id="rId70" Type="http://schemas.openxmlformats.org/officeDocument/2006/relationships/slideLayout" Target="../slideLayouts/slideLayout146.xml"/><Relationship Id="rId75" Type="http://schemas.openxmlformats.org/officeDocument/2006/relationships/slideLayout" Target="../slideLayouts/slideLayout151.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 Id="rId57" Type="http://schemas.openxmlformats.org/officeDocument/2006/relationships/slideLayout" Target="../slideLayouts/slideLayout133.xml"/><Relationship Id="rId10" Type="http://schemas.openxmlformats.org/officeDocument/2006/relationships/slideLayout" Target="../slideLayouts/slideLayout86.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slideLayout" Target="../slideLayouts/slideLayout128.xml"/><Relationship Id="rId60" Type="http://schemas.openxmlformats.org/officeDocument/2006/relationships/slideLayout" Target="../slideLayouts/slideLayout136.xml"/><Relationship Id="rId65" Type="http://schemas.openxmlformats.org/officeDocument/2006/relationships/slideLayout" Target="../slideLayouts/slideLayout141.xml"/><Relationship Id="rId73" Type="http://schemas.openxmlformats.org/officeDocument/2006/relationships/slideLayout" Target="../slideLayouts/slideLayout149.xml"/><Relationship Id="rId78" Type="http://schemas.openxmlformats.org/officeDocument/2006/relationships/tags" Target="../tags/tag13.xml"/><Relationship Id="rId81" Type="http://schemas.openxmlformats.org/officeDocument/2006/relationships/image" Target="../media/image2.png"/><Relationship Id="rId4" Type="http://schemas.openxmlformats.org/officeDocument/2006/relationships/slideLayout" Target="../slideLayouts/slideLayout80.xml"/><Relationship Id="rId9" Type="http://schemas.openxmlformats.org/officeDocument/2006/relationships/slideLayout" Target="../slideLayouts/slideLayout85.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9" Type="http://schemas.openxmlformats.org/officeDocument/2006/relationships/slideLayout" Target="../slideLayouts/slideLayout115.xml"/><Relationship Id="rId34" Type="http://schemas.openxmlformats.org/officeDocument/2006/relationships/slideLayout" Target="../slideLayouts/slideLayout110.xml"/><Relationship Id="rId50" Type="http://schemas.openxmlformats.org/officeDocument/2006/relationships/slideLayout" Target="../slideLayouts/slideLayout126.xml"/><Relationship Id="rId55" Type="http://schemas.openxmlformats.org/officeDocument/2006/relationships/slideLayout" Target="../slideLayouts/slideLayout131.xml"/><Relationship Id="rId76" Type="http://schemas.openxmlformats.org/officeDocument/2006/relationships/theme" Target="../theme/theme2.xml"/><Relationship Id="rId7" Type="http://schemas.openxmlformats.org/officeDocument/2006/relationships/slideLayout" Target="../slideLayouts/slideLayout83.xml"/><Relationship Id="rId71" Type="http://schemas.openxmlformats.org/officeDocument/2006/relationships/slideLayout" Target="../slideLayouts/slideLayout147.xml"/><Relationship Id="rId2" Type="http://schemas.openxmlformats.org/officeDocument/2006/relationships/slideLayout" Target="../slideLayouts/slideLayout78.xml"/><Relationship Id="rId29" Type="http://schemas.openxmlformats.org/officeDocument/2006/relationships/slideLayout" Target="../slideLayouts/slideLayout105.xml"/><Relationship Id="rId24" Type="http://schemas.openxmlformats.org/officeDocument/2006/relationships/slideLayout" Target="../slideLayouts/slideLayout100.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66"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3970CB-009E-24ED-DBF0-1C8611498F78}"/>
              </a:ext>
            </a:extLst>
          </p:cNvPr>
          <p:cNvGraphicFramePr>
            <a:graphicFrameLocks noChangeAspect="1"/>
          </p:cNvGraphicFramePr>
          <p:nvPr>
            <p:custDataLst>
              <p:tags r:id="rId78"/>
            </p:custDataLst>
            <p:extLst>
              <p:ext uri="{D42A27DB-BD31-4B8C-83A1-F6EECF244321}">
                <p14:modId xmlns:p14="http://schemas.microsoft.com/office/powerpoint/2010/main" val="1460988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06" imgH="306" progId="TCLayout.ActiveDocument.1">
                  <p:embed/>
                </p:oleObj>
              </mc:Choice>
              <mc:Fallback>
                <p:oleObj name="think-cell Slide" r:id="rId80" imgW="306" imgH="306" progId="TCLayout.ActiveDocument.1">
                  <p:embed/>
                  <p:pic>
                    <p:nvPicPr>
                      <p:cNvPr id="7" name="think-cell data - do not delete" hidden="1">
                        <a:extLst>
                          <a:ext uri="{FF2B5EF4-FFF2-40B4-BE49-F238E27FC236}">
                            <a16:creationId xmlns:a16="http://schemas.microsoft.com/office/drawing/2014/main" id="{B93970CB-009E-24ED-DBF0-1C8611498F78}"/>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E69BA9C-C343-76FE-1DFE-0DE98E5A4210}"/>
              </a:ext>
            </a:extLst>
          </p:cNvPr>
          <p:cNvSpPr>
            <a:spLocks noGrp="1"/>
          </p:cNvSpPr>
          <p:nvPr>
            <p:ph type="title"/>
          </p:nvPr>
        </p:nvSpPr>
        <p:spPr>
          <a:xfrm>
            <a:off x="609600" y="800754"/>
            <a:ext cx="10972800" cy="55399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7488554-CC3A-3EDC-8F8F-16C03474656C}"/>
              </a:ext>
            </a:extLst>
          </p:cNvPr>
          <p:cNvSpPr>
            <a:spLocks noGrp="1"/>
          </p:cNvSpPr>
          <p:nvPr>
            <p:ph type="body" idx="1"/>
          </p:nvPr>
        </p:nvSpPr>
        <p:spPr>
          <a:xfrm>
            <a:off x="609600" y="1601508"/>
            <a:ext cx="10972800" cy="430399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681D06C-E167-C466-0BF2-FB8ED36E5A9E}"/>
              </a:ext>
            </a:extLst>
          </p:cNvPr>
          <p:cNvSpPr>
            <a:spLocks noGrp="1"/>
          </p:cNvSpPr>
          <p:nvPr>
            <p:ph type="ftr" sz="quarter" idx="3"/>
          </p:nvPr>
        </p:nvSpPr>
        <p:spPr>
          <a:xfrm>
            <a:off x="609600" y="6567465"/>
            <a:ext cx="10083800" cy="153888"/>
          </a:xfrm>
          <a:prstGeom prst="rect">
            <a:avLst/>
          </a:prstGeom>
        </p:spPr>
        <p:txBody>
          <a:bodyPr vert="horz" lIns="0" tIns="0" rIns="0" bIns="0" rtlCol="0" anchor="ctr">
            <a:spAutoFit/>
          </a:bodyPr>
          <a:lstStyle>
            <a:lvl1pPr algn="l">
              <a:lnSpc>
                <a:spcPct val="100000"/>
              </a:lnSpc>
              <a:defRPr sz="1000">
                <a:solidFill>
                  <a:schemeClr val="tx1">
                    <a:lumMod val="75000"/>
                    <a:lumOff val="25000"/>
                  </a:schemeClr>
                </a:solidFill>
              </a:defRPr>
            </a:lvl1pPr>
          </a:lstStyle>
          <a:p>
            <a:r>
              <a:rPr lang="en-US" dirty="0"/>
              <a:t>© 2025 Guidehouse Inc.</a:t>
            </a:r>
          </a:p>
        </p:txBody>
      </p:sp>
      <p:sp>
        <p:nvSpPr>
          <p:cNvPr id="6" name="Slide Number Placeholder 5">
            <a:extLst>
              <a:ext uri="{FF2B5EF4-FFF2-40B4-BE49-F238E27FC236}">
                <a16:creationId xmlns:a16="http://schemas.microsoft.com/office/drawing/2014/main" id="{72CF4F93-4B1C-BE2B-83D7-3F5C0AE0ECFC}"/>
              </a:ext>
            </a:extLst>
          </p:cNvPr>
          <p:cNvSpPr>
            <a:spLocks noGrp="1"/>
          </p:cNvSpPr>
          <p:nvPr>
            <p:ph type="sldNum" sz="quarter" idx="4"/>
          </p:nvPr>
        </p:nvSpPr>
        <p:spPr>
          <a:xfrm>
            <a:off x="11248008" y="6567465"/>
            <a:ext cx="334392" cy="153888"/>
          </a:xfrm>
          <a:prstGeom prst="rect">
            <a:avLst/>
          </a:prstGeom>
        </p:spPr>
        <p:txBody>
          <a:bodyPr vert="horz" lIns="0" tIns="0" rIns="0" bIns="0" rtlCol="0" anchor="ctr">
            <a:spAutoFit/>
          </a:bodyPr>
          <a:lstStyle>
            <a:lvl1pPr algn="r">
              <a:lnSpc>
                <a:spcPct val="100000"/>
              </a:lnSpc>
              <a:defRPr sz="1000">
                <a:solidFill>
                  <a:schemeClr val="tx1">
                    <a:lumMod val="75000"/>
                    <a:lumOff val="25000"/>
                  </a:schemeClr>
                </a:solidFill>
              </a:defRPr>
            </a:lvl1pPr>
          </a:lstStyle>
          <a:p>
            <a:fld id="{FD814145-5B10-4F3F-A6BF-3641B91211CF}" type="slidenum">
              <a:rPr lang="en-US" smtClean="0"/>
              <a:pPr/>
              <a:t>‹#›</a:t>
            </a:fld>
            <a:endParaRPr lang="en-US" dirty="0"/>
          </a:p>
        </p:txBody>
      </p:sp>
      <p:pic>
        <p:nvPicPr>
          <p:cNvPr id="19" name="Graphic 18">
            <a:extLst>
              <a:ext uri="{FF2B5EF4-FFF2-40B4-BE49-F238E27FC236}">
                <a16:creationId xmlns:a16="http://schemas.microsoft.com/office/drawing/2014/main" id="{13D4A40A-9148-84EB-235B-CC1C305BB22B}"/>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a:off x="5603875" y="88565"/>
            <a:ext cx="984250" cy="250052"/>
          </a:xfrm>
          <a:prstGeom prst="rect">
            <a:avLst/>
          </a:prstGeom>
        </p:spPr>
      </p:pic>
      <p:cxnSp>
        <p:nvCxnSpPr>
          <p:cNvPr id="23" name="Straight Connector 22">
            <a:extLst>
              <a:ext uri="{FF2B5EF4-FFF2-40B4-BE49-F238E27FC236}">
                <a16:creationId xmlns:a16="http://schemas.microsoft.com/office/drawing/2014/main" id="{B72F260A-BFCF-46E5-1B90-30801439C4FD}"/>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Date Placeholder 13">
            <a:extLst>
              <a:ext uri="{FF2B5EF4-FFF2-40B4-BE49-F238E27FC236}">
                <a16:creationId xmlns:a16="http://schemas.microsoft.com/office/drawing/2014/main" id="{6AF56F6D-4496-92DF-7B04-1F1C9BC50EAF}"/>
              </a:ext>
            </a:extLst>
          </p:cNvPr>
          <p:cNvSpPr>
            <a:spLocks noGrp="1"/>
          </p:cNvSpPr>
          <p:nvPr>
            <p:ph type="dt" sz="half" idx="2"/>
          </p:nvPr>
        </p:nvSpPr>
        <p:spPr>
          <a:xfrm>
            <a:off x="10236555" y="136647"/>
            <a:ext cx="1345845" cy="153888"/>
          </a:xfrm>
          <a:prstGeom prst="rect">
            <a:avLst/>
          </a:prstGeom>
        </p:spPr>
        <p:txBody>
          <a:bodyPr vert="horz" wrap="square" lIns="0" tIns="0" rIns="0" bIns="0" rtlCol="0" anchor="ctr">
            <a:spAutoFit/>
          </a:bodyPr>
          <a:lstStyle>
            <a:lvl1pPr algn="r">
              <a:defRPr sz="1000" cap="all" baseline="0">
                <a:solidFill>
                  <a:schemeClr val="tx1">
                    <a:lumMod val="75000"/>
                    <a:lumOff val="25000"/>
                  </a:schemeClr>
                </a:solidFill>
              </a:defRPr>
            </a:lvl1pPr>
          </a:lstStyle>
          <a:p>
            <a:fld id="{5B253CDA-6F8A-4CA3-B117-63EC848649A3}" type="datetime4">
              <a:rPr lang="en-US" smtClean="0"/>
              <a:t>May 17, 2025</a:t>
            </a:fld>
            <a:endParaRPr lang="en-US" dirty="0"/>
          </a:p>
        </p:txBody>
      </p:sp>
      <p:cxnSp>
        <p:nvCxnSpPr>
          <p:cNvPr id="18" name="Straight Connector 17">
            <a:extLst>
              <a:ext uri="{FF2B5EF4-FFF2-40B4-BE49-F238E27FC236}">
                <a16:creationId xmlns:a16="http://schemas.microsoft.com/office/drawing/2014/main" id="{38B98087-2E61-FB62-C920-FE7883A47F91}"/>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12357FF7-CBD8-157E-6C26-248827D6A82F}"/>
              </a:ext>
            </a:extLst>
          </p:cNvPr>
          <p:cNvGraphicFramePr>
            <a:graphicFrameLocks noChangeAspect="1"/>
          </p:cNvGraphicFramePr>
          <p:nvPr userDrawn="1">
            <p:custDataLst>
              <p:tags r:id="rId79"/>
            </p:custDataLst>
            <p:extLst>
              <p:ext uri="{D42A27DB-BD31-4B8C-83A1-F6EECF244321}">
                <p14:modId xmlns:p14="http://schemas.microsoft.com/office/powerpoint/2010/main" val="1460988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06" imgH="306" progId="TCLayout.ActiveDocument.1">
                  <p:embed/>
                </p:oleObj>
              </mc:Choice>
              <mc:Fallback>
                <p:oleObj name="think-cell Slide" r:id="rId80" imgW="306" imgH="306" progId="TCLayout.ActiveDocument.1">
                  <p:embed/>
                  <p:pic>
                    <p:nvPicPr>
                      <p:cNvPr id="4" name="think-cell data - do not delete" hidden="1">
                        <a:extLst>
                          <a:ext uri="{FF2B5EF4-FFF2-40B4-BE49-F238E27FC236}">
                            <a16:creationId xmlns:a16="http://schemas.microsoft.com/office/drawing/2014/main" id="{12357FF7-CBD8-157E-6C26-248827D6A82F}"/>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28B962F9-F873-E602-D121-20F67CB65E84}"/>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1BA28A-620D-1DFD-A6DA-C01DED117BD0}"/>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740AF77-9D3B-FA48-4776-C69A8CE06A0B}"/>
              </a:ext>
            </a:extLst>
          </p:cNvPr>
          <p:cNvSpPr txBox="1"/>
          <p:nvPr userDrawn="1">
            <p:extLst>
              <p:ext uri="{1162E1C5-73C7-4A58-AE30-91384D911F3F}">
                <p184:classification xmlns:p184="http://schemas.microsoft.com/office/powerpoint/2018/4/main" val="hdr"/>
              </p:ext>
            </p:extLst>
          </p:nvPr>
        </p:nvSpPr>
        <p:spPr>
          <a:xfrm>
            <a:off x="63500" y="63500"/>
            <a:ext cx="13604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Label: Personal</a:t>
            </a:r>
          </a:p>
        </p:txBody>
      </p:sp>
    </p:spTree>
    <p:extLst>
      <p:ext uri="{BB962C8B-B14F-4D97-AF65-F5344CB8AC3E}">
        <p14:creationId xmlns:p14="http://schemas.microsoft.com/office/powerpoint/2010/main" val="695646943"/>
      </p:ext>
    </p:extLst>
  </p:cSld>
  <p:clrMap bg1="lt1" tx1="dk1" bg2="lt2" tx2="dk2" accent1="accent1" accent2="accent2" accent3="accent3" accent4="accent4" accent5="accent5" accent6="accent6" hlink="hlink" folHlink="folHlink"/>
  <p:sldLayoutIdLst>
    <p:sldLayoutId id="2147483869" r:id="rId1"/>
    <p:sldLayoutId id="2147483865" r:id="rId2"/>
    <p:sldLayoutId id="2147483787" r:id="rId3"/>
    <p:sldLayoutId id="2147483789" r:id="rId4"/>
    <p:sldLayoutId id="2147483853" r:id="rId5"/>
    <p:sldLayoutId id="2147483862" r:id="rId6"/>
    <p:sldLayoutId id="2147483870" r:id="rId7"/>
    <p:sldLayoutId id="2147483788" r:id="rId8"/>
    <p:sldLayoutId id="2147483854" r:id="rId9"/>
    <p:sldLayoutId id="2147483790" r:id="rId10"/>
    <p:sldLayoutId id="2147483791" r:id="rId11"/>
    <p:sldLayoutId id="2147483792" r:id="rId12"/>
    <p:sldLayoutId id="2147483794" r:id="rId13"/>
    <p:sldLayoutId id="2147483795" r:id="rId14"/>
    <p:sldLayoutId id="2147483796" r:id="rId15"/>
    <p:sldLayoutId id="2147483797" r:id="rId16"/>
    <p:sldLayoutId id="2147483800" r:id="rId17"/>
    <p:sldLayoutId id="2147483798" r:id="rId18"/>
    <p:sldLayoutId id="2147483799" r:id="rId19"/>
    <p:sldLayoutId id="2147483801" r:id="rId20"/>
    <p:sldLayoutId id="2147483802" r:id="rId21"/>
    <p:sldLayoutId id="2147483867" r:id="rId22"/>
    <p:sldLayoutId id="2147483803" r:id="rId23"/>
    <p:sldLayoutId id="2147483860" r:id="rId24"/>
    <p:sldLayoutId id="2147483868" r:id="rId25"/>
    <p:sldLayoutId id="2147483804" r:id="rId26"/>
    <p:sldLayoutId id="2147483805" r:id="rId27"/>
    <p:sldLayoutId id="2147483806" r:id="rId28"/>
    <p:sldLayoutId id="2147483855" r:id="rId29"/>
    <p:sldLayoutId id="2147483807" r:id="rId30"/>
    <p:sldLayoutId id="2147483808" r:id="rId31"/>
    <p:sldLayoutId id="2147483861" r:id="rId32"/>
    <p:sldLayoutId id="2147483811" r:id="rId33"/>
    <p:sldLayoutId id="2147483812" r:id="rId34"/>
    <p:sldLayoutId id="2147483813" r:id="rId35"/>
    <p:sldLayoutId id="2147483814" r:id="rId36"/>
    <p:sldLayoutId id="2147483815" r:id="rId37"/>
    <p:sldLayoutId id="2147483817" r:id="rId38"/>
    <p:sldLayoutId id="2147483816" r:id="rId39"/>
    <p:sldLayoutId id="2147483857" r:id="rId40"/>
    <p:sldLayoutId id="2147483856" r:id="rId41"/>
    <p:sldLayoutId id="2147483858" r:id="rId42"/>
    <p:sldLayoutId id="2147483818" r:id="rId43"/>
    <p:sldLayoutId id="2147483819" r:id="rId44"/>
    <p:sldLayoutId id="2147483820" r:id="rId45"/>
    <p:sldLayoutId id="2147483809" r:id="rId46"/>
    <p:sldLayoutId id="2147483810" r:id="rId47"/>
    <p:sldLayoutId id="2147483847" r:id="rId48"/>
    <p:sldLayoutId id="2147483848" r:id="rId49"/>
    <p:sldLayoutId id="2147483822" r:id="rId50"/>
    <p:sldLayoutId id="2147483849" r:id="rId51"/>
    <p:sldLayoutId id="2147483823" r:id="rId52"/>
    <p:sldLayoutId id="2147483824" r:id="rId53"/>
    <p:sldLayoutId id="2147483825" r:id="rId54"/>
    <p:sldLayoutId id="2147483826" r:id="rId55"/>
    <p:sldLayoutId id="2147483827" r:id="rId56"/>
    <p:sldLayoutId id="2147483828" r:id="rId57"/>
    <p:sldLayoutId id="2147483829" r:id="rId58"/>
    <p:sldLayoutId id="2147483830" r:id="rId59"/>
    <p:sldLayoutId id="2147483831" r:id="rId60"/>
    <p:sldLayoutId id="2147483866" r:id="rId61"/>
    <p:sldLayoutId id="2147483832" r:id="rId62"/>
    <p:sldLayoutId id="2147483833" r:id="rId63"/>
    <p:sldLayoutId id="2147483834" r:id="rId64"/>
    <p:sldLayoutId id="2147483835" r:id="rId65"/>
    <p:sldLayoutId id="2147483836" r:id="rId66"/>
    <p:sldLayoutId id="2147483837" r:id="rId67"/>
    <p:sldLayoutId id="2147483851" r:id="rId68"/>
    <p:sldLayoutId id="2147483838" r:id="rId69"/>
    <p:sldLayoutId id="2147483839" r:id="rId70"/>
    <p:sldLayoutId id="2147483840" r:id="rId71"/>
    <p:sldLayoutId id="2147483841" r:id="rId72"/>
    <p:sldLayoutId id="2147483842" r:id="rId73"/>
    <p:sldLayoutId id="2147483843" r:id="rId74"/>
    <p:sldLayoutId id="2147483859" r:id="rId75"/>
    <p:sldLayoutId id="2147483852" r:id="rId76"/>
  </p:sldLayoutIdLst>
  <p:hf hdr="0"/>
  <p:txStyles>
    <p:titleStyle>
      <a:lvl1pPr algn="l" defTabSz="914400" rtl="0" eaLnBrk="1" latinLnBrk="0" hangingPunct="1">
        <a:lnSpc>
          <a:spcPct val="100000"/>
        </a:lnSpc>
        <a:spcBef>
          <a:spcPct val="0"/>
        </a:spcBef>
        <a:buNone/>
        <a:defRPr sz="3600" b="0" kern="1200" cap="none"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384" userDrawn="1">
          <p15:clr>
            <a:srgbClr val="A4A3A4"/>
          </p15:clr>
        </p15:guide>
        <p15:guide id="12" pos="7296" userDrawn="1">
          <p15:clr>
            <a:srgbClr val="A4A3A4"/>
          </p15:clr>
        </p15:guide>
        <p15:guide id="13" orient="horz" pos="3936" userDrawn="1">
          <p15:clr>
            <a:srgbClr val="A4A3A4"/>
          </p15:clr>
        </p15:guide>
        <p15:guide id="14" orient="horz" pos="1008" userDrawn="1">
          <p15:clr>
            <a:srgbClr val="A4A3A4"/>
          </p15:clr>
        </p15:guide>
        <p15:guide id="15" orient="horz" pos="372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3970CB-009E-24ED-DBF0-1C8611498F78}"/>
              </a:ext>
            </a:extLst>
          </p:cNvPr>
          <p:cNvGraphicFramePr>
            <a:graphicFrameLocks noChangeAspect="1"/>
          </p:cNvGraphicFramePr>
          <p:nvPr>
            <p:custDataLst>
              <p:tags r:id="rId7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9" imgW="306" imgH="306" progId="TCLayout.ActiveDocument.1">
                  <p:embed/>
                </p:oleObj>
              </mc:Choice>
              <mc:Fallback>
                <p:oleObj name="think-cell Slide" r:id="rId79" imgW="306" imgH="306" progId="TCLayout.ActiveDocument.1">
                  <p:embed/>
                  <p:pic>
                    <p:nvPicPr>
                      <p:cNvPr id="7" name="think-cell data - do not delete" hidden="1">
                        <a:extLst>
                          <a:ext uri="{FF2B5EF4-FFF2-40B4-BE49-F238E27FC236}">
                            <a16:creationId xmlns:a16="http://schemas.microsoft.com/office/drawing/2014/main" id="{B93970CB-009E-24ED-DBF0-1C8611498F78}"/>
                          </a:ext>
                        </a:extLst>
                      </p:cNvPr>
                      <p:cNvPicPr/>
                      <p:nvPr/>
                    </p:nvPicPr>
                    <p:blipFill>
                      <a:blip r:embed="rId8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E69BA9C-C343-76FE-1DFE-0DE98E5A4210}"/>
              </a:ext>
            </a:extLst>
          </p:cNvPr>
          <p:cNvSpPr>
            <a:spLocks noGrp="1"/>
          </p:cNvSpPr>
          <p:nvPr>
            <p:ph type="title"/>
          </p:nvPr>
        </p:nvSpPr>
        <p:spPr>
          <a:xfrm>
            <a:off x="609600" y="800754"/>
            <a:ext cx="10972800" cy="553998"/>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7488554-CC3A-3EDC-8F8F-16C03474656C}"/>
              </a:ext>
            </a:extLst>
          </p:cNvPr>
          <p:cNvSpPr>
            <a:spLocks noGrp="1"/>
          </p:cNvSpPr>
          <p:nvPr>
            <p:ph type="body" idx="1"/>
          </p:nvPr>
        </p:nvSpPr>
        <p:spPr>
          <a:xfrm>
            <a:off x="609600" y="1601508"/>
            <a:ext cx="10972800" cy="430399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681D06C-E167-C466-0BF2-FB8ED36E5A9E}"/>
              </a:ext>
            </a:extLst>
          </p:cNvPr>
          <p:cNvSpPr>
            <a:spLocks noGrp="1"/>
          </p:cNvSpPr>
          <p:nvPr>
            <p:ph type="ftr" sz="quarter" idx="3"/>
          </p:nvPr>
        </p:nvSpPr>
        <p:spPr>
          <a:xfrm>
            <a:off x="609600" y="6567465"/>
            <a:ext cx="10083800" cy="153888"/>
          </a:xfrm>
          <a:prstGeom prst="rect">
            <a:avLst/>
          </a:prstGeom>
        </p:spPr>
        <p:txBody>
          <a:bodyPr vert="horz" lIns="0" tIns="0" rIns="0" bIns="0" rtlCol="0" anchor="ctr">
            <a:spAutoFit/>
          </a:bodyPr>
          <a:lstStyle>
            <a:lvl1pPr algn="l">
              <a:lnSpc>
                <a:spcPct val="100000"/>
              </a:lnSpc>
              <a:defRPr sz="1000">
                <a:solidFill>
                  <a:schemeClr val="tx1">
                    <a:lumMod val="75000"/>
                    <a:lumOff val="25000"/>
                  </a:schemeClr>
                </a:solidFill>
              </a:defRPr>
            </a:lvl1pPr>
          </a:lstStyle>
          <a:p>
            <a:r>
              <a:rPr lang="en-US" dirty="0"/>
              <a:t>© 2024 Guidehouse</a:t>
            </a:r>
          </a:p>
        </p:txBody>
      </p:sp>
      <p:sp>
        <p:nvSpPr>
          <p:cNvPr id="6" name="Slide Number Placeholder 5">
            <a:extLst>
              <a:ext uri="{FF2B5EF4-FFF2-40B4-BE49-F238E27FC236}">
                <a16:creationId xmlns:a16="http://schemas.microsoft.com/office/drawing/2014/main" id="{72CF4F93-4B1C-BE2B-83D7-3F5C0AE0ECFC}"/>
              </a:ext>
            </a:extLst>
          </p:cNvPr>
          <p:cNvSpPr>
            <a:spLocks noGrp="1"/>
          </p:cNvSpPr>
          <p:nvPr>
            <p:ph type="sldNum" sz="quarter" idx="4"/>
          </p:nvPr>
        </p:nvSpPr>
        <p:spPr>
          <a:xfrm>
            <a:off x="11248008" y="6567465"/>
            <a:ext cx="334392" cy="153888"/>
          </a:xfrm>
          <a:prstGeom prst="rect">
            <a:avLst/>
          </a:prstGeom>
        </p:spPr>
        <p:txBody>
          <a:bodyPr vert="horz" lIns="0" tIns="0" rIns="0" bIns="0" rtlCol="0" anchor="ctr">
            <a:spAutoFit/>
          </a:bodyPr>
          <a:lstStyle>
            <a:lvl1pPr algn="r">
              <a:lnSpc>
                <a:spcPct val="100000"/>
              </a:lnSpc>
              <a:defRPr sz="1000">
                <a:solidFill>
                  <a:schemeClr val="tx1">
                    <a:lumMod val="75000"/>
                    <a:lumOff val="25000"/>
                  </a:schemeClr>
                </a:solidFill>
              </a:defRPr>
            </a:lvl1pPr>
          </a:lstStyle>
          <a:p>
            <a:fld id="{FD814145-5B10-4F3F-A6BF-3641B91211CF}" type="slidenum">
              <a:rPr lang="en-US" smtClean="0"/>
              <a:pPr/>
              <a:t>‹#›</a:t>
            </a:fld>
            <a:endParaRPr lang="en-US" dirty="0"/>
          </a:p>
        </p:txBody>
      </p:sp>
      <p:pic>
        <p:nvPicPr>
          <p:cNvPr id="19" name="Graphic 18">
            <a:extLst>
              <a:ext uri="{FF2B5EF4-FFF2-40B4-BE49-F238E27FC236}">
                <a16:creationId xmlns:a16="http://schemas.microsoft.com/office/drawing/2014/main" id="{13D4A40A-9148-84EB-235B-CC1C305BB22B}"/>
              </a:ext>
            </a:extLst>
          </p:cNvPr>
          <p:cNvPicPr>
            <a:picLocks noChangeAspect="1"/>
          </p:cNvPicPr>
          <p:nvPr/>
        </p:nvPicPr>
        <p:blipFill>
          <a:blip r:embed="rId81">
            <a:extLst>
              <a:ext uri="{96DAC541-7B7A-43D3-8B79-37D633B846F1}">
                <asvg:svgBlip xmlns:asvg="http://schemas.microsoft.com/office/drawing/2016/SVG/main" r:embed="rId82"/>
              </a:ext>
            </a:extLst>
          </a:blip>
          <a:stretch>
            <a:fillRect/>
          </a:stretch>
        </p:blipFill>
        <p:spPr>
          <a:xfrm>
            <a:off x="5603875" y="88565"/>
            <a:ext cx="984250" cy="250052"/>
          </a:xfrm>
          <a:prstGeom prst="rect">
            <a:avLst/>
          </a:prstGeom>
        </p:spPr>
      </p:pic>
      <p:cxnSp>
        <p:nvCxnSpPr>
          <p:cNvPr id="23" name="Straight Connector 22">
            <a:extLst>
              <a:ext uri="{FF2B5EF4-FFF2-40B4-BE49-F238E27FC236}">
                <a16:creationId xmlns:a16="http://schemas.microsoft.com/office/drawing/2014/main" id="{B72F260A-BFCF-46E5-1B90-30801439C4FD}"/>
              </a:ext>
            </a:extLst>
          </p:cNvPr>
          <p:cNvCxnSpPr>
            <a:cxnSpLocks/>
          </p:cNvCxnSpPr>
          <p:nvPr/>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Date Placeholder 13">
            <a:extLst>
              <a:ext uri="{FF2B5EF4-FFF2-40B4-BE49-F238E27FC236}">
                <a16:creationId xmlns:a16="http://schemas.microsoft.com/office/drawing/2014/main" id="{6AF56F6D-4496-92DF-7B04-1F1C9BC50EAF}"/>
              </a:ext>
            </a:extLst>
          </p:cNvPr>
          <p:cNvSpPr>
            <a:spLocks noGrp="1"/>
          </p:cNvSpPr>
          <p:nvPr>
            <p:ph type="dt" sz="half" idx="2"/>
          </p:nvPr>
        </p:nvSpPr>
        <p:spPr>
          <a:xfrm>
            <a:off x="10236555" y="136647"/>
            <a:ext cx="1345845" cy="153888"/>
          </a:xfrm>
          <a:prstGeom prst="rect">
            <a:avLst/>
          </a:prstGeom>
        </p:spPr>
        <p:txBody>
          <a:bodyPr vert="horz" wrap="square" lIns="0" tIns="0" rIns="0" bIns="0" rtlCol="0" anchor="ctr">
            <a:spAutoFit/>
          </a:bodyPr>
          <a:lstStyle>
            <a:lvl1pPr algn="r">
              <a:defRPr sz="1000" cap="all" baseline="0">
                <a:solidFill>
                  <a:schemeClr val="tx1">
                    <a:lumMod val="75000"/>
                    <a:lumOff val="25000"/>
                  </a:schemeClr>
                </a:solidFill>
              </a:defRPr>
            </a:lvl1pPr>
          </a:lstStyle>
          <a:p>
            <a:fld id="{5B253CDA-6F8A-4CA3-B117-63EC848649A3}" type="datetime4">
              <a:rPr lang="en-US" smtClean="0"/>
              <a:t>May 17, 2025</a:t>
            </a:fld>
            <a:endParaRPr lang="en-US" dirty="0"/>
          </a:p>
        </p:txBody>
      </p:sp>
      <p:cxnSp>
        <p:nvCxnSpPr>
          <p:cNvPr id="18" name="Straight Connector 17">
            <a:extLst>
              <a:ext uri="{FF2B5EF4-FFF2-40B4-BE49-F238E27FC236}">
                <a16:creationId xmlns:a16="http://schemas.microsoft.com/office/drawing/2014/main" id="{38B98087-2E61-FB62-C920-FE7883A47F91}"/>
              </a:ext>
            </a:extLst>
          </p:cNvPr>
          <p:cNvCxnSpPr>
            <a:cxnSpLocks/>
          </p:cNvCxnSpPr>
          <p:nvPr/>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12357FF7-CBD8-157E-6C26-248827D6A82F}"/>
              </a:ext>
            </a:extLst>
          </p:cNvPr>
          <p:cNvGraphicFramePr>
            <a:graphicFrameLocks noChangeAspect="1"/>
          </p:cNvGraphicFramePr>
          <p:nvPr userDrawn="1">
            <p:custDataLst>
              <p:tags r:id="rId7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9" imgW="306" imgH="306" progId="TCLayout.ActiveDocument.1">
                  <p:embed/>
                </p:oleObj>
              </mc:Choice>
              <mc:Fallback>
                <p:oleObj name="think-cell Slide" r:id="rId79" imgW="306" imgH="306" progId="TCLayout.ActiveDocument.1">
                  <p:embed/>
                  <p:pic>
                    <p:nvPicPr>
                      <p:cNvPr id="4" name="think-cell data - do not delete" hidden="1">
                        <a:extLst>
                          <a:ext uri="{FF2B5EF4-FFF2-40B4-BE49-F238E27FC236}">
                            <a16:creationId xmlns:a16="http://schemas.microsoft.com/office/drawing/2014/main" id="{12357FF7-CBD8-157E-6C26-248827D6A82F}"/>
                          </a:ext>
                        </a:extLst>
                      </p:cNvPr>
                      <p:cNvPicPr/>
                      <p:nvPr/>
                    </p:nvPicPr>
                    <p:blipFill>
                      <a:blip r:embed="rId80"/>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28B962F9-F873-E602-D121-20F67CB65E84}"/>
              </a:ext>
            </a:extLst>
          </p:cNvPr>
          <p:cNvCxnSpPr>
            <a:cxnSpLocks/>
          </p:cNvCxnSpPr>
          <p:nvPr userDrawn="1"/>
        </p:nvCxnSpPr>
        <p:spPr>
          <a:xfrm>
            <a:off x="0" y="426998"/>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1BA28A-620D-1DFD-A6DA-C01DED117BD0}"/>
              </a:ext>
            </a:extLst>
          </p:cNvPr>
          <p:cNvCxnSpPr>
            <a:cxnSpLocks/>
          </p:cNvCxnSpPr>
          <p:nvPr userDrawn="1"/>
        </p:nvCxnSpPr>
        <p:spPr>
          <a:xfrm>
            <a:off x="0" y="6431003"/>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D122673-BDDB-7BBB-52C3-58321E3F29E4}"/>
              </a:ext>
            </a:extLst>
          </p:cNvPr>
          <p:cNvSpPr txBox="1"/>
          <p:nvPr userDrawn="1">
            <p:extLst>
              <p:ext uri="{1162E1C5-73C7-4A58-AE30-91384D911F3F}">
                <p184:classification xmlns:p184="http://schemas.microsoft.com/office/powerpoint/2018/4/main" val="hdr"/>
              </p:ext>
            </p:extLst>
          </p:nvPr>
        </p:nvSpPr>
        <p:spPr>
          <a:xfrm>
            <a:off x="63500" y="63500"/>
            <a:ext cx="13604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Sensitivity Label: Personal</a:t>
            </a:r>
          </a:p>
        </p:txBody>
      </p:sp>
    </p:spTree>
    <p:extLst>
      <p:ext uri="{BB962C8B-B14F-4D97-AF65-F5344CB8AC3E}">
        <p14:creationId xmlns:p14="http://schemas.microsoft.com/office/powerpoint/2010/main" val="695646943"/>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06" r:id="rId35"/>
    <p:sldLayoutId id="2147483907" r:id="rId36"/>
    <p:sldLayoutId id="2147483908" r:id="rId37"/>
    <p:sldLayoutId id="2147483909" r:id="rId38"/>
    <p:sldLayoutId id="2147483910" r:id="rId39"/>
    <p:sldLayoutId id="2147483911" r:id="rId40"/>
    <p:sldLayoutId id="2147483912" r:id="rId41"/>
    <p:sldLayoutId id="2147483913" r:id="rId42"/>
    <p:sldLayoutId id="2147483914" r:id="rId43"/>
    <p:sldLayoutId id="2147483915" r:id="rId44"/>
    <p:sldLayoutId id="2147483916" r:id="rId45"/>
    <p:sldLayoutId id="2147483917" r:id="rId46"/>
    <p:sldLayoutId id="2147483918" r:id="rId47"/>
    <p:sldLayoutId id="2147483919" r:id="rId48"/>
    <p:sldLayoutId id="2147483920" r:id="rId49"/>
    <p:sldLayoutId id="2147483921" r:id="rId50"/>
    <p:sldLayoutId id="2147483922" r:id="rId51"/>
    <p:sldLayoutId id="2147483923" r:id="rId52"/>
    <p:sldLayoutId id="2147483924" r:id="rId53"/>
    <p:sldLayoutId id="2147483925" r:id="rId54"/>
    <p:sldLayoutId id="2147483926" r:id="rId55"/>
    <p:sldLayoutId id="2147483927" r:id="rId56"/>
    <p:sldLayoutId id="2147483928" r:id="rId57"/>
    <p:sldLayoutId id="2147483929" r:id="rId58"/>
    <p:sldLayoutId id="2147483930" r:id="rId59"/>
    <p:sldLayoutId id="2147483931" r:id="rId60"/>
    <p:sldLayoutId id="2147483932" r:id="rId61"/>
    <p:sldLayoutId id="2147483933" r:id="rId62"/>
    <p:sldLayoutId id="2147483934" r:id="rId63"/>
    <p:sldLayoutId id="2147483935" r:id="rId64"/>
    <p:sldLayoutId id="2147483936" r:id="rId65"/>
    <p:sldLayoutId id="2147483937" r:id="rId66"/>
    <p:sldLayoutId id="2147483938" r:id="rId67"/>
    <p:sldLayoutId id="2147483939" r:id="rId68"/>
    <p:sldLayoutId id="2147483940" r:id="rId69"/>
    <p:sldLayoutId id="2147483941" r:id="rId70"/>
    <p:sldLayoutId id="2147483942" r:id="rId71"/>
    <p:sldLayoutId id="2147483943" r:id="rId72"/>
    <p:sldLayoutId id="2147483944" r:id="rId73"/>
    <p:sldLayoutId id="2147483945" r:id="rId74"/>
    <p:sldLayoutId id="2147483946" r:id="rId75"/>
  </p:sldLayoutIdLst>
  <p:hf hdr="0"/>
  <p:txStyles>
    <p:titleStyle>
      <a:lvl1pPr algn="l" defTabSz="914400" rtl="0" eaLnBrk="1" latinLnBrk="0" hangingPunct="1">
        <a:lnSpc>
          <a:spcPct val="100000"/>
        </a:lnSpc>
        <a:spcBef>
          <a:spcPct val="0"/>
        </a:spcBef>
        <a:buNone/>
        <a:defRPr sz="3600" b="0" kern="1200" cap="none"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384" userDrawn="1">
          <p15:clr>
            <a:srgbClr val="A4A3A4"/>
          </p15:clr>
        </p15:guide>
        <p15:guide id="12" pos="7296" userDrawn="1">
          <p15:clr>
            <a:srgbClr val="A4A3A4"/>
          </p15:clr>
        </p15:guide>
        <p15:guide id="13" orient="horz" pos="3936" userDrawn="1">
          <p15:clr>
            <a:srgbClr val="A4A3A4"/>
          </p15:clr>
        </p15:guide>
        <p15:guide id="14" orient="horz" pos="1008" userDrawn="1">
          <p15:clr>
            <a:srgbClr val="A4A3A4"/>
          </p15:clr>
        </p15:guide>
        <p15:guide id="15" orient="horz" pos="3720"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hyperlink" Target="https://www.amazon.com/Practice-Adaptive-Leadership-Changing-Organization/dp/1422105768" TargetMode="External"/><Relationship Id="rId7" Type="http://schemas.openxmlformats.org/officeDocument/2006/relationships/hyperlink" Target="https://www.eisenhower.me/eisenhower-matrix/" TargetMode="External"/><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hyperlink" Target="https://www.amazon.com/DataStory-Explain-Inspire-Action-Through/dp/1940858984" TargetMode="External"/><Relationship Id="rId5" Type="http://schemas.openxmlformats.org/officeDocument/2006/relationships/hyperlink" Target="https://teams.microsoft.com/l/message/19:meeting_MjY3NTVhOTItODYzNS00MjRmLThhNTgtNzIzNGZkZmVkNTY5@thread.v2/1743612685857?context=%7B%22contextType%22%3A%22chat%22%7D" TargetMode="External"/><Relationship Id="rId4" Type="http://schemas.openxmlformats.org/officeDocument/2006/relationships/hyperlink" Target="https://www.amazon.com/dp/0978440749/?bestFormat=true&amp;k=the%20coaching%20habit&amp;ref_=nb_sb_ss_w_scx-ent-pd-bk-d_de_k0_1_18&amp;crid=2E8NTBQES8LPS&amp;sprefix=The%20Coaching%20Habi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5.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notesSlide" Target="../notesSlides/notesSlide4.xml"/><Relationship Id="rId7" Type="http://schemas.openxmlformats.org/officeDocument/2006/relationships/image" Target="../media/image50.jpeg"/><Relationship Id="rId2" Type="http://schemas.openxmlformats.org/officeDocument/2006/relationships/slideLayout" Target="../slideLayouts/slideLayout28.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9.jpeg"/></Relationships>
</file>

<file path=ppt/slides/_rels/slide6.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svg"/><Relationship Id="rId2" Type="http://schemas.openxmlformats.org/officeDocument/2006/relationships/notesSlide" Target="../notesSlides/notesSlide5.xml"/><Relationship Id="rId1" Type="http://schemas.openxmlformats.org/officeDocument/2006/relationships/slideLayout" Target="../slideLayouts/slideLayout114.xml"/><Relationship Id="rId6" Type="http://schemas.openxmlformats.org/officeDocument/2006/relationships/image" Target="../media/image55.sv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svg"/><Relationship Id="rId9" Type="http://schemas.openxmlformats.org/officeDocument/2006/relationships/image" Target="../media/image58.png"/></Relationships>
</file>

<file path=ppt/slides/_rels/slide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44.xml"/><Relationship Id="rId6" Type="http://schemas.openxmlformats.org/officeDocument/2006/relationships/diagramColors" Target="../diagrams/colors1.xml"/><Relationship Id="rId11" Type="http://schemas.openxmlformats.org/officeDocument/2006/relationships/image" Target="../media/image65.png"/><Relationship Id="rId5" Type="http://schemas.openxmlformats.org/officeDocument/2006/relationships/diagramQuickStyle" Target="../diagrams/quickStyle1.xml"/><Relationship Id="rId10" Type="http://schemas.openxmlformats.org/officeDocument/2006/relationships/image" Target="../media/image64.png"/><Relationship Id="rId4" Type="http://schemas.openxmlformats.org/officeDocument/2006/relationships/diagramLayout" Target="../diagrams/layout1.xml"/><Relationship Id="rId9" Type="http://schemas.openxmlformats.org/officeDocument/2006/relationships/image" Target="../media/image63.png"/></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image" Target="../media/image62.png"/><Relationship Id="rId7" Type="http://schemas.openxmlformats.org/officeDocument/2006/relationships/image" Target="../media/image66.png"/><Relationship Id="rId12"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44.xml"/><Relationship Id="rId6" Type="http://schemas.openxmlformats.org/officeDocument/2006/relationships/image" Target="../media/image65.png"/><Relationship Id="rId11" Type="http://schemas.openxmlformats.org/officeDocument/2006/relationships/diagramColors" Target="../diagrams/colors2.xml"/><Relationship Id="rId5" Type="http://schemas.openxmlformats.org/officeDocument/2006/relationships/image" Target="../media/image64.png"/><Relationship Id="rId10" Type="http://schemas.openxmlformats.org/officeDocument/2006/relationships/diagramQuickStyle" Target="../diagrams/quickStyle2.xml"/><Relationship Id="rId4" Type="http://schemas.openxmlformats.org/officeDocument/2006/relationships/image" Target="../media/image63.png"/><Relationship Id="rId9"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4BD6AAF-F35E-A572-95D2-8B0CF6D68B40}"/>
              </a:ext>
            </a:extLst>
          </p:cNvPr>
          <p:cNvSpPr>
            <a:spLocks noGrp="1"/>
          </p:cNvSpPr>
          <p:nvPr>
            <p:ph type="body" sz="quarter" idx="10"/>
          </p:nvPr>
        </p:nvSpPr>
        <p:spPr>
          <a:xfrm>
            <a:off x="609599" y="1746987"/>
            <a:ext cx="7534276" cy="2546011"/>
          </a:xfrm>
        </p:spPr>
        <p:txBody>
          <a:bodyPr/>
          <a:lstStyle/>
          <a:p>
            <a:r>
              <a:rPr lang="en-US" dirty="0"/>
              <a:t>DC Chapter AGA </a:t>
            </a:r>
          </a:p>
          <a:p>
            <a:r>
              <a:rPr lang="en-US" dirty="0"/>
              <a:t>2025 Spring Training</a:t>
            </a:r>
          </a:p>
        </p:txBody>
      </p:sp>
      <p:sp>
        <p:nvSpPr>
          <p:cNvPr id="19" name="Text Placeholder 18">
            <a:extLst>
              <a:ext uri="{FF2B5EF4-FFF2-40B4-BE49-F238E27FC236}">
                <a16:creationId xmlns:a16="http://schemas.microsoft.com/office/drawing/2014/main" id="{ADFA94D8-D3DB-DB68-86CA-A1CDA96470AB}"/>
              </a:ext>
            </a:extLst>
          </p:cNvPr>
          <p:cNvSpPr>
            <a:spLocks noGrp="1"/>
          </p:cNvSpPr>
          <p:nvPr>
            <p:ph type="body" sz="quarter" idx="14"/>
          </p:nvPr>
        </p:nvSpPr>
        <p:spPr/>
        <p:txBody>
          <a:bodyPr vert="horz" wrap="square" lIns="0" tIns="0" rIns="0" bIns="0" rtlCol="0" anchor="t">
            <a:noAutofit/>
          </a:bodyPr>
          <a:lstStyle/>
          <a:p>
            <a:r>
              <a:rPr lang="en-US" dirty="0"/>
              <a:t>Moderator </a:t>
            </a:r>
          </a:p>
        </p:txBody>
      </p:sp>
      <p:sp>
        <p:nvSpPr>
          <p:cNvPr id="20" name="Text Placeholder 19">
            <a:extLst>
              <a:ext uri="{FF2B5EF4-FFF2-40B4-BE49-F238E27FC236}">
                <a16:creationId xmlns:a16="http://schemas.microsoft.com/office/drawing/2014/main" id="{EE6E446D-D7A2-EA33-3D98-42F94669E29A}"/>
              </a:ext>
            </a:extLst>
          </p:cNvPr>
          <p:cNvSpPr>
            <a:spLocks noGrp="1"/>
          </p:cNvSpPr>
          <p:nvPr>
            <p:ph type="body" sz="quarter" idx="15"/>
          </p:nvPr>
        </p:nvSpPr>
        <p:spPr/>
        <p:txBody>
          <a:bodyPr/>
          <a:lstStyle/>
          <a:p>
            <a:r>
              <a:rPr lang="en-US" dirty="0"/>
              <a:t>April 29, 2025</a:t>
            </a:r>
          </a:p>
        </p:txBody>
      </p:sp>
      <p:sp>
        <p:nvSpPr>
          <p:cNvPr id="3" name="Text Placeholder 2">
            <a:extLst>
              <a:ext uri="{FF2B5EF4-FFF2-40B4-BE49-F238E27FC236}">
                <a16:creationId xmlns:a16="http://schemas.microsoft.com/office/drawing/2014/main" id="{57CBC7C3-4B22-78FD-80D9-6F5A58A4EDF0}"/>
              </a:ext>
            </a:extLst>
          </p:cNvPr>
          <p:cNvSpPr>
            <a:spLocks noGrp="1"/>
          </p:cNvSpPr>
          <p:nvPr>
            <p:ph type="body" sz="quarter" idx="16"/>
          </p:nvPr>
        </p:nvSpPr>
        <p:spPr/>
        <p:txBody>
          <a:bodyPr/>
          <a:lstStyle/>
          <a:p>
            <a:r>
              <a:rPr lang="en-US" b="0" dirty="0"/>
              <a:t>Davita Vance-Cooks, Director, Guidehouse</a:t>
            </a:r>
          </a:p>
        </p:txBody>
      </p:sp>
    </p:spTree>
    <p:extLst>
      <p:ext uri="{BB962C8B-B14F-4D97-AF65-F5344CB8AC3E}">
        <p14:creationId xmlns:p14="http://schemas.microsoft.com/office/powerpoint/2010/main" val="855527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24004693-CC70-EE0C-8E6D-9EE19EBDAD29}"/>
              </a:ext>
            </a:extLst>
          </p:cNvPr>
          <p:cNvSpPr>
            <a:spLocks noGrp="1"/>
          </p:cNvSpPr>
          <p:nvPr>
            <p:ph type="title"/>
          </p:nvPr>
        </p:nvSpPr>
        <p:spPr>
          <a:xfrm>
            <a:off x="494922" y="547835"/>
            <a:ext cx="10972800" cy="553998"/>
          </a:xfrm>
        </p:spPr>
        <p:txBody>
          <a:bodyPr/>
          <a:lstStyle/>
          <a:p>
            <a:r>
              <a:rPr lang="en-US" dirty="0"/>
              <a:t>Model Resources</a:t>
            </a:r>
          </a:p>
        </p:txBody>
      </p:sp>
      <p:sp>
        <p:nvSpPr>
          <p:cNvPr id="22" name="Text Placeholder 21">
            <a:extLst>
              <a:ext uri="{FF2B5EF4-FFF2-40B4-BE49-F238E27FC236}">
                <a16:creationId xmlns:a16="http://schemas.microsoft.com/office/drawing/2014/main" id="{83B21AF9-0800-7591-4275-674D13606024}"/>
              </a:ext>
            </a:extLst>
          </p:cNvPr>
          <p:cNvSpPr>
            <a:spLocks noGrp="1"/>
          </p:cNvSpPr>
          <p:nvPr>
            <p:ph type="body" sz="quarter" idx="13"/>
          </p:nvPr>
        </p:nvSpPr>
        <p:spPr/>
        <p:txBody>
          <a:bodyPr/>
          <a:lstStyle/>
          <a:p>
            <a:endParaRPr lang="en-US" dirty="0"/>
          </a:p>
        </p:txBody>
      </p:sp>
      <p:sp>
        <p:nvSpPr>
          <p:cNvPr id="8" name="Date Placeholder 7">
            <a:extLst>
              <a:ext uri="{FF2B5EF4-FFF2-40B4-BE49-F238E27FC236}">
                <a16:creationId xmlns:a16="http://schemas.microsoft.com/office/drawing/2014/main" id="{0D04FBC2-BF57-E0E0-6E3C-BEDB0A27D083}"/>
              </a:ext>
            </a:extLst>
          </p:cNvPr>
          <p:cNvSpPr>
            <a:spLocks noGrp="1"/>
          </p:cNvSpPr>
          <p:nvPr>
            <p:ph type="dt" sz="half" idx="14"/>
          </p:nvPr>
        </p:nvSpPr>
        <p:spPr/>
        <p:txBody>
          <a:bodyPr/>
          <a:lstStyle/>
          <a:p>
            <a:fld id="{085E7157-9A69-4C00-8DC2-A825B4264B10}" type="datetime4">
              <a:rPr lang="en-US" smtClean="0"/>
              <a:t>May 17, 2025</a:t>
            </a:fld>
            <a:endParaRPr lang="en-US" dirty="0"/>
          </a:p>
        </p:txBody>
      </p:sp>
      <p:sp>
        <p:nvSpPr>
          <p:cNvPr id="6" name="Footer Placeholder 5">
            <a:extLst>
              <a:ext uri="{FF2B5EF4-FFF2-40B4-BE49-F238E27FC236}">
                <a16:creationId xmlns:a16="http://schemas.microsoft.com/office/drawing/2014/main" id="{E692B2DC-A3D7-540C-3DED-89C97F60744C}"/>
              </a:ext>
            </a:extLst>
          </p:cNvPr>
          <p:cNvSpPr>
            <a:spLocks noGrp="1"/>
          </p:cNvSpPr>
          <p:nvPr>
            <p:ph type="ftr" sz="quarter" idx="15"/>
          </p:nvPr>
        </p:nvSpPr>
        <p:spPr/>
        <p:txBody>
          <a:bodyPr/>
          <a:lstStyle/>
          <a:p>
            <a:r>
              <a:rPr lang="en-US" dirty="0"/>
              <a:t>© 2025 Guidehouse Inc.</a:t>
            </a:r>
          </a:p>
        </p:txBody>
      </p:sp>
      <p:sp>
        <p:nvSpPr>
          <p:cNvPr id="7" name="Slide Number Placeholder 6">
            <a:extLst>
              <a:ext uri="{FF2B5EF4-FFF2-40B4-BE49-F238E27FC236}">
                <a16:creationId xmlns:a16="http://schemas.microsoft.com/office/drawing/2014/main" id="{EEA54DDB-A752-66A5-CBAF-E53D56CF88EC}"/>
              </a:ext>
            </a:extLst>
          </p:cNvPr>
          <p:cNvSpPr>
            <a:spLocks noGrp="1"/>
          </p:cNvSpPr>
          <p:nvPr>
            <p:ph type="sldNum" sz="quarter" idx="16"/>
          </p:nvPr>
        </p:nvSpPr>
        <p:spPr/>
        <p:txBody>
          <a:bodyPr/>
          <a:lstStyle/>
          <a:p>
            <a:fld id="{FD814145-5B10-4F3F-A6BF-3641B91211CF}" type="slidenum">
              <a:rPr lang="en-US" smtClean="0"/>
              <a:pPr/>
              <a:t>9</a:t>
            </a:fld>
            <a:endParaRPr lang="en-US" dirty="0"/>
          </a:p>
        </p:txBody>
      </p:sp>
      <p:graphicFrame>
        <p:nvGraphicFramePr>
          <p:cNvPr id="4" name="Table Placeholder 14">
            <a:extLst>
              <a:ext uri="{FF2B5EF4-FFF2-40B4-BE49-F238E27FC236}">
                <a16:creationId xmlns:a16="http://schemas.microsoft.com/office/drawing/2014/main" id="{0B5AF0FC-CE7A-6E69-91F5-9C086A6C0C98}"/>
              </a:ext>
            </a:extLst>
          </p:cNvPr>
          <p:cNvGraphicFramePr>
            <a:graphicFrameLocks/>
          </p:cNvGraphicFramePr>
          <p:nvPr>
            <p:extLst>
              <p:ext uri="{D42A27DB-BD31-4B8C-83A1-F6EECF244321}">
                <p14:modId xmlns:p14="http://schemas.microsoft.com/office/powerpoint/2010/main" val="2482800153"/>
              </p:ext>
            </p:extLst>
          </p:nvPr>
        </p:nvGraphicFramePr>
        <p:xfrm>
          <a:off x="494923" y="1088934"/>
          <a:ext cx="11202155" cy="4854666"/>
        </p:xfrm>
        <a:graphic>
          <a:graphicData uri="http://schemas.openxmlformats.org/drawingml/2006/table">
            <a:tbl>
              <a:tblPr firstRow="1" bandRow="1">
                <a:tableStyleId>{5C22544A-7EE6-4342-B048-85BDC9FD1C3A}</a:tableStyleId>
              </a:tblPr>
              <a:tblGrid>
                <a:gridCol w="2632281">
                  <a:extLst>
                    <a:ext uri="{9D8B030D-6E8A-4147-A177-3AD203B41FA5}">
                      <a16:colId xmlns:a16="http://schemas.microsoft.com/office/drawing/2014/main" val="2127973828"/>
                    </a:ext>
                  </a:extLst>
                </a:gridCol>
                <a:gridCol w="2784709">
                  <a:extLst>
                    <a:ext uri="{9D8B030D-6E8A-4147-A177-3AD203B41FA5}">
                      <a16:colId xmlns:a16="http://schemas.microsoft.com/office/drawing/2014/main" val="1910423479"/>
                    </a:ext>
                  </a:extLst>
                </a:gridCol>
                <a:gridCol w="2426329">
                  <a:extLst>
                    <a:ext uri="{9D8B030D-6E8A-4147-A177-3AD203B41FA5}">
                      <a16:colId xmlns:a16="http://schemas.microsoft.com/office/drawing/2014/main" val="1447707698"/>
                    </a:ext>
                  </a:extLst>
                </a:gridCol>
                <a:gridCol w="3358836">
                  <a:extLst>
                    <a:ext uri="{9D8B030D-6E8A-4147-A177-3AD203B41FA5}">
                      <a16:colId xmlns:a16="http://schemas.microsoft.com/office/drawing/2014/main" val="237595305"/>
                    </a:ext>
                  </a:extLst>
                </a:gridCol>
              </a:tblGrid>
              <a:tr h="556986">
                <a:tc>
                  <a:txBody>
                    <a:bodyPr/>
                    <a:lstStyle/>
                    <a:p>
                      <a:r>
                        <a:rPr lang="en-US" sz="1400" b="1" dirty="0">
                          <a:solidFill>
                            <a:schemeClr val="tx2"/>
                          </a:solidFill>
                          <a:latin typeface="+mj-lt"/>
                        </a:rPr>
                        <a:t>Leadership Strategy</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tc>
                  <a:txBody>
                    <a:bodyPr/>
                    <a:lstStyle/>
                    <a:p>
                      <a:r>
                        <a:rPr kumimoji="0" lang="en-US" sz="1400" b="1" i="0" u="none" strike="noStrike" kern="1200" cap="none" spc="0" normalizeH="0" baseline="0" noProof="0" dirty="0">
                          <a:ln>
                            <a:noFill/>
                          </a:ln>
                          <a:solidFill>
                            <a:srgbClr val="1B1B1B"/>
                          </a:solidFill>
                          <a:effectLst/>
                          <a:uLnTx/>
                          <a:uFillTx/>
                          <a:latin typeface="Aptos"/>
                          <a:ea typeface="+mn-ea"/>
                          <a:cs typeface="+mn-cs"/>
                        </a:rPr>
                        <a:t>Best Practice</a:t>
                      </a:r>
                      <a:endParaRPr lang="en-US" sz="1400" b="1" dirty="0">
                        <a:solidFill>
                          <a:schemeClr val="tx2"/>
                        </a:solidFill>
                        <a:latin typeface="+mj-lt"/>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tc>
                  <a:txBody>
                    <a:bodyPr/>
                    <a:lstStyle/>
                    <a:p>
                      <a:r>
                        <a:rPr kumimoji="0" lang="en-US" sz="1400" b="1" i="0" u="none" strike="noStrike" kern="1200" cap="none" spc="0" normalizeH="0" baseline="0" noProof="0" dirty="0">
                          <a:ln>
                            <a:noFill/>
                          </a:ln>
                          <a:solidFill>
                            <a:srgbClr val="1B1B1B"/>
                          </a:solidFill>
                          <a:effectLst/>
                          <a:uLnTx/>
                          <a:uFillTx/>
                          <a:latin typeface="Aptos"/>
                          <a:ea typeface="+mn-ea"/>
                          <a:cs typeface="+mn-cs"/>
                        </a:rPr>
                        <a:t>Resource</a:t>
                      </a:r>
                      <a:endParaRPr lang="en-US" sz="1400" b="1" dirty="0">
                        <a:solidFill>
                          <a:schemeClr val="tx2"/>
                        </a:solidFill>
                        <a:latin typeface="+mj-lt"/>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tc>
                  <a:txBody>
                    <a:bodyPr/>
                    <a:lstStyle/>
                    <a:p>
                      <a:r>
                        <a:rPr kumimoji="0" lang="en-US" sz="1400" b="1" i="0" u="none" strike="noStrike" kern="1200" cap="none" spc="0" normalizeH="0" baseline="0" noProof="0" dirty="0">
                          <a:ln>
                            <a:noFill/>
                          </a:ln>
                          <a:solidFill>
                            <a:srgbClr val="1B1B1B"/>
                          </a:solidFill>
                          <a:effectLst/>
                          <a:uLnTx/>
                          <a:uFillTx/>
                          <a:latin typeface="Aptos"/>
                          <a:ea typeface="+mn-ea"/>
                          <a:cs typeface="+mn-cs"/>
                        </a:rPr>
                        <a:t>Description</a:t>
                      </a:r>
                      <a:endParaRPr lang="en-US" sz="1400" b="1" dirty="0">
                        <a:solidFill>
                          <a:schemeClr val="tx2"/>
                        </a:solidFill>
                        <a:latin typeface="+mj-lt"/>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326785382"/>
                  </a:ext>
                </a:extLst>
              </a:tr>
              <a:tr h="556986">
                <a:tc>
                  <a:txBody>
                    <a:bodyPr/>
                    <a:lstStyle/>
                    <a:p>
                      <a:r>
                        <a:rPr lang="en-US" sz="1400" b="1" dirty="0">
                          <a:solidFill>
                            <a:schemeClr val="tx2"/>
                          </a:solidFill>
                          <a:latin typeface="+mj-lt"/>
                        </a:rPr>
                        <a:t>Shift to Adaptive Leadership Strategy</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Aptos Light"/>
                          <a:ea typeface="+mn-ea"/>
                          <a:cs typeface="+mn-cs"/>
                        </a:rPr>
                        <a:t>Diagnose the situation and assess your ability to lea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Aptos Light"/>
                          <a:ea typeface="+mn-ea"/>
                          <a:cs typeface="+mn-cs"/>
                        </a:rPr>
                        <a:t>Adjust as needed.</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en-US" sz="1200" dirty="0">
                          <a:solidFill>
                            <a:schemeClr val="tx2"/>
                          </a:solidFill>
                          <a:hlinkClick r:id="rId3"/>
                        </a:rPr>
                        <a:t>Heifetz Adaptive Leadership</a:t>
                      </a:r>
                      <a:endParaRPr lang="en-US" sz="1200" dirty="0">
                        <a:solidFill>
                          <a:schemeClr val="tx2"/>
                        </a:solidFill>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en-US" sz="1200" dirty="0">
                          <a:solidFill>
                            <a:schemeClr val="tx2"/>
                          </a:solidFill>
                        </a:rPr>
                        <a:t>A hands-on, practical guide containing stories,  diagrams, cases, and worksheets to help you develop your skills as an adaptive leader, able to take people outside their comfort zones and assess and address the toughest challenges.</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47052010"/>
                  </a:ext>
                </a:extLst>
              </a:tr>
              <a:tr h="234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1B1B"/>
                          </a:solidFill>
                          <a:effectLst/>
                          <a:uLnTx/>
                          <a:uFillTx/>
                          <a:latin typeface="Aptos"/>
                          <a:ea typeface="+mn-ea"/>
                          <a:cs typeface="+mn-cs"/>
                        </a:rPr>
                        <a:t>Develop a Coaching Mindset</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Aptos Light"/>
                          <a:ea typeface="+mn-ea"/>
                          <a:cs typeface="+mn-cs"/>
                        </a:rPr>
                        <a:t>“Say less, ask more, and challenge the way you lead forever.”  –The Coaching Habit</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hlinkClick r:id="rId4"/>
                        </a:rPr>
                        <a:t>The Coaching Habit</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rPr>
                        <a:t>Transforms coaching into a seamless, everyday practice for managers and their teams, enabling them to work smarter and achieve greater results.</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5795786"/>
                  </a:ext>
                </a:extLst>
              </a:tr>
              <a:tr h="5569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1B1B"/>
                          </a:solidFill>
                          <a:effectLst/>
                          <a:uLnTx/>
                          <a:uFillTx/>
                          <a:latin typeface="Aptos"/>
                          <a:ea typeface="+mn-ea"/>
                          <a:cs typeface="+mn-cs"/>
                        </a:rPr>
                        <a:t>Focus on Transparent Communication </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Aptos Light"/>
                          <a:ea typeface="+mn-ea"/>
                          <a:cs typeface="+mn-cs"/>
                        </a:rPr>
                        <a:t>Listen and speak simultaneously, adjusting messages based on other’s verbal and non-verbal cues.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5"/>
                        </a:rPr>
                        <a:t>Transaction Model</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rPr>
                        <a:t>A dynamic, ongoing process where all participants are both senders and receivers, simultaneously exchanging and reacting to messages within a context.</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3169922"/>
                  </a:ext>
                </a:extLst>
              </a:tr>
              <a:tr h="5569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1B1B"/>
                          </a:solidFill>
                          <a:effectLst/>
                          <a:uLnTx/>
                          <a:uFillTx/>
                          <a:latin typeface="Aptos"/>
                          <a:ea typeface="+mn-ea"/>
                          <a:cs typeface="+mn-cs"/>
                        </a:rPr>
                        <a:t>Emphasize a Data-Informed Decision-Making Process </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rPr>
                        <a:t>Use facts, metrics, and insights derived from data analysis to guide strategic decisions, to align with goals and objectives.</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6"/>
                        </a:rPr>
                        <a:t>Data Story</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rPr>
                        <a:t>Explain data and inspire action through story.</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52918037"/>
                  </a:ext>
                </a:extLst>
              </a:tr>
              <a:tr h="5569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latin typeface="+mj-lt"/>
                        </a:rPr>
                        <a:t>Focus on a Task-Oriented Delegation Process</a:t>
                      </a:r>
                      <a:endParaRPr kumimoji="0" lang="en-US" sz="1400" b="1" i="0" u="none" strike="noStrike" kern="1200" cap="none" spc="0" normalizeH="0" baseline="0" noProof="0" dirty="0">
                        <a:ln>
                          <a:noFill/>
                        </a:ln>
                        <a:solidFill>
                          <a:srgbClr val="1B1B1B"/>
                        </a:solidFill>
                        <a:effectLst/>
                        <a:uLnTx/>
                        <a:uFillTx/>
                        <a:latin typeface="+mj-lt"/>
                        <a:ea typeface="+mn-ea"/>
                        <a:cs typeface="+mn-cs"/>
                      </a:endParaRP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Aptos Light"/>
                          <a:ea typeface="+mn-ea"/>
                          <a:cs typeface="+mn-cs"/>
                        </a:rPr>
                        <a:t>Work individually and collaboratively to determine the urgency and importance of tasks emphasizing accountability and transparency.</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hlinkClick r:id="rId7"/>
                        </a:rPr>
                        <a:t>The Eisenhower Matrix</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rPr>
                        <a:t>Decision-making tool that separates tasks that are important, not important, urgent, and not urgent. It splits tasks into four boxes that prioritize which tasks you should focus on first and which you should delegate or delete.</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71211925"/>
                  </a:ext>
                </a:extLst>
              </a:tr>
            </a:tbl>
          </a:graphicData>
        </a:graphic>
      </p:graphicFrame>
    </p:spTree>
    <p:extLst>
      <p:ext uri="{BB962C8B-B14F-4D97-AF65-F5344CB8AC3E}">
        <p14:creationId xmlns:p14="http://schemas.microsoft.com/office/powerpoint/2010/main" val="28273880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FC93D639-487F-9C19-9DA5-5B49FE495F57}"/>
              </a:ext>
            </a:extLst>
          </p:cNvPr>
          <p:cNvSpPr>
            <a:spLocks noGrp="1"/>
          </p:cNvSpPr>
          <p:nvPr>
            <p:ph type="body" sz="quarter" idx="12"/>
          </p:nvPr>
        </p:nvSpPr>
        <p:spPr/>
        <p:txBody>
          <a:bodyPr/>
          <a:lstStyle/>
          <a:p>
            <a:r>
              <a:rPr lang="en-US" dirty="0"/>
              <a:t>Association of Government accountants</a:t>
            </a:r>
          </a:p>
        </p:txBody>
      </p:sp>
      <p:sp>
        <p:nvSpPr>
          <p:cNvPr id="15" name="Text Placeholder 14">
            <a:extLst>
              <a:ext uri="{FF2B5EF4-FFF2-40B4-BE49-F238E27FC236}">
                <a16:creationId xmlns:a16="http://schemas.microsoft.com/office/drawing/2014/main" id="{AEF192D0-70E0-14C8-1A43-4E1729F1B001}"/>
              </a:ext>
            </a:extLst>
          </p:cNvPr>
          <p:cNvSpPr>
            <a:spLocks noGrp="1"/>
          </p:cNvSpPr>
          <p:nvPr>
            <p:ph type="body" sz="quarter" idx="10"/>
          </p:nvPr>
        </p:nvSpPr>
        <p:spPr>
          <a:xfrm>
            <a:off x="3795482" y="895386"/>
            <a:ext cx="7786913" cy="2905089"/>
          </a:xfrm>
        </p:spPr>
        <p:txBody>
          <a:bodyPr/>
          <a:lstStyle/>
          <a:p>
            <a:r>
              <a:rPr lang="en-US" dirty="0"/>
              <a:t>The Resilient Leader’s Playbook</a:t>
            </a:r>
          </a:p>
        </p:txBody>
      </p:sp>
      <p:sp>
        <p:nvSpPr>
          <p:cNvPr id="18" name="Text Placeholder 17">
            <a:extLst>
              <a:ext uri="{FF2B5EF4-FFF2-40B4-BE49-F238E27FC236}">
                <a16:creationId xmlns:a16="http://schemas.microsoft.com/office/drawing/2014/main" id="{227BD45F-5C5C-E0DC-353F-C93B17666AEB}"/>
              </a:ext>
            </a:extLst>
          </p:cNvPr>
          <p:cNvSpPr>
            <a:spLocks noGrp="1"/>
          </p:cNvSpPr>
          <p:nvPr>
            <p:ph type="body" sz="quarter" idx="11"/>
          </p:nvPr>
        </p:nvSpPr>
        <p:spPr>
          <a:xfrm>
            <a:off x="3795481" y="4755606"/>
            <a:ext cx="8005993" cy="1207008"/>
          </a:xfrm>
        </p:spPr>
        <p:txBody>
          <a:bodyPr/>
          <a:lstStyle/>
          <a:p>
            <a:r>
              <a:rPr lang="en-US" dirty="0"/>
              <a:t>How Leadership Can Create Strategies to Navigate Challenges</a:t>
            </a:r>
          </a:p>
        </p:txBody>
      </p:sp>
    </p:spTree>
    <p:extLst>
      <p:ext uri="{BB962C8B-B14F-4D97-AF65-F5344CB8AC3E}">
        <p14:creationId xmlns:p14="http://schemas.microsoft.com/office/powerpoint/2010/main" val="3431611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3EFA80A-BECF-C096-C3B5-80985C92AAF3}"/>
              </a:ext>
            </a:extLst>
          </p:cNvPr>
          <p:cNvGraphicFramePr>
            <a:graphicFrameLocks noChangeAspect="1"/>
          </p:cNvGraphicFramePr>
          <p:nvPr>
            <p:custDataLst>
              <p:tags r:id="rId1"/>
            </p:custDataLst>
            <p:extLst>
              <p:ext uri="{D42A27DB-BD31-4B8C-83A1-F6EECF244321}">
                <p14:modId xmlns:p14="http://schemas.microsoft.com/office/powerpoint/2010/main" val="847272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1" name="think-cell data - do not delete" hidden="1">
                        <a:extLst>
                          <a:ext uri="{FF2B5EF4-FFF2-40B4-BE49-F238E27FC236}">
                            <a16:creationId xmlns:a16="http://schemas.microsoft.com/office/drawing/2014/main" id="{03EFA80A-BECF-C096-C3B5-80985C92AA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DDDC4AE3-C12E-E628-8A88-46A6FABBA331}"/>
              </a:ext>
            </a:extLst>
          </p:cNvPr>
          <p:cNvSpPr>
            <a:spLocks noGrp="1"/>
          </p:cNvSpPr>
          <p:nvPr>
            <p:ph type="title"/>
          </p:nvPr>
        </p:nvSpPr>
        <p:spPr/>
        <p:txBody>
          <a:bodyPr/>
          <a:lstStyle/>
          <a:p>
            <a:r>
              <a:rPr lang="en-US" dirty="0"/>
              <a:t>Agenda</a:t>
            </a:r>
          </a:p>
        </p:txBody>
      </p:sp>
      <p:sp>
        <p:nvSpPr>
          <p:cNvPr id="48" name="Date Placeholder 13">
            <a:extLst>
              <a:ext uri="{FF2B5EF4-FFF2-40B4-BE49-F238E27FC236}">
                <a16:creationId xmlns:a16="http://schemas.microsoft.com/office/drawing/2014/main" id="{EA5A41AD-0A2F-173D-B259-741C7AD92F8B}"/>
              </a:ext>
            </a:extLst>
          </p:cNvPr>
          <p:cNvSpPr>
            <a:spLocks noGrp="1"/>
          </p:cNvSpPr>
          <p:nvPr>
            <p:ph type="dt" sz="half" idx="14"/>
          </p:nvPr>
        </p:nvSpPr>
        <p:spPr>
          <a:xfrm>
            <a:off x="10236555" y="136647"/>
            <a:ext cx="1345845" cy="153888"/>
          </a:xfrm>
        </p:spPr>
        <p:txBody>
          <a:bodyPr vert="horz" wrap="square" lIns="0" tIns="0" rIns="0" bIns="0" rtlCol="0" anchor="ctr">
            <a:spAutoFit/>
          </a:bodyPr>
          <a:lstStyle>
            <a:lvl1pPr algn="r">
              <a:defRPr sz="1000" cap="all" baseline="0">
                <a:solidFill>
                  <a:schemeClr val="tx1">
                    <a:tint val="82000"/>
                  </a:schemeClr>
                </a:solidFill>
              </a:defRPr>
            </a:lvl1pPr>
          </a:lstStyle>
          <a:p>
            <a:r>
              <a:rPr lang="en-US" dirty="0">
                <a:solidFill>
                  <a:schemeClr val="tx1">
                    <a:lumMod val="75000"/>
                    <a:lumOff val="25000"/>
                  </a:schemeClr>
                </a:solidFill>
              </a:rPr>
              <a:t>APRIL 29, 2025</a:t>
            </a:r>
          </a:p>
        </p:txBody>
      </p:sp>
      <p:sp>
        <p:nvSpPr>
          <p:cNvPr id="27" name="Footer Placeholder 50">
            <a:extLst>
              <a:ext uri="{FF2B5EF4-FFF2-40B4-BE49-F238E27FC236}">
                <a16:creationId xmlns:a16="http://schemas.microsoft.com/office/drawing/2014/main" id="{517ABB1E-4374-EAEA-FF09-09A5EAF5DE18}"/>
              </a:ext>
            </a:extLst>
          </p:cNvPr>
          <p:cNvSpPr>
            <a:spLocks noGrp="1"/>
          </p:cNvSpPr>
          <p:nvPr>
            <p:ph type="ftr" sz="quarter" idx="15"/>
          </p:nvPr>
        </p:nvSpPr>
        <p:spPr>
          <a:xfrm>
            <a:off x="609600" y="6567465"/>
            <a:ext cx="10083800" cy="153888"/>
          </a:xfrm>
        </p:spPr>
        <p:txBody>
          <a:bodyPr/>
          <a:lstStyle/>
          <a:p>
            <a:r>
              <a:rPr lang="en-US" dirty="0"/>
              <a:t>© 2025 Guidehouse Inc.</a:t>
            </a:r>
          </a:p>
        </p:txBody>
      </p:sp>
      <p:sp>
        <p:nvSpPr>
          <p:cNvPr id="4" name="Slide Number Placeholder 3">
            <a:extLst>
              <a:ext uri="{FF2B5EF4-FFF2-40B4-BE49-F238E27FC236}">
                <a16:creationId xmlns:a16="http://schemas.microsoft.com/office/drawing/2014/main" id="{6F7D96D1-EA30-43A6-03D1-697A5D65BC9D}"/>
              </a:ext>
            </a:extLst>
          </p:cNvPr>
          <p:cNvSpPr>
            <a:spLocks noGrp="1"/>
          </p:cNvSpPr>
          <p:nvPr>
            <p:ph type="sldNum" sz="quarter" idx="16"/>
          </p:nvPr>
        </p:nvSpPr>
        <p:spPr>
          <a:xfrm>
            <a:off x="11248008" y="6567465"/>
            <a:ext cx="334392" cy="153888"/>
          </a:xfrm>
        </p:spPr>
        <p:txBody>
          <a:bodyPr/>
          <a:lstStyle/>
          <a:p>
            <a:fld id="{FD814145-5B10-4F3F-A6BF-3641B91211CF}" type="slidenum">
              <a:rPr lang="en-US" smtClean="0"/>
              <a:pPr/>
              <a:t>2</a:t>
            </a:fld>
            <a:endParaRPr lang="en-US" dirty="0"/>
          </a:p>
        </p:txBody>
      </p:sp>
      <p:sp>
        <p:nvSpPr>
          <p:cNvPr id="24" name="Text Placeholder 23">
            <a:extLst>
              <a:ext uri="{FF2B5EF4-FFF2-40B4-BE49-F238E27FC236}">
                <a16:creationId xmlns:a16="http://schemas.microsoft.com/office/drawing/2014/main" id="{440539DE-3EEB-728A-AC1E-53EAF583A116}"/>
              </a:ext>
            </a:extLst>
          </p:cNvPr>
          <p:cNvSpPr>
            <a:spLocks noGrp="1"/>
          </p:cNvSpPr>
          <p:nvPr>
            <p:ph type="body" sz="quarter" idx="18"/>
          </p:nvPr>
        </p:nvSpPr>
        <p:spPr/>
        <p:txBody>
          <a:bodyPr/>
          <a:lstStyle/>
          <a:p>
            <a:r>
              <a:rPr lang="en-US" dirty="0"/>
              <a:t>The Resilient Leader’s Playbook</a:t>
            </a:r>
          </a:p>
        </p:txBody>
      </p:sp>
      <p:sp>
        <p:nvSpPr>
          <p:cNvPr id="25" name="Text Placeholder 24">
            <a:extLst>
              <a:ext uri="{FF2B5EF4-FFF2-40B4-BE49-F238E27FC236}">
                <a16:creationId xmlns:a16="http://schemas.microsoft.com/office/drawing/2014/main" id="{8E25E0EE-EE98-73D8-C501-2E8F063C8DBF}"/>
              </a:ext>
            </a:extLst>
          </p:cNvPr>
          <p:cNvSpPr>
            <a:spLocks noGrp="1"/>
          </p:cNvSpPr>
          <p:nvPr>
            <p:ph type="body" sz="quarter" idx="19"/>
          </p:nvPr>
        </p:nvSpPr>
        <p:spPr/>
        <p:txBody>
          <a:bodyPr/>
          <a:lstStyle/>
          <a:p>
            <a:r>
              <a:rPr lang="en-US" sz="1400" dirty="0"/>
              <a:t>Introduction and Session Overview </a:t>
            </a:r>
          </a:p>
        </p:txBody>
      </p:sp>
      <p:sp>
        <p:nvSpPr>
          <p:cNvPr id="26" name="Text Placeholder 25">
            <a:extLst>
              <a:ext uri="{FF2B5EF4-FFF2-40B4-BE49-F238E27FC236}">
                <a16:creationId xmlns:a16="http://schemas.microsoft.com/office/drawing/2014/main" id="{3E4ED88E-9363-FEB9-3ABC-77DD576BCBB6}"/>
              </a:ext>
            </a:extLst>
          </p:cNvPr>
          <p:cNvSpPr>
            <a:spLocks noGrp="1"/>
          </p:cNvSpPr>
          <p:nvPr>
            <p:ph type="body" sz="quarter" idx="20"/>
          </p:nvPr>
        </p:nvSpPr>
        <p:spPr/>
        <p:txBody>
          <a:bodyPr/>
          <a:lstStyle/>
          <a:p>
            <a:r>
              <a:rPr lang="en-US" sz="1400" dirty="0"/>
              <a:t>Panelists</a:t>
            </a:r>
          </a:p>
        </p:txBody>
      </p:sp>
      <p:sp>
        <p:nvSpPr>
          <p:cNvPr id="28" name="Text Placeholder 27">
            <a:extLst>
              <a:ext uri="{FF2B5EF4-FFF2-40B4-BE49-F238E27FC236}">
                <a16:creationId xmlns:a16="http://schemas.microsoft.com/office/drawing/2014/main" id="{88469588-A0C5-6BD8-7A13-1D6E6F6E6B2E}"/>
              </a:ext>
            </a:extLst>
          </p:cNvPr>
          <p:cNvSpPr>
            <a:spLocks noGrp="1"/>
          </p:cNvSpPr>
          <p:nvPr>
            <p:ph type="body" sz="quarter" idx="21"/>
          </p:nvPr>
        </p:nvSpPr>
        <p:spPr/>
        <p:txBody>
          <a:bodyPr/>
          <a:lstStyle/>
          <a:p>
            <a:r>
              <a:rPr lang="en-US" sz="1400" dirty="0"/>
              <a:t>Resilient Leadership Playbook Strategies</a:t>
            </a:r>
          </a:p>
        </p:txBody>
      </p:sp>
      <p:sp>
        <p:nvSpPr>
          <p:cNvPr id="29" name="Text Placeholder 28">
            <a:extLst>
              <a:ext uri="{FF2B5EF4-FFF2-40B4-BE49-F238E27FC236}">
                <a16:creationId xmlns:a16="http://schemas.microsoft.com/office/drawing/2014/main" id="{4758A2E9-B630-12AF-E167-E7AF6E9EFED1}"/>
              </a:ext>
            </a:extLst>
          </p:cNvPr>
          <p:cNvSpPr>
            <a:spLocks noGrp="1"/>
          </p:cNvSpPr>
          <p:nvPr>
            <p:ph type="body" sz="quarter" idx="22"/>
          </p:nvPr>
        </p:nvSpPr>
        <p:spPr/>
        <p:txBody>
          <a:bodyPr vert="horz" lIns="0" tIns="0" rIns="0" bIns="0" rtlCol="0" anchor="t">
            <a:noAutofit/>
          </a:bodyPr>
          <a:lstStyle/>
          <a:p>
            <a:r>
              <a:rPr lang="en-US" sz="1400" dirty="0"/>
              <a:t>Case Studies: Wins  </a:t>
            </a:r>
          </a:p>
        </p:txBody>
      </p:sp>
      <p:sp>
        <p:nvSpPr>
          <p:cNvPr id="30" name="Text Placeholder 29">
            <a:extLst>
              <a:ext uri="{FF2B5EF4-FFF2-40B4-BE49-F238E27FC236}">
                <a16:creationId xmlns:a16="http://schemas.microsoft.com/office/drawing/2014/main" id="{382D2541-52C7-4C94-6D31-96C91400835B}"/>
              </a:ext>
            </a:extLst>
          </p:cNvPr>
          <p:cNvSpPr>
            <a:spLocks noGrp="1"/>
          </p:cNvSpPr>
          <p:nvPr>
            <p:ph type="body" sz="quarter" idx="23"/>
          </p:nvPr>
        </p:nvSpPr>
        <p:spPr>
          <a:xfrm>
            <a:off x="749808" y="4093752"/>
            <a:ext cx="4680836" cy="364021"/>
          </a:xfrm>
        </p:spPr>
        <p:txBody>
          <a:bodyPr vert="horz" lIns="0" tIns="0" rIns="0" bIns="0" rtlCol="0" anchor="t">
            <a:noAutofit/>
          </a:bodyPr>
          <a:lstStyle/>
          <a:p>
            <a:r>
              <a:rPr lang="en-US" sz="1400" dirty="0"/>
              <a:t>Case Studies: Lessons Learned </a:t>
            </a:r>
          </a:p>
        </p:txBody>
      </p:sp>
      <p:sp>
        <p:nvSpPr>
          <p:cNvPr id="31" name="Text Placeholder 30">
            <a:extLst>
              <a:ext uri="{FF2B5EF4-FFF2-40B4-BE49-F238E27FC236}">
                <a16:creationId xmlns:a16="http://schemas.microsoft.com/office/drawing/2014/main" id="{1B3E5396-014C-2AEF-D4F0-6A621BA373CB}"/>
              </a:ext>
            </a:extLst>
          </p:cNvPr>
          <p:cNvSpPr>
            <a:spLocks noGrp="1"/>
          </p:cNvSpPr>
          <p:nvPr>
            <p:ph type="body" sz="quarter" idx="24"/>
          </p:nvPr>
        </p:nvSpPr>
        <p:spPr/>
        <p:txBody>
          <a:bodyPr/>
          <a:lstStyle/>
          <a:p>
            <a:r>
              <a:rPr lang="en-US" sz="1400" dirty="0"/>
              <a:t>Questions</a:t>
            </a:r>
          </a:p>
        </p:txBody>
      </p:sp>
      <p:sp>
        <p:nvSpPr>
          <p:cNvPr id="32" name="Text Placeholder 31">
            <a:extLst>
              <a:ext uri="{FF2B5EF4-FFF2-40B4-BE49-F238E27FC236}">
                <a16:creationId xmlns:a16="http://schemas.microsoft.com/office/drawing/2014/main" id="{BC5A4801-74EF-A242-B839-58820950E9E2}"/>
              </a:ext>
            </a:extLst>
          </p:cNvPr>
          <p:cNvSpPr>
            <a:spLocks noGrp="1"/>
          </p:cNvSpPr>
          <p:nvPr>
            <p:ph type="body" sz="quarter" idx="25"/>
          </p:nvPr>
        </p:nvSpPr>
        <p:spPr/>
        <p:txBody>
          <a:bodyPr vert="horz" lIns="0" tIns="0" rIns="0" bIns="0" rtlCol="0" anchor="t">
            <a:noAutofit/>
          </a:bodyPr>
          <a:lstStyle/>
          <a:p>
            <a:r>
              <a:rPr lang="en-US" sz="1400" dirty="0"/>
              <a:t>Appendix</a:t>
            </a:r>
          </a:p>
        </p:txBody>
      </p:sp>
      <p:sp>
        <p:nvSpPr>
          <p:cNvPr id="34" name="Text Placeholder 33">
            <a:extLst>
              <a:ext uri="{FF2B5EF4-FFF2-40B4-BE49-F238E27FC236}">
                <a16:creationId xmlns:a16="http://schemas.microsoft.com/office/drawing/2014/main" id="{1663AD4F-DA0E-EA13-ACC8-414979D63750}"/>
              </a:ext>
            </a:extLst>
          </p:cNvPr>
          <p:cNvSpPr>
            <a:spLocks noGrp="1"/>
          </p:cNvSpPr>
          <p:nvPr>
            <p:ph type="body" sz="quarter" idx="27"/>
          </p:nvPr>
        </p:nvSpPr>
        <p:spPr/>
        <p:txBody>
          <a:bodyPr/>
          <a:lstStyle/>
          <a:p>
            <a:r>
              <a:rPr lang="en-US" dirty="0"/>
              <a:t>01</a:t>
            </a:r>
          </a:p>
        </p:txBody>
      </p:sp>
      <p:sp>
        <p:nvSpPr>
          <p:cNvPr id="35" name="Text Placeholder 34">
            <a:extLst>
              <a:ext uri="{FF2B5EF4-FFF2-40B4-BE49-F238E27FC236}">
                <a16:creationId xmlns:a16="http://schemas.microsoft.com/office/drawing/2014/main" id="{E56AB81A-2FEF-21A8-6676-2C2831E9E69A}"/>
              </a:ext>
            </a:extLst>
          </p:cNvPr>
          <p:cNvSpPr>
            <a:spLocks noGrp="1"/>
          </p:cNvSpPr>
          <p:nvPr>
            <p:ph type="body" sz="quarter" idx="28"/>
          </p:nvPr>
        </p:nvSpPr>
        <p:spPr/>
        <p:txBody>
          <a:bodyPr/>
          <a:lstStyle/>
          <a:p>
            <a:r>
              <a:rPr lang="en-US" dirty="0"/>
              <a:t>02</a:t>
            </a:r>
          </a:p>
        </p:txBody>
      </p:sp>
      <p:sp>
        <p:nvSpPr>
          <p:cNvPr id="36" name="Text Placeholder 35">
            <a:extLst>
              <a:ext uri="{FF2B5EF4-FFF2-40B4-BE49-F238E27FC236}">
                <a16:creationId xmlns:a16="http://schemas.microsoft.com/office/drawing/2014/main" id="{9CEF36EF-976B-C56F-8704-071E32E34DA5}"/>
              </a:ext>
            </a:extLst>
          </p:cNvPr>
          <p:cNvSpPr>
            <a:spLocks noGrp="1"/>
          </p:cNvSpPr>
          <p:nvPr>
            <p:ph type="body" sz="quarter" idx="29"/>
          </p:nvPr>
        </p:nvSpPr>
        <p:spPr/>
        <p:txBody>
          <a:bodyPr/>
          <a:lstStyle/>
          <a:p>
            <a:r>
              <a:rPr lang="en-US" dirty="0"/>
              <a:t>03</a:t>
            </a:r>
          </a:p>
        </p:txBody>
      </p:sp>
      <p:sp>
        <p:nvSpPr>
          <p:cNvPr id="37" name="Text Placeholder 36">
            <a:extLst>
              <a:ext uri="{FF2B5EF4-FFF2-40B4-BE49-F238E27FC236}">
                <a16:creationId xmlns:a16="http://schemas.microsoft.com/office/drawing/2014/main" id="{927D2B52-C145-8197-AA15-2DC2ED77088C}"/>
              </a:ext>
            </a:extLst>
          </p:cNvPr>
          <p:cNvSpPr>
            <a:spLocks noGrp="1"/>
          </p:cNvSpPr>
          <p:nvPr>
            <p:ph type="body" sz="quarter" idx="30"/>
          </p:nvPr>
        </p:nvSpPr>
        <p:spPr/>
        <p:txBody>
          <a:bodyPr/>
          <a:lstStyle/>
          <a:p>
            <a:r>
              <a:rPr lang="en-US" dirty="0"/>
              <a:t>04</a:t>
            </a:r>
          </a:p>
        </p:txBody>
      </p:sp>
      <p:sp>
        <p:nvSpPr>
          <p:cNvPr id="38" name="Text Placeholder 37">
            <a:extLst>
              <a:ext uri="{FF2B5EF4-FFF2-40B4-BE49-F238E27FC236}">
                <a16:creationId xmlns:a16="http://schemas.microsoft.com/office/drawing/2014/main" id="{EF1EB91B-86C6-A3A1-ED7E-8AC3200B8452}"/>
              </a:ext>
            </a:extLst>
          </p:cNvPr>
          <p:cNvSpPr>
            <a:spLocks noGrp="1"/>
          </p:cNvSpPr>
          <p:nvPr>
            <p:ph type="body" sz="quarter" idx="31"/>
          </p:nvPr>
        </p:nvSpPr>
        <p:spPr/>
        <p:txBody>
          <a:bodyPr/>
          <a:lstStyle/>
          <a:p>
            <a:r>
              <a:rPr lang="en-US" dirty="0"/>
              <a:t>05</a:t>
            </a:r>
          </a:p>
        </p:txBody>
      </p:sp>
      <p:sp>
        <p:nvSpPr>
          <p:cNvPr id="39" name="Text Placeholder 38">
            <a:extLst>
              <a:ext uri="{FF2B5EF4-FFF2-40B4-BE49-F238E27FC236}">
                <a16:creationId xmlns:a16="http://schemas.microsoft.com/office/drawing/2014/main" id="{05FDDEDA-362D-A1B4-E91A-40D28AAFD731}"/>
              </a:ext>
            </a:extLst>
          </p:cNvPr>
          <p:cNvSpPr>
            <a:spLocks noGrp="1"/>
          </p:cNvSpPr>
          <p:nvPr>
            <p:ph type="body" sz="quarter" idx="32"/>
          </p:nvPr>
        </p:nvSpPr>
        <p:spPr/>
        <p:txBody>
          <a:bodyPr/>
          <a:lstStyle/>
          <a:p>
            <a:r>
              <a:rPr lang="en-US" dirty="0"/>
              <a:t>06</a:t>
            </a:r>
          </a:p>
        </p:txBody>
      </p:sp>
      <p:sp>
        <p:nvSpPr>
          <p:cNvPr id="40" name="Text Placeholder 39">
            <a:extLst>
              <a:ext uri="{FF2B5EF4-FFF2-40B4-BE49-F238E27FC236}">
                <a16:creationId xmlns:a16="http://schemas.microsoft.com/office/drawing/2014/main" id="{015187BA-C7C2-A2EA-8A86-8F7C1C0A9161}"/>
              </a:ext>
            </a:extLst>
          </p:cNvPr>
          <p:cNvSpPr>
            <a:spLocks noGrp="1"/>
          </p:cNvSpPr>
          <p:nvPr>
            <p:ph type="body" sz="quarter" idx="33"/>
          </p:nvPr>
        </p:nvSpPr>
        <p:spPr/>
        <p:txBody>
          <a:bodyPr/>
          <a:lstStyle/>
          <a:p>
            <a:r>
              <a:rPr lang="en-US" dirty="0"/>
              <a:t>07</a:t>
            </a:r>
          </a:p>
        </p:txBody>
      </p:sp>
      <p:cxnSp>
        <p:nvCxnSpPr>
          <p:cNvPr id="2" name="Straight Connector 1">
            <a:extLst>
              <a:ext uri="{FF2B5EF4-FFF2-40B4-BE49-F238E27FC236}">
                <a16:creationId xmlns:a16="http://schemas.microsoft.com/office/drawing/2014/main" id="{68CF153A-3D7B-20C6-4A3D-209764A6B679}"/>
              </a:ext>
            </a:extLst>
          </p:cNvPr>
          <p:cNvCxnSpPr>
            <a:cxnSpLocks/>
          </p:cNvCxnSpPr>
          <p:nvPr/>
        </p:nvCxnSpPr>
        <p:spPr>
          <a:xfrm>
            <a:off x="609600" y="2561778"/>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B97CBDAA-D266-433C-1CA0-290F687AF69C}"/>
              </a:ext>
            </a:extLst>
          </p:cNvPr>
          <p:cNvCxnSpPr>
            <a:cxnSpLocks/>
          </p:cNvCxnSpPr>
          <p:nvPr/>
        </p:nvCxnSpPr>
        <p:spPr>
          <a:xfrm>
            <a:off x="609600" y="3037147"/>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AD345FC-2496-C23E-1596-9409AF73FC00}"/>
              </a:ext>
            </a:extLst>
          </p:cNvPr>
          <p:cNvCxnSpPr/>
          <p:nvPr/>
        </p:nvCxnSpPr>
        <p:spPr>
          <a:xfrm>
            <a:off x="609600" y="3512826"/>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B5F1207-492B-078B-5E56-1803A6966A29}"/>
              </a:ext>
            </a:extLst>
          </p:cNvPr>
          <p:cNvCxnSpPr/>
          <p:nvPr/>
        </p:nvCxnSpPr>
        <p:spPr>
          <a:xfrm>
            <a:off x="609600" y="4015561"/>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7494232-D572-42CC-9E23-F0D11C88EB15}"/>
              </a:ext>
            </a:extLst>
          </p:cNvPr>
          <p:cNvCxnSpPr/>
          <p:nvPr/>
        </p:nvCxnSpPr>
        <p:spPr>
          <a:xfrm>
            <a:off x="609600" y="4469469"/>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93BD674-3947-6D81-5787-1E2DC3FA1DC2}"/>
              </a:ext>
            </a:extLst>
          </p:cNvPr>
          <p:cNvCxnSpPr/>
          <p:nvPr/>
        </p:nvCxnSpPr>
        <p:spPr>
          <a:xfrm>
            <a:off x="609600" y="4947558"/>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B0C53B9-671E-80F3-76FB-49AC9F85B77F}"/>
              </a:ext>
            </a:extLst>
          </p:cNvPr>
          <p:cNvCxnSpPr/>
          <p:nvPr/>
        </p:nvCxnSpPr>
        <p:spPr>
          <a:xfrm>
            <a:off x="609600" y="5423237"/>
            <a:ext cx="50474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23C310F9-FCC0-9723-5D93-2CCAD275CD36}"/>
              </a:ext>
            </a:extLst>
          </p:cNvPr>
          <p:cNvSpPr>
            <a:spLocks noGrp="1"/>
          </p:cNvSpPr>
          <p:nvPr>
            <p:ph type="body" sz="quarter" idx="17"/>
          </p:nvPr>
        </p:nvSpPr>
        <p:spPr/>
        <p:txBody>
          <a:bodyPr/>
          <a:lstStyle/>
          <a:p>
            <a:endParaRPr lang="en-US" dirty="0"/>
          </a:p>
          <a:p>
            <a:r>
              <a:rPr lang="en-US" dirty="0"/>
              <a:t>DC Chapter AGA 2025 Spring Training</a:t>
            </a:r>
          </a:p>
          <a:p>
            <a:endParaRPr lang="en-US" dirty="0"/>
          </a:p>
        </p:txBody>
      </p:sp>
    </p:spTree>
    <p:extLst>
      <p:ext uri="{BB962C8B-B14F-4D97-AF65-F5344CB8AC3E}">
        <p14:creationId xmlns:p14="http://schemas.microsoft.com/office/powerpoint/2010/main" val="3252950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3FD71C3-2B28-88FB-6EA8-E4EDBEFE2391}"/>
              </a:ext>
            </a:extLst>
          </p:cNvPr>
          <p:cNvSpPr>
            <a:spLocks noGrp="1"/>
          </p:cNvSpPr>
          <p:nvPr>
            <p:ph type="pic" sz="quarter" idx="36"/>
          </p:nvPr>
        </p:nvSpPr>
        <p:spPr>
          <a:xfrm>
            <a:off x="6553202" y="1536653"/>
            <a:ext cx="5029198" cy="521208"/>
          </a:xfrm>
        </p:spPr>
        <p:txBody>
          <a:bodyPr/>
          <a:lstStyle/>
          <a:p>
            <a:r>
              <a:rPr lang="en-US" sz="2800" b="1" dirty="0"/>
              <a:t>Session Objectives</a:t>
            </a:r>
          </a:p>
        </p:txBody>
      </p:sp>
      <p:sp>
        <p:nvSpPr>
          <p:cNvPr id="4" name="Title 3">
            <a:extLst>
              <a:ext uri="{FF2B5EF4-FFF2-40B4-BE49-F238E27FC236}">
                <a16:creationId xmlns:a16="http://schemas.microsoft.com/office/drawing/2014/main" id="{3FA32BA8-3478-6D03-B35C-A536A042D8D0}"/>
              </a:ext>
            </a:extLst>
          </p:cNvPr>
          <p:cNvSpPr>
            <a:spLocks noGrp="1"/>
          </p:cNvSpPr>
          <p:nvPr>
            <p:ph type="title"/>
          </p:nvPr>
        </p:nvSpPr>
        <p:spPr/>
        <p:txBody>
          <a:bodyPr/>
          <a:lstStyle/>
          <a:p>
            <a:r>
              <a:rPr lang="en-US" dirty="0"/>
              <a:t>Session Overview and Objectives</a:t>
            </a:r>
          </a:p>
        </p:txBody>
      </p:sp>
      <p:sp>
        <p:nvSpPr>
          <p:cNvPr id="5" name="Footer Placeholder 4">
            <a:extLst>
              <a:ext uri="{FF2B5EF4-FFF2-40B4-BE49-F238E27FC236}">
                <a16:creationId xmlns:a16="http://schemas.microsoft.com/office/drawing/2014/main" id="{BFA700F8-8F4D-0959-A871-065EE24486A7}"/>
              </a:ext>
            </a:extLst>
          </p:cNvPr>
          <p:cNvSpPr>
            <a:spLocks noGrp="1"/>
          </p:cNvSpPr>
          <p:nvPr>
            <p:ph type="ftr" sz="quarter" idx="10"/>
          </p:nvPr>
        </p:nvSpPr>
        <p:spPr/>
        <p:txBody>
          <a:bodyPr/>
          <a:lstStyle/>
          <a:p>
            <a:r>
              <a:rPr lang="en-US" dirty="0"/>
              <a:t>© 2024 Guidehouse</a:t>
            </a:r>
          </a:p>
        </p:txBody>
      </p:sp>
      <p:sp>
        <p:nvSpPr>
          <p:cNvPr id="6" name="Slide Number Placeholder 5">
            <a:extLst>
              <a:ext uri="{FF2B5EF4-FFF2-40B4-BE49-F238E27FC236}">
                <a16:creationId xmlns:a16="http://schemas.microsoft.com/office/drawing/2014/main" id="{DBE41D28-BFCD-6E5F-2530-76E7ACB466F5}"/>
              </a:ext>
            </a:extLst>
          </p:cNvPr>
          <p:cNvSpPr>
            <a:spLocks noGrp="1"/>
          </p:cNvSpPr>
          <p:nvPr>
            <p:ph type="sldNum" sz="quarter" idx="11"/>
          </p:nvPr>
        </p:nvSpPr>
        <p:spPr/>
        <p:txBody>
          <a:bodyPr/>
          <a:lstStyle/>
          <a:p>
            <a:fld id="{FD814145-5B10-4F3F-A6BF-3641B91211CF}" type="slidenum">
              <a:rPr lang="en-US" smtClean="0"/>
              <a:pPr/>
              <a:t>3</a:t>
            </a:fld>
            <a:endParaRPr lang="en-US" dirty="0"/>
          </a:p>
        </p:txBody>
      </p:sp>
      <p:sp>
        <p:nvSpPr>
          <p:cNvPr id="7" name="Date Placeholder 6">
            <a:extLst>
              <a:ext uri="{FF2B5EF4-FFF2-40B4-BE49-F238E27FC236}">
                <a16:creationId xmlns:a16="http://schemas.microsoft.com/office/drawing/2014/main" id="{F1371A6F-D573-716E-4D1E-C3BB47E75B04}"/>
              </a:ext>
            </a:extLst>
          </p:cNvPr>
          <p:cNvSpPr>
            <a:spLocks noGrp="1"/>
          </p:cNvSpPr>
          <p:nvPr>
            <p:ph type="dt" sz="half" idx="12"/>
          </p:nvPr>
        </p:nvSpPr>
        <p:spPr/>
        <p:txBody>
          <a:bodyPr/>
          <a:lstStyle/>
          <a:p>
            <a:r>
              <a:rPr lang="en-US" dirty="0"/>
              <a:t>April 29, 2025</a:t>
            </a:r>
          </a:p>
        </p:txBody>
      </p:sp>
      <p:sp>
        <p:nvSpPr>
          <p:cNvPr id="10" name="Text Placeholder 9">
            <a:extLst>
              <a:ext uri="{FF2B5EF4-FFF2-40B4-BE49-F238E27FC236}">
                <a16:creationId xmlns:a16="http://schemas.microsoft.com/office/drawing/2014/main" id="{CCA6E5D0-1874-E5C6-FD94-800CF7A127E9}"/>
              </a:ext>
            </a:extLst>
          </p:cNvPr>
          <p:cNvSpPr>
            <a:spLocks noGrp="1"/>
          </p:cNvSpPr>
          <p:nvPr>
            <p:ph type="body" sz="quarter" idx="30"/>
          </p:nvPr>
        </p:nvSpPr>
        <p:spPr>
          <a:xfrm>
            <a:off x="609600" y="1478301"/>
            <a:ext cx="5029200" cy="576158"/>
          </a:xfrm>
        </p:spPr>
        <p:txBody>
          <a:bodyPr/>
          <a:lstStyle/>
          <a:p>
            <a:r>
              <a:rPr lang="en-US" b="1" dirty="0"/>
              <a:t>Session Description</a:t>
            </a:r>
          </a:p>
        </p:txBody>
      </p:sp>
      <p:sp>
        <p:nvSpPr>
          <p:cNvPr id="11" name="Text Placeholder 10">
            <a:extLst>
              <a:ext uri="{FF2B5EF4-FFF2-40B4-BE49-F238E27FC236}">
                <a16:creationId xmlns:a16="http://schemas.microsoft.com/office/drawing/2014/main" id="{D052818B-924E-B32E-B7EE-094A690EF680}"/>
              </a:ext>
            </a:extLst>
          </p:cNvPr>
          <p:cNvSpPr>
            <a:spLocks noGrp="1"/>
          </p:cNvSpPr>
          <p:nvPr>
            <p:ph type="body" sz="quarter" idx="33"/>
          </p:nvPr>
        </p:nvSpPr>
        <p:spPr>
          <a:xfrm>
            <a:off x="486936" y="2222078"/>
            <a:ext cx="5029200" cy="987552"/>
          </a:xfrm>
        </p:spPr>
        <p:txBody>
          <a:bodyPr vert="horz" lIns="0" tIns="0" rIns="0" bIns="0" rtlCol="0" anchor="t">
            <a:noAutofit/>
          </a:bodyPr>
          <a:lstStyle/>
          <a:p>
            <a:endParaRPr lang="en-US" dirty="0"/>
          </a:p>
          <a:p>
            <a:r>
              <a:rPr lang="en-US" sz="1800" b="1" dirty="0"/>
              <a:t>Leaders play a critical role in helping their team meet the challenges of navigating a work environment, characterized by chaos, confusion, anxiety, uncertainty, and upheaval</a:t>
            </a:r>
            <a:r>
              <a:rPr lang="en-US" sz="1800" dirty="0"/>
              <a:t>. </a:t>
            </a:r>
          </a:p>
          <a:p>
            <a:r>
              <a:rPr lang="en-US" sz="1800" dirty="0"/>
              <a:t>Our panelists – seasoned,  current and former Federal Government executives and industry experts – will share insights on how leaders can serve as a stabilizing force by guiding their teams with clarity, resilience, emotional intelligence, and well-informed decisions</a:t>
            </a:r>
            <a:endParaRPr lang="en-US" dirty="0"/>
          </a:p>
          <a:p>
            <a:endParaRPr lang="en-US" dirty="0"/>
          </a:p>
        </p:txBody>
      </p:sp>
      <p:sp>
        <p:nvSpPr>
          <p:cNvPr id="12" name="Text Placeholder 11">
            <a:extLst>
              <a:ext uri="{FF2B5EF4-FFF2-40B4-BE49-F238E27FC236}">
                <a16:creationId xmlns:a16="http://schemas.microsoft.com/office/drawing/2014/main" id="{829A3A67-ED68-EB1B-6FCD-6E14B5DEC546}"/>
              </a:ext>
            </a:extLst>
          </p:cNvPr>
          <p:cNvSpPr>
            <a:spLocks noGrp="1"/>
          </p:cNvSpPr>
          <p:nvPr>
            <p:ph type="body" sz="quarter" idx="34"/>
          </p:nvPr>
        </p:nvSpPr>
        <p:spPr>
          <a:xfrm>
            <a:off x="6466062" y="2441448"/>
            <a:ext cx="5029200" cy="987552"/>
          </a:xfrm>
        </p:spPr>
        <p:txBody>
          <a:bodyPr vert="horz" lIns="0" tIns="0" rIns="0" bIns="0" rtlCol="0" anchor="t">
            <a:noAutofit/>
          </a:bodyPr>
          <a:lstStyle/>
          <a:p>
            <a:r>
              <a:rPr lang="en-US" sz="1800" dirty="0"/>
              <a:t>Understand 5 key strategies that can help leaders be effective in managing their team through chaos and confusion.</a:t>
            </a:r>
          </a:p>
          <a:p>
            <a:pPr marL="365760" lvl="3" indent="0">
              <a:buNone/>
            </a:pPr>
            <a:r>
              <a:rPr lang="en-US" sz="1800" dirty="0"/>
              <a:t>• Shift to an Adaptive Leadership Style</a:t>
            </a:r>
          </a:p>
          <a:p>
            <a:pPr marL="365760" lvl="3" indent="0">
              <a:buNone/>
            </a:pPr>
            <a:r>
              <a:rPr lang="en-US" sz="1800" dirty="0"/>
              <a:t>• Develop a Coaching Mindset</a:t>
            </a:r>
          </a:p>
          <a:p>
            <a:pPr marL="365760" lvl="3" indent="0">
              <a:buNone/>
            </a:pPr>
            <a:r>
              <a:rPr lang="en-US" sz="1800" dirty="0"/>
              <a:t>• Prioritize Transparent Communication</a:t>
            </a:r>
          </a:p>
          <a:p>
            <a:pPr marL="365760" lvl="3" indent="0">
              <a:buNone/>
            </a:pPr>
            <a:r>
              <a:rPr lang="en-US" sz="1800" dirty="0"/>
              <a:t>• Emphasize a Data-Informed Decision-Making</a:t>
            </a:r>
          </a:p>
          <a:p>
            <a:pPr marL="548640" lvl="4" indent="0">
              <a:buNone/>
            </a:pPr>
            <a:r>
              <a:rPr lang="en-US" sz="1800" dirty="0"/>
              <a:t>Process</a:t>
            </a:r>
          </a:p>
          <a:p>
            <a:pPr marL="365760" lvl="3" indent="0">
              <a:buNone/>
            </a:pPr>
            <a:r>
              <a:rPr lang="en-US" sz="1800" dirty="0"/>
              <a:t>• Focus on a Task-Oriented Delegation Process</a:t>
            </a:r>
          </a:p>
          <a:p>
            <a:endParaRPr lang="en-US" dirty="0"/>
          </a:p>
        </p:txBody>
      </p:sp>
      <p:cxnSp>
        <p:nvCxnSpPr>
          <p:cNvPr id="17" name="Straight Connector 16">
            <a:extLst>
              <a:ext uri="{FF2B5EF4-FFF2-40B4-BE49-F238E27FC236}">
                <a16:creationId xmlns:a16="http://schemas.microsoft.com/office/drawing/2014/main" id="{BF1C2512-D31C-A347-38B3-5DDDD0D033B9}"/>
              </a:ext>
            </a:extLst>
          </p:cNvPr>
          <p:cNvCxnSpPr>
            <a:cxnSpLocks/>
          </p:cNvCxnSpPr>
          <p:nvPr/>
        </p:nvCxnSpPr>
        <p:spPr>
          <a:xfrm flipH="1">
            <a:off x="509238" y="2125060"/>
            <a:ext cx="5486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039D1D-4576-2E51-023A-2C8F5DE578D2}"/>
              </a:ext>
            </a:extLst>
          </p:cNvPr>
          <p:cNvCxnSpPr>
            <a:cxnSpLocks/>
          </p:cNvCxnSpPr>
          <p:nvPr/>
        </p:nvCxnSpPr>
        <p:spPr>
          <a:xfrm rot="5400000" flipH="1">
            <a:off x="1174184" y="1460114"/>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AD0860E-6BF8-0DEC-F679-E758C66D09B6}"/>
              </a:ext>
            </a:extLst>
          </p:cNvPr>
          <p:cNvCxnSpPr>
            <a:cxnSpLocks/>
          </p:cNvCxnSpPr>
          <p:nvPr/>
        </p:nvCxnSpPr>
        <p:spPr>
          <a:xfrm flipH="1">
            <a:off x="6237247" y="2125060"/>
            <a:ext cx="5486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59DFABC-E0EC-681B-7DBC-566D6AEABAE9}"/>
              </a:ext>
            </a:extLst>
          </p:cNvPr>
          <p:cNvCxnSpPr>
            <a:cxnSpLocks/>
          </p:cNvCxnSpPr>
          <p:nvPr/>
        </p:nvCxnSpPr>
        <p:spPr>
          <a:xfrm rot="5400000" flipH="1">
            <a:off x="6902193" y="1460114"/>
            <a:ext cx="0" cy="132989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9402B3FF-038B-C721-63B7-213445CEAA56}"/>
              </a:ext>
            </a:extLst>
          </p:cNvPr>
          <p:cNvSpPr>
            <a:spLocks noGrp="1"/>
          </p:cNvSpPr>
          <p:nvPr>
            <p:ph type="body" sz="quarter" idx="28"/>
          </p:nvPr>
        </p:nvSpPr>
        <p:spPr/>
        <p:txBody>
          <a:bodyPr/>
          <a:lstStyle/>
          <a:p>
            <a:endParaRPr lang="en-US" dirty="0"/>
          </a:p>
          <a:p>
            <a:r>
              <a:rPr lang="en-US" dirty="0"/>
              <a:t>DC Chapter AGA 2025 Spring Training</a:t>
            </a:r>
          </a:p>
          <a:p>
            <a:endParaRPr lang="en-US" dirty="0"/>
          </a:p>
        </p:txBody>
      </p:sp>
    </p:spTree>
    <p:extLst>
      <p:ext uri="{BB962C8B-B14F-4D97-AF65-F5344CB8AC3E}">
        <p14:creationId xmlns:p14="http://schemas.microsoft.com/office/powerpoint/2010/main" val="3422451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Text Placeholder 125">
            <a:extLst>
              <a:ext uri="{FF2B5EF4-FFF2-40B4-BE49-F238E27FC236}">
                <a16:creationId xmlns:a16="http://schemas.microsoft.com/office/drawing/2014/main" id="{A7BF2626-604B-FAC9-161B-9B7AC6E4494C}"/>
              </a:ext>
            </a:extLst>
          </p:cNvPr>
          <p:cNvSpPr>
            <a:spLocks noGrp="1"/>
          </p:cNvSpPr>
          <p:nvPr>
            <p:ph type="body" sz="quarter" idx="33"/>
          </p:nvPr>
        </p:nvSpPr>
        <p:spPr>
          <a:xfrm>
            <a:off x="8171236" y="3797865"/>
            <a:ext cx="2471535" cy="1099424"/>
          </a:xfrm>
        </p:spPr>
        <p:txBody>
          <a:bodyPr vert="horz" wrap="square" lIns="0" tIns="0" rIns="0" bIns="0" rtlCol="0" anchor="t">
            <a:noAutofit/>
          </a:bodyPr>
          <a:lstStyle/>
          <a:p>
            <a:r>
              <a:rPr lang="en-US" dirty="0">
                <a:latin typeface="Aptos Light"/>
                <a:cs typeface="Times New Roman"/>
              </a:rPr>
              <a:t>Former CFO, Officer of Federal Student Aid, US Department of Education</a:t>
            </a:r>
          </a:p>
          <a:p>
            <a:r>
              <a:rPr lang="en-US" dirty="0">
                <a:latin typeface="Aptos Light"/>
                <a:cs typeface="Times New Roman"/>
              </a:rPr>
              <a:t>Partner, Guidehouse</a:t>
            </a:r>
            <a:endParaRPr lang="en-US" dirty="0"/>
          </a:p>
          <a:p>
            <a:endParaRPr lang="en-US" dirty="0">
              <a:cs typeface="Times New Roman"/>
            </a:endParaRPr>
          </a:p>
        </p:txBody>
      </p:sp>
      <p:sp>
        <p:nvSpPr>
          <p:cNvPr id="113" name="Text Placeholder 112">
            <a:extLst>
              <a:ext uri="{FF2B5EF4-FFF2-40B4-BE49-F238E27FC236}">
                <a16:creationId xmlns:a16="http://schemas.microsoft.com/office/drawing/2014/main" id="{990B59B6-4C8B-2E69-5775-07AA84E3E7B6}"/>
              </a:ext>
            </a:extLst>
          </p:cNvPr>
          <p:cNvSpPr>
            <a:spLocks noGrp="1"/>
          </p:cNvSpPr>
          <p:nvPr>
            <p:ph type="body" sz="quarter" idx="15"/>
          </p:nvPr>
        </p:nvSpPr>
        <p:spPr>
          <a:xfrm>
            <a:off x="8171236" y="3108398"/>
            <a:ext cx="2258568" cy="307777"/>
          </a:xfrm>
        </p:spPr>
        <p:txBody>
          <a:bodyPr/>
          <a:lstStyle/>
          <a:p>
            <a:r>
              <a:rPr lang="en-US" dirty="0"/>
              <a:t>Jay Hurt	</a:t>
            </a:r>
          </a:p>
        </p:txBody>
      </p:sp>
      <p:sp>
        <p:nvSpPr>
          <p:cNvPr id="114" name="Text Placeholder 113">
            <a:extLst>
              <a:ext uri="{FF2B5EF4-FFF2-40B4-BE49-F238E27FC236}">
                <a16:creationId xmlns:a16="http://schemas.microsoft.com/office/drawing/2014/main" id="{AF21C9BC-6736-1C7A-83FC-2FB88606D7E5}"/>
              </a:ext>
            </a:extLst>
          </p:cNvPr>
          <p:cNvSpPr>
            <a:spLocks noGrp="1"/>
          </p:cNvSpPr>
          <p:nvPr>
            <p:ph type="body" sz="quarter" idx="16"/>
          </p:nvPr>
        </p:nvSpPr>
        <p:spPr>
          <a:xfrm>
            <a:off x="8171236" y="4984946"/>
            <a:ext cx="2383960" cy="1162301"/>
          </a:xfrm>
        </p:spPr>
        <p:txBody>
          <a:bodyPr vert="horz" lIns="0" tIns="0" rIns="0" bIns="0" rtlCol="0" anchor="t">
            <a:noAutofit/>
          </a:bodyPr>
          <a:lstStyle/>
          <a:p>
            <a:r>
              <a:rPr lang="en-US" sz="2000" b="1" i="1" dirty="0">
                <a:solidFill>
                  <a:schemeClr val="tx1"/>
                </a:solidFill>
                <a:effectLst/>
                <a:ea typeface="Aptos" panose="020B0004020202020204" pitchFamily="34" charset="0"/>
                <a:cs typeface="Aptos" panose="020B0004020202020204" pitchFamily="34" charset="0"/>
              </a:rPr>
              <a:t>"Taking off my CFO hat</a:t>
            </a:r>
            <a:r>
              <a:rPr lang="en-US" sz="2000" b="1" i="1" dirty="0">
                <a:solidFill>
                  <a:schemeClr val="tx1"/>
                </a:solidFill>
                <a:ea typeface="Aptos" panose="020B0004020202020204" pitchFamily="34" charset="0"/>
                <a:cs typeface="Aptos" panose="020B0004020202020204" pitchFamily="34" charset="0"/>
              </a:rPr>
              <a:t> </a:t>
            </a:r>
            <a:r>
              <a:rPr lang="en-US" sz="2000" b="1" i="1" dirty="0">
                <a:solidFill>
                  <a:schemeClr val="tx1"/>
                </a:solidFill>
                <a:effectLst/>
                <a:ea typeface="Aptos" panose="020B0004020202020204" pitchFamily="34" charset="0"/>
                <a:cs typeface="Aptos" panose="020B0004020202020204" pitchFamily="34" charset="0"/>
              </a:rPr>
              <a:t>and putting on my</a:t>
            </a:r>
            <a:r>
              <a:rPr lang="en-US" sz="2000" b="1" i="1" dirty="0">
                <a:solidFill>
                  <a:schemeClr val="tx1"/>
                </a:solidFill>
                <a:ea typeface="Aptos" panose="020B0004020202020204" pitchFamily="34" charset="0"/>
                <a:cs typeface="Aptos" panose="020B0004020202020204" pitchFamily="34" charset="0"/>
              </a:rPr>
              <a:t> ‘</a:t>
            </a:r>
            <a:r>
              <a:rPr lang="en-US" sz="2000" b="1" i="1" dirty="0">
                <a:solidFill>
                  <a:schemeClr val="tx1"/>
                </a:solidFill>
                <a:effectLst/>
                <a:ea typeface="Aptos" panose="020B0004020202020204" pitchFamily="34" charset="0"/>
                <a:cs typeface="Aptos" panose="020B0004020202020204" pitchFamily="34" charset="0"/>
              </a:rPr>
              <a:t>your</a:t>
            </a:r>
            <a:r>
              <a:rPr lang="en-US" sz="2000" b="1" i="1" dirty="0">
                <a:solidFill>
                  <a:schemeClr val="tx1"/>
                </a:solidFill>
                <a:ea typeface="Aptos" panose="020B0004020202020204" pitchFamily="34" charset="0"/>
                <a:cs typeface="Aptos" panose="020B0004020202020204" pitchFamily="34" charset="0"/>
              </a:rPr>
              <a:t> friend J</a:t>
            </a:r>
            <a:r>
              <a:rPr lang="en-US" sz="2000" b="1" i="1" dirty="0">
                <a:solidFill>
                  <a:schemeClr val="tx1"/>
                </a:solidFill>
                <a:effectLst/>
                <a:ea typeface="Aptos" panose="020B0004020202020204" pitchFamily="34" charset="0"/>
                <a:cs typeface="Aptos" panose="020B0004020202020204" pitchFamily="34" charset="0"/>
              </a:rPr>
              <a:t>ay’ hat..."</a:t>
            </a:r>
            <a:endParaRPr lang="en-US" sz="2000" b="1" i="1" dirty="0">
              <a:solidFill>
                <a:schemeClr val="tx1"/>
              </a:solidFill>
            </a:endParaRPr>
          </a:p>
        </p:txBody>
      </p:sp>
      <p:sp>
        <p:nvSpPr>
          <p:cNvPr id="122" name="Text Placeholder 121">
            <a:extLst>
              <a:ext uri="{FF2B5EF4-FFF2-40B4-BE49-F238E27FC236}">
                <a16:creationId xmlns:a16="http://schemas.microsoft.com/office/drawing/2014/main" id="{B50C9566-82FD-03CA-696E-F0FBECB7B751}"/>
              </a:ext>
            </a:extLst>
          </p:cNvPr>
          <p:cNvSpPr>
            <a:spLocks noGrp="1"/>
          </p:cNvSpPr>
          <p:nvPr>
            <p:ph type="body" sz="quarter" idx="29"/>
          </p:nvPr>
        </p:nvSpPr>
        <p:spPr>
          <a:xfrm>
            <a:off x="1925479" y="3797865"/>
            <a:ext cx="2193712" cy="882351"/>
          </a:xfrm>
        </p:spPr>
        <p:txBody>
          <a:bodyPr/>
          <a:lstStyle/>
          <a:p>
            <a:r>
              <a:rPr lang="en-US" dirty="0">
                <a:latin typeface="Aptos Light"/>
                <a:cs typeface="Times New Roman"/>
              </a:rPr>
              <a:t>Senior Accountant, NASA</a:t>
            </a:r>
            <a:endParaRPr lang="en-US" dirty="0"/>
          </a:p>
        </p:txBody>
      </p:sp>
      <p:pic>
        <p:nvPicPr>
          <p:cNvPr id="21" name="Picture Placeholder 20">
            <a:extLst>
              <a:ext uri="{FF2B5EF4-FFF2-40B4-BE49-F238E27FC236}">
                <a16:creationId xmlns:a16="http://schemas.microsoft.com/office/drawing/2014/main" id="{F268411F-33BF-4B0F-068A-4FD59E3A9658}"/>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l="3184" t="1171" r="1630" b="17852"/>
          <a:stretch/>
        </p:blipFill>
        <p:spPr>
          <a:xfrm>
            <a:off x="2121423" y="1631933"/>
            <a:ext cx="1328372" cy="1354137"/>
          </a:xfrm>
        </p:spPr>
      </p:pic>
      <p:grpSp>
        <p:nvGrpSpPr>
          <p:cNvPr id="17" name="Group 16">
            <a:extLst>
              <a:ext uri="{FF2B5EF4-FFF2-40B4-BE49-F238E27FC236}">
                <a16:creationId xmlns:a16="http://schemas.microsoft.com/office/drawing/2014/main" id="{4060592B-A030-413C-95A8-B1EE042E7B07}"/>
              </a:ext>
            </a:extLst>
          </p:cNvPr>
          <p:cNvGrpSpPr/>
          <p:nvPr/>
        </p:nvGrpSpPr>
        <p:grpSpPr>
          <a:xfrm>
            <a:off x="8171236" y="3593417"/>
            <a:ext cx="2258568" cy="0"/>
            <a:chOff x="8171236" y="3827593"/>
            <a:chExt cx="2258568" cy="0"/>
          </a:xfrm>
        </p:grpSpPr>
        <p:cxnSp>
          <p:nvCxnSpPr>
            <p:cNvPr id="2" name="Straight Connector 1">
              <a:extLst>
                <a:ext uri="{FF2B5EF4-FFF2-40B4-BE49-F238E27FC236}">
                  <a16:creationId xmlns:a16="http://schemas.microsoft.com/office/drawing/2014/main" id="{E501D322-F57F-57E6-AEBB-F296AD933ED1}"/>
                </a:ext>
              </a:extLst>
            </p:cNvPr>
            <p:cNvCxnSpPr>
              <a:cxnSpLocks/>
            </p:cNvCxnSpPr>
            <p:nvPr/>
          </p:nvCxnSpPr>
          <p:spPr>
            <a:xfrm>
              <a:off x="8171236" y="3827593"/>
              <a:ext cx="225856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7FB2B29-CADA-538A-0BC4-21D2B183711E}"/>
                </a:ext>
              </a:extLst>
            </p:cNvPr>
            <p:cNvCxnSpPr>
              <a:cxnSpLocks/>
            </p:cNvCxnSpPr>
            <p:nvPr/>
          </p:nvCxnSpPr>
          <p:spPr>
            <a:xfrm>
              <a:off x="8171236" y="3827593"/>
              <a:ext cx="647700"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aphicFrame>
        <p:nvGraphicFramePr>
          <p:cNvPr id="24" name="think-cell data - do not delete" hidden="1">
            <a:extLst>
              <a:ext uri="{FF2B5EF4-FFF2-40B4-BE49-F238E27FC236}">
                <a16:creationId xmlns:a16="http://schemas.microsoft.com/office/drawing/2014/main" id="{EF340503-F7B5-273B-E275-64692CAE20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4" name="think-cell data - do not delete" hidden="1">
                        <a:extLst>
                          <a:ext uri="{FF2B5EF4-FFF2-40B4-BE49-F238E27FC236}">
                            <a16:creationId xmlns:a16="http://schemas.microsoft.com/office/drawing/2014/main" id="{EF340503-F7B5-273B-E275-64692CAE20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70EF9A7-43A1-DA26-6BEA-62016E659A38}"/>
              </a:ext>
            </a:extLst>
          </p:cNvPr>
          <p:cNvSpPr>
            <a:spLocks noGrp="1"/>
          </p:cNvSpPr>
          <p:nvPr>
            <p:ph type="title"/>
          </p:nvPr>
        </p:nvSpPr>
        <p:spPr>
          <a:xfrm>
            <a:off x="609600" y="800754"/>
            <a:ext cx="10972800" cy="553998"/>
          </a:xfrm>
        </p:spPr>
        <p:txBody>
          <a:bodyPr vert="horz"/>
          <a:lstStyle/>
          <a:p>
            <a:r>
              <a:rPr lang="en-US" dirty="0"/>
              <a:t>Panelists</a:t>
            </a:r>
          </a:p>
        </p:txBody>
      </p:sp>
      <p:pic>
        <p:nvPicPr>
          <p:cNvPr id="8" name="Picture Placeholder 7" descr="A person in a suit&#10;&#10;AI-generated content may be incorrect.">
            <a:extLst>
              <a:ext uri="{FF2B5EF4-FFF2-40B4-BE49-F238E27FC236}">
                <a16:creationId xmlns:a16="http://schemas.microsoft.com/office/drawing/2014/main" id="{70E40856-7D85-B67D-148D-57050100C978}"/>
              </a:ext>
            </a:extLst>
          </p:cNvPr>
          <p:cNvPicPr>
            <a:picLocks noGrp="1" noChangeAspect="1"/>
          </p:cNvPicPr>
          <p:nvPr>
            <p:ph type="pic" sz="quarter" idx="17"/>
          </p:nvPr>
        </p:nvPicPr>
        <p:blipFill>
          <a:blip r:embed="rId7"/>
          <a:srcRect/>
          <a:stretch/>
        </p:blipFill>
        <p:spPr>
          <a:xfrm>
            <a:off x="8171236" y="1639045"/>
            <a:ext cx="1354281" cy="1354281"/>
          </a:xfrm>
        </p:spPr>
      </p:pic>
      <p:sp>
        <p:nvSpPr>
          <p:cNvPr id="116" name="Text Placeholder 115">
            <a:extLst>
              <a:ext uri="{FF2B5EF4-FFF2-40B4-BE49-F238E27FC236}">
                <a16:creationId xmlns:a16="http://schemas.microsoft.com/office/drawing/2014/main" id="{D909A02D-D0DF-E71A-A6FB-A4AABF852EE1}"/>
              </a:ext>
            </a:extLst>
          </p:cNvPr>
          <p:cNvSpPr>
            <a:spLocks noGrp="1"/>
          </p:cNvSpPr>
          <p:nvPr>
            <p:ph type="body" sz="quarter" idx="19"/>
          </p:nvPr>
        </p:nvSpPr>
        <p:spPr>
          <a:xfrm>
            <a:off x="1925479" y="4984946"/>
            <a:ext cx="2341532" cy="1162301"/>
          </a:xfrm>
          <a:ln>
            <a:solidFill>
              <a:schemeClr val="bg1">
                <a:lumMod val="95000"/>
              </a:schemeClr>
            </a:solidFill>
          </a:ln>
        </p:spPr>
        <p:txBody>
          <a:bodyPr vert="horz" lIns="0" tIns="0" rIns="0" bIns="0" rtlCol="0" anchor="t">
            <a:noAutofit/>
          </a:bodyPr>
          <a:lstStyle/>
          <a:p>
            <a:r>
              <a:rPr lang="en-US" sz="2000" b="1" i="1" dirty="0">
                <a:solidFill>
                  <a:schemeClr val="tx1"/>
                </a:solidFill>
              </a:rPr>
              <a:t>“The best ability is accountability.”</a:t>
            </a:r>
          </a:p>
        </p:txBody>
      </p:sp>
      <p:sp>
        <p:nvSpPr>
          <p:cNvPr id="118" name="Text Placeholder 117">
            <a:extLst>
              <a:ext uri="{FF2B5EF4-FFF2-40B4-BE49-F238E27FC236}">
                <a16:creationId xmlns:a16="http://schemas.microsoft.com/office/drawing/2014/main" id="{9F7094FE-4F5D-804B-C3F8-72B82F3F01C1}"/>
              </a:ext>
            </a:extLst>
          </p:cNvPr>
          <p:cNvSpPr>
            <a:spLocks noGrp="1"/>
          </p:cNvSpPr>
          <p:nvPr>
            <p:ph type="body" sz="quarter" idx="22"/>
          </p:nvPr>
        </p:nvSpPr>
        <p:spPr>
          <a:xfrm>
            <a:off x="5035403" y="4984946"/>
            <a:ext cx="2383960" cy="1162301"/>
          </a:xfrm>
        </p:spPr>
        <p:txBody>
          <a:bodyPr vert="horz" lIns="0" tIns="0" rIns="0" bIns="0" rtlCol="0" anchor="t">
            <a:noAutofit/>
          </a:bodyPr>
          <a:lstStyle/>
          <a:p>
            <a:r>
              <a:rPr lang="en-US" sz="2000" b="1" dirty="0">
                <a:solidFill>
                  <a:schemeClr val="tx1"/>
                </a:solidFill>
                <a:effectLst/>
                <a:ea typeface="Aptos" panose="020B0004020202020204" pitchFamily="34" charset="0"/>
                <a:cs typeface="Aptos" panose="020B0004020202020204" pitchFamily="34" charset="0"/>
              </a:rPr>
              <a:t>“</a:t>
            </a:r>
            <a:r>
              <a:rPr lang="en-US" sz="2000" b="1" i="1" dirty="0">
                <a:solidFill>
                  <a:schemeClr val="tx1"/>
                </a:solidFill>
                <a:ea typeface="Aptos" panose="020B0004020202020204" pitchFamily="34" charset="0"/>
                <a:cs typeface="Aptos" panose="020B0004020202020204" pitchFamily="34" charset="0"/>
              </a:rPr>
              <a:t>Listen, learn, lead.”</a:t>
            </a:r>
            <a:endParaRPr lang="en-US" sz="2000" b="1" i="1" dirty="0">
              <a:solidFill>
                <a:schemeClr val="tx1"/>
              </a:solidFill>
            </a:endParaRPr>
          </a:p>
        </p:txBody>
      </p:sp>
      <p:sp>
        <p:nvSpPr>
          <p:cNvPr id="25" name="Date Placeholder 24">
            <a:extLst>
              <a:ext uri="{FF2B5EF4-FFF2-40B4-BE49-F238E27FC236}">
                <a16:creationId xmlns:a16="http://schemas.microsoft.com/office/drawing/2014/main" id="{77701430-7F08-3AB1-BE31-1B50A1F05FE1}"/>
              </a:ext>
            </a:extLst>
          </p:cNvPr>
          <p:cNvSpPr>
            <a:spLocks noGrp="1"/>
          </p:cNvSpPr>
          <p:nvPr>
            <p:ph type="dt" sz="half" idx="26"/>
          </p:nvPr>
        </p:nvSpPr>
        <p:spPr>
          <a:xfrm>
            <a:off x="10236555" y="136647"/>
            <a:ext cx="1345845" cy="153888"/>
          </a:xfrm>
        </p:spPr>
        <p:txBody>
          <a:bodyPr/>
          <a:lstStyle/>
          <a:p>
            <a:r>
              <a:rPr lang="en-US" dirty="0"/>
              <a:t>APRIL 29, 2025</a:t>
            </a:r>
          </a:p>
        </p:txBody>
      </p:sp>
      <p:sp>
        <p:nvSpPr>
          <p:cNvPr id="110" name="Footer Placeholder 50">
            <a:extLst>
              <a:ext uri="{FF2B5EF4-FFF2-40B4-BE49-F238E27FC236}">
                <a16:creationId xmlns:a16="http://schemas.microsoft.com/office/drawing/2014/main" id="{7A298A87-0D3A-E17A-D281-5F919FD4681F}"/>
              </a:ext>
            </a:extLst>
          </p:cNvPr>
          <p:cNvSpPr>
            <a:spLocks noGrp="1"/>
          </p:cNvSpPr>
          <p:nvPr>
            <p:ph type="ftr" sz="quarter" idx="11"/>
          </p:nvPr>
        </p:nvSpPr>
        <p:spPr>
          <a:xfrm>
            <a:off x="609600" y="6567465"/>
            <a:ext cx="10083800" cy="153888"/>
          </a:xfrm>
        </p:spPr>
        <p:txBody>
          <a:bodyPr/>
          <a:lstStyle/>
          <a:p>
            <a:r>
              <a:rPr lang="en-US" dirty="0"/>
              <a:t>© 2025 Guidehouse Inc.</a:t>
            </a:r>
          </a:p>
        </p:txBody>
      </p:sp>
      <p:sp>
        <p:nvSpPr>
          <p:cNvPr id="4" name="Slide Number Placeholder 3">
            <a:extLst>
              <a:ext uri="{FF2B5EF4-FFF2-40B4-BE49-F238E27FC236}">
                <a16:creationId xmlns:a16="http://schemas.microsoft.com/office/drawing/2014/main" id="{F619D6A6-BDD8-EA2A-2A97-1FEFF3C796A9}"/>
              </a:ext>
            </a:extLst>
          </p:cNvPr>
          <p:cNvSpPr>
            <a:spLocks noGrp="1"/>
          </p:cNvSpPr>
          <p:nvPr>
            <p:ph type="sldNum" sz="quarter" idx="12"/>
          </p:nvPr>
        </p:nvSpPr>
        <p:spPr>
          <a:xfrm>
            <a:off x="11248008" y="6567465"/>
            <a:ext cx="334392" cy="153888"/>
          </a:xfrm>
        </p:spPr>
        <p:txBody>
          <a:bodyPr/>
          <a:lstStyle/>
          <a:p>
            <a:fld id="{FD814145-5B10-4F3F-A6BF-3641B91211CF}" type="slidenum">
              <a:rPr lang="en-US" smtClean="0"/>
              <a:pPr/>
              <a:t>4</a:t>
            </a:fld>
            <a:endParaRPr lang="en-US" dirty="0"/>
          </a:p>
        </p:txBody>
      </p:sp>
      <p:sp>
        <p:nvSpPr>
          <p:cNvPr id="123" name="Text Placeholder 122">
            <a:extLst>
              <a:ext uri="{FF2B5EF4-FFF2-40B4-BE49-F238E27FC236}">
                <a16:creationId xmlns:a16="http://schemas.microsoft.com/office/drawing/2014/main" id="{177285A3-9DBE-937B-7DCF-02F26DA2B4F7}"/>
              </a:ext>
            </a:extLst>
          </p:cNvPr>
          <p:cNvSpPr>
            <a:spLocks noGrp="1"/>
          </p:cNvSpPr>
          <p:nvPr>
            <p:ph type="body" sz="quarter" idx="30"/>
          </p:nvPr>
        </p:nvSpPr>
        <p:spPr>
          <a:xfrm>
            <a:off x="1925479" y="3108398"/>
            <a:ext cx="2258568" cy="307777"/>
          </a:xfrm>
        </p:spPr>
        <p:txBody>
          <a:bodyPr/>
          <a:lstStyle/>
          <a:p>
            <a:r>
              <a:rPr lang="en-US" b="1" dirty="0"/>
              <a:t>Shepherd Brown</a:t>
            </a:r>
          </a:p>
        </p:txBody>
      </p:sp>
      <p:sp>
        <p:nvSpPr>
          <p:cNvPr id="124" name="Text Placeholder 123">
            <a:extLst>
              <a:ext uri="{FF2B5EF4-FFF2-40B4-BE49-F238E27FC236}">
                <a16:creationId xmlns:a16="http://schemas.microsoft.com/office/drawing/2014/main" id="{B75A1D68-3B46-F15E-604B-8E843E536F65}"/>
              </a:ext>
            </a:extLst>
          </p:cNvPr>
          <p:cNvSpPr>
            <a:spLocks noGrp="1"/>
          </p:cNvSpPr>
          <p:nvPr>
            <p:ph type="body" sz="quarter" idx="31"/>
          </p:nvPr>
        </p:nvSpPr>
        <p:spPr>
          <a:xfrm>
            <a:off x="5035403" y="3108399"/>
            <a:ext cx="2362746" cy="307776"/>
          </a:xfrm>
        </p:spPr>
        <p:txBody>
          <a:bodyPr/>
          <a:lstStyle/>
          <a:p>
            <a:r>
              <a:rPr lang="en-US" dirty="0"/>
              <a:t>Ann Davison</a:t>
            </a:r>
          </a:p>
        </p:txBody>
      </p:sp>
      <p:sp>
        <p:nvSpPr>
          <p:cNvPr id="127" name="Text Placeholder 126">
            <a:extLst>
              <a:ext uri="{FF2B5EF4-FFF2-40B4-BE49-F238E27FC236}">
                <a16:creationId xmlns:a16="http://schemas.microsoft.com/office/drawing/2014/main" id="{517413AA-13AE-25AC-26E2-7FCCD1C7F996}"/>
              </a:ext>
            </a:extLst>
          </p:cNvPr>
          <p:cNvSpPr>
            <a:spLocks noGrp="1"/>
          </p:cNvSpPr>
          <p:nvPr>
            <p:ph type="body" sz="quarter" idx="34"/>
          </p:nvPr>
        </p:nvSpPr>
        <p:spPr>
          <a:xfrm>
            <a:off x="5035403" y="3797865"/>
            <a:ext cx="2383960" cy="839898"/>
          </a:xfrm>
        </p:spPr>
        <p:txBody>
          <a:bodyPr vert="horz" wrap="square" lIns="0" tIns="0" rIns="0" bIns="0" rtlCol="0" anchor="t">
            <a:noAutofit/>
          </a:bodyPr>
          <a:lstStyle/>
          <a:p>
            <a:r>
              <a:rPr lang="en-US" dirty="0">
                <a:latin typeface="Aptos Light"/>
                <a:cs typeface="Times New Roman"/>
              </a:rPr>
              <a:t>Former Special Assistant, U.S. EPA Office of the Administrator, </a:t>
            </a:r>
          </a:p>
          <a:p>
            <a:r>
              <a:rPr lang="en-US" dirty="0">
                <a:latin typeface="Aptos Light"/>
                <a:cs typeface="Times New Roman"/>
              </a:rPr>
              <a:t>Director,  Guidehouse</a:t>
            </a:r>
            <a:endParaRPr lang="en-US" dirty="0"/>
          </a:p>
          <a:p>
            <a:endParaRPr lang="en-US" dirty="0">
              <a:cs typeface="Times New Roman"/>
            </a:endParaRPr>
          </a:p>
        </p:txBody>
      </p:sp>
      <p:sp>
        <p:nvSpPr>
          <p:cNvPr id="3" name="Text Placeholder 2">
            <a:extLst>
              <a:ext uri="{FF2B5EF4-FFF2-40B4-BE49-F238E27FC236}">
                <a16:creationId xmlns:a16="http://schemas.microsoft.com/office/drawing/2014/main" id="{62C62D4F-794A-8745-B6A8-AEBCF54BEA09}"/>
              </a:ext>
            </a:extLst>
          </p:cNvPr>
          <p:cNvSpPr>
            <a:spLocks noGrp="1"/>
          </p:cNvSpPr>
          <p:nvPr>
            <p:ph type="body" sz="quarter" idx="28"/>
          </p:nvPr>
        </p:nvSpPr>
        <p:spPr/>
        <p:txBody>
          <a:bodyPr/>
          <a:lstStyle/>
          <a:p>
            <a:endParaRPr lang="en-US" dirty="0"/>
          </a:p>
          <a:p>
            <a:r>
              <a:rPr lang="en-US" dirty="0"/>
              <a:t>DC Chapter AGA 2025 Spring Training</a:t>
            </a:r>
          </a:p>
          <a:p>
            <a:endParaRPr lang="en-US" dirty="0"/>
          </a:p>
        </p:txBody>
      </p:sp>
      <p:grpSp>
        <p:nvGrpSpPr>
          <p:cNvPr id="10" name="Group 9">
            <a:extLst>
              <a:ext uri="{FF2B5EF4-FFF2-40B4-BE49-F238E27FC236}">
                <a16:creationId xmlns:a16="http://schemas.microsoft.com/office/drawing/2014/main" id="{408B87AC-C939-A896-43B9-F9863B811F24}"/>
              </a:ext>
            </a:extLst>
          </p:cNvPr>
          <p:cNvGrpSpPr/>
          <p:nvPr/>
        </p:nvGrpSpPr>
        <p:grpSpPr>
          <a:xfrm>
            <a:off x="1925479" y="3593417"/>
            <a:ext cx="2258568" cy="0"/>
            <a:chOff x="1925479" y="3827593"/>
            <a:chExt cx="2258568" cy="0"/>
          </a:xfrm>
        </p:grpSpPr>
        <p:cxnSp>
          <p:nvCxnSpPr>
            <p:cNvPr id="7" name="Straight Connector 6">
              <a:extLst>
                <a:ext uri="{FF2B5EF4-FFF2-40B4-BE49-F238E27FC236}">
                  <a16:creationId xmlns:a16="http://schemas.microsoft.com/office/drawing/2014/main" id="{125ADFD9-94ED-D198-AEE7-97BF11D69949}"/>
                </a:ext>
              </a:extLst>
            </p:cNvPr>
            <p:cNvCxnSpPr>
              <a:cxnSpLocks/>
            </p:cNvCxnSpPr>
            <p:nvPr/>
          </p:nvCxnSpPr>
          <p:spPr>
            <a:xfrm>
              <a:off x="1925479" y="3827593"/>
              <a:ext cx="225856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3B1CE65-6A73-87D0-2C68-E4864A411112}"/>
                </a:ext>
              </a:extLst>
            </p:cNvPr>
            <p:cNvCxnSpPr>
              <a:cxnSpLocks/>
            </p:cNvCxnSpPr>
            <p:nvPr/>
          </p:nvCxnSpPr>
          <p:spPr>
            <a:xfrm>
              <a:off x="1925479" y="3827593"/>
              <a:ext cx="647700"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D4C00F11-9430-9329-1115-2D736E0E185D}"/>
              </a:ext>
            </a:extLst>
          </p:cNvPr>
          <p:cNvGrpSpPr/>
          <p:nvPr/>
        </p:nvGrpSpPr>
        <p:grpSpPr>
          <a:xfrm>
            <a:off x="5035403" y="3593418"/>
            <a:ext cx="2383960" cy="0"/>
            <a:chOff x="5010003" y="3827594"/>
            <a:chExt cx="2383960" cy="0"/>
          </a:xfrm>
        </p:grpSpPr>
        <p:cxnSp>
          <p:nvCxnSpPr>
            <p:cNvPr id="14" name="Straight Connector 13">
              <a:extLst>
                <a:ext uri="{FF2B5EF4-FFF2-40B4-BE49-F238E27FC236}">
                  <a16:creationId xmlns:a16="http://schemas.microsoft.com/office/drawing/2014/main" id="{DE295A3F-C3AC-0BD1-1ABF-E37CD85FDAB4}"/>
                </a:ext>
              </a:extLst>
            </p:cNvPr>
            <p:cNvCxnSpPr>
              <a:cxnSpLocks/>
            </p:cNvCxnSpPr>
            <p:nvPr/>
          </p:nvCxnSpPr>
          <p:spPr>
            <a:xfrm>
              <a:off x="5010003" y="3827594"/>
              <a:ext cx="23839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08BBF3F-91CE-1DDA-850F-854452598BE5}"/>
                </a:ext>
              </a:extLst>
            </p:cNvPr>
            <p:cNvCxnSpPr>
              <a:cxnSpLocks/>
            </p:cNvCxnSpPr>
            <p:nvPr/>
          </p:nvCxnSpPr>
          <p:spPr>
            <a:xfrm>
              <a:off x="5010003" y="3827594"/>
              <a:ext cx="683659"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grpSp>
      <p:pic>
        <p:nvPicPr>
          <p:cNvPr id="16" name="Picture Placeholder 15" descr="A close-up of a person smiling&#10;&#10;AI-generated content may be incorrect.">
            <a:extLst>
              <a:ext uri="{FF2B5EF4-FFF2-40B4-BE49-F238E27FC236}">
                <a16:creationId xmlns:a16="http://schemas.microsoft.com/office/drawing/2014/main" id="{F9686BF3-71A3-E3B8-8A44-605335A03AE8}"/>
              </a:ext>
            </a:extLst>
          </p:cNvPr>
          <p:cNvPicPr>
            <a:picLocks noGrp="1" noChangeAspect="1"/>
          </p:cNvPicPr>
          <p:nvPr>
            <p:ph type="pic" sz="quarter" idx="20"/>
          </p:nvPr>
        </p:nvPicPr>
        <p:blipFill>
          <a:blip r:embed="rId8">
            <a:extLst>
              <a:ext uri="{28A0092B-C50C-407E-A947-70E740481C1C}">
                <a14:useLocalDpi xmlns:a14="http://schemas.microsoft.com/office/drawing/2010/main" val="0"/>
              </a:ext>
            </a:extLst>
          </a:blip>
          <a:srcRect l="3942" r="3942"/>
          <a:stretch>
            <a:fillRect/>
          </a:stretch>
        </p:blipFill>
        <p:spPr>
          <a:xfrm>
            <a:off x="5200650" y="1633773"/>
            <a:ext cx="1354138" cy="1354137"/>
          </a:xfrm>
        </p:spPr>
      </p:pic>
    </p:spTree>
    <p:extLst>
      <p:ext uri="{BB962C8B-B14F-4D97-AF65-F5344CB8AC3E}">
        <p14:creationId xmlns:p14="http://schemas.microsoft.com/office/powerpoint/2010/main" val="786174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94A954-48E1-A116-43BA-0739867FA41C}"/>
            </a:ext>
          </a:extLst>
        </p:cNvPr>
        <p:cNvGrpSpPr/>
        <p:nvPr/>
      </p:nvGrpSpPr>
      <p:grpSpPr>
        <a:xfrm>
          <a:off x="0" y="0"/>
          <a:ext cx="0" cy="0"/>
          <a:chOff x="0" y="0"/>
          <a:chExt cx="0" cy="0"/>
        </a:xfrm>
      </p:grpSpPr>
      <p:sp>
        <p:nvSpPr>
          <p:cNvPr id="12" name="Title 11">
            <a:extLst>
              <a:ext uri="{FF2B5EF4-FFF2-40B4-BE49-F238E27FC236}">
                <a16:creationId xmlns:a16="http://schemas.microsoft.com/office/drawing/2014/main" id="{E2D978A8-7CE5-F44E-A901-532AC5AE18D2}"/>
              </a:ext>
            </a:extLst>
          </p:cNvPr>
          <p:cNvSpPr>
            <a:spLocks noGrp="1"/>
          </p:cNvSpPr>
          <p:nvPr>
            <p:ph type="title"/>
          </p:nvPr>
        </p:nvSpPr>
        <p:spPr>
          <a:xfrm>
            <a:off x="86640" y="886955"/>
            <a:ext cx="5939882" cy="484957"/>
          </a:xfrm>
        </p:spPr>
        <p:txBody>
          <a:bodyPr/>
          <a:lstStyle/>
          <a:p>
            <a:r>
              <a:rPr lang="en-US" dirty="0"/>
              <a:t>Resilient</a:t>
            </a:r>
            <a:r>
              <a:rPr lang="fr-FR" dirty="0"/>
              <a:t> Leadership Playbook </a:t>
            </a:r>
            <a:br>
              <a:rPr lang="fr-FR" dirty="0"/>
            </a:br>
            <a:endParaRPr lang="en-US" dirty="0"/>
          </a:p>
        </p:txBody>
      </p:sp>
      <p:sp>
        <p:nvSpPr>
          <p:cNvPr id="56" name="Text Placeholder 55">
            <a:extLst>
              <a:ext uri="{FF2B5EF4-FFF2-40B4-BE49-F238E27FC236}">
                <a16:creationId xmlns:a16="http://schemas.microsoft.com/office/drawing/2014/main" id="{5960209A-6EDA-A8EC-E0EA-214B4AB200DB}"/>
              </a:ext>
            </a:extLst>
          </p:cNvPr>
          <p:cNvSpPr>
            <a:spLocks noGrp="1"/>
          </p:cNvSpPr>
          <p:nvPr>
            <p:ph type="body" sz="quarter" idx="13"/>
          </p:nvPr>
        </p:nvSpPr>
        <p:spPr/>
        <p:txBody>
          <a:bodyPr/>
          <a:lstStyle/>
          <a:p>
            <a:endParaRPr lang="en-US" dirty="0"/>
          </a:p>
          <a:p>
            <a:endParaRPr lang="en-US" dirty="0"/>
          </a:p>
          <a:p>
            <a:endParaRPr lang="en-US" dirty="0"/>
          </a:p>
        </p:txBody>
      </p:sp>
      <p:sp>
        <p:nvSpPr>
          <p:cNvPr id="11" name="Text Placeholder 10">
            <a:extLst>
              <a:ext uri="{FF2B5EF4-FFF2-40B4-BE49-F238E27FC236}">
                <a16:creationId xmlns:a16="http://schemas.microsoft.com/office/drawing/2014/main" id="{0029C782-6770-58A0-65B9-0FF954E13B5C}"/>
              </a:ext>
            </a:extLst>
          </p:cNvPr>
          <p:cNvSpPr>
            <a:spLocks noGrp="1"/>
          </p:cNvSpPr>
          <p:nvPr>
            <p:ph type="body" sz="quarter" idx="28"/>
          </p:nvPr>
        </p:nvSpPr>
        <p:spPr/>
        <p:txBody>
          <a:bodyPr/>
          <a:lstStyle/>
          <a:p>
            <a:r>
              <a:rPr lang="en-US" dirty="0"/>
              <a:t>DC Chapter AGA 2025 Spring Training</a:t>
            </a:r>
          </a:p>
          <a:p>
            <a:endParaRPr lang="en-US" dirty="0"/>
          </a:p>
        </p:txBody>
      </p:sp>
      <p:sp>
        <p:nvSpPr>
          <p:cNvPr id="3" name="Footer Placeholder 2">
            <a:extLst>
              <a:ext uri="{FF2B5EF4-FFF2-40B4-BE49-F238E27FC236}">
                <a16:creationId xmlns:a16="http://schemas.microsoft.com/office/drawing/2014/main" id="{32FF708A-4F51-5CA0-9A75-BC6324059E54}"/>
              </a:ext>
            </a:extLst>
          </p:cNvPr>
          <p:cNvSpPr>
            <a:spLocks noGrp="1"/>
          </p:cNvSpPr>
          <p:nvPr>
            <p:ph type="ftr" sz="quarter" idx="11"/>
          </p:nvPr>
        </p:nvSpPr>
        <p:spPr/>
        <p:txBody>
          <a:bodyPr/>
          <a:lstStyle/>
          <a:p>
            <a:r>
              <a:rPr lang="en-US" dirty="0"/>
              <a:t>© 2025 Guidehouse Inc.</a:t>
            </a:r>
          </a:p>
        </p:txBody>
      </p:sp>
      <p:sp>
        <p:nvSpPr>
          <p:cNvPr id="4" name="Slide Number Placeholder 3">
            <a:extLst>
              <a:ext uri="{FF2B5EF4-FFF2-40B4-BE49-F238E27FC236}">
                <a16:creationId xmlns:a16="http://schemas.microsoft.com/office/drawing/2014/main" id="{E461ACC3-660D-AA8C-C2E8-84F7D3DE2536}"/>
              </a:ext>
            </a:extLst>
          </p:cNvPr>
          <p:cNvSpPr>
            <a:spLocks noGrp="1"/>
          </p:cNvSpPr>
          <p:nvPr>
            <p:ph type="sldNum" sz="quarter" idx="4294967295"/>
          </p:nvPr>
        </p:nvSpPr>
        <p:spPr>
          <a:xfrm>
            <a:off x="11857038" y="6567488"/>
            <a:ext cx="334962" cy="153987"/>
          </a:xfrm>
        </p:spPr>
        <p:txBody>
          <a:bodyPr/>
          <a:lstStyle/>
          <a:p>
            <a:fld id="{FD814145-5B10-4F3F-A6BF-3641B91211CF}" type="slidenum">
              <a:rPr lang="en-US" smtClean="0"/>
              <a:pPr/>
              <a:t>5</a:t>
            </a:fld>
            <a:endParaRPr lang="en-US" dirty="0"/>
          </a:p>
        </p:txBody>
      </p:sp>
      <p:sp>
        <p:nvSpPr>
          <p:cNvPr id="5" name="Date Placeholder 4">
            <a:extLst>
              <a:ext uri="{FF2B5EF4-FFF2-40B4-BE49-F238E27FC236}">
                <a16:creationId xmlns:a16="http://schemas.microsoft.com/office/drawing/2014/main" id="{C6043DFC-DA3B-411E-984B-3012664E2C4D}"/>
              </a:ext>
            </a:extLst>
          </p:cNvPr>
          <p:cNvSpPr>
            <a:spLocks noGrp="1"/>
          </p:cNvSpPr>
          <p:nvPr>
            <p:ph type="dt" sz="half" idx="4294967295"/>
          </p:nvPr>
        </p:nvSpPr>
        <p:spPr>
          <a:xfrm>
            <a:off x="10539486" y="136597"/>
            <a:ext cx="1346200" cy="153988"/>
          </a:xfrm>
        </p:spPr>
        <p:txBody>
          <a:bodyPr/>
          <a:lstStyle/>
          <a:p>
            <a:r>
              <a:rPr lang="en-US" dirty="0"/>
              <a:t>APRIL 29, 2025</a:t>
            </a:r>
          </a:p>
        </p:txBody>
      </p:sp>
      <p:graphicFrame>
        <p:nvGraphicFramePr>
          <p:cNvPr id="21" name="Table Placeholder 14">
            <a:extLst>
              <a:ext uri="{FF2B5EF4-FFF2-40B4-BE49-F238E27FC236}">
                <a16:creationId xmlns:a16="http://schemas.microsoft.com/office/drawing/2014/main" id="{96F3FDF5-F5AA-6DBB-9819-FE26B64EE15C}"/>
              </a:ext>
            </a:extLst>
          </p:cNvPr>
          <p:cNvGraphicFramePr>
            <a:graphicFrameLocks/>
          </p:cNvGraphicFramePr>
          <p:nvPr>
            <p:extLst>
              <p:ext uri="{D42A27DB-BD31-4B8C-83A1-F6EECF244321}">
                <p14:modId xmlns:p14="http://schemas.microsoft.com/office/powerpoint/2010/main" val="639150747"/>
              </p:ext>
            </p:extLst>
          </p:nvPr>
        </p:nvGraphicFramePr>
        <p:xfrm>
          <a:off x="251607" y="1712010"/>
          <a:ext cx="5609948" cy="3774078"/>
        </p:xfrm>
        <a:graphic>
          <a:graphicData uri="http://schemas.openxmlformats.org/drawingml/2006/table">
            <a:tbl>
              <a:tblPr firstRow="1" bandRow="1">
                <a:tableStyleId>{5C22544A-7EE6-4342-B048-85BDC9FD1C3A}</a:tableStyleId>
              </a:tblPr>
              <a:tblGrid>
                <a:gridCol w="2526486">
                  <a:extLst>
                    <a:ext uri="{9D8B030D-6E8A-4147-A177-3AD203B41FA5}">
                      <a16:colId xmlns:a16="http://schemas.microsoft.com/office/drawing/2014/main" val="2127973828"/>
                    </a:ext>
                  </a:extLst>
                </a:gridCol>
                <a:gridCol w="3083462">
                  <a:extLst>
                    <a:ext uri="{9D8B030D-6E8A-4147-A177-3AD203B41FA5}">
                      <a16:colId xmlns:a16="http://schemas.microsoft.com/office/drawing/2014/main" val="1447707698"/>
                    </a:ext>
                  </a:extLst>
                </a:gridCol>
              </a:tblGrid>
              <a:tr h="556986">
                <a:tc>
                  <a:txBody>
                    <a:bodyPr/>
                    <a:lstStyle/>
                    <a:p>
                      <a:r>
                        <a:rPr lang="en-US" sz="1400" b="1" dirty="0">
                          <a:solidFill>
                            <a:schemeClr val="tx2"/>
                          </a:solidFill>
                          <a:latin typeface="+mj-lt"/>
                        </a:rPr>
                        <a:t>Leadership Strategy</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tc>
                  <a:txBody>
                    <a:bodyPr/>
                    <a:lstStyle/>
                    <a:p>
                      <a:r>
                        <a:rPr kumimoji="0" lang="en-US" sz="1400" b="1" i="0" u="none" strike="noStrike" kern="1200" cap="none" spc="0" normalizeH="0" baseline="0" noProof="0" dirty="0">
                          <a:ln>
                            <a:noFill/>
                          </a:ln>
                          <a:solidFill>
                            <a:srgbClr val="1B1B1B"/>
                          </a:solidFill>
                          <a:effectLst/>
                          <a:uLnTx/>
                          <a:uFillTx/>
                          <a:latin typeface="Aptos"/>
                          <a:ea typeface="+mn-ea"/>
                          <a:cs typeface="+mn-cs"/>
                        </a:rPr>
                        <a:t>Description</a:t>
                      </a:r>
                      <a:endParaRPr lang="en-US" sz="1400" b="1" dirty="0">
                        <a:solidFill>
                          <a:schemeClr val="tx2"/>
                        </a:solidFill>
                        <a:latin typeface="+mj-lt"/>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326785382"/>
                  </a:ext>
                </a:extLst>
              </a:tr>
              <a:tr h="556986">
                <a:tc>
                  <a:txBody>
                    <a:bodyPr/>
                    <a:lstStyle/>
                    <a:p>
                      <a:r>
                        <a:rPr lang="en-US" sz="1400" b="1" dirty="0">
                          <a:solidFill>
                            <a:schemeClr val="tx2"/>
                          </a:solidFill>
                          <a:latin typeface="+mj-lt"/>
                        </a:rPr>
                        <a:t>Shift to Adaptive Leadership Strategy</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en-US" sz="1200" dirty="0">
                          <a:solidFill>
                            <a:schemeClr val="tx2"/>
                          </a:solidFill>
                        </a:rPr>
                        <a:t>Focuses on mobilizing people to diagnose the situation, managing emotional reactions, empowering staff, and valuing perspectives of front-line staff. </a:t>
                      </a: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2"/>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47052010"/>
                  </a:ext>
                </a:extLst>
              </a:tr>
              <a:tr h="234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1B1B"/>
                          </a:solidFill>
                          <a:effectLst/>
                          <a:uLnTx/>
                          <a:uFillTx/>
                          <a:latin typeface="Aptos"/>
                          <a:ea typeface="+mn-ea"/>
                          <a:cs typeface="+mn-cs"/>
                        </a:rPr>
                        <a:t>Develop a Coaching Mindset</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rPr>
                        <a:t>Empowers team members to understand their strengths and weaknesses, develop problem-solving skills, and gain confidence</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5795786"/>
                  </a:ext>
                </a:extLst>
              </a:tr>
              <a:tr h="5569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1B1B"/>
                          </a:solidFill>
                          <a:effectLst/>
                          <a:uLnTx/>
                          <a:uFillTx/>
                          <a:latin typeface="Aptos"/>
                          <a:ea typeface="+mn-ea"/>
                          <a:cs typeface="+mn-cs"/>
                        </a:rPr>
                        <a:t>Focus on Transparent Communication </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rPr>
                        <a:t>Provides clear, honest communication content, both positive and negative, that is solution-oriented </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3169922"/>
                  </a:ext>
                </a:extLst>
              </a:tr>
              <a:tr h="5569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1B1B"/>
                          </a:solidFill>
                          <a:effectLst/>
                          <a:uLnTx/>
                          <a:uFillTx/>
                          <a:latin typeface="Aptos"/>
                          <a:ea typeface="+mn-ea"/>
                          <a:cs typeface="+mn-cs"/>
                        </a:rPr>
                        <a:t>Emphasize a Data-Informed Decision-Making Process </a:t>
                      </a: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rPr>
                        <a:t>Uses data, instead of intuition, to make decisions</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52918037"/>
                  </a:ext>
                </a:extLst>
              </a:tr>
              <a:tr h="5569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latin typeface="+mj-lt"/>
                        </a:rPr>
                        <a:t>Focus on a Task-Oriented Delegation Process</a:t>
                      </a:r>
                      <a:endParaRPr kumimoji="0" lang="en-US" sz="1400" b="1" i="0" u="none" strike="noStrike" kern="1200" cap="none" spc="0" normalizeH="0" baseline="0" noProof="0" dirty="0">
                        <a:ln>
                          <a:noFill/>
                        </a:ln>
                        <a:solidFill>
                          <a:srgbClr val="1B1B1B"/>
                        </a:solidFill>
                        <a:effectLst/>
                        <a:uLnTx/>
                        <a:uFillTx/>
                        <a:latin typeface="+mj-lt"/>
                        <a:ea typeface="+mn-ea"/>
                        <a:cs typeface="+mn-cs"/>
                      </a:endParaRPr>
                    </a:p>
                  </a:txBody>
                  <a:tcPr marL="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B1B1B"/>
                          </a:solidFill>
                          <a:effectLst/>
                          <a:uLnTx/>
                          <a:uFillTx/>
                          <a:latin typeface="+mn-lt"/>
                          <a:ea typeface="+mn-ea"/>
                          <a:cs typeface="+mn-cs"/>
                        </a:rPr>
                        <a:t>Identifies priorities, focuses on urgent priorities, delegates tasks </a:t>
                      </a:r>
                      <a:endParaRPr kumimoji="0" lang="en-US" sz="1200" b="0" i="0" u="none" strike="noStrike" kern="1200" cap="none" spc="0" normalizeH="0" baseline="0" noProof="0" dirty="0">
                        <a:ln>
                          <a:noFill/>
                        </a:ln>
                        <a:solidFill>
                          <a:srgbClr val="1B1B1B"/>
                        </a:solidFill>
                        <a:effectLst/>
                        <a:uLnTx/>
                        <a:uFillTx/>
                        <a:latin typeface="Aptos Light"/>
                        <a:ea typeface="+mn-ea"/>
                        <a:cs typeface="+mn-cs"/>
                      </a:endParaRPr>
                    </a:p>
                  </a:txBody>
                  <a:tcPr marL="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71211925"/>
                  </a:ext>
                </a:extLst>
              </a:tr>
            </a:tbl>
          </a:graphicData>
        </a:graphic>
      </p:graphicFrame>
      <p:grpSp>
        <p:nvGrpSpPr>
          <p:cNvPr id="2" name="Group 1">
            <a:extLst>
              <a:ext uri="{FF2B5EF4-FFF2-40B4-BE49-F238E27FC236}">
                <a16:creationId xmlns:a16="http://schemas.microsoft.com/office/drawing/2014/main" id="{5DD5151B-E302-B7BC-95F7-14F3727B724E}"/>
              </a:ext>
            </a:extLst>
          </p:cNvPr>
          <p:cNvGrpSpPr/>
          <p:nvPr/>
        </p:nvGrpSpPr>
        <p:grpSpPr>
          <a:xfrm>
            <a:off x="5932758" y="1352322"/>
            <a:ext cx="6144800" cy="4133771"/>
            <a:chOff x="1215124" y="285460"/>
            <a:chExt cx="9357265" cy="6010356"/>
          </a:xfrm>
        </p:grpSpPr>
        <p:sp>
          <p:nvSpPr>
            <p:cNvPr id="6" name="Google Shape;684;p26">
              <a:extLst>
                <a:ext uri="{FF2B5EF4-FFF2-40B4-BE49-F238E27FC236}">
                  <a16:creationId xmlns:a16="http://schemas.microsoft.com/office/drawing/2014/main" id="{E721E3A2-0D8A-AB11-0D20-E9DFEEF4B98B}"/>
                </a:ext>
              </a:extLst>
            </p:cNvPr>
            <p:cNvSpPr/>
            <p:nvPr/>
          </p:nvSpPr>
          <p:spPr>
            <a:xfrm>
              <a:off x="6344324" y="2562945"/>
              <a:ext cx="327924" cy="265782"/>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7" name="Google Shape;685;p26">
              <a:extLst>
                <a:ext uri="{FF2B5EF4-FFF2-40B4-BE49-F238E27FC236}">
                  <a16:creationId xmlns:a16="http://schemas.microsoft.com/office/drawing/2014/main" id="{C3926A1B-22EB-F29A-628D-31F6B31DB8BD}"/>
                </a:ext>
              </a:extLst>
            </p:cNvPr>
            <p:cNvSpPr/>
            <p:nvPr/>
          </p:nvSpPr>
          <p:spPr>
            <a:xfrm>
              <a:off x="6365252" y="2614092"/>
              <a:ext cx="286738" cy="9990"/>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8" name="Google Shape;686;p26">
              <a:extLst>
                <a:ext uri="{FF2B5EF4-FFF2-40B4-BE49-F238E27FC236}">
                  <a16:creationId xmlns:a16="http://schemas.microsoft.com/office/drawing/2014/main" id="{8EB59782-C890-F89B-E627-08F81F9BFC79}"/>
                </a:ext>
              </a:extLst>
            </p:cNvPr>
            <p:cNvSpPr/>
            <p:nvPr/>
          </p:nvSpPr>
          <p:spPr>
            <a:xfrm>
              <a:off x="6380543" y="2655278"/>
              <a:ext cx="40878" cy="10017"/>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9" name="Google Shape;687;p26">
              <a:extLst>
                <a:ext uri="{FF2B5EF4-FFF2-40B4-BE49-F238E27FC236}">
                  <a16:creationId xmlns:a16="http://schemas.microsoft.com/office/drawing/2014/main" id="{CCC43880-CB17-FA5E-1BA9-E2E5D485648C}"/>
                </a:ext>
              </a:extLst>
            </p:cNvPr>
            <p:cNvSpPr/>
            <p:nvPr/>
          </p:nvSpPr>
          <p:spPr>
            <a:xfrm>
              <a:off x="6452310" y="2655278"/>
              <a:ext cx="40878" cy="10017"/>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10" name="Google Shape;688;p26">
              <a:extLst>
                <a:ext uri="{FF2B5EF4-FFF2-40B4-BE49-F238E27FC236}">
                  <a16:creationId xmlns:a16="http://schemas.microsoft.com/office/drawing/2014/main" id="{CBA2B707-E368-E163-DEA5-48141264E7AB}"/>
                </a:ext>
              </a:extLst>
            </p:cNvPr>
            <p:cNvSpPr/>
            <p:nvPr/>
          </p:nvSpPr>
          <p:spPr>
            <a:xfrm>
              <a:off x="6595819" y="2655278"/>
              <a:ext cx="40573" cy="10017"/>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13" name="Google Shape;689;p26">
              <a:extLst>
                <a:ext uri="{FF2B5EF4-FFF2-40B4-BE49-F238E27FC236}">
                  <a16:creationId xmlns:a16="http://schemas.microsoft.com/office/drawing/2014/main" id="{90622888-3B9A-5C8A-EFB0-CDB207CBF12A}"/>
                </a:ext>
              </a:extLst>
            </p:cNvPr>
            <p:cNvSpPr/>
            <p:nvPr/>
          </p:nvSpPr>
          <p:spPr>
            <a:xfrm>
              <a:off x="6380543" y="2696157"/>
              <a:ext cx="40878" cy="9990"/>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15" name="Google Shape;690;p26">
              <a:extLst>
                <a:ext uri="{FF2B5EF4-FFF2-40B4-BE49-F238E27FC236}">
                  <a16:creationId xmlns:a16="http://schemas.microsoft.com/office/drawing/2014/main" id="{B1A44A68-8C52-5F3F-E81A-FFBE8EB063C8}"/>
                </a:ext>
              </a:extLst>
            </p:cNvPr>
            <p:cNvSpPr/>
            <p:nvPr/>
          </p:nvSpPr>
          <p:spPr>
            <a:xfrm>
              <a:off x="6523716" y="2696157"/>
              <a:ext cx="40908" cy="9990"/>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16" name="Google Shape;691;p26">
              <a:extLst>
                <a:ext uri="{FF2B5EF4-FFF2-40B4-BE49-F238E27FC236}">
                  <a16:creationId xmlns:a16="http://schemas.microsoft.com/office/drawing/2014/main" id="{C5641B5B-64DD-EDAC-C8BC-980ED166F054}"/>
                </a:ext>
              </a:extLst>
            </p:cNvPr>
            <p:cNvSpPr/>
            <p:nvPr/>
          </p:nvSpPr>
          <p:spPr>
            <a:xfrm>
              <a:off x="6380543" y="2737009"/>
              <a:ext cx="40878" cy="10017"/>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17" name="Google Shape;692;p26">
              <a:extLst>
                <a:ext uri="{FF2B5EF4-FFF2-40B4-BE49-F238E27FC236}">
                  <a16:creationId xmlns:a16="http://schemas.microsoft.com/office/drawing/2014/main" id="{C6F6420F-1452-7489-7F4F-31AE488B99E1}"/>
                </a:ext>
              </a:extLst>
            </p:cNvPr>
            <p:cNvSpPr/>
            <p:nvPr/>
          </p:nvSpPr>
          <p:spPr>
            <a:xfrm>
              <a:off x="6452310" y="2737009"/>
              <a:ext cx="40878" cy="10017"/>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18" name="Google Shape;693;p26">
              <a:extLst>
                <a:ext uri="{FF2B5EF4-FFF2-40B4-BE49-F238E27FC236}">
                  <a16:creationId xmlns:a16="http://schemas.microsoft.com/office/drawing/2014/main" id="{34C8B679-E03F-F250-9673-B519763EC804}"/>
                </a:ext>
              </a:extLst>
            </p:cNvPr>
            <p:cNvSpPr/>
            <p:nvPr/>
          </p:nvSpPr>
          <p:spPr>
            <a:xfrm>
              <a:off x="6595819" y="2737009"/>
              <a:ext cx="40573" cy="10017"/>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19" name="Google Shape;694;p26">
              <a:extLst>
                <a:ext uri="{FF2B5EF4-FFF2-40B4-BE49-F238E27FC236}">
                  <a16:creationId xmlns:a16="http://schemas.microsoft.com/office/drawing/2014/main" id="{20A67852-A23F-18DD-4BCC-A3D0CC0AD482}"/>
                </a:ext>
              </a:extLst>
            </p:cNvPr>
            <p:cNvSpPr/>
            <p:nvPr/>
          </p:nvSpPr>
          <p:spPr>
            <a:xfrm>
              <a:off x="6452310" y="2778222"/>
              <a:ext cx="40878" cy="9655"/>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20" name="Google Shape;695;p26">
              <a:extLst>
                <a:ext uri="{FF2B5EF4-FFF2-40B4-BE49-F238E27FC236}">
                  <a16:creationId xmlns:a16="http://schemas.microsoft.com/office/drawing/2014/main" id="{A4A104AD-2744-2BF5-8FA6-DC82D35E55FC}"/>
                </a:ext>
              </a:extLst>
            </p:cNvPr>
            <p:cNvSpPr/>
            <p:nvPr/>
          </p:nvSpPr>
          <p:spPr>
            <a:xfrm>
              <a:off x="6523716" y="2778222"/>
              <a:ext cx="40908" cy="9655"/>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22" name="Google Shape;696;p26">
              <a:extLst>
                <a:ext uri="{FF2B5EF4-FFF2-40B4-BE49-F238E27FC236}">
                  <a16:creationId xmlns:a16="http://schemas.microsoft.com/office/drawing/2014/main" id="{CD412A49-9CD2-F907-A7A0-735089532CC6}"/>
                </a:ext>
              </a:extLst>
            </p:cNvPr>
            <p:cNvSpPr/>
            <p:nvPr/>
          </p:nvSpPr>
          <p:spPr>
            <a:xfrm>
              <a:off x="6595819" y="2778222"/>
              <a:ext cx="40573" cy="9655"/>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23" name="Google Shape;697;p26">
              <a:extLst>
                <a:ext uri="{FF2B5EF4-FFF2-40B4-BE49-F238E27FC236}">
                  <a16:creationId xmlns:a16="http://schemas.microsoft.com/office/drawing/2014/main" id="{5A439046-7189-3B1C-19EC-CFD73A0EF14E}"/>
                </a:ext>
              </a:extLst>
            </p:cNvPr>
            <p:cNvSpPr/>
            <p:nvPr/>
          </p:nvSpPr>
          <p:spPr>
            <a:xfrm>
              <a:off x="6451975" y="2685694"/>
              <a:ext cx="41213" cy="29746"/>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24" name="Google Shape;698;p26">
              <a:extLst>
                <a:ext uri="{FF2B5EF4-FFF2-40B4-BE49-F238E27FC236}">
                  <a16:creationId xmlns:a16="http://schemas.microsoft.com/office/drawing/2014/main" id="{ADB03E7A-9154-A8CA-C5A8-D38650B0CB5A}"/>
                </a:ext>
              </a:extLst>
            </p:cNvPr>
            <p:cNvSpPr/>
            <p:nvPr/>
          </p:nvSpPr>
          <p:spPr>
            <a:xfrm>
              <a:off x="6595484" y="2685694"/>
              <a:ext cx="41548" cy="29746"/>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25" name="Google Shape;699;p26">
              <a:extLst>
                <a:ext uri="{FF2B5EF4-FFF2-40B4-BE49-F238E27FC236}">
                  <a16:creationId xmlns:a16="http://schemas.microsoft.com/office/drawing/2014/main" id="{2FEAD4C1-E886-1E10-DF37-1299BE0791D0}"/>
                </a:ext>
              </a:extLst>
            </p:cNvPr>
            <p:cNvSpPr/>
            <p:nvPr/>
          </p:nvSpPr>
          <p:spPr>
            <a:xfrm>
              <a:off x="6523409" y="2726629"/>
              <a:ext cx="41548" cy="30024"/>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26" name="Google Shape;700;p26">
              <a:extLst>
                <a:ext uri="{FF2B5EF4-FFF2-40B4-BE49-F238E27FC236}">
                  <a16:creationId xmlns:a16="http://schemas.microsoft.com/office/drawing/2014/main" id="{504805A6-47C8-9E8F-834F-D42B00EFE33B}"/>
                </a:ext>
              </a:extLst>
            </p:cNvPr>
            <p:cNvSpPr/>
            <p:nvPr/>
          </p:nvSpPr>
          <p:spPr>
            <a:xfrm>
              <a:off x="6380208" y="2767759"/>
              <a:ext cx="41548" cy="29746"/>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27" name="Google Shape;701;p26">
              <a:extLst>
                <a:ext uri="{FF2B5EF4-FFF2-40B4-BE49-F238E27FC236}">
                  <a16:creationId xmlns:a16="http://schemas.microsoft.com/office/drawing/2014/main" id="{78241CDD-9934-B37B-A8D8-E59F506141B9}"/>
                </a:ext>
              </a:extLst>
            </p:cNvPr>
            <p:cNvSpPr/>
            <p:nvPr/>
          </p:nvSpPr>
          <p:spPr>
            <a:xfrm>
              <a:off x="6523409" y="2644815"/>
              <a:ext cx="41548" cy="2977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solidFill>
              <a:srgbClr val="FFFFFF"/>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28" name="Google Shape;585;p22">
              <a:extLst>
                <a:ext uri="{FF2B5EF4-FFF2-40B4-BE49-F238E27FC236}">
                  <a16:creationId xmlns:a16="http://schemas.microsoft.com/office/drawing/2014/main" id="{B5772F50-0C30-C509-298C-3C4AE47F3B33}"/>
                </a:ext>
              </a:extLst>
            </p:cNvPr>
            <p:cNvSpPr/>
            <p:nvPr/>
          </p:nvSpPr>
          <p:spPr>
            <a:xfrm>
              <a:off x="6631465" y="2504285"/>
              <a:ext cx="129294" cy="129280"/>
            </a:xfrm>
            <a:custGeom>
              <a:avLst/>
              <a:gdLst/>
              <a:ahLst/>
              <a:cxnLst/>
              <a:rect l="l" t="t" r="r" b="b"/>
              <a:pathLst>
                <a:path w="9300" h="9299" extrusionOk="0">
                  <a:moveTo>
                    <a:pt x="4650" y="1"/>
                  </a:moveTo>
                  <a:cubicBezTo>
                    <a:pt x="2087" y="1"/>
                    <a:pt x="1" y="2087"/>
                    <a:pt x="1" y="4650"/>
                  </a:cubicBezTo>
                  <a:cubicBezTo>
                    <a:pt x="1" y="7213"/>
                    <a:pt x="2087" y="9298"/>
                    <a:pt x="4650" y="9298"/>
                  </a:cubicBezTo>
                  <a:cubicBezTo>
                    <a:pt x="7214" y="9298"/>
                    <a:pt x="9300" y="7213"/>
                    <a:pt x="9300" y="4650"/>
                  </a:cubicBezTo>
                  <a:cubicBezTo>
                    <a:pt x="9300" y="2087"/>
                    <a:pt x="7214" y="1"/>
                    <a:pt x="4650" y="1"/>
                  </a:cubicBezTo>
                  <a:close/>
                </a:path>
              </a:pathLst>
            </a:custGeom>
            <a:solidFill>
              <a:schemeClr val="lt1"/>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29" name="Google Shape;586;p22">
              <a:extLst>
                <a:ext uri="{FF2B5EF4-FFF2-40B4-BE49-F238E27FC236}">
                  <a16:creationId xmlns:a16="http://schemas.microsoft.com/office/drawing/2014/main" id="{B02BAF27-C47A-0153-2E04-3711B6745647}"/>
                </a:ext>
              </a:extLst>
            </p:cNvPr>
            <p:cNvSpPr/>
            <p:nvPr/>
          </p:nvSpPr>
          <p:spPr>
            <a:xfrm>
              <a:off x="6371210" y="2504285"/>
              <a:ext cx="129294" cy="129280"/>
            </a:xfrm>
            <a:custGeom>
              <a:avLst/>
              <a:gdLst/>
              <a:ahLst/>
              <a:cxnLst/>
              <a:rect l="l" t="t" r="r" b="b"/>
              <a:pathLst>
                <a:path w="9300" h="9299" extrusionOk="0">
                  <a:moveTo>
                    <a:pt x="4650" y="1"/>
                  </a:moveTo>
                  <a:cubicBezTo>
                    <a:pt x="2087" y="1"/>
                    <a:pt x="1" y="2087"/>
                    <a:pt x="1" y="4650"/>
                  </a:cubicBezTo>
                  <a:cubicBezTo>
                    <a:pt x="1" y="7213"/>
                    <a:pt x="2087" y="9298"/>
                    <a:pt x="4650" y="9298"/>
                  </a:cubicBezTo>
                  <a:cubicBezTo>
                    <a:pt x="7213" y="9298"/>
                    <a:pt x="9299" y="7213"/>
                    <a:pt x="9299" y="4650"/>
                  </a:cubicBezTo>
                  <a:cubicBezTo>
                    <a:pt x="9299" y="2087"/>
                    <a:pt x="7213" y="1"/>
                    <a:pt x="4650" y="1"/>
                  </a:cubicBezTo>
                  <a:close/>
                </a:path>
              </a:pathLst>
            </a:custGeom>
            <a:solidFill>
              <a:schemeClr val="lt1"/>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30" name="Google Shape;587;p22">
              <a:extLst>
                <a:ext uri="{FF2B5EF4-FFF2-40B4-BE49-F238E27FC236}">
                  <a16:creationId xmlns:a16="http://schemas.microsoft.com/office/drawing/2014/main" id="{B9293F8E-0BC1-FE61-4994-818BA506E7DF}"/>
                </a:ext>
              </a:extLst>
            </p:cNvPr>
            <p:cNvSpPr/>
            <p:nvPr/>
          </p:nvSpPr>
          <p:spPr>
            <a:xfrm>
              <a:off x="6526334" y="2296595"/>
              <a:ext cx="260284" cy="181860"/>
            </a:xfrm>
            <a:custGeom>
              <a:avLst/>
              <a:gdLst/>
              <a:ahLst/>
              <a:cxnLst/>
              <a:rect l="l" t="t" r="r" b="b"/>
              <a:pathLst>
                <a:path w="18722" h="13081" extrusionOk="0">
                  <a:moveTo>
                    <a:pt x="14072" y="3781"/>
                  </a:moveTo>
                  <a:cubicBezTo>
                    <a:pt x="14585" y="3781"/>
                    <a:pt x="15002" y="4198"/>
                    <a:pt x="15002" y="4712"/>
                  </a:cubicBezTo>
                  <a:cubicBezTo>
                    <a:pt x="15002" y="5225"/>
                    <a:pt x="14585" y="5641"/>
                    <a:pt x="14072" y="5641"/>
                  </a:cubicBezTo>
                  <a:lnTo>
                    <a:pt x="4774" y="5641"/>
                  </a:lnTo>
                  <a:cubicBezTo>
                    <a:pt x="4259" y="5641"/>
                    <a:pt x="3720" y="5225"/>
                    <a:pt x="3720" y="4712"/>
                  </a:cubicBezTo>
                  <a:cubicBezTo>
                    <a:pt x="3720" y="4198"/>
                    <a:pt x="4259" y="3781"/>
                    <a:pt x="4774" y="3781"/>
                  </a:cubicBezTo>
                  <a:close/>
                  <a:moveTo>
                    <a:pt x="14072" y="7500"/>
                  </a:moveTo>
                  <a:cubicBezTo>
                    <a:pt x="14585" y="7500"/>
                    <a:pt x="15002" y="7917"/>
                    <a:pt x="15002" y="8431"/>
                  </a:cubicBezTo>
                  <a:cubicBezTo>
                    <a:pt x="15002" y="8944"/>
                    <a:pt x="14585" y="9361"/>
                    <a:pt x="14072" y="9361"/>
                  </a:cubicBezTo>
                  <a:lnTo>
                    <a:pt x="4774" y="9361"/>
                  </a:lnTo>
                  <a:cubicBezTo>
                    <a:pt x="4259" y="9361"/>
                    <a:pt x="3720" y="8944"/>
                    <a:pt x="3720" y="8431"/>
                  </a:cubicBezTo>
                  <a:cubicBezTo>
                    <a:pt x="3720" y="7917"/>
                    <a:pt x="4259" y="7500"/>
                    <a:pt x="4774" y="7500"/>
                  </a:cubicBezTo>
                  <a:close/>
                  <a:moveTo>
                    <a:pt x="2789" y="0"/>
                  </a:moveTo>
                  <a:cubicBezTo>
                    <a:pt x="1252" y="0"/>
                    <a:pt x="1" y="1313"/>
                    <a:pt x="1" y="2852"/>
                  </a:cubicBezTo>
                  <a:lnTo>
                    <a:pt x="1" y="10290"/>
                  </a:lnTo>
                  <a:cubicBezTo>
                    <a:pt x="1" y="11828"/>
                    <a:pt x="1252" y="13080"/>
                    <a:pt x="2789" y="13080"/>
                  </a:cubicBezTo>
                  <a:lnTo>
                    <a:pt x="15931" y="13080"/>
                  </a:lnTo>
                  <a:cubicBezTo>
                    <a:pt x="17471" y="13080"/>
                    <a:pt x="18721" y="11828"/>
                    <a:pt x="18721" y="10290"/>
                  </a:cubicBezTo>
                  <a:lnTo>
                    <a:pt x="18721" y="2852"/>
                  </a:lnTo>
                  <a:cubicBezTo>
                    <a:pt x="18721" y="1313"/>
                    <a:pt x="17471" y="0"/>
                    <a:pt x="15931" y="0"/>
                  </a:cubicBezTo>
                  <a:close/>
                </a:path>
              </a:pathLst>
            </a:custGeom>
            <a:solidFill>
              <a:schemeClr val="lt1"/>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31" name="Google Shape;588;p22">
              <a:extLst>
                <a:ext uri="{FF2B5EF4-FFF2-40B4-BE49-F238E27FC236}">
                  <a16:creationId xmlns:a16="http://schemas.microsoft.com/office/drawing/2014/main" id="{12915B06-6764-2BB8-294E-A38424246D67}"/>
                </a:ext>
              </a:extLst>
            </p:cNvPr>
            <p:cNvSpPr/>
            <p:nvPr/>
          </p:nvSpPr>
          <p:spPr>
            <a:xfrm>
              <a:off x="6605620" y="2633551"/>
              <a:ext cx="180998" cy="104297"/>
            </a:xfrm>
            <a:custGeom>
              <a:avLst/>
              <a:gdLst/>
              <a:ahLst/>
              <a:cxnLst/>
              <a:rect l="l" t="t" r="r" b="b"/>
              <a:pathLst>
                <a:path w="13019" h="7502" extrusionOk="0">
                  <a:moveTo>
                    <a:pt x="1969" y="0"/>
                  </a:moveTo>
                  <a:cubicBezTo>
                    <a:pt x="757" y="1183"/>
                    <a:pt x="0" y="2828"/>
                    <a:pt x="0" y="4650"/>
                  </a:cubicBezTo>
                  <a:lnTo>
                    <a:pt x="0" y="6571"/>
                  </a:lnTo>
                  <a:cubicBezTo>
                    <a:pt x="0" y="7085"/>
                    <a:pt x="416" y="7501"/>
                    <a:pt x="931" y="7501"/>
                  </a:cubicBezTo>
                  <a:lnTo>
                    <a:pt x="12088" y="7501"/>
                  </a:lnTo>
                  <a:cubicBezTo>
                    <a:pt x="12603" y="7501"/>
                    <a:pt x="13018" y="7085"/>
                    <a:pt x="13018" y="6571"/>
                  </a:cubicBezTo>
                  <a:lnTo>
                    <a:pt x="13018" y="4650"/>
                  </a:lnTo>
                  <a:cubicBezTo>
                    <a:pt x="13018" y="2828"/>
                    <a:pt x="12261" y="1183"/>
                    <a:pt x="11050" y="0"/>
                  </a:cubicBezTo>
                  <a:cubicBezTo>
                    <a:pt x="9876" y="1147"/>
                    <a:pt x="8277" y="1860"/>
                    <a:pt x="6509" y="1860"/>
                  </a:cubicBezTo>
                  <a:cubicBezTo>
                    <a:pt x="4743" y="1860"/>
                    <a:pt x="3142" y="1147"/>
                    <a:pt x="1969" y="0"/>
                  </a:cubicBezTo>
                  <a:close/>
                </a:path>
              </a:pathLst>
            </a:custGeom>
            <a:solidFill>
              <a:schemeClr val="lt1"/>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32" name="Google Shape;589;p22">
              <a:extLst>
                <a:ext uri="{FF2B5EF4-FFF2-40B4-BE49-F238E27FC236}">
                  <a16:creationId xmlns:a16="http://schemas.microsoft.com/office/drawing/2014/main" id="{5016ED2D-6826-7EC5-6290-C9163596401A}"/>
                </a:ext>
              </a:extLst>
            </p:cNvPr>
            <p:cNvSpPr/>
            <p:nvPr/>
          </p:nvSpPr>
          <p:spPr>
            <a:xfrm>
              <a:off x="6345365" y="2633551"/>
              <a:ext cx="180983" cy="104297"/>
            </a:xfrm>
            <a:custGeom>
              <a:avLst/>
              <a:gdLst/>
              <a:ahLst/>
              <a:cxnLst/>
              <a:rect l="l" t="t" r="r" b="b"/>
              <a:pathLst>
                <a:path w="13018" h="7502" extrusionOk="0">
                  <a:moveTo>
                    <a:pt x="1968" y="0"/>
                  </a:moveTo>
                  <a:cubicBezTo>
                    <a:pt x="757" y="1183"/>
                    <a:pt x="0" y="2828"/>
                    <a:pt x="0" y="4650"/>
                  </a:cubicBezTo>
                  <a:lnTo>
                    <a:pt x="0" y="6571"/>
                  </a:lnTo>
                  <a:cubicBezTo>
                    <a:pt x="0" y="7085"/>
                    <a:pt x="415" y="7501"/>
                    <a:pt x="931" y="7501"/>
                  </a:cubicBezTo>
                  <a:lnTo>
                    <a:pt x="12087" y="7501"/>
                  </a:lnTo>
                  <a:cubicBezTo>
                    <a:pt x="12601" y="7501"/>
                    <a:pt x="13018" y="7085"/>
                    <a:pt x="13018" y="6571"/>
                  </a:cubicBezTo>
                  <a:lnTo>
                    <a:pt x="13018" y="4650"/>
                  </a:lnTo>
                  <a:cubicBezTo>
                    <a:pt x="13018" y="2828"/>
                    <a:pt x="12260" y="1183"/>
                    <a:pt x="11050" y="0"/>
                  </a:cubicBezTo>
                  <a:cubicBezTo>
                    <a:pt x="9876" y="1147"/>
                    <a:pt x="8275" y="1860"/>
                    <a:pt x="6509" y="1860"/>
                  </a:cubicBezTo>
                  <a:cubicBezTo>
                    <a:pt x="4742" y="1860"/>
                    <a:pt x="3142" y="1147"/>
                    <a:pt x="1968" y="0"/>
                  </a:cubicBezTo>
                  <a:close/>
                </a:path>
              </a:pathLst>
            </a:custGeom>
            <a:solidFill>
              <a:schemeClr val="lt1"/>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sp>
          <p:nvSpPr>
            <p:cNvPr id="33" name="Google Shape;590;p22">
              <a:extLst>
                <a:ext uri="{FF2B5EF4-FFF2-40B4-BE49-F238E27FC236}">
                  <a16:creationId xmlns:a16="http://schemas.microsoft.com/office/drawing/2014/main" id="{83679389-1C71-3DA6-B4AB-6C94CCE1DA0D}"/>
                </a:ext>
              </a:extLst>
            </p:cNvPr>
            <p:cNvSpPr/>
            <p:nvPr/>
          </p:nvSpPr>
          <p:spPr>
            <a:xfrm>
              <a:off x="6345365" y="2323302"/>
              <a:ext cx="168388" cy="155153"/>
            </a:xfrm>
            <a:custGeom>
              <a:avLst/>
              <a:gdLst/>
              <a:ahLst/>
              <a:cxnLst/>
              <a:rect l="l" t="t" r="r" b="b"/>
              <a:pathLst>
                <a:path w="12112" h="11160" extrusionOk="0">
                  <a:moveTo>
                    <a:pt x="2790" y="1"/>
                  </a:moveTo>
                  <a:cubicBezTo>
                    <a:pt x="1251" y="1"/>
                    <a:pt x="0" y="1253"/>
                    <a:pt x="0" y="2791"/>
                  </a:cubicBezTo>
                  <a:lnTo>
                    <a:pt x="0" y="8369"/>
                  </a:lnTo>
                  <a:cubicBezTo>
                    <a:pt x="0" y="9907"/>
                    <a:pt x="1251" y="11159"/>
                    <a:pt x="2790" y="11159"/>
                  </a:cubicBezTo>
                  <a:lnTo>
                    <a:pt x="12112" y="11159"/>
                  </a:lnTo>
                  <a:cubicBezTo>
                    <a:pt x="11521" y="10380"/>
                    <a:pt x="11158" y="9420"/>
                    <a:pt x="11158" y="8369"/>
                  </a:cubicBezTo>
                  <a:lnTo>
                    <a:pt x="11158" y="5579"/>
                  </a:lnTo>
                  <a:lnTo>
                    <a:pt x="4650" y="5579"/>
                  </a:lnTo>
                  <a:cubicBezTo>
                    <a:pt x="4136" y="5579"/>
                    <a:pt x="3719" y="5164"/>
                    <a:pt x="3719" y="4650"/>
                  </a:cubicBezTo>
                  <a:cubicBezTo>
                    <a:pt x="3719" y="4137"/>
                    <a:pt x="4136" y="3720"/>
                    <a:pt x="4650" y="3720"/>
                  </a:cubicBezTo>
                  <a:lnTo>
                    <a:pt x="11158" y="3720"/>
                  </a:lnTo>
                  <a:lnTo>
                    <a:pt x="11158" y="931"/>
                  </a:lnTo>
                  <a:cubicBezTo>
                    <a:pt x="11158" y="612"/>
                    <a:pt x="11190" y="301"/>
                    <a:pt x="11252" y="1"/>
                  </a:cubicBezTo>
                  <a:close/>
                </a:path>
              </a:pathLst>
            </a:custGeom>
            <a:solidFill>
              <a:schemeClr val="lt1"/>
            </a:solidFill>
            <a:ln>
              <a:noFill/>
            </a:ln>
          </p:spPr>
          <p:txBody>
            <a:bodyPr spcFirstLastPara="1" wrap="square" lIns="85711" tIns="85711" rIns="85711" bIns="85711" anchor="ctr" anchorCtr="0">
              <a:noAutofit/>
            </a:bodyPr>
            <a:lstStyle/>
            <a:p>
              <a:pPr defTabSz="1219170" fontAlgn="base">
                <a:defRPr/>
              </a:pPr>
              <a:endParaRPr sz="2625" dirty="0">
                <a:solidFill>
                  <a:srgbClr val="000000"/>
                </a:solidFill>
                <a:latin typeface="Arial" panose="020B0604020202020204"/>
              </a:endParaRPr>
            </a:p>
          </p:txBody>
        </p:sp>
        <p:grpSp>
          <p:nvGrpSpPr>
            <p:cNvPr id="34" name="Group 2">
              <a:extLst>
                <a:ext uri="{FF2B5EF4-FFF2-40B4-BE49-F238E27FC236}">
                  <a16:creationId xmlns:a16="http://schemas.microsoft.com/office/drawing/2014/main" id="{27B0D241-84C1-B32C-4048-6867748AB078}"/>
                </a:ext>
              </a:extLst>
            </p:cNvPr>
            <p:cNvGrpSpPr/>
            <p:nvPr/>
          </p:nvGrpSpPr>
          <p:grpSpPr>
            <a:xfrm>
              <a:off x="3953260" y="1686477"/>
              <a:ext cx="4077421" cy="3677396"/>
              <a:chOff x="-140396" y="0"/>
              <a:chExt cx="5517431" cy="5282469"/>
            </a:xfrm>
            <a:gradFill flip="none" rotWithShape="1">
              <a:gsLst>
                <a:gs pos="54000">
                  <a:srgbClr val="CBC9AA"/>
                </a:gs>
                <a:gs pos="38000">
                  <a:schemeClr val="accent3">
                    <a:lumMod val="20000"/>
                    <a:lumOff val="80000"/>
                  </a:schemeClr>
                </a:gs>
                <a:gs pos="9000">
                  <a:srgbClr val="69BAFF"/>
                </a:gs>
                <a:gs pos="96000">
                  <a:srgbClr val="9EC97F"/>
                </a:gs>
              </a:gsLst>
              <a:lin ang="13500000" scaled="1"/>
              <a:tileRect/>
            </a:gradFill>
          </p:grpSpPr>
          <p:grpSp>
            <p:nvGrpSpPr>
              <p:cNvPr id="54" name="Group 3">
                <a:extLst>
                  <a:ext uri="{FF2B5EF4-FFF2-40B4-BE49-F238E27FC236}">
                    <a16:creationId xmlns:a16="http://schemas.microsoft.com/office/drawing/2014/main" id="{85FF985A-BF8F-1859-2172-0D6A38A63094}"/>
                  </a:ext>
                </a:extLst>
              </p:cNvPr>
              <p:cNvGrpSpPr>
                <a:grpSpLocks noChangeAspect="1"/>
              </p:cNvGrpSpPr>
              <p:nvPr/>
            </p:nvGrpSpPr>
            <p:grpSpPr>
              <a:xfrm>
                <a:off x="-140396" y="0"/>
                <a:ext cx="5517431" cy="5282469"/>
                <a:chOff x="-68098" y="0"/>
                <a:chExt cx="2676196" cy="2562228"/>
              </a:xfrm>
              <a:grpFill/>
            </p:grpSpPr>
            <p:sp>
              <p:nvSpPr>
                <p:cNvPr id="55" name="Freeform 4">
                  <a:extLst>
                    <a:ext uri="{FF2B5EF4-FFF2-40B4-BE49-F238E27FC236}">
                      <a16:creationId xmlns:a16="http://schemas.microsoft.com/office/drawing/2014/main" id="{0653F32D-4CB2-C835-F0D8-A614A011ECC6}"/>
                    </a:ext>
                  </a:extLst>
                </p:cNvPr>
                <p:cNvSpPr/>
                <p:nvPr/>
              </p:nvSpPr>
              <p:spPr>
                <a:xfrm>
                  <a:off x="1270000" y="0"/>
                  <a:ext cx="1130215" cy="1270000"/>
                </a:xfrm>
                <a:custGeom>
                  <a:avLst/>
                  <a:gdLst/>
                  <a:ahLst/>
                  <a:cxnLst/>
                  <a:rect l="l" t="t" r="r" b="b"/>
                  <a:pathLst>
                    <a:path w="1130215" h="1270000">
                      <a:moveTo>
                        <a:pt x="0" y="0"/>
                      </a:moveTo>
                      <a:cubicBezTo>
                        <a:pt x="476491" y="0"/>
                        <a:pt x="912891" y="266718"/>
                        <a:pt x="1130215" y="690763"/>
                      </a:cubicBezTo>
                      <a:lnTo>
                        <a:pt x="0" y="1270000"/>
                      </a:lnTo>
                      <a:close/>
                    </a:path>
                  </a:pathLst>
                </a:custGeom>
                <a:grpFill/>
              </p:spPr>
              <p:txBody>
                <a:bodyPr/>
                <a:lstStyle/>
                <a:p>
                  <a:endParaRPr lang="en-US" dirty="0"/>
                </a:p>
              </p:txBody>
            </p:sp>
            <p:sp>
              <p:nvSpPr>
                <p:cNvPr id="57" name="Freeform 5">
                  <a:extLst>
                    <a:ext uri="{FF2B5EF4-FFF2-40B4-BE49-F238E27FC236}">
                      <a16:creationId xmlns:a16="http://schemas.microsoft.com/office/drawing/2014/main" id="{4085CCB7-7C94-56F8-68D1-5CA064DE0CF4}"/>
                    </a:ext>
                  </a:extLst>
                </p:cNvPr>
                <p:cNvSpPr/>
                <p:nvPr/>
              </p:nvSpPr>
              <p:spPr>
                <a:xfrm>
                  <a:off x="1270000" y="635000"/>
                  <a:ext cx="1338098" cy="1324176"/>
                </a:xfrm>
                <a:custGeom>
                  <a:avLst/>
                  <a:gdLst/>
                  <a:ahLst/>
                  <a:cxnLst/>
                  <a:rect l="l" t="t" r="r" b="b"/>
                  <a:pathLst>
                    <a:path w="1338098" h="1324176">
                      <a:moveTo>
                        <a:pt x="1099852" y="0"/>
                      </a:moveTo>
                      <a:cubicBezTo>
                        <a:pt x="1338098" y="412653"/>
                        <a:pt x="1325313" y="923946"/>
                        <a:pt x="1066741" y="1324176"/>
                      </a:cubicBezTo>
                      <a:lnTo>
                        <a:pt x="0" y="635000"/>
                      </a:lnTo>
                      <a:close/>
                    </a:path>
                  </a:pathLst>
                </a:custGeom>
                <a:grpFill/>
              </p:spPr>
              <p:txBody>
                <a:bodyPr/>
                <a:lstStyle/>
                <a:p>
                  <a:endParaRPr lang="en-US" dirty="0"/>
                </a:p>
              </p:txBody>
            </p:sp>
            <p:sp>
              <p:nvSpPr>
                <p:cNvPr id="58" name="Freeform 6">
                  <a:extLst>
                    <a:ext uri="{FF2B5EF4-FFF2-40B4-BE49-F238E27FC236}">
                      <a16:creationId xmlns:a16="http://schemas.microsoft.com/office/drawing/2014/main" id="{06C8BAA1-AB61-86C5-2798-C41476AD2B4C}"/>
                    </a:ext>
                  </a:extLst>
                </p:cNvPr>
                <p:cNvSpPr/>
                <p:nvPr/>
              </p:nvSpPr>
              <p:spPr>
                <a:xfrm>
                  <a:off x="1206526" y="1270000"/>
                  <a:ext cx="1163326" cy="1292228"/>
                </a:xfrm>
                <a:custGeom>
                  <a:avLst/>
                  <a:gdLst/>
                  <a:ahLst/>
                  <a:cxnLst/>
                  <a:rect l="l" t="t" r="r" b="b"/>
                  <a:pathLst>
                    <a:path w="1163326" h="1292228">
                      <a:moveTo>
                        <a:pt x="1163326" y="635000"/>
                      </a:moveTo>
                      <a:cubicBezTo>
                        <a:pt x="925081" y="1047653"/>
                        <a:pt x="475896" y="1292228"/>
                        <a:pt x="0" y="1268413"/>
                      </a:cubicBezTo>
                      <a:lnTo>
                        <a:pt x="63474" y="0"/>
                      </a:lnTo>
                      <a:close/>
                    </a:path>
                  </a:pathLst>
                </a:custGeom>
                <a:grpFill/>
              </p:spPr>
              <p:txBody>
                <a:bodyPr/>
                <a:lstStyle/>
                <a:p>
                  <a:endParaRPr lang="en-US" dirty="0"/>
                </a:p>
              </p:txBody>
            </p:sp>
            <p:sp>
              <p:nvSpPr>
                <p:cNvPr id="59" name="Freeform 7">
                  <a:extLst>
                    <a:ext uri="{FF2B5EF4-FFF2-40B4-BE49-F238E27FC236}">
                      <a16:creationId xmlns:a16="http://schemas.microsoft.com/office/drawing/2014/main" id="{DEC13078-6B44-6501-320D-24835EC8182D}"/>
                    </a:ext>
                  </a:extLst>
                </p:cNvPr>
                <p:cNvSpPr/>
                <p:nvPr/>
              </p:nvSpPr>
              <p:spPr>
                <a:xfrm>
                  <a:off x="139785" y="1270000"/>
                  <a:ext cx="1130215" cy="1270000"/>
                </a:xfrm>
                <a:custGeom>
                  <a:avLst/>
                  <a:gdLst/>
                  <a:ahLst/>
                  <a:cxnLst/>
                  <a:rect l="l" t="t" r="r" b="b"/>
                  <a:pathLst>
                    <a:path w="1130215" h="1270000">
                      <a:moveTo>
                        <a:pt x="1130215" y="1270000"/>
                      </a:moveTo>
                      <a:cubicBezTo>
                        <a:pt x="653724" y="1270000"/>
                        <a:pt x="217324" y="1003282"/>
                        <a:pt x="0" y="579237"/>
                      </a:cubicBezTo>
                      <a:lnTo>
                        <a:pt x="1130215" y="0"/>
                      </a:lnTo>
                      <a:close/>
                    </a:path>
                  </a:pathLst>
                </a:custGeom>
                <a:grpFill/>
              </p:spPr>
              <p:txBody>
                <a:bodyPr/>
                <a:lstStyle/>
                <a:p>
                  <a:endParaRPr lang="en-US" dirty="0"/>
                </a:p>
              </p:txBody>
            </p:sp>
            <p:sp>
              <p:nvSpPr>
                <p:cNvPr id="60" name="Freeform 8">
                  <a:extLst>
                    <a:ext uri="{FF2B5EF4-FFF2-40B4-BE49-F238E27FC236}">
                      <a16:creationId xmlns:a16="http://schemas.microsoft.com/office/drawing/2014/main" id="{E253AC01-D7A3-895B-C2DB-79D9820EB7A5}"/>
                    </a:ext>
                  </a:extLst>
                </p:cNvPr>
                <p:cNvSpPr/>
                <p:nvPr/>
              </p:nvSpPr>
              <p:spPr>
                <a:xfrm>
                  <a:off x="-68098" y="580824"/>
                  <a:ext cx="1338098" cy="1324176"/>
                </a:xfrm>
                <a:custGeom>
                  <a:avLst/>
                  <a:gdLst/>
                  <a:ahLst/>
                  <a:cxnLst/>
                  <a:rect l="l" t="t" r="r" b="b"/>
                  <a:pathLst>
                    <a:path w="1338098" h="1324176">
                      <a:moveTo>
                        <a:pt x="238246" y="1324176"/>
                      </a:moveTo>
                      <a:cubicBezTo>
                        <a:pt x="0" y="911523"/>
                        <a:pt x="12785" y="400230"/>
                        <a:pt x="271357" y="0"/>
                      </a:cubicBezTo>
                      <a:lnTo>
                        <a:pt x="1338098" y="689176"/>
                      </a:lnTo>
                      <a:close/>
                    </a:path>
                  </a:pathLst>
                </a:custGeom>
                <a:grpFill/>
              </p:spPr>
              <p:txBody>
                <a:bodyPr/>
                <a:lstStyle/>
                <a:p>
                  <a:endParaRPr lang="en-US" dirty="0"/>
                </a:p>
              </p:txBody>
            </p:sp>
            <p:sp>
              <p:nvSpPr>
                <p:cNvPr id="61" name="Freeform 9">
                  <a:extLst>
                    <a:ext uri="{FF2B5EF4-FFF2-40B4-BE49-F238E27FC236}">
                      <a16:creationId xmlns:a16="http://schemas.microsoft.com/office/drawing/2014/main" id="{B009C5D9-3247-CC17-B948-02143A2418A8}"/>
                    </a:ext>
                  </a:extLst>
                </p:cNvPr>
                <p:cNvSpPr/>
                <p:nvPr/>
              </p:nvSpPr>
              <p:spPr>
                <a:xfrm>
                  <a:off x="170148" y="0"/>
                  <a:ext cx="1099852" cy="1270000"/>
                </a:xfrm>
                <a:custGeom>
                  <a:avLst/>
                  <a:gdLst/>
                  <a:ahLst/>
                  <a:cxnLst/>
                  <a:rect l="l" t="t" r="r" b="b"/>
                  <a:pathLst>
                    <a:path w="1099852" h="1270000">
                      <a:moveTo>
                        <a:pt x="0" y="635000"/>
                      </a:moveTo>
                      <a:cubicBezTo>
                        <a:pt x="226841" y="242100"/>
                        <a:pt x="646043" y="45"/>
                        <a:pt x="1099725" y="0"/>
                      </a:cubicBezTo>
                      <a:lnTo>
                        <a:pt x="1099852" y="1270000"/>
                      </a:lnTo>
                      <a:close/>
                    </a:path>
                  </a:pathLst>
                </a:custGeom>
                <a:grpFill/>
              </p:spPr>
              <p:txBody>
                <a:bodyPr/>
                <a:lstStyle/>
                <a:p>
                  <a:endParaRPr lang="en-US" dirty="0"/>
                </a:p>
              </p:txBody>
            </p:sp>
            <p:sp>
              <p:nvSpPr>
                <p:cNvPr id="62" name="Freeform 10">
                  <a:extLst>
                    <a:ext uri="{FF2B5EF4-FFF2-40B4-BE49-F238E27FC236}">
                      <a16:creationId xmlns:a16="http://schemas.microsoft.com/office/drawing/2014/main" id="{39B9234C-F2F5-0455-B501-AC8C29883F9D}"/>
                    </a:ext>
                  </a:extLst>
                </p:cNvPr>
                <p:cNvSpPr/>
                <p:nvPr/>
              </p:nvSpPr>
              <p:spPr>
                <a:xfrm>
                  <a:off x="1270000" y="0"/>
                  <a:ext cx="127" cy="1270000"/>
                </a:xfrm>
                <a:custGeom>
                  <a:avLst/>
                  <a:gdLst/>
                  <a:ahLst/>
                  <a:cxnLst/>
                  <a:rect l="l" t="t" r="r" b="b"/>
                  <a:pathLst>
                    <a:path w="127" h="1270000">
                      <a:moveTo>
                        <a:pt x="0" y="0"/>
                      </a:moveTo>
                      <a:cubicBezTo>
                        <a:pt x="42" y="0"/>
                        <a:pt x="85" y="0"/>
                        <a:pt x="127" y="0"/>
                      </a:cubicBezTo>
                      <a:lnTo>
                        <a:pt x="0" y="1270000"/>
                      </a:lnTo>
                      <a:close/>
                    </a:path>
                  </a:pathLst>
                </a:custGeom>
                <a:grpFill/>
              </p:spPr>
              <p:txBody>
                <a:bodyPr/>
                <a:lstStyle/>
                <a:p>
                  <a:endParaRPr lang="en-US" dirty="0"/>
                </a:p>
              </p:txBody>
            </p:sp>
          </p:grpSp>
        </p:grpSp>
        <p:grpSp>
          <p:nvGrpSpPr>
            <p:cNvPr id="35" name="Group 11">
              <a:extLst>
                <a:ext uri="{FF2B5EF4-FFF2-40B4-BE49-F238E27FC236}">
                  <a16:creationId xmlns:a16="http://schemas.microsoft.com/office/drawing/2014/main" id="{78BEF0EB-4721-45D0-AFD7-A7BC484269DF}"/>
                </a:ext>
              </a:extLst>
            </p:cNvPr>
            <p:cNvGrpSpPr/>
            <p:nvPr/>
          </p:nvGrpSpPr>
          <p:grpSpPr>
            <a:xfrm>
              <a:off x="4365391" y="1970104"/>
              <a:ext cx="3253165" cy="3078243"/>
              <a:chOff x="14167" y="0"/>
              <a:chExt cx="6321665" cy="6350000"/>
            </a:xfrm>
          </p:grpSpPr>
          <p:sp>
            <p:nvSpPr>
              <p:cNvPr id="53" name="Freeform 12">
                <a:extLst>
                  <a:ext uri="{FF2B5EF4-FFF2-40B4-BE49-F238E27FC236}">
                    <a16:creationId xmlns:a16="http://schemas.microsoft.com/office/drawing/2014/main" id="{1EC48D83-D197-BE07-3AB4-8F1AEDB629EB}"/>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ysClr val="window" lastClr="FFFFFF"/>
              </a:solidFill>
            </p:spPr>
            <p:txBody>
              <a:bodyPr/>
              <a:lstStyle/>
              <a:p>
                <a:endParaRPr lang="en-US" dirty="0"/>
              </a:p>
            </p:txBody>
          </p:sp>
        </p:grpSp>
        <p:sp>
          <p:nvSpPr>
            <p:cNvPr id="36" name="TextBox 21">
              <a:extLst>
                <a:ext uri="{FF2B5EF4-FFF2-40B4-BE49-F238E27FC236}">
                  <a16:creationId xmlns:a16="http://schemas.microsoft.com/office/drawing/2014/main" id="{ACC6A7A4-05B8-5401-F888-15E0392E631E}"/>
                </a:ext>
              </a:extLst>
            </p:cNvPr>
            <p:cNvSpPr txBox="1"/>
            <p:nvPr/>
          </p:nvSpPr>
          <p:spPr>
            <a:xfrm>
              <a:off x="4955948" y="3049195"/>
              <a:ext cx="2182849" cy="728209"/>
            </a:xfrm>
            <a:prstGeom prst="rect">
              <a:avLst/>
            </a:prstGeom>
          </p:spPr>
          <p:txBody>
            <a:bodyPr wrap="square" lIns="0" tIns="0" rIns="0" bIns="0" rtlCol="0" anchor="t">
              <a:spAutoFit/>
            </a:bodyPr>
            <a:lstStyle/>
            <a:p>
              <a:pPr algn="ctr" defTabSz="1219170">
                <a:lnSpc>
                  <a:spcPts val="4620"/>
                </a:lnSpc>
                <a:defRPr/>
              </a:pPr>
              <a:r>
                <a:rPr lang="en-US" sz="2000" b="1" kern="0" dirty="0">
                  <a:solidFill>
                    <a:schemeClr val="tx2"/>
                  </a:solidFill>
                  <a:latin typeface="Arial" panose="020B0604020202020204"/>
                </a:rPr>
                <a:t>Resilience</a:t>
              </a:r>
            </a:p>
          </p:txBody>
        </p:sp>
        <p:sp>
          <p:nvSpPr>
            <p:cNvPr id="37" name="Rectangle: Rounded Corners 36">
              <a:extLst>
                <a:ext uri="{FF2B5EF4-FFF2-40B4-BE49-F238E27FC236}">
                  <a16:creationId xmlns:a16="http://schemas.microsoft.com/office/drawing/2014/main" id="{91069A5B-CF08-1278-8464-24BB48A97972}"/>
                </a:ext>
              </a:extLst>
            </p:cNvPr>
            <p:cNvSpPr/>
            <p:nvPr/>
          </p:nvSpPr>
          <p:spPr>
            <a:xfrm>
              <a:off x="1215124" y="2616396"/>
              <a:ext cx="2090696" cy="773610"/>
            </a:xfrm>
            <a:prstGeom prst="roundRect">
              <a:avLst/>
            </a:prstGeom>
            <a:solidFill>
              <a:srgbClr val="30481F"/>
            </a:solidFill>
            <a:ln w="25400" cap="flat" cmpd="sng" algn="ctr">
              <a:solidFill>
                <a:sysClr val="window" lastClr="FFFFFF"/>
              </a:solidFill>
              <a:prstDash val="solid"/>
            </a:ln>
            <a:effectLst/>
          </p:spPr>
          <p:txBody>
            <a:bodyPr rtlCol="0" anchor="ctr"/>
            <a:lstStyle/>
            <a:p>
              <a:pPr algn="ctr" defTabSz="1219170">
                <a:defRPr/>
              </a:pPr>
              <a:r>
                <a:rPr lang="en-US" sz="1100" b="1" kern="0" dirty="0">
                  <a:solidFill>
                    <a:prstClr val="white"/>
                  </a:solidFill>
                  <a:latin typeface="Arial" panose="020B0604020202020204"/>
                </a:rPr>
                <a:t>Task-Oriented Delegation Process</a:t>
              </a:r>
            </a:p>
          </p:txBody>
        </p:sp>
        <p:sp>
          <p:nvSpPr>
            <p:cNvPr id="38" name="Freeform 14">
              <a:extLst>
                <a:ext uri="{FF2B5EF4-FFF2-40B4-BE49-F238E27FC236}">
                  <a16:creationId xmlns:a16="http://schemas.microsoft.com/office/drawing/2014/main" id="{AC308AE3-A2F4-D40E-C22F-8088787ACA37}"/>
                </a:ext>
              </a:extLst>
            </p:cNvPr>
            <p:cNvSpPr/>
            <p:nvPr/>
          </p:nvSpPr>
          <p:spPr>
            <a:xfrm>
              <a:off x="3629073" y="2569426"/>
              <a:ext cx="1003052" cy="949119"/>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275317"/>
            </a:solidFill>
            <a:ln w="38100">
              <a:solidFill>
                <a:schemeClr val="bg1"/>
              </a:solidFill>
            </a:ln>
          </p:spPr>
          <p:txBody>
            <a:bodyPr/>
            <a:lstStyle/>
            <a:p>
              <a:pPr defTabSz="1219170">
                <a:defRPr/>
              </a:pPr>
              <a:endParaRPr lang="en-US" sz="1867" kern="0" dirty="0">
                <a:solidFill>
                  <a:prstClr val="black"/>
                </a:solidFill>
                <a:latin typeface="Arial" panose="020B0604020202020204"/>
              </a:endParaRPr>
            </a:p>
          </p:txBody>
        </p:sp>
        <p:pic>
          <p:nvPicPr>
            <p:cNvPr id="39" name="Picture 25">
              <a:extLst>
                <a:ext uri="{FF2B5EF4-FFF2-40B4-BE49-F238E27FC236}">
                  <a16:creationId xmlns:a16="http://schemas.microsoft.com/office/drawing/2014/main" id="{348E3CF5-FE77-7176-AB4E-24F2BF9E080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3874317" y="2833692"/>
              <a:ext cx="506072" cy="349200"/>
            </a:xfrm>
            <a:prstGeom prst="rect">
              <a:avLst/>
            </a:prstGeom>
          </p:spPr>
        </p:pic>
        <p:sp>
          <p:nvSpPr>
            <p:cNvPr id="40" name="Freeform 18">
              <a:extLst>
                <a:ext uri="{FF2B5EF4-FFF2-40B4-BE49-F238E27FC236}">
                  <a16:creationId xmlns:a16="http://schemas.microsoft.com/office/drawing/2014/main" id="{B3C9A98A-4756-CDEB-F987-4E09EF2AED79}"/>
                </a:ext>
              </a:extLst>
            </p:cNvPr>
            <p:cNvSpPr/>
            <p:nvPr/>
          </p:nvSpPr>
          <p:spPr>
            <a:xfrm>
              <a:off x="4361375" y="4401495"/>
              <a:ext cx="1003052" cy="949119"/>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0074A6"/>
            </a:solidFill>
            <a:ln w="38100">
              <a:solidFill>
                <a:schemeClr val="bg1"/>
              </a:solidFill>
            </a:ln>
          </p:spPr>
          <p:txBody>
            <a:bodyPr/>
            <a:lstStyle/>
            <a:p>
              <a:pPr defTabSz="1219170">
                <a:defRPr/>
              </a:pPr>
              <a:endParaRPr lang="en-US" sz="1867" kern="0" dirty="0">
                <a:solidFill>
                  <a:prstClr val="black"/>
                </a:solidFill>
                <a:latin typeface="Arial" panose="020B0604020202020204"/>
              </a:endParaRPr>
            </a:p>
          </p:txBody>
        </p:sp>
        <p:sp>
          <p:nvSpPr>
            <p:cNvPr id="41" name="Rectangle: Rounded Corners 40">
              <a:extLst>
                <a:ext uri="{FF2B5EF4-FFF2-40B4-BE49-F238E27FC236}">
                  <a16:creationId xmlns:a16="http://schemas.microsoft.com/office/drawing/2014/main" id="{4C526A59-6231-2579-E000-AF475C890E8A}"/>
                </a:ext>
              </a:extLst>
            </p:cNvPr>
            <p:cNvSpPr/>
            <p:nvPr/>
          </p:nvSpPr>
          <p:spPr>
            <a:xfrm>
              <a:off x="2907912" y="5478418"/>
              <a:ext cx="2090696" cy="817398"/>
            </a:xfrm>
            <a:prstGeom prst="roundRect">
              <a:avLst/>
            </a:prstGeom>
            <a:solidFill>
              <a:srgbClr val="0074A6"/>
            </a:solidFill>
            <a:ln w="25400" cap="flat" cmpd="sng" algn="ctr">
              <a:noFill/>
              <a:prstDash val="solid"/>
            </a:ln>
            <a:effectLst/>
          </p:spPr>
          <p:txBody>
            <a:bodyPr rtlCol="0" anchor="ctr"/>
            <a:lstStyle/>
            <a:p>
              <a:pPr algn="ctr" defTabSz="1219170">
                <a:defRPr/>
              </a:pPr>
              <a:r>
                <a:rPr lang="en-US" sz="1100" b="1" kern="0" dirty="0">
                  <a:solidFill>
                    <a:prstClr val="white"/>
                  </a:solidFill>
                  <a:latin typeface="Arial" panose="020B0604020202020204"/>
                </a:rPr>
                <a:t>Data-Informed Decision-Making </a:t>
              </a:r>
            </a:p>
          </p:txBody>
        </p:sp>
        <p:pic>
          <p:nvPicPr>
            <p:cNvPr id="42" name="Picture 38" descr="Chat with solid fill">
              <a:extLst>
                <a:ext uri="{FF2B5EF4-FFF2-40B4-BE49-F238E27FC236}">
                  <a16:creationId xmlns:a16="http://schemas.microsoft.com/office/drawing/2014/main" id="{2D62DBC5-29DC-4D3D-655D-2220CE68900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562039" y="4611019"/>
              <a:ext cx="637359" cy="637359"/>
            </a:xfrm>
            <a:prstGeom prst="rect">
              <a:avLst/>
            </a:prstGeom>
          </p:spPr>
        </p:pic>
        <p:pic>
          <p:nvPicPr>
            <p:cNvPr id="43" name="Picture 15">
              <a:extLst>
                <a:ext uri="{FF2B5EF4-FFF2-40B4-BE49-F238E27FC236}">
                  <a16:creationId xmlns:a16="http://schemas.microsoft.com/office/drawing/2014/main" id="{B69D5716-5111-6106-3FE2-0F4913999B0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p:blipFill>
          <p:spPr>
            <a:xfrm>
              <a:off x="6623356" y="4674806"/>
              <a:ext cx="448090" cy="495137"/>
            </a:xfrm>
            <a:prstGeom prst="rect">
              <a:avLst/>
            </a:prstGeom>
          </p:spPr>
        </p:pic>
        <p:sp>
          <p:nvSpPr>
            <p:cNvPr id="44" name="Rectangle: Rounded Corners 43">
              <a:extLst>
                <a:ext uri="{FF2B5EF4-FFF2-40B4-BE49-F238E27FC236}">
                  <a16:creationId xmlns:a16="http://schemas.microsoft.com/office/drawing/2014/main" id="{03D7F501-8753-5D8A-4447-FADE7C46258E}"/>
                </a:ext>
              </a:extLst>
            </p:cNvPr>
            <p:cNvSpPr/>
            <p:nvPr/>
          </p:nvSpPr>
          <p:spPr>
            <a:xfrm>
              <a:off x="4831247" y="285460"/>
              <a:ext cx="2090696" cy="817399"/>
            </a:xfrm>
            <a:prstGeom prst="roundRect">
              <a:avLst/>
            </a:prstGeom>
            <a:solidFill>
              <a:srgbClr val="B21941"/>
            </a:solidFill>
            <a:ln w="25400" cap="flat" cmpd="sng" algn="ctr">
              <a:solidFill>
                <a:sysClr val="window" lastClr="FFFFFF"/>
              </a:solidFill>
              <a:prstDash val="solid"/>
            </a:ln>
            <a:effectLst/>
          </p:spPr>
          <p:txBody>
            <a:bodyPr rtlCol="0" anchor="ctr"/>
            <a:lstStyle/>
            <a:p>
              <a:pPr algn="ctr" defTabSz="1219170">
                <a:defRPr/>
              </a:pPr>
              <a:r>
                <a:rPr lang="en-US" sz="1100" b="1" kern="0" dirty="0">
                  <a:solidFill>
                    <a:prstClr val="white"/>
                  </a:solidFill>
                  <a:latin typeface="Arial" panose="020B0604020202020204"/>
                </a:rPr>
                <a:t>Adaptive Leadership</a:t>
              </a:r>
            </a:p>
          </p:txBody>
        </p:sp>
        <p:sp>
          <p:nvSpPr>
            <p:cNvPr id="45" name="Freeform 20">
              <a:extLst>
                <a:ext uri="{FF2B5EF4-FFF2-40B4-BE49-F238E27FC236}">
                  <a16:creationId xmlns:a16="http://schemas.microsoft.com/office/drawing/2014/main" id="{887732E0-1A56-B48F-1279-314932710AC2}"/>
                </a:ext>
              </a:extLst>
            </p:cNvPr>
            <p:cNvSpPr/>
            <p:nvPr/>
          </p:nvSpPr>
          <p:spPr>
            <a:xfrm rot="10800000">
              <a:off x="5390020" y="1265525"/>
              <a:ext cx="1003052" cy="949119"/>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B21941"/>
            </a:solidFill>
            <a:ln w="38100">
              <a:solidFill>
                <a:schemeClr val="bg1"/>
              </a:solidFill>
            </a:ln>
          </p:spPr>
          <p:txBody>
            <a:bodyPr/>
            <a:lstStyle/>
            <a:p>
              <a:pPr defTabSz="1219170">
                <a:defRPr/>
              </a:pPr>
              <a:endParaRPr lang="en-US" sz="1867" kern="0" dirty="0">
                <a:solidFill>
                  <a:prstClr val="black"/>
                </a:solidFill>
                <a:latin typeface="Arial" panose="020B0604020202020204"/>
              </a:endParaRPr>
            </a:p>
          </p:txBody>
        </p:sp>
        <p:pic>
          <p:nvPicPr>
            <p:cNvPr id="46" name="Picture 5" descr="Lightbulb and gear outline">
              <a:extLst>
                <a:ext uri="{FF2B5EF4-FFF2-40B4-BE49-F238E27FC236}">
                  <a16:creationId xmlns:a16="http://schemas.microsoft.com/office/drawing/2014/main" id="{A55C6E05-BBE6-83DD-5F6D-6E4E19C5915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522246" y="1360689"/>
              <a:ext cx="708698" cy="708698"/>
            </a:xfrm>
            <a:prstGeom prst="rect">
              <a:avLst/>
            </a:prstGeom>
          </p:spPr>
        </p:pic>
        <p:sp>
          <p:nvSpPr>
            <p:cNvPr id="47" name="Rectangle: Rounded Corners 46">
              <a:extLst>
                <a:ext uri="{FF2B5EF4-FFF2-40B4-BE49-F238E27FC236}">
                  <a16:creationId xmlns:a16="http://schemas.microsoft.com/office/drawing/2014/main" id="{1487E947-9014-E66C-C720-E840E3C2DBA4}"/>
                </a:ext>
              </a:extLst>
            </p:cNvPr>
            <p:cNvSpPr/>
            <p:nvPr/>
          </p:nvSpPr>
          <p:spPr>
            <a:xfrm>
              <a:off x="8481694" y="2597850"/>
              <a:ext cx="2090695" cy="817399"/>
            </a:xfrm>
            <a:prstGeom prst="roundRect">
              <a:avLst/>
            </a:prstGeom>
            <a:solidFill>
              <a:srgbClr val="71AAE0"/>
            </a:solidFill>
            <a:ln w="25400" cap="flat" cmpd="sng" algn="ctr">
              <a:noFill/>
              <a:prstDash val="solid"/>
            </a:ln>
            <a:effectLst/>
          </p:spPr>
          <p:txBody>
            <a:bodyPr rtlCol="0" anchor="ctr"/>
            <a:lstStyle/>
            <a:p>
              <a:pPr algn="ctr" defTabSz="1219170"/>
              <a:r>
                <a:rPr lang="en-US" sz="1100" b="1" kern="0" dirty="0">
                  <a:solidFill>
                    <a:prstClr val="white"/>
                  </a:solidFill>
                  <a:latin typeface="Arial" panose="020B0604020202020204"/>
                </a:rPr>
                <a:t>Coaching Mindset</a:t>
              </a:r>
            </a:p>
          </p:txBody>
        </p:sp>
        <p:sp>
          <p:nvSpPr>
            <p:cNvPr id="48" name="Freeform 23">
              <a:extLst>
                <a:ext uri="{FF2B5EF4-FFF2-40B4-BE49-F238E27FC236}">
                  <a16:creationId xmlns:a16="http://schemas.microsoft.com/office/drawing/2014/main" id="{0722404B-B1C8-9224-C679-920E72E01F57}"/>
                </a:ext>
              </a:extLst>
            </p:cNvPr>
            <p:cNvSpPr/>
            <p:nvPr/>
          </p:nvSpPr>
          <p:spPr>
            <a:xfrm rot="10800000">
              <a:off x="7227170" y="2506196"/>
              <a:ext cx="1003052" cy="949119"/>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71AAE0"/>
            </a:solidFill>
            <a:ln w="38100">
              <a:solidFill>
                <a:schemeClr val="bg1"/>
              </a:solidFill>
            </a:ln>
          </p:spPr>
          <p:txBody>
            <a:bodyPr/>
            <a:lstStyle/>
            <a:p>
              <a:pPr defTabSz="1219170">
                <a:defRPr/>
              </a:pPr>
              <a:endParaRPr lang="en-US" sz="1867" kern="0" dirty="0">
                <a:solidFill>
                  <a:prstClr val="black"/>
                </a:solidFill>
                <a:latin typeface="Arial" panose="020B0604020202020204"/>
              </a:endParaRPr>
            </a:p>
          </p:txBody>
        </p:sp>
        <p:pic>
          <p:nvPicPr>
            <p:cNvPr id="49" name="Picture 10" descr="Questions with solid fill">
              <a:extLst>
                <a:ext uri="{FF2B5EF4-FFF2-40B4-BE49-F238E27FC236}">
                  <a16:creationId xmlns:a16="http://schemas.microsoft.com/office/drawing/2014/main" id="{51DD63FF-4C7C-A749-40BA-4BB52B8E6FEA}"/>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442779" y="2682830"/>
              <a:ext cx="564603" cy="564603"/>
            </a:xfrm>
            <a:prstGeom prst="rect">
              <a:avLst/>
            </a:prstGeom>
          </p:spPr>
        </p:pic>
        <p:sp>
          <p:nvSpPr>
            <p:cNvPr id="50" name="Rectangle: Rounded Corners 49">
              <a:extLst>
                <a:ext uri="{FF2B5EF4-FFF2-40B4-BE49-F238E27FC236}">
                  <a16:creationId xmlns:a16="http://schemas.microsoft.com/office/drawing/2014/main" id="{F6DDA11C-D0AD-DC65-DBFB-15BA1D36CE07}"/>
                </a:ext>
              </a:extLst>
            </p:cNvPr>
            <p:cNvSpPr/>
            <p:nvPr/>
          </p:nvSpPr>
          <p:spPr>
            <a:xfrm>
              <a:off x="7027399" y="5478417"/>
              <a:ext cx="2090695" cy="817399"/>
            </a:xfrm>
            <a:prstGeom prst="roundRect">
              <a:avLst/>
            </a:prstGeom>
            <a:solidFill>
              <a:schemeClr val="accent3">
                <a:lumMod val="60000"/>
                <a:lumOff val="40000"/>
              </a:schemeClr>
            </a:solidFill>
            <a:ln w="25400" cap="flat" cmpd="sng" algn="ctr">
              <a:noFill/>
              <a:prstDash val="solid"/>
            </a:ln>
            <a:effectLst/>
          </p:spPr>
          <p:txBody>
            <a:bodyPr rtlCol="0" anchor="ctr"/>
            <a:lstStyle/>
            <a:p>
              <a:pPr algn="ctr" defTabSz="1219170"/>
              <a:r>
                <a:rPr lang="en-US" sz="1100" b="1" kern="0" dirty="0">
                  <a:solidFill>
                    <a:prstClr val="white"/>
                  </a:solidFill>
                  <a:latin typeface="Arial" panose="020B0604020202020204"/>
                </a:rPr>
                <a:t>Transparent Communication</a:t>
              </a:r>
            </a:p>
          </p:txBody>
        </p:sp>
        <p:sp>
          <p:nvSpPr>
            <p:cNvPr id="51" name="Freeform 23">
              <a:extLst>
                <a:ext uri="{FF2B5EF4-FFF2-40B4-BE49-F238E27FC236}">
                  <a16:creationId xmlns:a16="http://schemas.microsoft.com/office/drawing/2014/main" id="{09D983C5-EEE6-B3A9-93DF-3C8EC8A0EDCA}"/>
                </a:ext>
              </a:extLst>
            </p:cNvPr>
            <p:cNvSpPr/>
            <p:nvPr/>
          </p:nvSpPr>
          <p:spPr>
            <a:xfrm rot="10800000">
              <a:off x="6525874" y="4432130"/>
              <a:ext cx="1003052" cy="949119"/>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chemeClr val="accent3">
                <a:lumMod val="60000"/>
                <a:lumOff val="40000"/>
              </a:schemeClr>
            </a:solidFill>
            <a:ln w="38100">
              <a:solidFill>
                <a:schemeClr val="bg1"/>
              </a:solidFill>
            </a:ln>
          </p:spPr>
          <p:txBody>
            <a:bodyPr/>
            <a:lstStyle/>
            <a:p>
              <a:pPr defTabSz="1219170">
                <a:defRPr/>
              </a:pPr>
              <a:endParaRPr lang="en-US" sz="1867" kern="0" dirty="0">
                <a:solidFill>
                  <a:prstClr val="black"/>
                </a:solidFill>
                <a:latin typeface="Arial" panose="020B0604020202020204"/>
              </a:endParaRPr>
            </a:p>
          </p:txBody>
        </p:sp>
        <p:pic>
          <p:nvPicPr>
            <p:cNvPr id="52" name="Picture 10" descr="Questions with solid fill">
              <a:extLst>
                <a:ext uri="{FF2B5EF4-FFF2-40B4-BE49-F238E27FC236}">
                  <a16:creationId xmlns:a16="http://schemas.microsoft.com/office/drawing/2014/main" id="{BD5FCFBF-4129-E1F7-E871-5D3E02596D8B}"/>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726837" y="4596327"/>
              <a:ext cx="564603" cy="564603"/>
            </a:xfrm>
            <a:prstGeom prst="rect">
              <a:avLst/>
            </a:prstGeom>
          </p:spPr>
        </p:pic>
      </p:grpSp>
    </p:spTree>
    <p:extLst>
      <p:ext uri="{BB962C8B-B14F-4D97-AF65-F5344CB8AC3E}">
        <p14:creationId xmlns:p14="http://schemas.microsoft.com/office/powerpoint/2010/main" val="42030440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440C3F86-AD9B-9BB9-FA65-0613560D920E}"/>
              </a:ext>
            </a:extLst>
          </p:cNvPr>
          <p:cNvSpPr>
            <a:spLocks noGrp="1"/>
          </p:cNvSpPr>
          <p:nvPr>
            <p:ph type="title"/>
          </p:nvPr>
        </p:nvSpPr>
        <p:spPr>
          <a:xfrm>
            <a:off x="609600" y="800754"/>
            <a:ext cx="5185558" cy="553998"/>
          </a:xfrm>
        </p:spPr>
        <p:txBody>
          <a:bodyPr/>
          <a:lstStyle/>
          <a:p>
            <a:r>
              <a:rPr lang="en-US" dirty="0"/>
              <a:t>Case Studies: Wins</a:t>
            </a:r>
          </a:p>
        </p:txBody>
      </p:sp>
      <p:sp>
        <p:nvSpPr>
          <p:cNvPr id="2" name="Footer Placeholder 1">
            <a:extLst>
              <a:ext uri="{FF2B5EF4-FFF2-40B4-BE49-F238E27FC236}">
                <a16:creationId xmlns:a16="http://schemas.microsoft.com/office/drawing/2014/main" id="{2CCE2A6A-0084-2187-E4B3-F6EFC67BBB40}"/>
              </a:ext>
            </a:extLst>
          </p:cNvPr>
          <p:cNvSpPr>
            <a:spLocks noGrp="1"/>
          </p:cNvSpPr>
          <p:nvPr>
            <p:ph type="ftr" sz="quarter" idx="10"/>
          </p:nvPr>
        </p:nvSpPr>
        <p:spPr>
          <a:xfrm>
            <a:off x="609600" y="6567465"/>
            <a:ext cx="10083800" cy="153888"/>
          </a:xfrm>
        </p:spPr>
        <p:txBody>
          <a:bodyPr/>
          <a:lstStyle/>
          <a:p>
            <a:r>
              <a:rPr lang="en-US" dirty="0"/>
              <a:t>© 2025 Guidehouse Inc.</a:t>
            </a:r>
          </a:p>
        </p:txBody>
      </p:sp>
      <p:sp>
        <p:nvSpPr>
          <p:cNvPr id="3" name="Slide Number Placeholder 2">
            <a:extLst>
              <a:ext uri="{FF2B5EF4-FFF2-40B4-BE49-F238E27FC236}">
                <a16:creationId xmlns:a16="http://schemas.microsoft.com/office/drawing/2014/main" id="{7D6880F2-FC5C-18CB-DE32-645C226E3A07}"/>
              </a:ext>
            </a:extLst>
          </p:cNvPr>
          <p:cNvSpPr>
            <a:spLocks noGrp="1"/>
          </p:cNvSpPr>
          <p:nvPr>
            <p:ph type="sldNum" sz="quarter" idx="11"/>
          </p:nvPr>
        </p:nvSpPr>
        <p:spPr>
          <a:xfrm>
            <a:off x="11248008" y="6567465"/>
            <a:ext cx="334392" cy="153888"/>
          </a:xfrm>
        </p:spPr>
        <p:txBody>
          <a:bodyPr/>
          <a:lstStyle/>
          <a:p>
            <a:fld id="{FD814145-5B10-4F3F-A6BF-3641B91211CF}" type="slidenum">
              <a:rPr lang="en-US" smtClean="0"/>
              <a:pPr/>
              <a:t>6</a:t>
            </a:fld>
            <a:endParaRPr lang="en-US" dirty="0"/>
          </a:p>
        </p:txBody>
      </p:sp>
      <p:sp>
        <p:nvSpPr>
          <p:cNvPr id="7" name="Date Placeholder 6">
            <a:extLst>
              <a:ext uri="{FF2B5EF4-FFF2-40B4-BE49-F238E27FC236}">
                <a16:creationId xmlns:a16="http://schemas.microsoft.com/office/drawing/2014/main" id="{EC090326-7E6D-5753-99DA-0BF7B4F5996A}"/>
              </a:ext>
            </a:extLst>
          </p:cNvPr>
          <p:cNvSpPr>
            <a:spLocks noGrp="1"/>
          </p:cNvSpPr>
          <p:nvPr>
            <p:ph type="dt" sz="half" idx="12"/>
          </p:nvPr>
        </p:nvSpPr>
        <p:spPr>
          <a:xfrm>
            <a:off x="10236555" y="136647"/>
            <a:ext cx="1345845" cy="153888"/>
          </a:xfrm>
        </p:spPr>
        <p:txBody>
          <a:bodyPr/>
          <a:lstStyle/>
          <a:p>
            <a:r>
              <a:rPr lang="en-US" dirty="0"/>
              <a:t>APRIL 29, 2025</a:t>
            </a:r>
          </a:p>
        </p:txBody>
      </p:sp>
      <p:sp>
        <p:nvSpPr>
          <p:cNvPr id="37" name="Text Placeholder 36">
            <a:extLst>
              <a:ext uri="{FF2B5EF4-FFF2-40B4-BE49-F238E27FC236}">
                <a16:creationId xmlns:a16="http://schemas.microsoft.com/office/drawing/2014/main" id="{03091FCD-E538-4CE1-2F6A-7B00AA2F5DF0}"/>
              </a:ext>
            </a:extLst>
          </p:cNvPr>
          <p:cNvSpPr>
            <a:spLocks noGrp="1"/>
          </p:cNvSpPr>
          <p:nvPr>
            <p:ph type="body" sz="quarter" idx="29"/>
          </p:nvPr>
        </p:nvSpPr>
        <p:spPr>
          <a:xfrm>
            <a:off x="608584" y="2837338"/>
            <a:ext cx="3099816" cy="923544"/>
          </a:xfrm>
        </p:spPr>
        <p:txBody>
          <a:bodyPr anchor="t"/>
          <a:lstStyle/>
          <a:p>
            <a:r>
              <a:rPr lang="en-US" sz="1800" dirty="0"/>
              <a:t>Situation: : Led a project to develop NASA’s MBAR to  illustrate financial positioning and identify potential issues.</a:t>
            </a:r>
          </a:p>
        </p:txBody>
      </p:sp>
      <p:sp>
        <p:nvSpPr>
          <p:cNvPr id="39" name="Text Placeholder 38">
            <a:extLst>
              <a:ext uri="{FF2B5EF4-FFF2-40B4-BE49-F238E27FC236}">
                <a16:creationId xmlns:a16="http://schemas.microsoft.com/office/drawing/2014/main" id="{815290A6-D854-F2A0-6165-7A6F0C577A90}"/>
              </a:ext>
            </a:extLst>
          </p:cNvPr>
          <p:cNvSpPr>
            <a:spLocks noGrp="1"/>
          </p:cNvSpPr>
          <p:nvPr>
            <p:ph type="body" sz="quarter" idx="31"/>
          </p:nvPr>
        </p:nvSpPr>
        <p:spPr>
          <a:xfrm>
            <a:off x="4545584" y="2837338"/>
            <a:ext cx="3099816" cy="923544"/>
          </a:xfrm>
        </p:spPr>
        <p:txBody>
          <a:bodyPr anchor="t"/>
          <a:lstStyle/>
          <a:p>
            <a:r>
              <a:rPr lang="en-US" sz="1800" dirty="0"/>
              <a:t>Situation:  Anticipated food safety report  threatened harmful consumer over-reaction.</a:t>
            </a:r>
          </a:p>
        </p:txBody>
      </p:sp>
      <p:sp>
        <p:nvSpPr>
          <p:cNvPr id="41" name="Text Placeholder 40">
            <a:extLst>
              <a:ext uri="{FF2B5EF4-FFF2-40B4-BE49-F238E27FC236}">
                <a16:creationId xmlns:a16="http://schemas.microsoft.com/office/drawing/2014/main" id="{696732B1-BDDD-319B-3BD8-21902953B353}"/>
              </a:ext>
            </a:extLst>
          </p:cNvPr>
          <p:cNvSpPr>
            <a:spLocks noGrp="1"/>
          </p:cNvSpPr>
          <p:nvPr>
            <p:ph type="body" sz="quarter" idx="33"/>
          </p:nvPr>
        </p:nvSpPr>
        <p:spPr>
          <a:xfrm>
            <a:off x="8482583" y="2837338"/>
            <a:ext cx="3099816" cy="1091366"/>
          </a:xfrm>
        </p:spPr>
        <p:txBody>
          <a:bodyPr anchor="t"/>
          <a:lstStyle/>
          <a:p>
            <a:r>
              <a:rPr lang="en-US" sz="1800" dirty="0"/>
              <a:t>Situation: During the 2008 financial crisis, the student loan guaranty program (i.e., FFEL) was in crisis.  </a:t>
            </a:r>
          </a:p>
        </p:txBody>
      </p:sp>
      <p:grpSp>
        <p:nvGrpSpPr>
          <p:cNvPr id="6" name="Group 5">
            <a:extLst>
              <a:ext uri="{FF2B5EF4-FFF2-40B4-BE49-F238E27FC236}">
                <a16:creationId xmlns:a16="http://schemas.microsoft.com/office/drawing/2014/main" id="{44CECF44-A82D-C12F-F528-2C4BE3D869E6}"/>
              </a:ext>
            </a:extLst>
          </p:cNvPr>
          <p:cNvGrpSpPr/>
          <p:nvPr/>
        </p:nvGrpSpPr>
        <p:grpSpPr>
          <a:xfrm>
            <a:off x="609600" y="4598687"/>
            <a:ext cx="3098800" cy="0"/>
            <a:chOff x="609600" y="3928583"/>
            <a:chExt cx="3098800" cy="0"/>
          </a:xfrm>
        </p:grpSpPr>
        <p:cxnSp>
          <p:nvCxnSpPr>
            <p:cNvPr id="8" name="Straight Connector 7">
              <a:extLst>
                <a:ext uri="{FF2B5EF4-FFF2-40B4-BE49-F238E27FC236}">
                  <a16:creationId xmlns:a16="http://schemas.microsoft.com/office/drawing/2014/main" id="{810A807D-6245-AB78-151A-052F736C98FB}"/>
                </a:ext>
              </a:extLst>
            </p:cNvPr>
            <p:cNvCxnSpPr>
              <a:cxnSpLocks/>
            </p:cNvCxnSpPr>
            <p:nvPr/>
          </p:nvCxnSpPr>
          <p:spPr>
            <a:xfrm flipH="1">
              <a:off x="609600" y="3928583"/>
              <a:ext cx="309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4A28F2E-7B64-0ED8-29C5-8B07723F9FD5}"/>
                </a:ext>
              </a:extLst>
            </p:cNvPr>
            <p:cNvCxnSpPr>
              <a:cxnSpLocks/>
            </p:cNvCxnSpPr>
            <p:nvPr/>
          </p:nvCxnSpPr>
          <p:spPr>
            <a:xfrm flipH="1">
              <a:off x="609600" y="3928583"/>
              <a:ext cx="66494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42EF51B8-BC62-CD42-72B7-A2B35BDD44B7}"/>
              </a:ext>
            </a:extLst>
          </p:cNvPr>
          <p:cNvGrpSpPr/>
          <p:nvPr/>
        </p:nvGrpSpPr>
        <p:grpSpPr>
          <a:xfrm>
            <a:off x="4546600" y="4598687"/>
            <a:ext cx="3098800" cy="0"/>
            <a:chOff x="4546600" y="3928583"/>
            <a:chExt cx="3098800" cy="0"/>
          </a:xfrm>
        </p:grpSpPr>
        <p:cxnSp>
          <p:nvCxnSpPr>
            <p:cNvPr id="12" name="Straight Connector 11">
              <a:extLst>
                <a:ext uri="{FF2B5EF4-FFF2-40B4-BE49-F238E27FC236}">
                  <a16:creationId xmlns:a16="http://schemas.microsoft.com/office/drawing/2014/main" id="{9D39492E-32C1-24F6-29F7-30B4084BBBC6}"/>
                </a:ext>
              </a:extLst>
            </p:cNvPr>
            <p:cNvCxnSpPr>
              <a:cxnSpLocks/>
            </p:cNvCxnSpPr>
            <p:nvPr/>
          </p:nvCxnSpPr>
          <p:spPr>
            <a:xfrm flipH="1">
              <a:off x="4546600" y="3928583"/>
              <a:ext cx="309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34E7830-8955-44B0-FF91-9BEF5C87B82D}"/>
                </a:ext>
              </a:extLst>
            </p:cNvPr>
            <p:cNvCxnSpPr>
              <a:cxnSpLocks/>
            </p:cNvCxnSpPr>
            <p:nvPr/>
          </p:nvCxnSpPr>
          <p:spPr>
            <a:xfrm flipH="1">
              <a:off x="4546600" y="3928583"/>
              <a:ext cx="66494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CE72681A-C83B-F1A5-49C3-1ACF9360E29E}"/>
              </a:ext>
            </a:extLst>
          </p:cNvPr>
          <p:cNvGrpSpPr/>
          <p:nvPr/>
        </p:nvGrpSpPr>
        <p:grpSpPr>
          <a:xfrm>
            <a:off x="8483599" y="4598687"/>
            <a:ext cx="3098800" cy="0"/>
            <a:chOff x="8483599" y="3928583"/>
            <a:chExt cx="3098800" cy="0"/>
          </a:xfrm>
        </p:grpSpPr>
        <p:cxnSp>
          <p:nvCxnSpPr>
            <p:cNvPr id="16" name="Straight Connector 15">
              <a:extLst>
                <a:ext uri="{FF2B5EF4-FFF2-40B4-BE49-F238E27FC236}">
                  <a16:creationId xmlns:a16="http://schemas.microsoft.com/office/drawing/2014/main" id="{E0129C76-AF19-B0BA-B26B-A60D6245E308}"/>
                </a:ext>
              </a:extLst>
            </p:cNvPr>
            <p:cNvCxnSpPr>
              <a:cxnSpLocks/>
            </p:cNvCxnSpPr>
            <p:nvPr/>
          </p:nvCxnSpPr>
          <p:spPr>
            <a:xfrm flipH="1">
              <a:off x="8483599" y="3928583"/>
              <a:ext cx="309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349959-FC98-5208-BDE9-C5223FF6DEA0}"/>
                </a:ext>
              </a:extLst>
            </p:cNvPr>
            <p:cNvCxnSpPr>
              <a:cxnSpLocks/>
            </p:cNvCxnSpPr>
            <p:nvPr/>
          </p:nvCxnSpPr>
          <p:spPr>
            <a:xfrm flipH="1">
              <a:off x="8483599" y="3928583"/>
              <a:ext cx="66494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0" name="Text Placeholder 30">
            <a:extLst>
              <a:ext uri="{FF2B5EF4-FFF2-40B4-BE49-F238E27FC236}">
                <a16:creationId xmlns:a16="http://schemas.microsoft.com/office/drawing/2014/main" id="{E41CE2C6-4615-DA2A-46B5-2514D3FF107C}"/>
              </a:ext>
            </a:extLst>
          </p:cNvPr>
          <p:cNvSpPr txBox="1">
            <a:spLocks/>
          </p:cNvSpPr>
          <p:nvPr/>
        </p:nvSpPr>
        <p:spPr>
          <a:xfrm>
            <a:off x="608584" y="2056406"/>
            <a:ext cx="2848991" cy="491745"/>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8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hepherd Brown</a:t>
            </a:r>
          </a:p>
        </p:txBody>
      </p:sp>
      <p:sp>
        <p:nvSpPr>
          <p:cNvPr id="21" name="Text Placeholder 30">
            <a:extLst>
              <a:ext uri="{FF2B5EF4-FFF2-40B4-BE49-F238E27FC236}">
                <a16:creationId xmlns:a16="http://schemas.microsoft.com/office/drawing/2014/main" id="{90D1B174-1B05-B57A-7F72-8BDEEDEBFBB4}"/>
              </a:ext>
            </a:extLst>
          </p:cNvPr>
          <p:cNvSpPr txBox="1">
            <a:spLocks/>
          </p:cNvSpPr>
          <p:nvPr/>
        </p:nvSpPr>
        <p:spPr>
          <a:xfrm>
            <a:off x="4545584" y="2076353"/>
            <a:ext cx="2305156" cy="491745"/>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8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Ann Davison</a:t>
            </a:r>
          </a:p>
        </p:txBody>
      </p:sp>
      <p:sp>
        <p:nvSpPr>
          <p:cNvPr id="29" name="Text Placeholder 30">
            <a:extLst>
              <a:ext uri="{FF2B5EF4-FFF2-40B4-BE49-F238E27FC236}">
                <a16:creationId xmlns:a16="http://schemas.microsoft.com/office/drawing/2014/main" id="{C72CED85-1B30-B6DC-A539-9A59320406B1}"/>
              </a:ext>
            </a:extLst>
          </p:cNvPr>
          <p:cNvSpPr txBox="1">
            <a:spLocks/>
          </p:cNvSpPr>
          <p:nvPr/>
        </p:nvSpPr>
        <p:spPr>
          <a:xfrm>
            <a:off x="8482583" y="2096300"/>
            <a:ext cx="2305050" cy="491745"/>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8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Jay Hurt</a:t>
            </a:r>
          </a:p>
        </p:txBody>
      </p:sp>
      <p:sp>
        <p:nvSpPr>
          <p:cNvPr id="61" name="Text Placeholder 60">
            <a:extLst>
              <a:ext uri="{FF2B5EF4-FFF2-40B4-BE49-F238E27FC236}">
                <a16:creationId xmlns:a16="http://schemas.microsoft.com/office/drawing/2014/main" id="{BFB340DD-B7F6-1C4B-61D3-D55E28CD2BCC}"/>
              </a:ext>
            </a:extLst>
          </p:cNvPr>
          <p:cNvSpPr>
            <a:spLocks noGrp="1"/>
          </p:cNvSpPr>
          <p:nvPr>
            <p:ph type="body" sz="quarter" idx="28"/>
          </p:nvPr>
        </p:nvSpPr>
        <p:spPr/>
        <p:txBody>
          <a:bodyPr/>
          <a:lstStyle/>
          <a:p>
            <a:endParaRPr lang="en-US" dirty="0"/>
          </a:p>
          <a:p>
            <a:r>
              <a:rPr lang="en-US" dirty="0"/>
              <a:t>DC Chapter AGA 2025 Spring Training</a:t>
            </a:r>
          </a:p>
          <a:p>
            <a:endParaRPr lang="en-US" dirty="0"/>
          </a:p>
        </p:txBody>
      </p:sp>
      <p:graphicFrame>
        <p:nvGraphicFramePr>
          <p:cNvPr id="93" name="Diagram 92">
            <a:extLst>
              <a:ext uri="{FF2B5EF4-FFF2-40B4-BE49-F238E27FC236}">
                <a16:creationId xmlns:a16="http://schemas.microsoft.com/office/drawing/2014/main" id="{6D649CD7-925C-95FB-8794-0FE56065CC0B}"/>
              </a:ext>
            </a:extLst>
          </p:cNvPr>
          <p:cNvGraphicFramePr/>
          <p:nvPr>
            <p:extLst>
              <p:ext uri="{D42A27DB-BD31-4B8C-83A1-F6EECF244321}">
                <p14:modId xmlns:p14="http://schemas.microsoft.com/office/powerpoint/2010/main" val="1809335495"/>
              </p:ext>
            </p:extLst>
          </p:nvPr>
        </p:nvGraphicFramePr>
        <p:xfrm>
          <a:off x="931841" y="5361466"/>
          <a:ext cx="10328319" cy="9462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4" name="Rectangle 93">
            <a:extLst>
              <a:ext uri="{FF2B5EF4-FFF2-40B4-BE49-F238E27FC236}">
                <a16:creationId xmlns:a16="http://schemas.microsoft.com/office/drawing/2014/main" id="{58113AF6-CE6C-9C86-AE0A-68B6610C3081}"/>
              </a:ext>
            </a:extLst>
          </p:cNvPr>
          <p:cNvSpPr/>
          <p:nvPr/>
        </p:nvSpPr>
        <p:spPr>
          <a:xfrm>
            <a:off x="1442963" y="4792531"/>
            <a:ext cx="9306074" cy="410245"/>
          </a:xfrm>
          <a:prstGeom prst="rect">
            <a:avLst/>
          </a:prstGeom>
          <a:solidFill>
            <a:schemeClr val="accent3"/>
          </a:solidFill>
        </p:spPr>
        <p:style>
          <a:lnRef idx="3">
            <a:schemeClr val="lt1"/>
          </a:lnRef>
          <a:fillRef idx="1">
            <a:schemeClr val="accent5"/>
          </a:fillRef>
          <a:effectRef idx="1">
            <a:schemeClr val="accent5"/>
          </a:effectRef>
          <a:fontRef idx="minor">
            <a:schemeClr val="lt1"/>
          </a:fontRef>
        </p:style>
        <p:txBody>
          <a:bodyPr rtlCol="0" anchor="ctr"/>
          <a:lstStyle/>
          <a:p>
            <a:pPr algn="ctr"/>
            <a:r>
              <a:rPr lang="en-US" sz="2000" b="1" dirty="0">
                <a:latin typeface="+mj-lt"/>
              </a:rPr>
              <a:t>Resilient Leadership Strategies</a:t>
            </a:r>
          </a:p>
        </p:txBody>
      </p:sp>
      <p:sp>
        <p:nvSpPr>
          <p:cNvPr id="95" name="Arrow: Curved Right 94">
            <a:extLst>
              <a:ext uri="{FF2B5EF4-FFF2-40B4-BE49-F238E27FC236}">
                <a16:creationId xmlns:a16="http://schemas.microsoft.com/office/drawing/2014/main" id="{1E403258-6445-F2B7-B066-A7839F1E2B5F}"/>
              </a:ext>
            </a:extLst>
          </p:cNvPr>
          <p:cNvSpPr/>
          <p:nvPr/>
        </p:nvSpPr>
        <p:spPr>
          <a:xfrm>
            <a:off x="220750" y="4890503"/>
            <a:ext cx="1061950" cy="1216152"/>
          </a:xfrm>
          <a:prstGeom prst="curv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6" name="Arrow: Curved Left 95">
            <a:extLst>
              <a:ext uri="{FF2B5EF4-FFF2-40B4-BE49-F238E27FC236}">
                <a16:creationId xmlns:a16="http://schemas.microsoft.com/office/drawing/2014/main" id="{343C7D07-0BD1-B495-1E94-62DE5D1AA92B}"/>
              </a:ext>
            </a:extLst>
          </p:cNvPr>
          <p:cNvSpPr/>
          <p:nvPr/>
        </p:nvSpPr>
        <p:spPr>
          <a:xfrm>
            <a:off x="10909300" y="4841688"/>
            <a:ext cx="1061950" cy="1215544"/>
          </a:xfrm>
          <a:prstGeom prst="curved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27" name="Group 26">
            <a:extLst>
              <a:ext uri="{FF2B5EF4-FFF2-40B4-BE49-F238E27FC236}">
                <a16:creationId xmlns:a16="http://schemas.microsoft.com/office/drawing/2014/main" id="{2359624C-3FCB-D5F9-1440-A673102E97C9}"/>
              </a:ext>
            </a:extLst>
          </p:cNvPr>
          <p:cNvGrpSpPr/>
          <p:nvPr/>
        </p:nvGrpSpPr>
        <p:grpSpPr>
          <a:xfrm>
            <a:off x="596900" y="1605082"/>
            <a:ext cx="10918217" cy="591291"/>
            <a:chOff x="596900" y="1605082"/>
            <a:chExt cx="10918217" cy="591291"/>
          </a:xfrm>
        </p:grpSpPr>
        <p:sp>
          <p:nvSpPr>
            <p:cNvPr id="31" name="Rectangle 30">
              <a:extLst>
                <a:ext uri="{FF2B5EF4-FFF2-40B4-BE49-F238E27FC236}">
                  <a16:creationId xmlns:a16="http://schemas.microsoft.com/office/drawing/2014/main" id="{DE61E774-75F0-9197-E491-610326E6077C}"/>
                </a:ext>
              </a:extLst>
            </p:cNvPr>
            <p:cNvSpPr/>
            <p:nvPr/>
          </p:nvSpPr>
          <p:spPr>
            <a:xfrm>
              <a:off x="596900" y="1605082"/>
              <a:ext cx="10918217" cy="375302"/>
            </a:xfrm>
            <a:prstGeom prst="rect">
              <a:avLst/>
            </a:prstGeom>
            <a:solidFill>
              <a:schemeClr val="tx2">
                <a:lumMod val="10000"/>
                <a:lumOff val="9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en-US" dirty="0"/>
            </a:p>
          </p:txBody>
        </p:sp>
        <p:grpSp>
          <p:nvGrpSpPr>
            <p:cNvPr id="32" name="Group 31">
              <a:extLst>
                <a:ext uri="{FF2B5EF4-FFF2-40B4-BE49-F238E27FC236}">
                  <a16:creationId xmlns:a16="http://schemas.microsoft.com/office/drawing/2014/main" id="{B5244FB9-04C3-A1CF-5AF8-88C81030CBB3}"/>
                </a:ext>
              </a:extLst>
            </p:cNvPr>
            <p:cNvGrpSpPr/>
            <p:nvPr/>
          </p:nvGrpSpPr>
          <p:grpSpPr>
            <a:xfrm>
              <a:off x="657983" y="1650035"/>
              <a:ext cx="1510887" cy="429250"/>
              <a:chOff x="676883" y="1398781"/>
              <a:chExt cx="1510887" cy="429250"/>
            </a:xfrm>
          </p:grpSpPr>
          <p:sp>
            <p:nvSpPr>
              <p:cNvPr id="62" name="Text Placeholder 32">
                <a:extLst>
                  <a:ext uri="{FF2B5EF4-FFF2-40B4-BE49-F238E27FC236}">
                    <a16:creationId xmlns:a16="http://schemas.microsoft.com/office/drawing/2014/main" id="{6E78812C-3095-6BEA-CE3F-604241D07F61}"/>
                  </a:ext>
                </a:extLst>
              </p:cNvPr>
              <p:cNvSpPr txBox="1">
                <a:spLocks/>
              </p:cNvSpPr>
              <p:nvPr/>
            </p:nvSpPr>
            <p:spPr>
              <a:xfrm>
                <a:off x="1015708" y="1417786"/>
                <a:ext cx="1172062" cy="41024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Situation</a:t>
                </a:r>
              </a:p>
            </p:txBody>
          </p:sp>
          <p:pic>
            <p:nvPicPr>
              <p:cNvPr id="97" name="Picture 96" descr="A green and black logo&#10;&#10;Description automatically generated">
                <a:extLst>
                  <a:ext uri="{FF2B5EF4-FFF2-40B4-BE49-F238E27FC236}">
                    <a16:creationId xmlns:a16="http://schemas.microsoft.com/office/drawing/2014/main" id="{024A9868-5438-ACA3-4C35-C327EE9E4A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200000">
                <a:off x="676883" y="1398781"/>
                <a:ext cx="274320" cy="274320"/>
              </a:xfrm>
              <a:prstGeom prst="rect">
                <a:avLst/>
              </a:prstGeom>
            </p:spPr>
          </p:pic>
        </p:grpSp>
        <p:grpSp>
          <p:nvGrpSpPr>
            <p:cNvPr id="33" name="Group 32">
              <a:extLst>
                <a:ext uri="{FF2B5EF4-FFF2-40B4-BE49-F238E27FC236}">
                  <a16:creationId xmlns:a16="http://schemas.microsoft.com/office/drawing/2014/main" id="{1A715CD1-5F5E-380E-4386-6BBA6EAFCBE3}"/>
                </a:ext>
              </a:extLst>
            </p:cNvPr>
            <p:cNvGrpSpPr/>
            <p:nvPr/>
          </p:nvGrpSpPr>
          <p:grpSpPr>
            <a:xfrm>
              <a:off x="3459119" y="1650035"/>
              <a:ext cx="980785" cy="429251"/>
              <a:chOff x="3477082" y="1398780"/>
              <a:chExt cx="980785" cy="429251"/>
            </a:xfrm>
          </p:grpSpPr>
          <p:sp>
            <p:nvSpPr>
              <p:cNvPr id="51" name="Text Placeholder 32">
                <a:extLst>
                  <a:ext uri="{FF2B5EF4-FFF2-40B4-BE49-F238E27FC236}">
                    <a16:creationId xmlns:a16="http://schemas.microsoft.com/office/drawing/2014/main" id="{54C762A1-2DB1-998C-5794-207D22A8245C}"/>
                  </a:ext>
                </a:extLst>
              </p:cNvPr>
              <p:cNvSpPr txBox="1">
                <a:spLocks/>
              </p:cNvSpPr>
              <p:nvPr/>
            </p:nvSpPr>
            <p:spPr>
              <a:xfrm>
                <a:off x="3827002" y="1417786"/>
                <a:ext cx="630865" cy="41024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ask</a:t>
                </a:r>
              </a:p>
            </p:txBody>
          </p:sp>
          <p:pic>
            <p:nvPicPr>
              <p:cNvPr id="59" name="Picture 58" descr="A green circle with a black line in it&#10;&#10;Description automatically generated">
                <a:extLst>
                  <a:ext uri="{FF2B5EF4-FFF2-40B4-BE49-F238E27FC236}">
                    <a16:creationId xmlns:a16="http://schemas.microsoft.com/office/drawing/2014/main" id="{1051A21F-11CD-7EE9-F01E-7DBB423CCAED}"/>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477082" y="1398780"/>
                <a:ext cx="274320" cy="274320"/>
              </a:xfrm>
              <a:prstGeom prst="rect">
                <a:avLst/>
              </a:prstGeom>
            </p:spPr>
          </p:pic>
        </p:grpSp>
        <p:grpSp>
          <p:nvGrpSpPr>
            <p:cNvPr id="35" name="Group 34">
              <a:extLst>
                <a:ext uri="{FF2B5EF4-FFF2-40B4-BE49-F238E27FC236}">
                  <a16:creationId xmlns:a16="http://schemas.microsoft.com/office/drawing/2014/main" id="{7FF647B0-8CDA-2358-3824-EC13CCFE293D}"/>
                </a:ext>
              </a:extLst>
            </p:cNvPr>
            <p:cNvGrpSpPr/>
            <p:nvPr/>
          </p:nvGrpSpPr>
          <p:grpSpPr>
            <a:xfrm>
              <a:off x="5730153" y="1650035"/>
              <a:ext cx="944778" cy="546338"/>
              <a:chOff x="5740385" y="1398780"/>
              <a:chExt cx="944778" cy="546338"/>
            </a:xfrm>
          </p:grpSpPr>
          <p:sp>
            <p:nvSpPr>
              <p:cNvPr id="48" name="Text Placeholder 32">
                <a:extLst>
                  <a:ext uri="{FF2B5EF4-FFF2-40B4-BE49-F238E27FC236}">
                    <a16:creationId xmlns:a16="http://schemas.microsoft.com/office/drawing/2014/main" id="{C71413B0-D23F-F89A-2A17-B6FC20CB0BFC}"/>
                  </a:ext>
                </a:extLst>
              </p:cNvPr>
              <p:cNvSpPr txBox="1">
                <a:spLocks/>
              </p:cNvSpPr>
              <p:nvPr/>
            </p:nvSpPr>
            <p:spPr>
              <a:xfrm>
                <a:off x="6097099" y="1417786"/>
                <a:ext cx="588064" cy="52733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Action</a:t>
                </a:r>
              </a:p>
            </p:txBody>
          </p:sp>
          <p:pic>
            <p:nvPicPr>
              <p:cNvPr id="49" name="Picture 48" descr="A green and black logo&#10;&#10;Description automatically generated">
                <a:extLst>
                  <a:ext uri="{FF2B5EF4-FFF2-40B4-BE49-F238E27FC236}">
                    <a16:creationId xmlns:a16="http://schemas.microsoft.com/office/drawing/2014/main" id="{29206436-43DB-D964-B6C2-EE64A3379F70}"/>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740385" y="1398780"/>
                <a:ext cx="274320" cy="274320"/>
              </a:xfrm>
              <a:prstGeom prst="rect">
                <a:avLst/>
              </a:prstGeom>
            </p:spPr>
          </p:pic>
        </p:grpSp>
        <p:grpSp>
          <p:nvGrpSpPr>
            <p:cNvPr id="36" name="Group 35">
              <a:extLst>
                <a:ext uri="{FF2B5EF4-FFF2-40B4-BE49-F238E27FC236}">
                  <a16:creationId xmlns:a16="http://schemas.microsoft.com/office/drawing/2014/main" id="{7B112C47-0CBC-CDE8-44FF-31109657A2A2}"/>
                </a:ext>
              </a:extLst>
            </p:cNvPr>
            <p:cNvGrpSpPr/>
            <p:nvPr/>
          </p:nvGrpSpPr>
          <p:grpSpPr>
            <a:xfrm>
              <a:off x="7965180" y="1650035"/>
              <a:ext cx="925549" cy="429251"/>
              <a:chOff x="7986910" y="1398780"/>
              <a:chExt cx="925549" cy="429251"/>
            </a:xfrm>
          </p:grpSpPr>
          <p:sp>
            <p:nvSpPr>
              <p:cNvPr id="43" name="Text Placeholder 32">
                <a:extLst>
                  <a:ext uri="{FF2B5EF4-FFF2-40B4-BE49-F238E27FC236}">
                    <a16:creationId xmlns:a16="http://schemas.microsoft.com/office/drawing/2014/main" id="{FA5FFF1D-7C3B-75B5-C91A-50A7E89F06BF}"/>
                  </a:ext>
                </a:extLst>
              </p:cNvPr>
              <p:cNvSpPr txBox="1">
                <a:spLocks/>
              </p:cNvSpPr>
              <p:nvPr/>
            </p:nvSpPr>
            <p:spPr>
              <a:xfrm>
                <a:off x="8324395" y="1417786"/>
                <a:ext cx="588064" cy="41024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Result</a:t>
                </a:r>
              </a:p>
            </p:txBody>
          </p:sp>
          <p:pic>
            <p:nvPicPr>
              <p:cNvPr id="46" name="Picture 45" descr="A green rectangle with a black background&#10;&#10;Description automatically generated">
                <a:extLst>
                  <a:ext uri="{FF2B5EF4-FFF2-40B4-BE49-F238E27FC236}">
                    <a16:creationId xmlns:a16="http://schemas.microsoft.com/office/drawing/2014/main" id="{5F31A49A-BE2F-36F3-687C-5F32EB9E43DF}"/>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986910" y="1398780"/>
                <a:ext cx="274320" cy="274320"/>
              </a:xfrm>
              <a:prstGeom prst="rect">
                <a:avLst/>
              </a:prstGeom>
            </p:spPr>
          </p:pic>
        </p:grpSp>
        <p:grpSp>
          <p:nvGrpSpPr>
            <p:cNvPr id="38" name="Group 37">
              <a:extLst>
                <a:ext uri="{FF2B5EF4-FFF2-40B4-BE49-F238E27FC236}">
                  <a16:creationId xmlns:a16="http://schemas.microsoft.com/office/drawing/2014/main" id="{06BA3211-E446-3517-2FA2-13EB84D96D18}"/>
                </a:ext>
              </a:extLst>
            </p:cNvPr>
            <p:cNvGrpSpPr/>
            <p:nvPr/>
          </p:nvGrpSpPr>
          <p:grpSpPr>
            <a:xfrm>
              <a:off x="10180978" y="1650035"/>
              <a:ext cx="1067030" cy="343640"/>
              <a:chOff x="10199878" y="1398780"/>
              <a:chExt cx="1067030" cy="343640"/>
            </a:xfrm>
          </p:grpSpPr>
          <p:sp>
            <p:nvSpPr>
              <p:cNvPr id="40" name="Text Placeholder 32">
                <a:extLst>
                  <a:ext uri="{FF2B5EF4-FFF2-40B4-BE49-F238E27FC236}">
                    <a16:creationId xmlns:a16="http://schemas.microsoft.com/office/drawing/2014/main" id="{6B752C0F-3C23-FFBC-42B3-4733960A245B}"/>
                  </a:ext>
                </a:extLst>
              </p:cNvPr>
              <p:cNvSpPr txBox="1">
                <a:spLocks/>
              </p:cNvSpPr>
              <p:nvPr/>
            </p:nvSpPr>
            <p:spPr>
              <a:xfrm>
                <a:off x="10551691" y="1417786"/>
                <a:ext cx="715217" cy="32463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Strategy</a:t>
                </a:r>
              </a:p>
            </p:txBody>
          </p:sp>
          <p:pic>
            <p:nvPicPr>
              <p:cNvPr id="42" name="Picture 41" descr="A green and black logo&#10;&#10;Description automatically generated">
                <a:extLst>
                  <a:ext uri="{FF2B5EF4-FFF2-40B4-BE49-F238E27FC236}">
                    <a16:creationId xmlns:a16="http://schemas.microsoft.com/office/drawing/2014/main" id="{70A63B09-E961-95AE-BCDB-752B32BFFBFC}"/>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10199878" y="1398780"/>
                <a:ext cx="274320" cy="274320"/>
              </a:xfrm>
              <a:prstGeom prst="rect">
                <a:avLst/>
              </a:prstGeom>
            </p:spPr>
          </p:pic>
        </p:grpSp>
      </p:grpSp>
    </p:spTree>
    <p:extLst>
      <p:ext uri="{BB962C8B-B14F-4D97-AF65-F5344CB8AC3E}">
        <p14:creationId xmlns:p14="http://schemas.microsoft.com/office/powerpoint/2010/main" val="692054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267A4C-9CF8-B639-9E31-D8253265E77E}"/>
            </a:ext>
          </a:extLst>
        </p:cNvPr>
        <p:cNvGrpSpPr/>
        <p:nvPr/>
      </p:nvGrpSpPr>
      <p:grpSpPr>
        <a:xfrm>
          <a:off x="0" y="0"/>
          <a:ext cx="0" cy="0"/>
          <a:chOff x="0" y="0"/>
          <a:chExt cx="0" cy="0"/>
        </a:xfrm>
      </p:grpSpPr>
      <p:sp>
        <p:nvSpPr>
          <p:cNvPr id="34" name="Title 33">
            <a:extLst>
              <a:ext uri="{FF2B5EF4-FFF2-40B4-BE49-F238E27FC236}">
                <a16:creationId xmlns:a16="http://schemas.microsoft.com/office/drawing/2014/main" id="{6F7E037C-2D00-86DA-83D6-CA3CD09759B2}"/>
              </a:ext>
            </a:extLst>
          </p:cNvPr>
          <p:cNvSpPr>
            <a:spLocks noGrp="1"/>
          </p:cNvSpPr>
          <p:nvPr>
            <p:ph type="title"/>
          </p:nvPr>
        </p:nvSpPr>
        <p:spPr>
          <a:xfrm>
            <a:off x="596900" y="800754"/>
            <a:ext cx="10312400" cy="566698"/>
          </a:xfrm>
        </p:spPr>
        <p:txBody>
          <a:bodyPr/>
          <a:lstStyle/>
          <a:p>
            <a:r>
              <a:rPr lang="en-US" dirty="0"/>
              <a:t>Case Study: Lessons Learned</a:t>
            </a:r>
            <a:br>
              <a:rPr lang="en-US" dirty="0"/>
            </a:br>
            <a:r>
              <a:rPr lang="en-US" dirty="0"/>
              <a:t> </a:t>
            </a:r>
          </a:p>
        </p:txBody>
      </p:sp>
      <p:sp>
        <p:nvSpPr>
          <p:cNvPr id="2" name="Footer Placeholder 1">
            <a:extLst>
              <a:ext uri="{FF2B5EF4-FFF2-40B4-BE49-F238E27FC236}">
                <a16:creationId xmlns:a16="http://schemas.microsoft.com/office/drawing/2014/main" id="{3D7725FC-7E72-39AC-738D-1ADE5C1A45DA}"/>
              </a:ext>
            </a:extLst>
          </p:cNvPr>
          <p:cNvSpPr>
            <a:spLocks noGrp="1"/>
          </p:cNvSpPr>
          <p:nvPr>
            <p:ph type="ftr" sz="quarter" idx="10"/>
          </p:nvPr>
        </p:nvSpPr>
        <p:spPr>
          <a:xfrm>
            <a:off x="609600" y="6567465"/>
            <a:ext cx="10083800" cy="153888"/>
          </a:xfrm>
        </p:spPr>
        <p:txBody>
          <a:bodyPr/>
          <a:lstStyle/>
          <a:p>
            <a:r>
              <a:rPr lang="en-US" dirty="0"/>
              <a:t>© 2025 Guidehouse Inc.</a:t>
            </a:r>
          </a:p>
        </p:txBody>
      </p:sp>
      <p:sp>
        <p:nvSpPr>
          <p:cNvPr id="3" name="Slide Number Placeholder 2">
            <a:extLst>
              <a:ext uri="{FF2B5EF4-FFF2-40B4-BE49-F238E27FC236}">
                <a16:creationId xmlns:a16="http://schemas.microsoft.com/office/drawing/2014/main" id="{755DE141-7598-F4F1-7DAE-948D1CF816CB}"/>
              </a:ext>
            </a:extLst>
          </p:cNvPr>
          <p:cNvSpPr>
            <a:spLocks noGrp="1"/>
          </p:cNvSpPr>
          <p:nvPr>
            <p:ph type="sldNum" sz="quarter" idx="11"/>
          </p:nvPr>
        </p:nvSpPr>
        <p:spPr>
          <a:xfrm>
            <a:off x="11248008" y="6567465"/>
            <a:ext cx="334392" cy="153888"/>
          </a:xfrm>
        </p:spPr>
        <p:txBody>
          <a:bodyPr/>
          <a:lstStyle/>
          <a:p>
            <a:fld id="{FD814145-5B10-4F3F-A6BF-3641B91211CF}" type="slidenum">
              <a:rPr lang="en-US" smtClean="0"/>
              <a:pPr/>
              <a:t>7</a:t>
            </a:fld>
            <a:endParaRPr lang="en-US" dirty="0"/>
          </a:p>
        </p:txBody>
      </p:sp>
      <p:sp>
        <p:nvSpPr>
          <p:cNvPr id="7" name="Date Placeholder 6">
            <a:extLst>
              <a:ext uri="{FF2B5EF4-FFF2-40B4-BE49-F238E27FC236}">
                <a16:creationId xmlns:a16="http://schemas.microsoft.com/office/drawing/2014/main" id="{6F0BE3BC-81E2-310E-48E8-E503636A555F}"/>
              </a:ext>
            </a:extLst>
          </p:cNvPr>
          <p:cNvSpPr>
            <a:spLocks noGrp="1"/>
          </p:cNvSpPr>
          <p:nvPr>
            <p:ph type="dt" sz="half" idx="12"/>
          </p:nvPr>
        </p:nvSpPr>
        <p:spPr>
          <a:xfrm>
            <a:off x="10236555" y="136647"/>
            <a:ext cx="1345845" cy="153888"/>
          </a:xfrm>
        </p:spPr>
        <p:txBody>
          <a:bodyPr/>
          <a:lstStyle/>
          <a:p>
            <a:r>
              <a:rPr lang="en-US" dirty="0"/>
              <a:t>APRIL 29, 2025</a:t>
            </a:r>
          </a:p>
        </p:txBody>
      </p:sp>
      <p:sp>
        <p:nvSpPr>
          <p:cNvPr id="65" name="Text Placeholder 64">
            <a:extLst>
              <a:ext uri="{FF2B5EF4-FFF2-40B4-BE49-F238E27FC236}">
                <a16:creationId xmlns:a16="http://schemas.microsoft.com/office/drawing/2014/main" id="{70DD58B3-C2C9-643D-26AA-34A43ACA5F72}"/>
              </a:ext>
            </a:extLst>
          </p:cNvPr>
          <p:cNvSpPr>
            <a:spLocks noGrp="1"/>
          </p:cNvSpPr>
          <p:nvPr>
            <p:ph type="body" sz="quarter" idx="28"/>
          </p:nvPr>
        </p:nvSpPr>
        <p:spPr/>
        <p:txBody>
          <a:bodyPr/>
          <a:lstStyle/>
          <a:p>
            <a:endParaRPr lang="en-US" dirty="0"/>
          </a:p>
          <a:p>
            <a:r>
              <a:rPr lang="en-US" dirty="0"/>
              <a:t>DC Chapter AGA 2025 Spring Training</a:t>
            </a:r>
          </a:p>
          <a:p>
            <a:endParaRPr lang="en-US" dirty="0"/>
          </a:p>
        </p:txBody>
      </p:sp>
      <p:grpSp>
        <p:nvGrpSpPr>
          <p:cNvPr id="49" name="Group 48">
            <a:extLst>
              <a:ext uri="{FF2B5EF4-FFF2-40B4-BE49-F238E27FC236}">
                <a16:creationId xmlns:a16="http://schemas.microsoft.com/office/drawing/2014/main" id="{585A3F02-3112-53E4-3841-CDB42BA3D2F0}"/>
              </a:ext>
            </a:extLst>
          </p:cNvPr>
          <p:cNvGrpSpPr/>
          <p:nvPr/>
        </p:nvGrpSpPr>
        <p:grpSpPr>
          <a:xfrm>
            <a:off x="596900" y="1605082"/>
            <a:ext cx="10918217" cy="591291"/>
            <a:chOff x="596900" y="1605082"/>
            <a:chExt cx="10918217" cy="591291"/>
          </a:xfrm>
        </p:grpSpPr>
        <p:sp>
          <p:nvSpPr>
            <p:cNvPr id="67" name="Rectangle 66">
              <a:extLst>
                <a:ext uri="{FF2B5EF4-FFF2-40B4-BE49-F238E27FC236}">
                  <a16:creationId xmlns:a16="http://schemas.microsoft.com/office/drawing/2014/main" id="{D9EEB3BF-FEA5-B25E-E3C5-3BE4977EA694}"/>
                </a:ext>
              </a:extLst>
            </p:cNvPr>
            <p:cNvSpPr/>
            <p:nvPr/>
          </p:nvSpPr>
          <p:spPr>
            <a:xfrm>
              <a:off x="596900" y="1605082"/>
              <a:ext cx="10918217" cy="375302"/>
            </a:xfrm>
            <a:prstGeom prst="rect">
              <a:avLst/>
            </a:prstGeom>
            <a:solidFill>
              <a:schemeClr val="tx2">
                <a:lumMod val="10000"/>
                <a:lumOff val="90000"/>
              </a:schemeClr>
            </a:solidFill>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05D75325-49F0-A6EF-02C5-6B4729A6D54F}"/>
                </a:ext>
              </a:extLst>
            </p:cNvPr>
            <p:cNvGrpSpPr/>
            <p:nvPr/>
          </p:nvGrpSpPr>
          <p:grpSpPr>
            <a:xfrm>
              <a:off x="657983" y="1650035"/>
              <a:ext cx="1510887" cy="429250"/>
              <a:chOff x="676883" y="1398781"/>
              <a:chExt cx="1510887" cy="429250"/>
            </a:xfrm>
          </p:grpSpPr>
          <p:sp>
            <p:nvSpPr>
              <p:cNvPr id="69" name="Text Placeholder 32">
                <a:extLst>
                  <a:ext uri="{FF2B5EF4-FFF2-40B4-BE49-F238E27FC236}">
                    <a16:creationId xmlns:a16="http://schemas.microsoft.com/office/drawing/2014/main" id="{14AEFEC1-4D2F-89DD-6845-B7EFDB295CA8}"/>
                  </a:ext>
                </a:extLst>
              </p:cNvPr>
              <p:cNvSpPr txBox="1">
                <a:spLocks/>
              </p:cNvSpPr>
              <p:nvPr/>
            </p:nvSpPr>
            <p:spPr>
              <a:xfrm>
                <a:off x="1015708" y="1417786"/>
                <a:ext cx="1172062" cy="41024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Situation</a:t>
                </a:r>
              </a:p>
            </p:txBody>
          </p:sp>
          <p:pic>
            <p:nvPicPr>
              <p:cNvPr id="70" name="Picture 69" descr="A green and black logo&#10;&#10;Description automatically generated">
                <a:extLst>
                  <a:ext uri="{FF2B5EF4-FFF2-40B4-BE49-F238E27FC236}">
                    <a16:creationId xmlns:a16="http://schemas.microsoft.com/office/drawing/2014/main" id="{F1B2C37C-AC02-597D-7611-34F79266C1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676883" y="1398781"/>
                <a:ext cx="274320" cy="274320"/>
              </a:xfrm>
              <a:prstGeom prst="rect">
                <a:avLst/>
              </a:prstGeom>
            </p:spPr>
          </p:pic>
        </p:grpSp>
        <p:grpSp>
          <p:nvGrpSpPr>
            <p:cNvPr id="97" name="Group 96">
              <a:extLst>
                <a:ext uri="{FF2B5EF4-FFF2-40B4-BE49-F238E27FC236}">
                  <a16:creationId xmlns:a16="http://schemas.microsoft.com/office/drawing/2014/main" id="{CD8F1A1F-560B-0872-591C-6DFD396F0C27}"/>
                </a:ext>
              </a:extLst>
            </p:cNvPr>
            <p:cNvGrpSpPr/>
            <p:nvPr/>
          </p:nvGrpSpPr>
          <p:grpSpPr>
            <a:xfrm>
              <a:off x="3459119" y="1650035"/>
              <a:ext cx="980785" cy="429251"/>
              <a:chOff x="3477082" y="1398780"/>
              <a:chExt cx="980785" cy="429251"/>
            </a:xfrm>
          </p:grpSpPr>
          <p:sp>
            <p:nvSpPr>
              <p:cNvPr id="71" name="Text Placeholder 32">
                <a:extLst>
                  <a:ext uri="{FF2B5EF4-FFF2-40B4-BE49-F238E27FC236}">
                    <a16:creationId xmlns:a16="http://schemas.microsoft.com/office/drawing/2014/main" id="{96CE3532-880A-F25E-02AD-4AD23EF2AC58}"/>
                  </a:ext>
                </a:extLst>
              </p:cNvPr>
              <p:cNvSpPr txBox="1">
                <a:spLocks/>
              </p:cNvSpPr>
              <p:nvPr/>
            </p:nvSpPr>
            <p:spPr>
              <a:xfrm>
                <a:off x="3827002" y="1417786"/>
                <a:ext cx="630865" cy="41024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ask</a:t>
                </a:r>
              </a:p>
            </p:txBody>
          </p:sp>
          <p:pic>
            <p:nvPicPr>
              <p:cNvPr id="75" name="Picture 74" descr="A green circle with a black line in it&#10;&#10;Description automatically generated">
                <a:extLst>
                  <a:ext uri="{FF2B5EF4-FFF2-40B4-BE49-F238E27FC236}">
                    <a16:creationId xmlns:a16="http://schemas.microsoft.com/office/drawing/2014/main" id="{EC0E355A-00E1-B846-4621-F29CC90950E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477082" y="1398780"/>
                <a:ext cx="274320" cy="274320"/>
              </a:xfrm>
              <a:prstGeom prst="rect">
                <a:avLst/>
              </a:prstGeom>
            </p:spPr>
          </p:pic>
        </p:grpSp>
        <p:grpSp>
          <p:nvGrpSpPr>
            <p:cNvPr id="99" name="Group 98">
              <a:extLst>
                <a:ext uri="{FF2B5EF4-FFF2-40B4-BE49-F238E27FC236}">
                  <a16:creationId xmlns:a16="http://schemas.microsoft.com/office/drawing/2014/main" id="{6D2FE4D5-D5FA-3A58-F7F9-E6A98809CA2A}"/>
                </a:ext>
              </a:extLst>
            </p:cNvPr>
            <p:cNvGrpSpPr/>
            <p:nvPr/>
          </p:nvGrpSpPr>
          <p:grpSpPr>
            <a:xfrm>
              <a:off x="5730153" y="1650035"/>
              <a:ext cx="944778" cy="546338"/>
              <a:chOff x="5740385" y="1398780"/>
              <a:chExt cx="944778" cy="546338"/>
            </a:xfrm>
          </p:grpSpPr>
          <p:sp>
            <p:nvSpPr>
              <p:cNvPr id="72" name="Text Placeholder 32">
                <a:extLst>
                  <a:ext uri="{FF2B5EF4-FFF2-40B4-BE49-F238E27FC236}">
                    <a16:creationId xmlns:a16="http://schemas.microsoft.com/office/drawing/2014/main" id="{A3F44CC3-ED2B-94E4-43B3-F45C78E20A3F}"/>
                  </a:ext>
                </a:extLst>
              </p:cNvPr>
              <p:cNvSpPr txBox="1">
                <a:spLocks/>
              </p:cNvSpPr>
              <p:nvPr/>
            </p:nvSpPr>
            <p:spPr>
              <a:xfrm>
                <a:off x="6097099" y="1417786"/>
                <a:ext cx="588064" cy="52733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Action</a:t>
                </a:r>
              </a:p>
            </p:txBody>
          </p:sp>
          <p:pic>
            <p:nvPicPr>
              <p:cNvPr id="76" name="Picture 75" descr="A green and black logo&#10;&#10;Description automatically generated">
                <a:extLst>
                  <a:ext uri="{FF2B5EF4-FFF2-40B4-BE49-F238E27FC236}">
                    <a16:creationId xmlns:a16="http://schemas.microsoft.com/office/drawing/2014/main" id="{E44D18CA-89AC-4081-99A2-E503A2CF923E}"/>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5740385" y="1398780"/>
                <a:ext cx="274320" cy="274320"/>
              </a:xfrm>
              <a:prstGeom prst="rect">
                <a:avLst/>
              </a:prstGeom>
            </p:spPr>
          </p:pic>
        </p:grpSp>
        <p:grpSp>
          <p:nvGrpSpPr>
            <p:cNvPr id="100" name="Group 99">
              <a:extLst>
                <a:ext uri="{FF2B5EF4-FFF2-40B4-BE49-F238E27FC236}">
                  <a16:creationId xmlns:a16="http://schemas.microsoft.com/office/drawing/2014/main" id="{C38C9E6B-03B2-FD18-EE50-E648D45A7353}"/>
                </a:ext>
              </a:extLst>
            </p:cNvPr>
            <p:cNvGrpSpPr/>
            <p:nvPr/>
          </p:nvGrpSpPr>
          <p:grpSpPr>
            <a:xfrm>
              <a:off x="7965180" y="1650035"/>
              <a:ext cx="925549" cy="429251"/>
              <a:chOff x="7986910" y="1398780"/>
              <a:chExt cx="925549" cy="429251"/>
            </a:xfrm>
          </p:grpSpPr>
          <p:sp>
            <p:nvSpPr>
              <p:cNvPr id="73" name="Text Placeholder 32">
                <a:extLst>
                  <a:ext uri="{FF2B5EF4-FFF2-40B4-BE49-F238E27FC236}">
                    <a16:creationId xmlns:a16="http://schemas.microsoft.com/office/drawing/2014/main" id="{94A293BA-7F1F-19EB-9E70-69952BE02D12}"/>
                  </a:ext>
                </a:extLst>
              </p:cNvPr>
              <p:cNvSpPr txBox="1">
                <a:spLocks/>
              </p:cNvSpPr>
              <p:nvPr/>
            </p:nvSpPr>
            <p:spPr>
              <a:xfrm>
                <a:off x="8324395" y="1417786"/>
                <a:ext cx="588064" cy="41024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Result</a:t>
                </a:r>
              </a:p>
            </p:txBody>
          </p:sp>
          <p:pic>
            <p:nvPicPr>
              <p:cNvPr id="77" name="Picture 76" descr="A green rectangle with a black background&#10;&#10;Description automatically generated">
                <a:extLst>
                  <a:ext uri="{FF2B5EF4-FFF2-40B4-BE49-F238E27FC236}">
                    <a16:creationId xmlns:a16="http://schemas.microsoft.com/office/drawing/2014/main" id="{C3144E85-DBEB-7EE1-0741-34998A75FBC6}"/>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7986910" y="1398780"/>
                <a:ext cx="274320" cy="274320"/>
              </a:xfrm>
              <a:prstGeom prst="rect">
                <a:avLst/>
              </a:prstGeom>
            </p:spPr>
          </p:pic>
        </p:grpSp>
        <p:grpSp>
          <p:nvGrpSpPr>
            <p:cNvPr id="101" name="Group 100">
              <a:extLst>
                <a:ext uri="{FF2B5EF4-FFF2-40B4-BE49-F238E27FC236}">
                  <a16:creationId xmlns:a16="http://schemas.microsoft.com/office/drawing/2014/main" id="{6FD494F4-2F9B-7A33-D61A-C562D327006E}"/>
                </a:ext>
              </a:extLst>
            </p:cNvPr>
            <p:cNvGrpSpPr/>
            <p:nvPr/>
          </p:nvGrpSpPr>
          <p:grpSpPr>
            <a:xfrm>
              <a:off x="10180978" y="1650035"/>
              <a:ext cx="1067030" cy="343640"/>
              <a:chOff x="10199878" y="1398780"/>
              <a:chExt cx="1067030" cy="343640"/>
            </a:xfrm>
          </p:grpSpPr>
          <p:sp>
            <p:nvSpPr>
              <p:cNvPr id="74" name="Text Placeholder 32">
                <a:extLst>
                  <a:ext uri="{FF2B5EF4-FFF2-40B4-BE49-F238E27FC236}">
                    <a16:creationId xmlns:a16="http://schemas.microsoft.com/office/drawing/2014/main" id="{BEAFE011-5E20-4392-A388-1F333B2A735D}"/>
                  </a:ext>
                </a:extLst>
              </p:cNvPr>
              <p:cNvSpPr txBox="1">
                <a:spLocks/>
              </p:cNvSpPr>
              <p:nvPr/>
            </p:nvSpPr>
            <p:spPr>
              <a:xfrm>
                <a:off x="10551691" y="1417786"/>
                <a:ext cx="715217" cy="32463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Strategy</a:t>
                </a:r>
              </a:p>
            </p:txBody>
          </p:sp>
          <p:pic>
            <p:nvPicPr>
              <p:cNvPr id="78" name="Picture 77" descr="A green and black logo&#10;&#10;Description automatically generated">
                <a:extLst>
                  <a:ext uri="{FF2B5EF4-FFF2-40B4-BE49-F238E27FC236}">
                    <a16:creationId xmlns:a16="http://schemas.microsoft.com/office/drawing/2014/main" id="{AB11257E-B5F5-3D38-42CB-1A3DED10506A}"/>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0199878" y="1398780"/>
                <a:ext cx="274320" cy="274320"/>
              </a:xfrm>
              <a:prstGeom prst="rect">
                <a:avLst/>
              </a:prstGeom>
            </p:spPr>
          </p:pic>
        </p:grpSp>
      </p:grpSp>
      <p:sp>
        <p:nvSpPr>
          <p:cNvPr id="81" name="Text Placeholder 36">
            <a:extLst>
              <a:ext uri="{FF2B5EF4-FFF2-40B4-BE49-F238E27FC236}">
                <a16:creationId xmlns:a16="http://schemas.microsoft.com/office/drawing/2014/main" id="{29D8A125-E921-2167-46B7-5CBFD42DA522}"/>
              </a:ext>
            </a:extLst>
          </p:cNvPr>
          <p:cNvSpPr txBox="1">
            <a:spLocks/>
          </p:cNvSpPr>
          <p:nvPr/>
        </p:nvSpPr>
        <p:spPr>
          <a:xfrm>
            <a:off x="608584" y="2837338"/>
            <a:ext cx="3099816" cy="923544"/>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Situation: Managed a policy and SOP project at the US House of Representatives to prepare for future audits and assessments.</a:t>
            </a:r>
          </a:p>
        </p:txBody>
      </p:sp>
      <p:sp>
        <p:nvSpPr>
          <p:cNvPr id="83" name="Text Placeholder 40">
            <a:extLst>
              <a:ext uri="{FF2B5EF4-FFF2-40B4-BE49-F238E27FC236}">
                <a16:creationId xmlns:a16="http://schemas.microsoft.com/office/drawing/2014/main" id="{B82AAD2E-8706-4EBF-5CFA-C2F0EBAED7AE}"/>
              </a:ext>
            </a:extLst>
          </p:cNvPr>
          <p:cNvSpPr txBox="1">
            <a:spLocks/>
          </p:cNvSpPr>
          <p:nvPr/>
        </p:nvSpPr>
        <p:spPr>
          <a:xfrm>
            <a:off x="8482583" y="2837338"/>
            <a:ext cx="3099816" cy="923544"/>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Situation: Emotional “Unintelligence” in first job out of college.</a:t>
            </a:r>
          </a:p>
          <a:p>
            <a:endParaRPr lang="en-US" sz="1800" dirty="0"/>
          </a:p>
        </p:txBody>
      </p:sp>
      <p:grpSp>
        <p:nvGrpSpPr>
          <p:cNvPr id="84" name="Group 83">
            <a:extLst>
              <a:ext uri="{FF2B5EF4-FFF2-40B4-BE49-F238E27FC236}">
                <a16:creationId xmlns:a16="http://schemas.microsoft.com/office/drawing/2014/main" id="{1ECA238A-4443-95EB-2556-3F463E90B39D}"/>
              </a:ext>
            </a:extLst>
          </p:cNvPr>
          <p:cNvGrpSpPr/>
          <p:nvPr/>
        </p:nvGrpSpPr>
        <p:grpSpPr>
          <a:xfrm>
            <a:off x="596900" y="4559499"/>
            <a:ext cx="3098800" cy="0"/>
            <a:chOff x="609600" y="3928583"/>
            <a:chExt cx="3098800" cy="0"/>
          </a:xfrm>
        </p:grpSpPr>
        <p:cxnSp>
          <p:nvCxnSpPr>
            <p:cNvPr id="85" name="Straight Connector 84">
              <a:extLst>
                <a:ext uri="{FF2B5EF4-FFF2-40B4-BE49-F238E27FC236}">
                  <a16:creationId xmlns:a16="http://schemas.microsoft.com/office/drawing/2014/main" id="{12893808-45D4-6D16-CA99-F17E9CF960EF}"/>
                </a:ext>
              </a:extLst>
            </p:cNvPr>
            <p:cNvCxnSpPr>
              <a:cxnSpLocks/>
            </p:cNvCxnSpPr>
            <p:nvPr/>
          </p:nvCxnSpPr>
          <p:spPr>
            <a:xfrm flipH="1">
              <a:off x="609600" y="3928583"/>
              <a:ext cx="309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B394F0E-420A-CAC3-0C23-A805E08D7221}"/>
                </a:ext>
              </a:extLst>
            </p:cNvPr>
            <p:cNvCxnSpPr>
              <a:cxnSpLocks/>
            </p:cNvCxnSpPr>
            <p:nvPr/>
          </p:nvCxnSpPr>
          <p:spPr>
            <a:xfrm flipH="1">
              <a:off x="609600" y="3928583"/>
              <a:ext cx="66494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F2690022-5E34-F67E-23F1-9ECB36B0569F}"/>
              </a:ext>
            </a:extLst>
          </p:cNvPr>
          <p:cNvGrpSpPr/>
          <p:nvPr/>
        </p:nvGrpSpPr>
        <p:grpSpPr>
          <a:xfrm>
            <a:off x="4677040" y="4793093"/>
            <a:ext cx="3098800" cy="0"/>
            <a:chOff x="4546600" y="3928583"/>
            <a:chExt cx="3098800" cy="0"/>
          </a:xfrm>
        </p:grpSpPr>
        <p:cxnSp>
          <p:nvCxnSpPr>
            <p:cNvPr id="88" name="Straight Connector 87">
              <a:extLst>
                <a:ext uri="{FF2B5EF4-FFF2-40B4-BE49-F238E27FC236}">
                  <a16:creationId xmlns:a16="http://schemas.microsoft.com/office/drawing/2014/main" id="{9B0D92B8-0087-F87B-1327-D93830F6F880}"/>
                </a:ext>
              </a:extLst>
            </p:cNvPr>
            <p:cNvCxnSpPr>
              <a:cxnSpLocks/>
            </p:cNvCxnSpPr>
            <p:nvPr/>
          </p:nvCxnSpPr>
          <p:spPr>
            <a:xfrm flipH="1">
              <a:off x="4546600" y="3928583"/>
              <a:ext cx="309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D3E1366-61D9-2F1F-B530-D766E64C9139}"/>
                </a:ext>
              </a:extLst>
            </p:cNvPr>
            <p:cNvCxnSpPr>
              <a:cxnSpLocks/>
            </p:cNvCxnSpPr>
            <p:nvPr/>
          </p:nvCxnSpPr>
          <p:spPr>
            <a:xfrm flipH="1">
              <a:off x="4546600" y="3928583"/>
              <a:ext cx="66494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5344FC2C-CD30-611F-050F-B13509E2DC86}"/>
              </a:ext>
            </a:extLst>
          </p:cNvPr>
          <p:cNvGrpSpPr/>
          <p:nvPr/>
        </p:nvGrpSpPr>
        <p:grpSpPr>
          <a:xfrm>
            <a:off x="8302665" y="4560061"/>
            <a:ext cx="3098800" cy="0"/>
            <a:chOff x="8483599" y="3928583"/>
            <a:chExt cx="3098800" cy="0"/>
          </a:xfrm>
        </p:grpSpPr>
        <p:cxnSp>
          <p:nvCxnSpPr>
            <p:cNvPr id="91" name="Straight Connector 90">
              <a:extLst>
                <a:ext uri="{FF2B5EF4-FFF2-40B4-BE49-F238E27FC236}">
                  <a16:creationId xmlns:a16="http://schemas.microsoft.com/office/drawing/2014/main" id="{0D46F6ED-72B5-B053-1618-AC28E29D0594}"/>
                </a:ext>
              </a:extLst>
            </p:cNvPr>
            <p:cNvCxnSpPr>
              <a:cxnSpLocks/>
            </p:cNvCxnSpPr>
            <p:nvPr/>
          </p:nvCxnSpPr>
          <p:spPr>
            <a:xfrm flipH="1">
              <a:off x="8483599" y="3928583"/>
              <a:ext cx="309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4963CFF-8863-114D-3A57-3FB0BFA2FD85}"/>
                </a:ext>
              </a:extLst>
            </p:cNvPr>
            <p:cNvCxnSpPr>
              <a:cxnSpLocks/>
            </p:cNvCxnSpPr>
            <p:nvPr/>
          </p:nvCxnSpPr>
          <p:spPr>
            <a:xfrm flipH="1">
              <a:off x="8483599" y="3928583"/>
              <a:ext cx="66494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3" name="Text Placeholder 30">
            <a:extLst>
              <a:ext uri="{FF2B5EF4-FFF2-40B4-BE49-F238E27FC236}">
                <a16:creationId xmlns:a16="http://schemas.microsoft.com/office/drawing/2014/main" id="{62869744-6271-AB10-4770-5C8193711261}"/>
              </a:ext>
            </a:extLst>
          </p:cNvPr>
          <p:cNvSpPr txBox="1">
            <a:spLocks/>
          </p:cNvSpPr>
          <p:nvPr/>
        </p:nvSpPr>
        <p:spPr>
          <a:xfrm>
            <a:off x="608584" y="2056406"/>
            <a:ext cx="2848991" cy="491745"/>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8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Shepherd Brown</a:t>
            </a:r>
          </a:p>
        </p:txBody>
      </p:sp>
      <p:sp>
        <p:nvSpPr>
          <p:cNvPr id="94" name="Text Placeholder 30">
            <a:extLst>
              <a:ext uri="{FF2B5EF4-FFF2-40B4-BE49-F238E27FC236}">
                <a16:creationId xmlns:a16="http://schemas.microsoft.com/office/drawing/2014/main" id="{D807858E-A02A-C8D1-2A35-8D5CCAA83F67}"/>
              </a:ext>
            </a:extLst>
          </p:cNvPr>
          <p:cNvSpPr txBox="1">
            <a:spLocks/>
          </p:cNvSpPr>
          <p:nvPr/>
        </p:nvSpPr>
        <p:spPr>
          <a:xfrm>
            <a:off x="4545584" y="2076353"/>
            <a:ext cx="2305156" cy="491745"/>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8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Ann Davison</a:t>
            </a:r>
          </a:p>
        </p:txBody>
      </p:sp>
      <p:sp>
        <p:nvSpPr>
          <p:cNvPr id="95" name="Text Placeholder 30">
            <a:extLst>
              <a:ext uri="{FF2B5EF4-FFF2-40B4-BE49-F238E27FC236}">
                <a16:creationId xmlns:a16="http://schemas.microsoft.com/office/drawing/2014/main" id="{2B7CD9AF-4A4A-328D-BCCD-DC9DD946E500}"/>
              </a:ext>
            </a:extLst>
          </p:cNvPr>
          <p:cNvSpPr txBox="1">
            <a:spLocks/>
          </p:cNvSpPr>
          <p:nvPr/>
        </p:nvSpPr>
        <p:spPr>
          <a:xfrm>
            <a:off x="8482583" y="2096300"/>
            <a:ext cx="2305050" cy="491745"/>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8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Jay Hurt</a:t>
            </a:r>
          </a:p>
        </p:txBody>
      </p:sp>
      <p:graphicFrame>
        <p:nvGraphicFramePr>
          <p:cNvPr id="96" name="Diagram 95">
            <a:extLst>
              <a:ext uri="{FF2B5EF4-FFF2-40B4-BE49-F238E27FC236}">
                <a16:creationId xmlns:a16="http://schemas.microsoft.com/office/drawing/2014/main" id="{EE2D2AD4-FF88-5D77-3758-91FCB4E9D45F}"/>
              </a:ext>
            </a:extLst>
          </p:cNvPr>
          <p:cNvGraphicFramePr/>
          <p:nvPr>
            <p:extLst>
              <p:ext uri="{D42A27DB-BD31-4B8C-83A1-F6EECF244321}">
                <p14:modId xmlns:p14="http://schemas.microsoft.com/office/powerpoint/2010/main" val="3569493683"/>
              </p:ext>
            </p:extLst>
          </p:nvPr>
        </p:nvGraphicFramePr>
        <p:xfrm>
          <a:off x="931841" y="5361466"/>
          <a:ext cx="10328319" cy="94621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5" name="Rectangle 24">
            <a:extLst>
              <a:ext uri="{FF2B5EF4-FFF2-40B4-BE49-F238E27FC236}">
                <a16:creationId xmlns:a16="http://schemas.microsoft.com/office/drawing/2014/main" id="{A919AF31-14A2-0ABA-15D9-0C775E0FFA01}"/>
              </a:ext>
            </a:extLst>
          </p:cNvPr>
          <p:cNvSpPr/>
          <p:nvPr/>
        </p:nvSpPr>
        <p:spPr>
          <a:xfrm>
            <a:off x="1442963" y="4792531"/>
            <a:ext cx="9306074" cy="410245"/>
          </a:xfrm>
          <a:prstGeom prst="rect">
            <a:avLst/>
          </a:prstGeom>
          <a:solidFill>
            <a:schemeClr val="accent3"/>
          </a:solidFill>
        </p:spPr>
        <p:style>
          <a:lnRef idx="3">
            <a:schemeClr val="lt1"/>
          </a:lnRef>
          <a:fillRef idx="1">
            <a:schemeClr val="accent5"/>
          </a:fillRef>
          <a:effectRef idx="1">
            <a:schemeClr val="accent5"/>
          </a:effectRef>
          <a:fontRef idx="minor">
            <a:schemeClr val="lt1"/>
          </a:fontRef>
        </p:style>
        <p:txBody>
          <a:bodyPr rtlCol="0" anchor="ctr"/>
          <a:lstStyle/>
          <a:p>
            <a:pPr algn="ctr"/>
            <a:r>
              <a:rPr lang="en-US" sz="2000" b="1" dirty="0">
                <a:latin typeface="+mj-lt"/>
              </a:rPr>
              <a:t>Resilient Leadership Strategies</a:t>
            </a:r>
          </a:p>
        </p:txBody>
      </p:sp>
      <p:sp>
        <p:nvSpPr>
          <p:cNvPr id="102" name="Arrow: Curved Right 101">
            <a:extLst>
              <a:ext uri="{FF2B5EF4-FFF2-40B4-BE49-F238E27FC236}">
                <a16:creationId xmlns:a16="http://schemas.microsoft.com/office/drawing/2014/main" id="{0B360271-011A-BFC8-0551-0AC8B703FFD4}"/>
              </a:ext>
            </a:extLst>
          </p:cNvPr>
          <p:cNvSpPr/>
          <p:nvPr/>
        </p:nvSpPr>
        <p:spPr>
          <a:xfrm>
            <a:off x="220750" y="4890503"/>
            <a:ext cx="1061950" cy="1216152"/>
          </a:xfrm>
          <a:prstGeom prst="curv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4" name="Arrow: Curved Left 103">
            <a:extLst>
              <a:ext uri="{FF2B5EF4-FFF2-40B4-BE49-F238E27FC236}">
                <a16:creationId xmlns:a16="http://schemas.microsoft.com/office/drawing/2014/main" id="{0F3F1CF3-E3C0-5485-318C-289506BB72AB}"/>
              </a:ext>
            </a:extLst>
          </p:cNvPr>
          <p:cNvSpPr/>
          <p:nvPr/>
        </p:nvSpPr>
        <p:spPr>
          <a:xfrm>
            <a:off x="10909300" y="4841688"/>
            <a:ext cx="1061950" cy="1215544"/>
          </a:xfrm>
          <a:prstGeom prst="curved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4" name="Group 3">
            <a:extLst>
              <a:ext uri="{FF2B5EF4-FFF2-40B4-BE49-F238E27FC236}">
                <a16:creationId xmlns:a16="http://schemas.microsoft.com/office/drawing/2014/main" id="{6C08F6ED-5A42-78ED-6B34-7348FF66069B}"/>
              </a:ext>
            </a:extLst>
          </p:cNvPr>
          <p:cNvGrpSpPr/>
          <p:nvPr/>
        </p:nvGrpSpPr>
        <p:grpSpPr>
          <a:xfrm>
            <a:off x="4317913" y="4559499"/>
            <a:ext cx="3098800" cy="0"/>
            <a:chOff x="8483599" y="3928583"/>
            <a:chExt cx="3098800" cy="0"/>
          </a:xfrm>
        </p:grpSpPr>
        <p:cxnSp>
          <p:nvCxnSpPr>
            <p:cNvPr id="5" name="Straight Connector 4">
              <a:extLst>
                <a:ext uri="{FF2B5EF4-FFF2-40B4-BE49-F238E27FC236}">
                  <a16:creationId xmlns:a16="http://schemas.microsoft.com/office/drawing/2014/main" id="{B2819E65-A07B-E6D4-7AF8-7A74DAA2B105}"/>
                </a:ext>
              </a:extLst>
            </p:cNvPr>
            <p:cNvCxnSpPr>
              <a:cxnSpLocks/>
            </p:cNvCxnSpPr>
            <p:nvPr/>
          </p:nvCxnSpPr>
          <p:spPr>
            <a:xfrm flipH="1">
              <a:off x="8483599" y="3928583"/>
              <a:ext cx="3098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E87406A-115D-7512-E61D-BB3325E98627}"/>
                </a:ext>
              </a:extLst>
            </p:cNvPr>
            <p:cNvCxnSpPr>
              <a:cxnSpLocks/>
            </p:cNvCxnSpPr>
            <p:nvPr/>
          </p:nvCxnSpPr>
          <p:spPr>
            <a:xfrm flipH="1">
              <a:off x="8483599" y="3928583"/>
              <a:ext cx="664946"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0" name="Text Placeholder 36">
            <a:extLst>
              <a:ext uri="{FF2B5EF4-FFF2-40B4-BE49-F238E27FC236}">
                <a16:creationId xmlns:a16="http://schemas.microsoft.com/office/drawing/2014/main" id="{96A16A52-EB27-D2AE-DCDB-5B8548F1F2C3}"/>
              </a:ext>
            </a:extLst>
          </p:cNvPr>
          <p:cNvSpPr txBox="1">
            <a:spLocks/>
          </p:cNvSpPr>
          <p:nvPr/>
        </p:nvSpPr>
        <p:spPr>
          <a:xfrm>
            <a:off x="4315260" y="2850253"/>
            <a:ext cx="3099817" cy="1052696"/>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a:solidFill>
                  <a:schemeClr val="tx2"/>
                </a:solidFill>
                <a:latin typeface="+mn-lt"/>
                <a:ea typeface="+mn-ea"/>
                <a:cs typeface="+mn-cs"/>
              </a:defRPr>
            </a:lvl1pPr>
            <a:lvl2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2pPr>
            <a:lvl3pPr marL="36576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600" kern="1200">
                <a:solidFill>
                  <a:schemeClr val="tx2"/>
                </a:solidFill>
                <a:latin typeface="+mn-lt"/>
                <a:ea typeface="+mn-ea"/>
                <a:cs typeface="+mn-cs"/>
              </a:defRPr>
            </a:lvl3pPr>
            <a:lvl4pPr marL="548640" indent="-18288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731520" indent="-182880" algn="l" defTabSz="914400" rtl="0" eaLnBrk="1" latinLnBrk="0" hangingPunct="1">
              <a:lnSpc>
                <a:spcPct val="100000"/>
              </a:lnSpc>
              <a:spcBef>
                <a:spcPts val="0"/>
              </a:spcBef>
              <a:spcAft>
                <a:spcPts val="600"/>
              </a:spcAft>
              <a:buClr>
                <a:schemeClr val="accent2"/>
              </a:buClr>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Situation: Insightful intelligence gathered.</a:t>
            </a:r>
          </a:p>
        </p:txBody>
      </p:sp>
    </p:spTree>
    <p:extLst>
      <p:ext uri="{BB962C8B-B14F-4D97-AF65-F5344CB8AC3E}">
        <p14:creationId xmlns:p14="http://schemas.microsoft.com/office/powerpoint/2010/main" val="2359130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A01682FD-CD17-37C0-4482-018B36862DD6}"/>
              </a:ext>
            </a:extLst>
          </p:cNvPr>
          <p:cNvSpPr>
            <a:spLocks noGrp="1"/>
          </p:cNvSpPr>
          <p:nvPr>
            <p:ph type="body" sz="quarter" idx="10"/>
          </p:nvPr>
        </p:nvSpPr>
        <p:spPr/>
        <p:txBody>
          <a:bodyPr/>
          <a:lstStyle/>
          <a:p>
            <a:r>
              <a:rPr lang="en-US" dirty="0"/>
              <a:t>Questions</a:t>
            </a:r>
          </a:p>
          <a:p>
            <a:endParaRPr lang="en-US" dirty="0"/>
          </a:p>
        </p:txBody>
      </p:sp>
    </p:spTree>
    <p:extLst>
      <p:ext uri="{BB962C8B-B14F-4D97-AF65-F5344CB8AC3E}">
        <p14:creationId xmlns:p14="http://schemas.microsoft.com/office/powerpoint/2010/main" val="17327112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uidehouse PPT Template">
  <a:themeElements>
    <a:clrScheme name="Custom 2">
      <a:dk1>
        <a:srgbClr val="1B1B1B"/>
      </a:dk1>
      <a:lt1>
        <a:sysClr val="window" lastClr="FFFFFF"/>
      </a:lt1>
      <a:dk2>
        <a:srgbClr val="1B1B1B"/>
      </a:dk2>
      <a:lt2>
        <a:srgbClr val="F3F3F3"/>
      </a:lt2>
      <a:accent1>
        <a:srgbClr val="C1FD3B"/>
      </a:accent1>
      <a:accent2>
        <a:srgbClr val="93D500"/>
      </a:accent2>
      <a:accent3>
        <a:srgbClr val="31863E"/>
      </a:accent3>
      <a:accent4>
        <a:srgbClr val="03647A"/>
      </a:accent4>
      <a:accent5>
        <a:srgbClr val="00BAD6"/>
      </a:accent5>
      <a:accent6>
        <a:srgbClr val="80DDEB"/>
      </a:accent6>
      <a:hlink>
        <a:srgbClr val="31863E"/>
      </a:hlink>
      <a:folHlink>
        <a:srgbClr val="1B1B1B"/>
      </a:folHlink>
    </a:clrScheme>
    <a:fontScheme name="Custom 52">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custClrLst>
    <a:custClr name="Blue 1">
      <a:srgbClr val="03647A"/>
    </a:custClr>
    <a:custClr name="Blue 2">
      <a:srgbClr val="60B8CC"/>
    </a:custClr>
    <a:custClr name="Blue 3">
      <a:srgbClr val="00BAD6"/>
    </a:custClr>
    <a:custClr name="Blue 4">
      <a:srgbClr val="80DDEB"/>
    </a:custClr>
    <a:custClr name="Teal 1">
      <a:srgbClr val="019587"/>
    </a:custClr>
    <a:custClr name="Teal 2">
      <a:srgbClr val="99D6CE"/>
    </a:custClr>
    <a:custClr name="BLANK">
      <a:srgbClr val="FFFFFF"/>
    </a:custClr>
    <a:custClr name="BLANK">
      <a:srgbClr val="FFFFFF"/>
    </a:custClr>
    <a:custClr name="BLANK">
      <a:srgbClr val="FFFFFF"/>
    </a:custClr>
    <a:custClr name="BLANK">
      <a:srgbClr val="FFFFFF"/>
    </a:custClr>
    <a:custClr name="Yellow 1">
      <a:srgbClr val="FADC33"/>
    </a:custClr>
    <a:custClr name="Yellow 2">
      <a:srgbClr val="FEEC99"/>
    </a:custClr>
    <a:custClr name="Orange 1">
      <a:srgbClr val="EA5428"/>
    </a:custClr>
    <a:custClr name="Orange 2">
      <a:srgbClr val="FFAA94"/>
    </a:custClr>
    <a:custClr name="Violet 1">
      <a:srgbClr val="9D249B"/>
    </a:custClr>
    <a:custClr name="Violet 2">
      <a:srgbClr val="CE91CD"/>
    </a:custClr>
    <a:custClr name="BLANK">
      <a:srgbClr val="FFFFFF"/>
    </a:custClr>
    <a:custClr name="BLANK">
      <a:srgbClr val="FFFFFF"/>
    </a:custClr>
    <a:custClr name="BLANK">
      <a:srgbClr val="FFFFFF"/>
    </a:custClr>
    <a:custClr name="BLANK">
      <a:srgbClr val="FFFFFF"/>
    </a:custClr>
    <a:custClr name="Yellow 3">
      <a:srgbClr val="FFAB00"/>
    </a:custClr>
    <a:custClr name="Yellow 4">
      <a:srgbClr val="FFD580"/>
    </a:custClr>
    <a:custClr name="Magenta 1">
      <a:srgbClr val="D3276C"/>
    </a:custClr>
    <a:custClr name="Magenta 2">
      <a:srgbClr val="FE80B2"/>
    </a:custClr>
    <a:custClr name="Violet 3">
      <a:srgbClr val="7222C1"/>
    </a:custClr>
    <a:custClr name="Violet 4">
      <a:srgbClr val="AB7FEB"/>
    </a:custClr>
  </a:custClrLst>
  <a:extLst>
    <a:ext uri="{05A4C25C-085E-4340-85A3-A5531E510DB2}">
      <thm15:themeFamily xmlns:thm15="http://schemas.microsoft.com/office/thememl/2012/main" name="Guidehouse PPT Template_widescreen" id="{7A8A05E6-4561-42EA-B87E-3EEECD2C889A}" vid="{B71482C9-1ABB-4837-9C03-9781600EA392}"/>
    </a:ext>
  </a:extLst>
</a:theme>
</file>

<file path=ppt/theme/theme2.xml><?xml version="1.0" encoding="utf-8"?>
<a:theme xmlns:a="http://schemas.openxmlformats.org/drawingml/2006/main" name="Guidehouse PPT Template">
  <a:themeElements>
    <a:clrScheme name="Custom 2">
      <a:dk1>
        <a:srgbClr val="1B1B1B"/>
      </a:dk1>
      <a:lt1>
        <a:sysClr val="window" lastClr="FFFFFF"/>
      </a:lt1>
      <a:dk2>
        <a:srgbClr val="1B1B1B"/>
      </a:dk2>
      <a:lt2>
        <a:srgbClr val="F3F3F3"/>
      </a:lt2>
      <a:accent1>
        <a:srgbClr val="C1FD3B"/>
      </a:accent1>
      <a:accent2>
        <a:srgbClr val="93D500"/>
      </a:accent2>
      <a:accent3>
        <a:srgbClr val="31863E"/>
      </a:accent3>
      <a:accent4>
        <a:srgbClr val="03647A"/>
      </a:accent4>
      <a:accent5>
        <a:srgbClr val="00BAD6"/>
      </a:accent5>
      <a:accent6>
        <a:srgbClr val="80DDEB"/>
      </a:accent6>
      <a:hlink>
        <a:srgbClr val="31863E"/>
      </a:hlink>
      <a:folHlink>
        <a:srgbClr val="1B1B1B"/>
      </a:folHlink>
    </a:clrScheme>
    <a:fontScheme name="Custom 52">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custClrLst>
    <a:custClr name="Blue 1">
      <a:srgbClr val="03647A"/>
    </a:custClr>
    <a:custClr name="Blue 2">
      <a:srgbClr val="60B8CC"/>
    </a:custClr>
    <a:custClr name="Blue 3">
      <a:srgbClr val="00BAD6"/>
    </a:custClr>
    <a:custClr name="Blue 4">
      <a:srgbClr val="80DDEB"/>
    </a:custClr>
    <a:custClr name="Teal 1">
      <a:srgbClr val="019587"/>
    </a:custClr>
    <a:custClr name="Teal 2">
      <a:srgbClr val="99D6CE"/>
    </a:custClr>
    <a:custClr name="BLANK">
      <a:srgbClr val="FFFFFF"/>
    </a:custClr>
    <a:custClr name="BLANK">
      <a:srgbClr val="FFFFFF"/>
    </a:custClr>
    <a:custClr name="BLANK">
      <a:srgbClr val="FFFFFF"/>
    </a:custClr>
    <a:custClr name="BLANK">
      <a:srgbClr val="FFFFFF"/>
    </a:custClr>
    <a:custClr name="Yellow 1">
      <a:srgbClr val="FADC33"/>
    </a:custClr>
    <a:custClr name="Yellow 2">
      <a:srgbClr val="FEEC99"/>
    </a:custClr>
    <a:custClr name="Orange 1">
      <a:srgbClr val="EA5428"/>
    </a:custClr>
    <a:custClr name="Orange 2">
      <a:srgbClr val="FFAA94"/>
    </a:custClr>
    <a:custClr name="Violet 1">
      <a:srgbClr val="9D249B"/>
    </a:custClr>
    <a:custClr name="Violet 2">
      <a:srgbClr val="CE91CD"/>
    </a:custClr>
    <a:custClr name="BLANK">
      <a:srgbClr val="FFFFFF"/>
    </a:custClr>
    <a:custClr name="BLANK">
      <a:srgbClr val="FFFFFF"/>
    </a:custClr>
    <a:custClr name="BLANK">
      <a:srgbClr val="FFFFFF"/>
    </a:custClr>
    <a:custClr name="BLANK">
      <a:srgbClr val="FFFFFF"/>
    </a:custClr>
    <a:custClr name="Yellow 3">
      <a:srgbClr val="FFAB00"/>
    </a:custClr>
    <a:custClr name="Yellow 4">
      <a:srgbClr val="FFD580"/>
    </a:custClr>
    <a:custClr name="Magenta 1">
      <a:srgbClr val="D3276C"/>
    </a:custClr>
    <a:custClr name="Magenta 2">
      <a:srgbClr val="FE80B2"/>
    </a:custClr>
    <a:custClr name="Violet 3">
      <a:srgbClr val="7222C1"/>
    </a:custClr>
    <a:custClr name="Violet 4">
      <a:srgbClr val="AB7FEB"/>
    </a:custClr>
  </a:custClrLst>
  <a:extLst>
    <a:ext uri="{05A4C25C-085E-4340-85A3-A5531E510DB2}">
      <thm15:themeFamily xmlns:thm15="http://schemas.microsoft.com/office/thememl/2012/main" name="Guidehouse PPT Template_widescreen" id="{7A8A05E6-4561-42EA-B87E-3EEECD2C889A}" vid="{77B4AEE6-9D77-40AF-BAEB-2F3DF29595E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rgbClr val="1B1B1B"/>
    </a:dk1>
    <a:lt1>
      <a:sysClr val="window" lastClr="FFFFFF"/>
    </a:lt1>
    <a:dk2>
      <a:srgbClr val="1B1B1B"/>
    </a:dk2>
    <a:lt2>
      <a:srgbClr val="F3F3F3"/>
    </a:lt2>
    <a:accent1>
      <a:srgbClr val="C1FD3B"/>
    </a:accent1>
    <a:accent2>
      <a:srgbClr val="93D500"/>
    </a:accent2>
    <a:accent3>
      <a:srgbClr val="31863E"/>
    </a:accent3>
    <a:accent4>
      <a:srgbClr val="03647A"/>
    </a:accent4>
    <a:accent5>
      <a:srgbClr val="00BAD6"/>
    </a:accent5>
    <a:accent6>
      <a:srgbClr val="80DDEB"/>
    </a:accent6>
    <a:hlink>
      <a:srgbClr val="31863E"/>
    </a:hlink>
    <a:folHlink>
      <a:srgbClr val="1B1B1B"/>
    </a:folHlink>
  </a:clrScheme>
</a:themeOverride>
</file>

<file path=ppt/theme/themeOverride2.xml><?xml version="1.0" encoding="utf-8"?>
<a:themeOverride xmlns:a="http://schemas.openxmlformats.org/drawingml/2006/main">
  <a:clrScheme name="Custom 2">
    <a:dk1>
      <a:srgbClr val="1B1B1B"/>
    </a:dk1>
    <a:lt1>
      <a:sysClr val="window" lastClr="FFFFFF"/>
    </a:lt1>
    <a:dk2>
      <a:srgbClr val="1B1B1B"/>
    </a:dk2>
    <a:lt2>
      <a:srgbClr val="F3F3F3"/>
    </a:lt2>
    <a:accent1>
      <a:srgbClr val="C1FD3B"/>
    </a:accent1>
    <a:accent2>
      <a:srgbClr val="93D500"/>
    </a:accent2>
    <a:accent3>
      <a:srgbClr val="31863E"/>
    </a:accent3>
    <a:accent4>
      <a:srgbClr val="03647A"/>
    </a:accent4>
    <a:accent5>
      <a:srgbClr val="00BAD6"/>
    </a:accent5>
    <a:accent6>
      <a:srgbClr val="80DDEB"/>
    </a:accent6>
    <a:hlink>
      <a:srgbClr val="31863E"/>
    </a:hlink>
    <a:folHlink>
      <a:srgbClr val="1B1B1B"/>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Definition name="AD_HOC" displayName="AD_HOC" id="a49703e7-2c44-4a02-9125-923537e50282" isdomainofvalue="False" dataSourceId="c989004e-a208-4a08-bd4e-9dd73543750e"/>
</file>

<file path=customXml/item10.xml><?xml version="1.0" encoding="utf-8"?>
<?mso-contentType ?>
<FormTemplates xmlns="http://schemas.microsoft.com/sharepoint/v3/contenttype/forms">
  <Display>DocumentLibraryForm</Display>
  <Edit>DocumentLibraryForm</Edit>
  <New>DocumentLibraryForm</New>
</FormTemplates>
</file>

<file path=customXml/item2.xml><?xml version="1.0" encoding="utf-8"?>
<VariableList UniqueId="9e855a88-8cd3-4882-b370-651bcfbd7d1b" Name="Computed" ContentType="XML" MajorVersion="0" MinorVersion="1" isLocalCopy="False" IsBaseObject="False" DataSourceId="92dd8498-49d4-4acd-a726-ce1738a2bd01" DataSourceMajorVersion="0" DataSourceMinorVersion="1"/>
</file>

<file path=customXml/item3.xml><?xml version="1.0" encoding="utf-8"?>
<VariableListDefinition name="Computed" displayName="Computed" id="9e855a88-8cd3-4882-b370-651bcfbd7d1b" isdomainofvalue="False" dataSourceId="92dd8498-49d4-4acd-a726-ce1738a2bd01"/>
</file>

<file path=customXml/item4.xml><?xml version="1.0" encoding="utf-8"?>
<VariableList UniqueId="b000b220-5c91-4ca5-810b-65db82701794" Name="System" ContentType="XML" MajorVersion="0" MinorVersion="1" isLocalCopy="False" IsBaseObject="False" DataSourceId="fcc2c795-31dd-454a-ad2f-66dfcff92b72" DataSourceMajorVersion="0" DataSourceMinorVersion="1"/>
</file>

<file path=customXml/item5.xml><?xml version="1.0" encoding="utf-8"?>
<VariableListDefinition name="System" displayName="System" id="b000b220-5c91-4ca5-810b-65db82701794" isdomainofvalue="False" dataSourceId="fcc2c795-31dd-454a-ad2f-66dfcff92b72"/>
</file>

<file path=customXml/item6.xml><?xml version="1.0" encoding="utf-8"?>
<VariableList UniqueId="a49703e7-2c44-4a02-9125-923537e50282" Name="AD_HOC" ContentType="XML" MajorVersion="0" MinorVersion="1" isLocalCopy="False" IsBaseObject="False" DataSourceId="c989004e-a208-4a08-bd4e-9dd73543750e" DataSourceMajorVersion="0" DataSourceMinorVersion="1"/>
</file>

<file path=customXml/item7.xml><?xml version="1.0" encoding="utf-8"?>
<AllExternalAdhocVariableMappings/>
</file>

<file path=customXml/item8.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f1b482aa-e8f1-48d5-8e5b-a834cda3a90d" xsi:nil="true"/>
  </documentManagement>
</p:properties>
</file>

<file path=customXml/item9.xml><?xml version="1.0" encoding="utf-8"?>
<ct:contentTypeSchema xmlns:ct="http://schemas.microsoft.com/office/2006/metadata/contentType" xmlns:ma="http://schemas.microsoft.com/office/2006/metadata/properties/metaAttributes" ct:_="" ma:_="" ma:contentTypeName="Document" ma:contentTypeID="0x0101004C9DDDC43D76FF41958A56B6A8944247" ma:contentTypeVersion="17" ma:contentTypeDescription="Create a new document." ma:contentTypeScope="" ma:versionID="0e0d61766744369681667dd5dfdeb46c">
  <xsd:schema xmlns:xsd="http://www.w3.org/2001/XMLSchema" xmlns:xs="http://www.w3.org/2001/XMLSchema" xmlns:p="http://schemas.microsoft.com/office/2006/metadata/properties" xmlns:ns1="http://schemas.microsoft.com/sharepoint/v3" xmlns:ns3="f1b482aa-e8f1-48d5-8e5b-a834cda3a90d" xmlns:ns4="bd09ed29-02e1-41ed-94d8-8b9a5a3029a3" targetNamespace="http://schemas.microsoft.com/office/2006/metadata/properties" ma:root="true" ma:fieldsID="eb0a25b6623ecb6d6341613a4ff85529" ns1:_="" ns3:_="" ns4:_="">
    <xsd:import namespace="http://schemas.microsoft.com/sharepoint/v3"/>
    <xsd:import namespace="f1b482aa-e8f1-48d5-8e5b-a834cda3a90d"/>
    <xsd:import namespace="bd09ed29-02e1-41ed-94d8-8b9a5a3029a3"/>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MediaServiceSystemTags" minOccurs="0"/>
                <xsd:element ref="ns3:MediaServiceGenerationTime" minOccurs="0"/>
                <xsd:element ref="ns3:MediaServiceEventHashCode" minOccurs="0"/>
                <xsd:element ref="ns3:MediaLengthInSeconds" minOccurs="0"/>
                <xsd:element ref="ns3:MediaServiceOCR" minOccurs="0"/>
                <xsd:element ref="ns3:_activity" minOccurs="0"/>
                <xsd:element ref="ns4:SharedWithUsers" minOccurs="0"/>
                <xsd:element ref="ns4:SharedWithDetails" minOccurs="0"/>
                <xsd:element ref="ns4:SharingHintHash" minOccurs="0"/>
                <xsd:element ref="ns3: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1b482aa-e8f1-48d5-8e5b-a834cda3a90d"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ystemTags" ma:index="13" nillable="true" ma:displayName="MediaServiceSystemTags" ma:hidden="true" ma:internalName="MediaServiceSystemTags" ma:readOnly="true">
      <xsd:simpleType>
        <xsd:restriction base="dms:Note"/>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_activity" ma:index="18" nillable="true" ma:displayName="_activity" ma:hidden="true" ma:internalName="_activity">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d09ed29-02e1-41ed-94d8-8b9a5a3029a3"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SharingHintHash" ma:index="2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211062B-7D54-4E5D-A750-D5D4642731D7}">
  <ds:schemaRefs/>
</ds:datastoreItem>
</file>

<file path=customXml/itemProps10.xml><?xml version="1.0" encoding="utf-8"?>
<ds:datastoreItem xmlns:ds="http://schemas.openxmlformats.org/officeDocument/2006/customXml" ds:itemID="{40BD4C48-9A5D-4312-A53C-543C01111CB0}">
  <ds:schemaRefs>
    <ds:schemaRef ds:uri="http://schemas.microsoft.com/sharepoint/v3/contenttype/forms"/>
  </ds:schemaRefs>
</ds:datastoreItem>
</file>

<file path=customXml/itemProps2.xml><?xml version="1.0" encoding="utf-8"?>
<ds:datastoreItem xmlns:ds="http://schemas.openxmlformats.org/officeDocument/2006/customXml" ds:itemID="{C2CF7F34-68AB-4FD1-BECC-84603B3F5253}">
  <ds:schemaRefs/>
</ds:datastoreItem>
</file>

<file path=customXml/itemProps3.xml><?xml version="1.0" encoding="utf-8"?>
<ds:datastoreItem xmlns:ds="http://schemas.openxmlformats.org/officeDocument/2006/customXml" ds:itemID="{A67095E3-B2D6-432B-B972-720860E32AE1}">
  <ds:schemaRefs/>
</ds:datastoreItem>
</file>

<file path=customXml/itemProps4.xml><?xml version="1.0" encoding="utf-8"?>
<ds:datastoreItem xmlns:ds="http://schemas.openxmlformats.org/officeDocument/2006/customXml" ds:itemID="{209F77BE-FC51-4093-98FF-EFAEC6B05BC9}">
  <ds:schemaRefs/>
</ds:datastoreItem>
</file>

<file path=customXml/itemProps5.xml><?xml version="1.0" encoding="utf-8"?>
<ds:datastoreItem xmlns:ds="http://schemas.openxmlformats.org/officeDocument/2006/customXml" ds:itemID="{4793C3BE-3F41-4974-A861-4368A2350F70}">
  <ds:schemaRefs/>
</ds:datastoreItem>
</file>

<file path=customXml/itemProps6.xml><?xml version="1.0" encoding="utf-8"?>
<ds:datastoreItem xmlns:ds="http://schemas.openxmlformats.org/officeDocument/2006/customXml" ds:itemID="{05B3893C-8E3A-454A-A0C0-30A663B66411}">
  <ds:schemaRefs/>
</ds:datastoreItem>
</file>

<file path=customXml/itemProps7.xml><?xml version="1.0" encoding="utf-8"?>
<ds:datastoreItem xmlns:ds="http://schemas.openxmlformats.org/officeDocument/2006/customXml" ds:itemID="{AA6FB78A-47E7-411B-AA65-62B591CC8F07}">
  <ds:schemaRefs/>
</ds:datastoreItem>
</file>

<file path=customXml/itemProps8.xml><?xml version="1.0" encoding="utf-8"?>
<ds:datastoreItem xmlns:ds="http://schemas.openxmlformats.org/officeDocument/2006/customXml" ds:itemID="{9DBF0BDE-5F67-4CC7-A3F8-D2BDC4DA589D}">
  <ds:schemaRefs>
    <ds:schemaRef ds:uri="f1b482aa-e8f1-48d5-8e5b-a834cda3a90d"/>
    <ds:schemaRef ds:uri="http://purl.org/dc/dcmitype/"/>
    <ds:schemaRef ds:uri="http://schemas.microsoft.com/office/2006/documentManagement/types"/>
    <ds:schemaRef ds:uri="http://schemas.microsoft.com/sharepoint/v3"/>
    <ds:schemaRef ds:uri="http://purl.org/dc/terms/"/>
    <ds:schemaRef ds:uri="http://schemas.openxmlformats.org/package/2006/metadata/core-properties"/>
    <ds:schemaRef ds:uri="http://www.w3.org/XML/1998/namespace"/>
    <ds:schemaRef ds:uri="bd09ed29-02e1-41ed-94d8-8b9a5a3029a3"/>
    <ds:schemaRef ds:uri="http://schemas.microsoft.com/office/infopath/2007/PartnerControls"/>
    <ds:schemaRef ds:uri="http://schemas.microsoft.com/office/2006/metadata/properties"/>
    <ds:schemaRef ds:uri="http://purl.org/dc/elements/1.1/"/>
  </ds:schemaRefs>
</ds:datastoreItem>
</file>

<file path=customXml/itemProps9.xml><?xml version="1.0" encoding="utf-8"?>
<ds:datastoreItem xmlns:ds="http://schemas.openxmlformats.org/officeDocument/2006/customXml" ds:itemID="{A2DD1A49-6E7F-4B73-95CF-DF11CD04743B}">
  <ds:schemaRefs>
    <ds:schemaRef ds:uri="bd09ed29-02e1-41ed-94d8-8b9a5a3029a3"/>
    <ds:schemaRef ds:uri="f1b482aa-e8f1-48d5-8e5b-a834cda3a9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guidehouse-ppt-template_widescreen</Template>
  <TotalTime>123</TotalTime>
  <Words>1549</Words>
  <Application>Microsoft Macintosh PowerPoint</Application>
  <PresentationFormat>Widescreen</PresentationFormat>
  <Paragraphs>210</Paragraphs>
  <Slides>10</Slides>
  <Notes>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0" baseType="lpstr">
      <vt:lpstr>Aptos</vt:lpstr>
      <vt:lpstr>Aptos Light</vt:lpstr>
      <vt:lpstr>Arial</vt:lpstr>
      <vt:lpstr>Calibri</vt:lpstr>
      <vt:lpstr>Franklin Gothic Medium Cond</vt:lpstr>
      <vt:lpstr>Times New Roman</vt:lpstr>
      <vt:lpstr>Wingdings</vt:lpstr>
      <vt:lpstr>Guidehouse PPT Template</vt:lpstr>
      <vt:lpstr>Guidehouse PPT Template</vt:lpstr>
      <vt:lpstr>think-cell Slide</vt:lpstr>
      <vt:lpstr>PowerPoint Presentation</vt:lpstr>
      <vt:lpstr>PowerPoint Presentation</vt:lpstr>
      <vt:lpstr>Agenda</vt:lpstr>
      <vt:lpstr>Session Overview and Objectives</vt:lpstr>
      <vt:lpstr>Panelists</vt:lpstr>
      <vt:lpstr>Resilient Leadership Playbook  </vt:lpstr>
      <vt:lpstr>Case Studies: Wins</vt:lpstr>
      <vt:lpstr>Case Study: Lessons Learned  </vt:lpstr>
      <vt:lpstr>PowerPoint Presentation</vt:lpstr>
      <vt:lpstr>Mode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y Ibarra</dc:creator>
  <cp:lastModifiedBy>Howie Simanoff</cp:lastModifiedBy>
  <cp:revision>5</cp:revision>
  <dcterms:created xsi:type="dcterms:W3CDTF">2025-04-01T18:37:23Z</dcterms:created>
  <dcterms:modified xsi:type="dcterms:W3CDTF">2025-05-17T11:4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9DDDC43D76FF41958A56B6A8944247</vt:lpwstr>
  </property>
  <property fmtid="{D5CDD505-2E9C-101B-9397-08002B2CF9AE}" pid="3" name="MediaServiceImageTags">
    <vt:lpwstr/>
  </property>
  <property fmtid="{D5CDD505-2E9C-101B-9397-08002B2CF9AE}" pid="4" name="TaxKeyword">
    <vt:lpwstr/>
  </property>
  <property fmtid="{D5CDD505-2E9C-101B-9397-08002B2CF9AE}" pid="5" name="MSIP_Label_303e25a3-56e7-4f07-9acc-ed14a1e5b460_Enabled">
    <vt:lpwstr>true</vt:lpwstr>
  </property>
  <property fmtid="{D5CDD505-2E9C-101B-9397-08002B2CF9AE}" pid="6" name="MSIP_Label_303e25a3-56e7-4f07-9acc-ed14a1e5b460_SetDate">
    <vt:lpwstr>2024-09-27T02:10:19Z</vt:lpwstr>
  </property>
  <property fmtid="{D5CDD505-2E9C-101B-9397-08002B2CF9AE}" pid="7" name="MSIP_Label_303e25a3-56e7-4f07-9acc-ed14a1e5b460_Method">
    <vt:lpwstr>Privileged</vt:lpwstr>
  </property>
  <property fmtid="{D5CDD505-2E9C-101B-9397-08002B2CF9AE}" pid="8" name="MSIP_Label_303e25a3-56e7-4f07-9acc-ed14a1e5b460_Name">
    <vt:lpwstr>Public External</vt:lpwstr>
  </property>
  <property fmtid="{D5CDD505-2E9C-101B-9397-08002B2CF9AE}" pid="9" name="MSIP_Label_303e25a3-56e7-4f07-9acc-ed14a1e5b460_SiteId">
    <vt:lpwstr>4ee48f43-e15d-4f4a-ad55-d0990aac660e</vt:lpwstr>
  </property>
  <property fmtid="{D5CDD505-2E9C-101B-9397-08002B2CF9AE}" pid="10" name="MSIP_Label_303e25a3-56e7-4f07-9acc-ed14a1e5b460_ActionId">
    <vt:lpwstr>e221207c-5d7e-4611-9070-f9dca4feab53</vt:lpwstr>
  </property>
  <property fmtid="{D5CDD505-2E9C-101B-9397-08002B2CF9AE}" pid="11" name="MSIP_Label_303e25a3-56e7-4f07-9acc-ed14a1e5b460_ContentBits">
    <vt:lpwstr>0</vt:lpwstr>
  </property>
  <property fmtid="{D5CDD505-2E9C-101B-9397-08002B2CF9AE}" pid="12" name="MSIP_Label_b995a805-dabd-4ca3-bd4e-37ed6d9bc71d_Enabled">
    <vt:lpwstr>true</vt:lpwstr>
  </property>
  <property fmtid="{D5CDD505-2E9C-101B-9397-08002B2CF9AE}" pid="13" name="MSIP_Label_b995a805-dabd-4ca3-bd4e-37ed6d9bc71d_SetDate">
    <vt:lpwstr>2025-04-21T20:22:47Z</vt:lpwstr>
  </property>
  <property fmtid="{D5CDD505-2E9C-101B-9397-08002B2CF9AE}" pid="14" name="MSIP_Label_b995a805-dabd-4ca3-bd4e-37ed6d9bc71d_Method">
    <vt:lpwstr>Privileged</vt:lpwstr>
  </property>
  <property fmtid="{D5CDD505-2E9C-101B-9397-08002B2CF9AE}" pid="15" name="MSIP_Label_b995a805-dabd-4ca3-bd4e-37ed6d9bc71d_Name">
    <vt:lpwstr>Personal</vt:lpwstr>
  </property>
  <property fmtid="{D5CDD505-2E9C-101B-9397-08002B2CF9AE}" pid="16" name="MSIP_Label_b995a805-dabd-4ca3-bd4e-37ed6d9bc71d_SiteId">
    <vt:lpwstr>b6ed5b7e-5de0-464b-95c0-acbb43267417</vt:lpwstr>
  </property>
  <property fmtid="{D5CDD505-2E9C-101B-9397-08002B2CF9AE}" pid="17" name="MSIP_Label_b995a805-dabd-4ca3-bd4e-37ed6d9bc71d_ActionId">
    <vt:lpwstr>235647e6-1e2d-41ad-84a7-4fe4b569a165</vt:lpwstr>
  </property>
  <property fmtid="{D5CDD505-2E9C-101B-9397-08002B2CF9AE}" pid="18" name="MSIP_Label_b995a805-dabd-4ca3-bd4e-37ed6d9bc71d_ContentBits">
    <vt:lpwstr>1</vt:lpwstr>
  </property>
  <property fmtid="{D5CDD505-2E9C-101B-9397-08002B2CF9AE}" pid="19" name="MSIP_Label_b995a805-dabd-4ca3-bd4e-37ed6d9bc71d_Tag">
    <vt:lpwstr>10, 0, 1, 1</vt:lpwstr>
  </property>
  <property fmtid="{D5CDD505-2E9C-101B-9397-08002B2CF9AE}" pid="20" name="ClassificationContentMarkingHeaderLocations">
    <vt:lpwstr>Guidehouse PPT Template:11\Guidehouse PPT Template:11</vt:lpwstr>
  </property>
  <property fmtid="{D5CDD505-2E9C-101B-9397-08002B2CF9AE}" pid="21" name="ClassificationContentMarkingHeaderText">
    <vt:lpwstr>Sensitivity Label: Personal</vt:lpwstr>
  </property>
</Properties>
</file>